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7.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8.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9.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0.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11.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2.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3.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58" r:id="rId1"/>
    <p:sldMasterId id="2147483710" r:id="rId2"/>
    <p:sldMasterId id="2147483725" r:id="rId3"/>
    <p:sldMasterId id="2147483822" r:id="rId4"/>
    <p:sldMasterId id="2147483874" r:id="rId5"/>
    <p:sldMasterId id="2147483912" r:id="rId6"/>
    <p:sldMasterId id="2147483953" r:id="rId7"/>
    <p:sldMasterId id="2147483967" r:id="rId8"/>
    <p:sldMasterId id="2147483996" r:id="rId9"/>
    <p:sldMasterId id="2147484022" r:id="rId10"/>
    <p:sldMasterId id="2147484049" r:id="rId11"/>
    <p:sldMasterId id="2147483648" r:id="rId12"/>
    <p:sldMasterId id="2147484070" r:id="rId13"/>
  </p:sldMasterIdLst>
  <p:notesMasterIdLst>
    <p:notesMasterId r:id="rId48"/>
  </p:notesMasterIdLst>
  <p:sldIdLst>
    <p:sldId id="262" r:id="rId14"/>
    <p:sldId id="7196" r:id="rId15"/>
    <p:sldId id="6950" r:id="rId16"/>
    <p:sldId id="2147377567" r:id="rId17"/>
    <p:sldId id="7164" r:id="rId18"/>
    <p:sldId id="2147377597" r:id="rId19"/>
    <p:sldId id="2147377552" r:id="rId20"/>
    <p:sldId id="2398" r:id="rId21"/>
    <p:sldId id="264" r:id="rId22"/>
    <p:sldId id="2401" r:id="rId23"/>
    <p:sldId id="4487" r:id="rId24"/>
    <p:sldId id="2403" r:id="rId25"/>
    <p:sldId id="7184" r:id="rId26"/>
    <p:sldId id="3201" r:id="rId27"/>
    <p:sldId id="2147378091" r:id="rId28"/>
    <p:sldId id="2147378092" r:id="rId29"/>
    <p:sldId id="2147378094" r:id="rId30"/>
    <p:sldId id="2147378093" r:id="rId31"/>
    <p:sldId id="7162" r:id="rId32"/>
    <p:sldId id="4521" r:id="rId33"/>
    <p:sldId id="3643" r:id="rId34"/>
    <p:sldId id="838" r:id="rId35"/>
    <p:sldId id="839" r:id="rId36"/>
    <p:sldId id="840" r:id="rId37"/>
    <p:sldId id="7163" r:id="rId38"/>
    <p:sldId id="2147378096" r:id="rId39"/>
    <p:sldId id="2824" r:id="rId40"/>
    <p:sldId id="2785" r:id="rId41"/>
    <p:sldId id="271" r:id="rId42"/>
    <p:sldId id="2147378097" r:id="rId43"/>
    <p:sldId id="258" r:id="rId44"/>
    <p:sldId id="260" r:id="rId45"/>
    <p:sldId id="261" r:id="rId46"/>
    <p:sldId id="2147378098"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7129" userDrawn="1">
          <p15:clr>
            <a:srgbClr val="A4A3A4"/>
          </p15:clr>
        </p15:guide>
        <p15:guide id="4" pos="551" userDrawn="1">
          <p15:clr>
            <a:srgbClr val="A4A3A4"/>
          </p15:clr>
        </p15:guide>
        <p15:guide id="5" orient="horz" pos="3793" userDrawn="1">
          <p15:clr>
            <a:srgbClr val="A4A3A4"/>
          </p15:clr>
        </p15:guide>
        <p15:guide id="6" orient="horz" pos="68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5A52"/>
    <a:srgbClr val="1E3267"/>
    <a:srgbClr val="1D3167"/>
    <a:srgbClr val="FEB813"/>
    <a:srgbClr val="2B2B68"/>
    <a:srgbClr val="384D7A"/>
    <a:srgbClr val="534293"/>
    <a:srgbClr val="CD40FF"/>
    <a:srgbClr val="F9C9C7"/>
    <a:srgbClr val="04BAA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669" autoAdjust="0"/>
    <p:restoredTop sz="87535" autoAdjust="0"/>
  </p:normalViewPr>
  <p:slideViewPr>
    <p:cSldViewPr snapToGrid="0" showGuides="1">
      <p:cViewPr varScale="1">
        <p:scale>
          <a:sx n="43" d="100"/>
          <a:sy n="43" d="100"/>
        </p:scale>
        <p:origin x="1242" y="54"/>
      </p:cViewPr>
      <p:guideLst>
        <p:guide orient="horz" pos="2160"/>
        <p:guide pos="3840"/>
        <p:guide pos="7129"/>
        <p:guide pos="551"/>
        <p:guide orient="horz" pos="3793"/>
        <p:guide orient="horz" pos="686"/>
      </p:guideLst>
    </p:cSldViewPr>
  </p:slideViewPr>
  <p:notesTextViewPr>
    <p:cViewPr>
      <p:scale>
        <a:sx n="40" d="100"/>
        <a:sy n="4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microsoft.com/office/2016/11/relationships/changesInfo" Target="changesInfos/changesInfo1.xml"/><Relationship Id="rId5" Type="http://schemas.openxmlformats.org/officeDocument/2006/relationships/slideMaster" Target="slideMasters/slideMaster5.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20" Type="http://schemas.openxmlformats.org/officeDocument/2006/relationships/slide" Target="slides/slide7.xml"/><Relationship Id="rId41"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dy Amrullah" userId="dee056dfe63ddb77" providerId="LiveId" clId="{686D4EF7-0045-D547-B5E2-BF234836CF15}"/>
    <pc:docChg chg="addSld delSld modSld">
      <pc:chgData name="Hady Amrullah" userId="dee056dfe63ddb77" providerId="LiveId" clId="{686D4EF7-0045-D547-B5E2-BF234836CF15}" dt="2023-12-05T04:47:06.654" v="38" actId="20577"/>
      <pc:docMkLst>
        <pc:docMk/>
      </pc:docMkLst>
      <pc:sldChg chg="add">
        <pc:chgData name="Hady Amrullah" userId="dee056dfe63ddb77" providerId="LiveId" clId="{686D4EF7-0045-D547-B5E2-BF234836CF15}" dt="2023-12-05T04:46:25.973" v="0" actId="22"/>
        <pc:sldMkLst>
          <pc:docMk/>
          <pc:sldMk cId="0" sldId="258"/>
        </pc:sldMkLst>
      </pc:sldChg>
      <pc:sldChg chg="add">
        <pc:chgData name="Hady Amrullah" userId="dee056dfe63ddb77" providerId="LiveId" clId="{686D4EF7-0045-D547-B5E2-BF234836CF15}" dt="2023-12-05T04:46:25.973" v="0" actId="22"/>
        <pc:sldMkLst>
          <pc:docMk/>
          <pc:sldMk cId="0" sldId="260"/>
        </pc:sldMkLst>
      </pc:sldChg>
      <pc:sldChg chg="add">
        <pc:chgData name="Hady Amrullah" userId="dee056dfe63ddb77" providerId="LiveId" clId="{686D4EF7-0045-D547-B5E2-BF234836CF15}" dt="2023-12-05T04:46:25.973" v="0" actId="22"/>
        <pc:sldMkLst>
          <pc:docMk/>
          <pc:sldMk cId="0" sldId="261"/>
        </pc:sldMkLst>
      </pc:sldChg>
      <pc:sldChg chg="del">
        <pc:chgData name="Hady Amrullah" userId="dee056dfe63ddb77" providerId="LiveId" clId="{686D4EF7-0045-D547-B5E2-BF234836CF15}" dt="2023-12-05T04:46:43.472" v="2" actId="2696"/>
        <pc:sldMkLst>
          <pc:docMk/>
          <pc:sldMk cId="3620123175" sldId="2147377576"/>
        </pc:sldMkLst>
      </pc:sldChg>
      <pc:sldChg chg="del">
        <pc:chgData name="Hady Amrullah" userId="dee056dfe63ddb77" providerId="LiveId" clId="{686D4EF7-0045-D547-B5E2-BF234836CF15}" dt="2023-12-05T04:46:44.627" v="3" actId="2696"/>
        <pc:sldMkLst>
          <pc:docMk/>
          <pc:sldMk cId="2633608988" sldId="2147377583"/>
        </pc:sldMkLst>
      </pc:sldChg>
      <pc:sldChg chg="del">
        <pc:chgData name="Hady Amrullah" userId="dee056dfe63ddb77" providerId="LiveId" clId="{686D4EF7-0045-D547-B5E2-BF234836CF15}" dt="2023-12-05T04:46:39.880" v="1" actId="2696"/>
        <pc:sldMkLst>
          <pc:docMk/>
          <pc:sldMk cId="29535026" sldId="2147378095"/>
        </pc:sldMkLst>
      </pc:sldChg>
      <pc:sldChg chg="modSp">
        <pc:chgData name="Hady Amrullah" userId="dee056dfe63ddb77" providerId="LiveId" clId="{686D4EF7-0045-D547-B5E2-BF234836CF15}" dt="2023-12-05T04:47:06.654" v="38" actId="20577"/>
        <pc:sldMkLst>
          <pc:docMk/>
          <pc:sldMk cId="3931167966" sldId="2147378097"/>
        </pc:sldMkLst>
        <pc:spChg chg="mod">
          <ac:chgData name="Hady Amrullah" userId="dee056dfe63ddb77" providerId="LiveId" clId="{686D4EF7-0045-D547-B5E2-BF234836CF15}" dt="2023-12-05T04:47:06.654" v="38" actId="20577"/>
          <ac:spMkLst>
            <pc:docMk/>
            <pc:sldMk cId="3931167966" sldId="2147378097"/>
            <ac:spMk id="8" creationId="{194C30AD-FC66-8EA5-30E1-8BFD79017C33}"/>
          </ac:spMkLst>
        </pc:spChg>
      </pc:sldChg>
      <pc:sldChg chg="add">
        <pc:chgData name="Hady Amrullah" userId="dee056dfe63ddb77" providerId="LiveId" clId="{686D4EF7-0045-D547-B5E2-BF234836CF15}" dt="2023-12-05T04:46:25.973" v="0" actId="22"/>
        <pc:sldMkLst>
          <pc:docMk/>
          <pc:sldMk cId="1721943538" sldId="2147378098"/>
        </pc:sldMkLst>
      </pc:sldChg>
      <pc:sldMasterChg chg="addSldLayout">
        <pc:chgData name="Hady Amrullah" userId="dee056dfe63ddb77" providerId="LiveId" clId="{686D4EF7-0045-D547-B5E2-BF234836CF15}" dt="2023-12-05T04:46:25.973" v="0" actId="22"/>
        <pc:sldMasterMkLst>
          <pc:docMk/>
          <pc:sldMasterMk cId="50890068" sldId="2147483710"/>
        </pc:sldMasterMkLst>
        <pc:sldLayoutChg chg="add replId">
          <pc:chgData name="Hady Amrullah" userId="dee056dfe63ddb77" providerId="LiveId" clId="{686D4EF7-0045-D547-B5E2-BF234836CF15}" dt="2023-12-05T04:46:25.973" v="0" actId="22"/>
          <pc:sldLayoutMkLst>
            <pc:docMk/>
            <pc:sldMasterMk cId="50890068" sldId="2147483710"/>
            <pc:sldLayoutMk cId="2298865007" sldId="2147484086"/>
          </pc:sldLayoutMkLst>
        </pc:sldLayoutChg>
        <pc:sldLayoutChg chg="add replId">
          <pc:chgData name="Hady Amrullah" userId="dee056dfe63ddb77" providerId="LiveId" clId="{686D4EF7-0045-D547-B5E2-BF234836CF15}" dt="2023-12-05T04:46:25.973" v="0" actId="22"/>
          <pc:sldLayoutMkLst>
            <pc:docMk/>
            <pc:sldMasterMk cId="50890068" sldId="2147483710"/>
            <pc:sldLayoutMk cId="2600609496" sldId="2147484087"/>
          </pc:sldLayoutMkLst>
        </pc:sldLayoutChg>
      </pc:sldMasterChg>
    </pc:docChg>
  </pc:docChgLst>
  <pc:docChgLst>
    <pc:chgData name="Hady Amrullah" userId="dee056dfe63ddb77" providerId="LiveId" clId="{54790372-6FF1-4E77-9508-110DF6D43AD8}"/>
    <pc:docChg chg="modSld">
      <pc:chgData name="Hady Amrullah" userId="dee056dfe63ddb77" providerId="LiveId" clId="{54790372-6FF1-4E77-9508-110DF6D43AD8}" dt="2023-12-12T05:32:38.641" v="8" actId="20577"/>
      <pc:docMkLst>
        <pc:docMk/>
      </pc:docMkLst>
      <pc:sldChg chg="modSp mod">
        <pc:chgData name="Hady Amrullah" userId="dee056dfe63ddb77" providerId="LiveId" clId="{54790372-6FF1-4E77-9508-110DF6D43AD8}" dt="2023-12-12T05:32:38.641" v="8" actId="20577"/>
        <pc:sldMkLst>
          <pc:docMk/>
          <pc:sldMk cId="3470222554" sldId="262"/>
        </pc:sldMkLst>
        <pc:spChg chg="mod">
          <ac:chgData name="Hady Amrullah" userId="dee056dfe63ddb77" providerId="LiveId" clId="{54790372-6FF1-4E77-9508-110DF6D43AD8}" dt="2023-12-12T05:32:38.641" v="8" actId="20577"/>
          <ac:spMkLst>
            <pc:docMk/>
            <pc:sldMk cId="3470222554" sldId="262"/>
            <ac:spMk id="523" creationId="{0EFD00C2-2F33-E349-AAED-B2887FFB98FF}"/>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6ACFE7-AF50-44DA-A438-382A90DCF014}" type="doc">
      <dgm:prSet loTypeId="urn:microsoft.com/office/officeart/2005/8/layout/pyramid1" loCatId="pyramid" qsTypeId="urn:microsoft.com/office/officeart/2005/8/quickstyle/3d1" qsCatId="3D" csTypeId="urn:microsoft.com/office/officeart/2005/8/colors/colorful5" csCatId="colorful" phldr="1"/>
      <dgm:spPr>
        <a:scene3d>
          <a:camera prst="orthographicFront">
            <a:rot lat="0" lon="0" rev="0"/>
          </a:camera>
          <a:lightRig rig="balanced" dir="t">
            <a:rot lat="0" lon="0" rev="8700000"/>
          </a:lightRig>
        </a:scene3d>
      </dgm:spPr>
    </dgm:pt>
    <dgm:pt modelId="{F02E4CB7-6F32-4269-933C-BDD108D75B48}">
      <dgm:prSet phldrT="[Text]" custT="1"/>
      <dgm:spPr>
        <a:scene3d>
          <a:camera prst="orthographicFront">
            <a:rot lat="0" lon="0" rev="0"/>
          </a:camera>
          <a:lightRig rig="balanced" dir="t">
            <a:rot lat="0" lon="0" rev="8700000"/>
          </a:lightRig>
        </a:scene3d>
        <a:sp3d>
          <a:bevelT w="190500" h="38100"/>
        </a:sp3d>
      </dgm:spPr>
      <dgm:t>
        <a:bodyPr/>
        <a:lstStyle/>
        <a:p>
          <a:r>
            <a:rPr lang="en-US" sz="1800" b="1" i="1" dirty="0">
              <a:latin typeface="Century Gothic" panose="020B0502020202020204" pitchFamily="34" charset="0"/>
            </a:rPr>
            <a:t>Decision Making Tool</a:t>
          </a:r>
        </a:p>
        <a:p>
          <a:r>
            <a:rPr lang="en-US" sz="1400" b="1" i="1" dirty="0">
              <a:latin typeface="Century Gothic" panose="020B0502020202020204" pitchFamily="34" charset="0"/>
              <a:cs typeface="Century Gothic Regular" charset="0"/>
            </a:rPr>
            <a:t>STRATEGIC MANAGEMENT</a:t>
          </a:r>
        </a:p>
      </dgm:t>
    </dgm:pt>
    <dgm:pt modelId="{846DD8F7-5071-4E14-B5F4-E632C209CF35}" type="parTrans" cxnId="{AA6E7E6B-C6FA-4A07-8DCD-70C84E4629AA}">
      <dgm:prSet/>
      <dgm:spPr/>
      <dgm:t>
        <a:bodyPr/>
        <a:lstStyle/>
        <a:p>
          <a:endParaRPr lang="en-US">
            <a:latin typeface="Century Gothic" panose="020B0502020202020204" pitchFamily="34" charset="0"/>
            <a:cs typeface="Arial" panose="020B0604020202020204" pitchFamily="34" charset="0"/>
          </a:endParaRPr>
        </a:p>
      </dgm:t>
    </dgm:pt>
    <dgm:pt modelId="{D2CD99B0-F3CD-4E8E-A3F7-10EA8522B538}" type="sibTrans" cxnId="{AA6E7E6B-C6FA-4A07-8DCD-70C84E4629AA}">
      <dgm:prSet/>
      <dgm:spPr/>
      <dgm:t>
        <a:bodyPr/>
        <a:lstStyle/>
        <a:p>
          <a:endParaRPr lang="en-US">
            <a:latin typeface="Century Gothic" panose="020B0502020202020204" pitchFamily="34" charset="0"/>
            <a:cs typeface="Arial" panose="020B0604020202020204" pitchFamily="34" charset="0"/>
          </a:endParaRPr>
        </a:p>
      </dgm:t>
    </dgm:pt>
    <dgm:pt modelId="{EAFFFE0E-71D7-42CC-9B0A-028732BB69B7}">
      <dgm:prSet phldrT="[Text]" custT="1"/>
      <dgm:spPr>
        <a:scene3d>
          <a:camera prst="orthographicFront">
            <a:rot lat="0" lon="0" rev="0"/>
          </a:camera>
          <a:lightRig rig="balanced" dir="t">
            <a:rot lat="0" lon="0" rev="8700000"/>
          </a:lightRig>
        </a:scene3d>
        <a:sp3d>
          <a:bevelT w="190500" h="38100"/>
        </a:sp3d>
      </dgm:spPr>
      <dgm:t>
        <a:bodyPr/>
        <a:lstStyle/>
        <a:p>
          <a:r>
            <a:rPr lang="en-US" sz="1800" b="1" i="1" dirty="0">
              <a:latin typeface="Century Gothic" panose="020B0502020202020204" pitchFamily="34" charset="0"/>
              <a:cs typeface="Century Gothic Regular" charset="0"/>
            </a:rPr>
            <a:t>Management Information System </a:t>
          </a:r>
          <a:r>
            <a:rPr lang="en-US" sz="1800" b="1" i="0" dirty="0">
              <a:latin typeface="Century Gothic" panose="020B0502020202020204" pitchFamily="34" charset="0"/>
              <a:cs typeface="Century Gothic Regular" charset="0"/>
            </a:rPr>
            <a:t>(MIS)</a:t>
          </a:r>
        </a:p>
        <a:p>
          <a:r>
            <a:rPr lang="en-US" sz="1400" b="1" i="1" dirty="0">
              <a:latin typeface="Century Gothic" panose="020B0502020202020204" pitchFamily="34" charset="0"/>
              <a:cs typeface="Century Gothic Regular" charset="0"/>
            </a:rPr>
            <a:t>TACTICAL MANAGEMENT</a:t>
          </a:r>
        </a:p>
      </dgm:t>
    </dgm:pt>
    <dgm:pt modelId="{DE75AACB-2CBE-4B5B-82EC-305447259C51}" type="parTrans" cxnId="{CE008A82-963A-4DC7-BD01-D823DA4C5828}">
      <dgm:prSet/>
      <dgm:spPr/>
      <dgm:t>
        <a:bodyPr/>
        <a:lstStyle/>
        <a:p>
          <a:endParaRPr lang="en-US">
            <a:latin typeface="Century Gothic" panose="020B0502020202020204" pitchFamily="34" charset="0"/>
            <a:cs typeface="Arial" panose="020B0604020202020204" pitchFamily="34" charset="0"/>
          </a:endParaRPr>
        </a:p>
      </dgm:t>
    </dgm:pt>
    <dgm:pt modelId="{8C02DC7A-A532-4D86-8050-90A70B014F79}" type="sibTrans" cxnId="{CE008A82-963A-4DC7-BD01-D823DA4C5828}">
      <dgm:prSet/>
      <dgm:spPr/>
      <dgm:t>
        <a:bodyPr/>
        <a:lstStyle/>
        <a:p>
          <a:endParaRPr lang="en-US">
            <a:latin typeface="Century Gothic" panose="020B0502020202020204" pitchFamily="34" charset="0"/>
            <a:cs typeface="Arial" panose="020B0604020202020204" pitchFamily="34" charset="0"/>
          </a:endParaRPr>
        </a:p>
      </dgm:t>
    </dgm:pt>
    <dgm:pt modelId="{99F30D41-C84D-416E-BB13-DAE8AE6DB2BC}">
      <dgm:prSet phldrT="[Text]" custT="1"/>
      <dgm:spPr>
        <a:scene3d>
          <a:camera prst="orthographicFront">
            <a:rot lat="0" lon="0" rev="0"/>
          </a:camera>
          <a:lightRig rig="balanced" dir="t">
            <a:rot lat="0" lon="0" rev="8700000"/>
          </a:lightRig>
        </a:scene3d>
        <a:sp3d>
          <a:bevelT w="190500" h="38100"/>
        </a:sp3d>
      </dgm:spPr>
      <dgm:t>
        <a:bodyPr/>
        <a:lstStyle/>
        <a:p>
          <a:r>
            <a:rPr lang="en-US" sz="1800" b="1" i="1" dirty="0">
              <a:latin typeface="Century Gothic" panose="020B0502020202020204" pitchFamily="34" charset="0"/>
              <a:cs typeface="Century Gothic Regular" charset="0"/>
            </a:rPr>
            <a:t>Transaction Processing System </a:t>
          </a:r>
          <a:r>
            <a:rPr lang="en-US" sz="1800" b="1" i="0" dirty="0">
              <a:latin typeface="Century Gothic" panose="020B0502020202020204" pitchFamily="34" charset="0"/>
              <a:cs typeface="Century Gothic Regular" charset="0"/>
            </a:rPr>
            <a:t>(TPS)</a:t>
          </a:r>
        </a:p>
        <a:p>
          <a:r>
            <a:rPr lang="en-US" sz="1400" b="1" i="1" dirty="0">
              <a:latin typeface="Century Gothic" panose="020B0502020202020204" pitchFamily="34" charset="0"/>
              <a:cs typeface="Century Gothic Regular" charset="0"/>
            </a:rPr>
            <a:t>WORKERS/OPERATIONAL MANAGEMENT</a:t>
          </a:r>
        </a:p>
      </dgm:t>
    </dgm:pt>
    <dgm:pt modelId="{31B0C372-F226-41F3-880F-E6FE52A538E0}" type="parTrans" cxnId="{CF809B29-6FE7-422A-86F3-08FA6AE47813}">
      <dgm:prSet/>
      <dgm:spPr/>
      <dgm:t>
        <a:bodyPr/>
        <a:lstStyle/>
        <a:p>
          <a:endParaRPr lang="en-US">
            <a:latin typeface="Century Gothic" panose="020B0502020202020204" pitchFamily="34" charset="0"/>
            <a:cs typeface="Arial" panose="020B0604020202020204" pitchFamily="34" charset="0"/>
          </a:endParaRPr>
        </a:p>
      </dgm:t>
    </dgm:pt>
    <dgm:pt modelId="{7B877590-6124-4FCF-B340-47C25CC86104}" type="sibTrans" cxnId="{CF809B29-6FE7-422A-86F3-08FA6AE47813}">
      <dgm:prSet/>
      <dgm:spPr/>
      <dgm:t>
        <a:bodyPr/>
        <a:lstStyle/>
        <a:p>
          <a:endParaRPr lang="en-US">
            <a:latin typeface="Century Gothic" panose="020B0502020202020204" pitchFamily="34" charset="0"/>
            <a:cs typeface="Arial" panose="020B0604020202020204" pitchFamily="34" charset="0"/>
          </a:endParaRPr>
        </a:p>
      </dgm:t>
    </dgm:pt>
    <dgm:pt modelId="{294A3607-A8AC-409E-A761-5AA524AB895F}" type="pres">
      <dgm:prSet presAssocID="{A36ACFE7-AF50-44DA-A438-382A90DCF014}" presName="Name0" presStyleCnt="0">
        <dgm:presLayoutVars>
          <dgm:dir/>
          <dgm:animLvl val="lvl"/>
          <dgm:resizeHandles val="exact"/>
        </dgm:presLayoutVars>
      </dgm:prSet>
      <dgm:spPr/>
    </dgm:pt>
    <dgm:pt modelId="{1F5CD051-F320-4BA5-8A34-6009FA574A11}" type="pres">
      <dgm:prSet presAssocID="{F02E4CB7-6F32-4269-933C-BDD108D75B48}" presName="Name8" presStyleCnt="0"/>
      <dgm:spPr>
        <a:scene3d>
          <a:camera prst="orthographicFront">
            <a:rot lat="0" lon="0" rev="0"/>
          </a:camera>
          <a:lightRig rig="balanced" dir="t">
            <a:rot lat="0" lon="0" rev="8700000"/>
          </a:lightRig>
        </a:scene3d>
        <a:sp3d>
          <a:bevelT w="190500" h="38100"/>
        </a:sp3d>
      </dgm:spPr>
    </dgm:pt>
    <dgm:pt modelId="{0A3AFB93-923E-4C90-8DDB-3F607FBB5C3B}" type="pres">
      <dgm:prSet presAssocID="{F02E4CB7-6F32-4269-933C-BDD108D75B48}" presName="level" presStyleLbl="node1" presStyleIdx="0" presStyleCnt="3">
        <dgm:presLayoutVars>
          <dgm:chMax val="1"/>
          <dgm:bulletEnabled val="1"/>
        </dgm:presLayoutVars>
      </dgm:prSet>
      <dgm:spPr/>
    </dgm:pt>
    <dgm:pt modelId="{97CC4A19-EDE6-4141-86DD-18CEF7F9F932}" type="pres">
      <dgm:prSet presAssocID="{F02E4CB7-6F32-4269-933C-BDD108D75B48}" presName="levelTx" presStyleLbl="revTx" presStyleIdx="0" presStyleCnt="0">
        <dgm:presLayoutVars>
          <dgm:chMax val="1"/>
          <dgm:bulletEnabled val="1"/>
        </dgm:presLayoutVars>
      </dgm:prSet>
      <dgm:spPr/>
    </dgm:pt>
    <dgm:pt modelId="{AEE47835-9E54-4E00-9FC4-83A8DA7A5028}" type="pres">
      <dgm:prSet presAssocID="{EAFFFE0E-71D7-42CC-9B0A-028732BB69B7}" presName="Name8" presStyleCnt="0"/>
      <dgm:spPr>
        <a:scene3d>
          <a:camera prst="orthographicFront">
            <a:rot lat="0" lon="0" rev="0"/>
          </a:camera>
          <a:lightRig rig="balanced" dir="t">
            <a:rot lat="0" lon="0" rev="8700000"/>
          </a:lightRig>
        </a:scene3d>
        <a:sp3d>
          <a:bevelT w="190500" h="38100"/>
        </a:sp3d>
      </dgm:spPr>
    </dgm:pt>
    <dgm:pt modelId="{EAF18A28-6BE4-48CC-8FD8-FE26074F5AD6}" type="pres">
      <dgm:prSet presAssocID="{EAFFFE0E-71D7-42CC-9B0A-028732BB69B7}" presName="level" presStyleLbl="node1" presStyleIdx="1" presStyleCnt="3">
        <dgm:presLayoutVars>
          <dgm:chMax val="1"/>
          <dgm:bulletEnabled val="1"/>
        </dgm:presLayoutVars>
      </dgm:prSet>
      <dgm:spPr/>
    </dgm:pt>
    <dgm:pt modelId="{081499CE-FA18-4A94-A3B1-A1E3903DE0D7}" type="pres">
      <dgm:prSet presAssocID="{EAFFFE0E-71D7-42CC-9B0A-028732BB69B7}" presName="levelTx" presStyleLbl="revTx" presStyleIdx="0" presStyleCnt="0">
        <dgm:presLayoutVars>
          <dgm:chMax val="1"/>
          <dgm:bulletEnabled val="1"/>
        </dgm:presLayoutVars>
      </dgm:prSet>
      <dgm:spPr/>
    </dgm:pt>
    <dgm:pt modelId="{23602CE3-AB30-4012-8AB1-E7C1A47E45C8}" type="pres">
      <dgm:prSet presAssocID="{99F30D41-C84D-416E-BB13-DAE8AE6DB2BC}" presName="Name8" presStyleCnt="0"/>
      <dgm:spPr>
        <a:scene3d>
          <a:camera prst="orthographicFront">
            <a:rot lat="0" lon="0" rev="0"/>
          </a:camera>
          <a:lightRig rig="balanced" dir="t">
            <a:rot lat="0" lon="0" rev="8700000"/>
          </a:lightRig>
        </a:scene3d>
        <a:sp3d>
          <a:bevelT w="190500" h="38100"/>
        </a:sp3d>
      </dgm:spPr>
    </dgm:pt>
    <dgm:pt modelId="{860F47CE-C410-4901-840B-DE608D804758}" type="pres">
      <dgm:prSet presAssocID="{99F30D41-C84D-416E-BB13-DAE8AE6DB2BC}" presName="level" presStyleLbl="node1" presStyleIdx="2" presStyleCnt="3" custLinFactNeighborY="4375">
        <dgm:presLayoutVars>
          <dgm:chMax val="1"/>
          <dgm:bulletEnabled val="1"/>
        </dgm:presLayoutVars>
      </dgm:prSet>
      <dgm:spPr/>
    </dgm:pt>
    <dgm:pt modelId="{8AFEAC2C-908F-4DD1-92B4-6862BB69C0E5}" type="pres">
      <dgm:prSet presAssocID="{99F30D41-C84D-416E-BB13-DAE8AE6DB2BC}" presName="levelTx" presStyleLbl="revTx" presStyleIdx="0" presStyleCnt="0">
        <dgm:presLayoutVars>
          <dgm:chMax val="1"/>
          <dgm:bulletEnabled val="1"/>
        </dgm:presLayoutVars>
      </dgm:prSet>
      <dgm:spPr/>
    </dgm:pt>
  </dgm:ptLst>
  <dgm:cxnLst>
    <dgm:cxn modelId="{0E0A7813-B90F-1F4A-9048-70EA64F409C6}" type="presOf" srcId="{F02E4CB7-6F32-4269-933C-BDD108D75B48}" destId="{97CC4A19-EDE6-4141-86DD-18CEF7F9F932}" srcOrd="1" destOrd="0" presId="urn:microsoft.com/office/officeart/2005/8/layout/pyramid1"/>
    <dgm:cxn modelId="{CF809B29-6FE7-422A-86F3-08FA6AE47813}" srcId="{A36ACFE7-AF50-44DA-A438-382A90DCF014}" destId="{99F30D41-C84D-416E-BB13-DAE8AE6DB2BC}" srcOrd="2" destOrd="0" parTransId="{31B0C372-F226-41F3-880F-E6FE52A538E0}" sibTransId="{7B877590-6124-4FCF-B340-47C25CC86104}"/>
    <dgm:cxn modelId="{F814002A-61D8-B44B-9D71-E8361CA4B10D}" type="presOf" srcId="{A36ACFE7-AF50-44DA-A438-382A90DCF014}" destId="{294A3607-A8AC-409E-A761-5AA524AB895F}" srcOrd="0" destOrd="0" presId="urn:microsoft.com/office/officeart/2005/8/layout/pyramid1"/>
    <dgm:cxn modelId="{7486302C-7CBD-B648-8DC7-4EEF2D2D0700}" type="presOf" srcId="{EAFFFE0E-71D7-42CC-9B0A-028732BB69B7}" destId="{EAF18A28-6BE4-48CC-8FD8-FE26074F5AD6}" srcOrd="0" destOrd="0" presId="urn:microsoft.com/office/officeart/2005/8/layout/pyramid1"/>
    <dgm:cxn modelId="{AA6E7E6B-C6FA-4A07-8DCD-70C84E4629AA}" srcId="{A36ACFE7-AF50-44DA-A438-382A90DCF014}" destId="{F02E4CB7-6F32-4269-933C-BDD108D75B48}" srcOrd="0" destOrd="0" parTransId="{846DD8F7-5071-4E14-B5F4-E632C209CF35}" sibTransId="{D2CD99B0-F3CD-4E8E-A3F7-10EA8522B538}"/>
    <dgm:cxn modelId="{9FDA8A77-3D9B-E94F-976C-FEA1E5D32233}" type="presOf" srcId="{99F30D41-C84D-416E-BB13-DAE8AE6DB2BC}" destId="{860F47CE-C410-4901-840B-DE608D804758}" srcOrd="0" destOrd="0" presId="urn:microsoft.com/office/officeart/2005/8/layout/pyramid1"/>
    <dgm:cxn modelId="{26743F7F-6319-7842-A236-8290E7E6187F}" type="presOf" srcId="{F02E4CB7-6F32-4269-933C-BDD108D75B48}" destId="{0A3AFB93-923E-4C90-8DDB-3F607FBB5C3B}" srcOrd="0" destOrd="0" presId="urn:microsoft.com/office/officeart/2005/8/layout/pyramid1"/>
    <dgm:cxn modelId="{CE008A82-963A-4DC7-BD01-D823DA4C5828}" srcId="{A36ACFE7-AF50-44DA-A438-382A90DCF014}" destId="{EAFFFE0E-71D7-42CC-9B0A-028732BB69B7}" srcOrd="1" destOrd="0" parTransId="{DE75AACB-2CBE-4B5B-82EC-305447259C51}" sibTransId="{8C02DC7A-A532-4D86-8050-90A70B014F79}"/>
    <dgm:cxn modelId="{447FA58D-EA56-FB48-8B65-97ABACC2B34A}" type="presOf" srcId="{EAFFFE0E-71D7-42CC-9B0A-028732BB69B7}" destId="{081499CE-FA18-4A94-A3B1-A1E3903DE0D7}" srcOrd="1" destOrd="0" presId="urn:microsoft.com/office/officeart/2005/8/layout/pyramid1"/>
    <dgm:cxn modelId="{8A10B0FD-8631-DB4B-985C-87093D094C2E}" type="presOf" srcId="{99F30D41-C84D-416E-BB13-DAE8AE6DB2BC}" destId="{8AFEAC2C-908F-4DD1-92B4-6862BB69C0E5}" srcOrd="1" destOrd="0" presId="urn:microsoft.com/office/officeart/2005/8/layout/pyramid1"/>
    <dgm:cxn modelId="{70DB0CC0-64AE-6147-9D0D-522BFB89726D}" type="presParOf" srcId="{294A3607-A8AC-409E-A761-5AA524AB895F}" destId="{1F5CD051-F320-4BA5-8A34-6009FA574A11}" srcOrd="0" destOrd="0" presId="urn:microsoft.com/office/officeart/2005/8/layout/pyramid1"/>
    <dgm:cxn modelId="{E1F9DDD5-09DB-564C-BAEB-1007E6442F20}" type="presParOf" srcId="{1F5CD051-F320-4BA5-8A34-6009FA574A11}" destId="{0A3AFB93-923E-4C90-8DDB-3F607FBB5C3B}" srcOrd="0" destOrd="0" presId="urn:microsoft.com/office/officeart/2005/8/layout/pyramid1"/>
    <dgm:cxn modelId="{5F2C0C48-9676-7A44-BBDF-1868B707CD5C}" type="presParOf" srcId="{1F5CD051-F320-4BA5-8A34-6009FA574A11}" destId="{97CC4A19-EDE6-4141-86DD-18CEF7F9F932}" srcOrd="1" destOrd="0" presId="urn:microsoft.com/office/officeart/2005/8/layout/pyramid1"/>
    <dgm:cxn modelId="{1D701706-1E8B-FD49-ABBC-195493F39472}" type="presParOf" srcId="{294A3607-A8AC-409E-A761-5AA524AB895F}" destId="{AEE47835-9E54-4E00-9FC4-83A8DA7A5028}" srcOrd="1" destOrd="0" presId="urn:microsoft.com/office/officeart/2005/8/layout/pyramid1"/>
    <dgm:cxn modelId="{6462FE35-DFF6-6F4A-8A10-27C4D015C8AA}" type="presParOf" srcId="{AEE47835-9E54-4E00-9FC4-83A8DA7A5028}" destId="{EAF18A28-6BE4-48CC-8FD8-FE26074F5AD6}" srcOrd="0" destOrd="0" presId="urn:microsoft.com/office/officeart/2005/8/layout/pyramid1"/>
    <dgm:cxn modelId="{8CB42141-87EC-8640-A255-6328BBC85D2D}" type="presParOf" srcId="{AEE47835-9E54-4E00-9FC4-83A8DA7A5028}" destId="{081499CE-FA18-4A94-A3B1-A1E3903DE0D7}" srcOrd="1" destOrd="0" presId="urn:microsoft.com/office/officeart/2005/8/layout/pyramid1"/>
    <dgm:cxn modelId="{E8637C06-6F93-5448-9AD5-921D319D274E}" type="presParOf" srcId="{294A3607-A8AC-409E-A761-5AA524AB895F}" destId="{23602CE3-AB30-4012-8AB1-E7C1A47E45C8}" srcOrd="2" destOrd="0" presId="urn:microsoft.com/office/officeart/2005/8/layout/pyramid1"/>
    <dgm:cxn modelId="{5A9BE29C-0DAD-CA4B-BE6E-D93513299FD8}" type="presParOf" srcId="{23602CE3-AB30-4012-8AB1-E7C1A47E45C8}" destId="{860F47CE-C410-4901-840B-DE608D804758}" srcOrd="0" destOrd="0" presId="urn:microsoft.com/office/officeart/2005/8/layout/pyramid1"/>
    <dgm:cxn modelId="{C7D004E8-6C67-5E4E-B3C7-9945E46F0380}" type="presParOf" srcId="{23602CE3-AB30-4012-8AB1-E7C1A47E45C8}" destId="{8AFEAC2C-908F-4DD1-92B4-6862BB69C0E5}" srcOrd="1" destOrd="0" presId="urn:microsoft.com/office/officeart/2005/8/layout/pyramid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834523C-3760-AF4F-AAED-92A6A6A08E4E}" type="doc">
      <dgm:prSet loTypeId="urn:microsoft.com/office/officeart/2005/8/layout/list1" loCatId="" qsTypeId="urn:microsoft.com/office/officeart/2005/8/quickstyle/simple1" qsCatId="simple" csTypeId="urn:microsoft.com/office/officeart/2005/8/colors/colorful3" csCatId="colorful" phldr="1"/>
      <dgm:spPr/>
      <dgm:t>
        <a:bodyPr/>
        <a:lstStyle/>
        <a:p>
          <a:endParaRPr lang="en-US"/>
        </a:p>
      </dgm:t>
    </dgm:pt>
    <dgm:pt modelId="{2F000E06-A5F7-B24B-8EE1-1879EC646A15}">
      <dgm:prSet phldrT="[Text]"/>
      <dgm:spPr/>
      <dgm:t>
        <a:bodyPr/>
        <a:lstStyle/>
        <a:p>
          <a:r>
            <a:rPr lang="en-US"/>
            <a:t>RBA – </a:t>
          </a:r>
          <a:r>
            <a:rPr lang="en-US" i="1"/>
            <a:t>RISK BASE APPROACH</a:t>
          </a:r>
          <a:endParaRPr lang="en-US"/>
        </a:p>
      </dgm:t>
    </dgm:pt>
    <dgm:pt modelId="{A4E3A0E1-EC78-AC43-9DCF-0724249B67FF}" type="parTrans" cxnId="{4C46C1A6-4A90-8743-BC50-5BBB98A282DF}">
      <dgm:prSet/>
      <dgm:spPr/>
      <dgm:t>
        <a:bodyPr/>
        <a:lstStyle/>
        <a:p>
          <a:endParaRPr lang="en-US"/>
        </a:p>
      </dgm:t>
    </dgm:pt>
    <dgm:pt modelId="{CE1203BE-E855-9141-B1E3-9734524A3C6E}" type="sibTrans" cxnId="{4C46C1A6-4A90-8743-BC50-5BBB98A282DF}">
      <dgm:prSet/>
      <dgm:spPr/>
      <dgm:t>
        <a:bodyPr/>
        <a:lstStyle/>
        <a:p>
          <a:endParaRPr lang="en-US"/>
        </a:p>
      </dgm:t>
    </dgm:pt>
    <dgm:pt modelId="{873ADC03-30A4-F743-A62A-6458A7400EC4}">
      <dgm:prSet phldrT="[Text]"/>
      <dgm:spPr/>
      <dgm:t>
        <a:bodyPr/>
        <a:lstStyle/>
        <a:p>
          <a:r>
            <a:rPr lang="en-US"/>
            <a:t>PRINSIP RBA PERIZINAN BERUSAHA</a:t>
          </a:r>
        </a:p>
      </dgm:t>
    </dgm:pt>
    <dgm:pt modelId="{72C71F04-E98C-2F45-B014-12004BDDCD33}" type="parTrans" cxnId="{BBC028C6-9C09-6049-9A85-972D38A063C9}">
      <dgm:prSet/>
      <dgm:spPr/>
      <dgm:t>
        <a:bodyPr/>
        <a:lstStyle/>
        <a:p>
          <a:endParaRPr lang="en-US"/>
        </a:p>
      </dgm:t>
    </dgm:pt>
    <dgm:pt modelId="{BC2CFEAB-4B75-C747-8DC7-2BA33485D133}" type="sibTrans" cxnId="{BBC028C6-9C09-6049-9A85-972D38A063C9}">
      <dgm:prSet/>
      <dgm:spPr/>
      <dgm:t>
        <a:bodyPr/>
        <a:lstStyle/>
        <a:p>
          <a:endParaRPr lang="en-US"/>
        </a:p>
      </dgm:t>
    </dgm:pt>
    <dgm:pt modelId="{A3674630-51F2-8F4F-BF7C-67867950A473}">
      <dgm:prSet phldrT="[Text]"/>
      <dgm:spPr/>
      <dgm:t>
        <a:bodyPr/>
        <a:lstStyle/>
        <a:p>
          <a:r>
            <a:rPr lang="en-US"/>
            <a:t>PRINZIP RBA PENGAWASAN</a:t>
          </a:r>
        </a:p>
      </dgm:t>
    </dgm:pt>
    <dgm:pt modelId="{A526C2F5-2A9F-BD4A-A1D6-E3FDB9C087E0}" type="parTrans" cxnId="{3978B23B-7BAD-7E49-AF99-F119E86FB7E2}">
      <dgm:prSet/>
      <dgm:spPr/>
      <dgm:t>
        <a:bodyPr/>
        <a:lstStyle/>
        <a:p>
          <a:endParaRPr lang="en-US"/>
        </a:p>
      </dgm:t>
    </dgm:pt>
    <dgm:pt modelId="{443F7898-F62B-4A4F-9D85-4F334CC5A43C}" type="sibTrans" cxnId="{3978B23B-7BAD-7E49-AF99-F119E86FB7E2}">
      <dgm:prSet/>
      <dgm:spPr/>
      <dgm:t>
        <a:bodyPr/>
        <a:lstStyle/>
        <a:p>
          <a:endParaRPr lang="en-US"/>
        </a:p>
      </dgm:t>
    </dgm:pt>
    <dgm:pt modelId="{7BAAF456-BDDE-1B44-B8E2-05FCA76981C3}">
      <dgm:prSet phldrT="[Text]"/>
      <dgm:spPr/>
      <dgm:t>
        <a:bodyPr/>
        <a:lstStyle/>
        <a:p>
          <a:r>
            <a:rPr lang="en-US" err="1"/>
            <a:t>Mendukung</a:t>
          </a:r>
          <a:r>
            <a:rPr lang="en-US"/>
            <a:t> </a:t>
          </a:r>
          <a:r>
            <a:rPr lang="en-US" err="1"/>
            <a:t>penciptaan</a:t>
          </a:r>
          <a:r>
            <a:rPr lang="en-US"/>
            <a:t> </a:t>
          </a:r>
          <a:r>
            <a:rPr lang="en-US" err="1"/>
            <a:t>lapangan</a:t>
          </a:r>
          <a:r>
            <a:rPr lang="en-US"/>
            <a:t> </a:t>
          </a:r>
          <a:r>
            <a:rPr lang="en-US" err="1"/>
            <a:t>kerja</a:t>
          </a:r>
          <a:r>
            <a:rPr lang="en-US"/>
            <a:t> </a:t>
          </a:r>
          <a:r>
            <a:rPr lang="en-US" err="1"/>
            <a:t>melalui</a:t>
          </a:r>
          <a:r>
            <a:rPr lang="en-US"/>
            <a:t> </a:t>
          </a:r>
          <a:r>
            <a:rPr lang="en-US" err="1"/>
            <a:t>pemberian</a:t>
          </a:r>
          <a:r>
            <a:rPr lang="en-US"/>
            <a:t> </a:t>
          </a:r>
          <a:r>
            <a:rPr lang="en-US" err="1"/>
            <a:t>kemudahan</a:t>
          </a:r>
          <a:r>
            <a:rPr lang="en-US"/>
            <a:t> </a:t>
          </a:r>
          <a:r>
            <a:rPr lang="en-US" err="1"/>
            <a:t>usaha</a:t>
          </a:r>
          <a:r>
            <a:rPr lang="en-US"/>
            <a:t> </a:t>
          </a:r>
          <a:r>
            <a:rPr lang="en-US" err="1"/>
            <a:t>untuk</a:t>
          </a:r>
          <a:r>
            <a:rPr lang="en-US"/>
            <a:t> UMKM dan </a:t>
          </a:r>
          <a:r>
            <a:rPr lang="en-US" err="1"/>
            <a:t>peningkatan</a:t>
          </a:r>
          <a:r>
            <a:rPr lang="en-US"/>
            <a:t> </a:t>
          </a:r>
          <a:r>
            <a:rPr lang="en-US" err="1"/>
            <a:t>investasi</a:t>
          </a:r>
          <a:endParaRPr lang="en-US"/>
        </a:p>
      </dgm:t>
    </dgm:pt>
    <dgm:pt modelId="{0997A94E-6EE3-ED4E-869B-07B0F4B302B4}" type="parTrans" cxnId="{391A6B5C-00DE-A243-AD74-4D1D6E5EACF8}">
      <dgm:prSet/>
      <dgm:spPr/>
      <dgm:t>
        <a:bodyPr/>
        <a:lstStyle/>
        <a:p>
          <a:endParaRPr lang="en-US"/>
        </a:p>
      </dgm:t>
    </dgm:pt>
    <dgm:pt modelId="{8318AC79-C18D-6E49-A9A9-E64B2C1230C5}" type="sibTrans" cxnId="{391A6B5C-00DE-A243-AD74-4D1D6E5EACF8}">
      <dgm:prSet/>
      <dgm:spPr/>
      <dgm:t>
        <a:bodyPr/>
        <a:lstStyle/>
        <a:p>
          <a:endParaRPr lang="en-US"/>
        </a:p>
      </dgm:t>
    </dgm:pt>
    <dgm:pt modelId="{75D618E6-1208-674D-A970-B5E08AE4CAFD}">
      <dgm:prSet phldrT="[Text]"/>
      <dgm:spPr/>
      <dgm:t>
        <a:bodyPr/>
        <a:lstStyle/>
        <a:p>
          <a:r>
            <a:rPr lang="en-US" err="1"/>
            <a:t>Meminimalisir</a:t>
          </a:r>
          <a:r>
            <a:rPr lang="en-US"/>
            <a:t> </a:t>
          </a:r>
          <a:r>
            <a:rPr lang="en-US" err="1"/>
            <a:t>jumlah</a:t>
          </a:r>
          <a:r>
            <a:rPr lang="en-US"/>
            <a:t> </a:t>
          </a:r>
          <a:r>
            <a:rPr lang="en-US" err="1"/>
            <a:t>perizinan</a:t>
          </a:r>
          <a:r>
            <a:rPr lang="en-US"/>
            <a:t> </a:t>
          </a:r>
          <a:r>
            <a:rPr lang="en-US" err="1"/>
            <a:t>berusaha</a:t>
          </a:r>
          <a:r>
            <a:rPr lang="en-US"/>
            <a:t> </a:t>
          </a:r>
          <a:r>
            <a:rPr lang="en-US" err="1"/>
            <a:t>sehingga</a:t>
          </a:r>
          <a:r>
            <a:rPr lang="en-US"/>
            <a:t> </a:t>
          </a:r>
          <a:r>
            <a:rPr lang="en-US" err="1"/>
            <a:t>perizinan</a:t>
          </a:r>
          <a:r>
            <a:rPr lang="en-US"/>
            <a:t> </a:t>
          </a:r>
          <a:r>
            <a:rPr lang="en-US" err="1"/>
            <a:t>lebih</a:t>
          </a:r>
          <a:r>
            <a:rPr lang="en-US"/>
            <a:t> </a:t>
          </a:r>
          <a:r>
            <a:rPr lang="en-US" err="1"/>
            <a:t>sederhana</a:t>
          </a:r>
          <a:endParaRPr lang="en-US"/>
        </a:p>
      </dgm:t>
    </dgm:pt>
    <dgm:pt modelId="{C3302DF0-7B31-4D49-A6F0-8255E887FAF3}" type="parTrans" cxnId="{8E15C05F-1DB3-3A4C-882D-C5C531C190B1}">
      <dgm:prSet/>
      <dgm:spPr/>
      <dgm:t>
        <a:bodyPr/>
        <a:lstStyle/>
        <a:p>
          <a:endParaRPr lang="en-US"/>
        </a:p>
      </dgm:t>
    </dgm:pt>
    <dgm:pt modelId="{BC06E4A7-3599-A546-9DBA-53242D2AF3D3}" type="sibTrans" cxnId="{8E15C05F-1DB3-3A4C-882D-C5C531C190B1}">
      <dgm:prSet/>
      <dgm:spPr/>
      <dgm:t>
        <a:bodyPr/>
        <a:lstStyle/>
        <a:p>
          <a:endParaRPr lang="en-US"/>
        </a:p>
      </dgm:t>
    </dgm:pt>
    <dgm:pt modelId="{32CCE469-4ECB-8549-BD6E-DA0879290D95}">
      <dgm:prSet/>
      <dgm:spPr/>
      <dgm:t>
        <a:bodyPr/>
        <a:lstStyle/>
        <a:p>
          <a:r>
            <a:rPr lang="en-US"/>
            <a:t>Perizinan berusaha ditentukan berdasarkan tingkat risiko yang akan ditimbulkan (</a:t>
          </a:r>
          <a:r>
            <a:rPr lang="en-US" i="1"/>
            <a:t>level of initial risk</a:t>
          </a:r>
          <a:r>
            <a:rPr lang="en-US"/>
            <a:t>)</a:t>
          </a:r>
        </a:p>
      </dgm:t>
    </dgm:pt>
    <dgm:pt modelId="{5CA8D65F-525B-0343-86DB-FCBDC9072114}" type="parTrans" cxnId="{FF6801D2-9CA0-BC4F-9565-B0E120F7FEB5}">
      <dgm:prSet/>
      <dgm:spPr/>
      <dgm:t>
        <a:bodyPr/>
        <a:lstStyle/>
        <a:p>
          <a:endParaRPr lang="en-US"/>
        </a:p>
      </dgm:t>
    </dgm:pt>
    <dgm:pt modelId="{49B8961D-9B2A-C644-BC73-CD8453D1DE6A}" type="sibTrans" cxnId="{FF6801D2-9CA0-BC4F-9565-B0E120F7FEB5}">
      <dgm:prSet/>
      <dgm:spPr/>
      <dgm:t>
        <a:bodyPr/>
        <a:lstStyle/>
        <a:p>
          <a:endParaRPr lang="en-US"/>
        </a:p>
      </dgm:t>
    </dgm:pt>
    <dgm:pt modelId="{E9073938-544C-024C-9671-429D18989D01}">
      <dgm:prSet phldrT="[Text]"/>
      <dgm:spPr/>
      <dgm:t>
        <a:bodyPr/>
        <a:lstStyle/>
        <a:p>
          <a:r>
            <a:rPr lang="en-US" dirty="0" err="1"/>
            <a:t>Intensitas</a:t>
          </a:r>
          <a:r>
            <a:rPr lang="en-US" dirty="0"/>
            <a:t> </a:t>
          </a:r>
          <a:r>
            <a:rPr lang="en-US" dirty="0" err="1"/>
            <a:t>Pelaksanaan</a:t>
          </a:r>
          <a:r>
            <a:rPr lang="en-US" dirty="0"/>
            <a:t> </a:t>
          </a:r>
          <a:r>
            <a:rPr lang="en-US" dirty="0" err="1"/>
            <a:t>Pengawasan</a:t>
          </a:r>
          <a:r>
            <a:rPr lang="en-US" dirty="0"/>
            <a:t> </a:t>
          </a:r>
          <a:r>
            <a:rPr lang="en-US" b="1" dirty="0" err="1"/>
            <a:t>Berdasarkan</a:t>
          </a:r>
          <a:r>
            <a:rPr lang="en-US" b="1" dirty="0"/>
            <a:t> Tingkat </a:t>
          </a:r>
          <a:r>
            <a:rPr lang="en-US" b="1" dirty="0" err="1"/>
            <a:t>Risiko</a:t>
          </a:r>
          <a:r>
            <a:rPr lang="en-US" b="1" dirty="0"/>
            <a:t> </a:t>
          </a:r>
        </a:p>
      </dgm:t>
    </dgm:pt>
    <dgm:pt modelId="{22EAC70A-AC36-D848-B784-55A1BC19188D}" type="parTrans" cxnId="{95411917-EF02-D94C-B821-FE4B9D44AE1D}">
      <dgm:prSet/>
      <dgm:spPr/>
      <dgm:t>
        <a:bodyPr/>
        <a:lstStyle/>
        <a:p>
          <a:endParaRPr lang="en-US"/>
        </a:p>
      </dgm:t>
    </dgm:pt>
    <dgm:pt modelId="{A46AF411-A388-1142-8D60-33C00B3A9229}" type="sibTrans" cxnId="{95411917-EF02-D94C-B821-FE4B9D44AE1D}">
      <dgm:prSet/>
      <dgm:spPr/>
      <dgm:t>
        <a:bodyPr/>
        <a:lstStyle/>
        <a:p>
          <a:endParaRPr lang="en-US"/>
        </a:p>
      </dgm:t>
    </dgm:pt>
    <dgm:pt modelId="{9C34A659-4765-F749-A89E-5AB9479FAD9F}" type="pres">
      <dgm:prSet presAssocID="{0834523C-3760-AF4F-AAED-92A6A6A08E4E}" presName="linear" presStyleCnt="0">
        <dgm:presLayoutVars>
          <dgm:dir/>
          <dgm:animLvl val="lvl"/>
          <dgm:resizeHandles val="exact"/>
        </dgm:presLayoutVars>
      </dgm:prSet>
      <dgm:spPr/>
    </dgm:pt>
    <dgm:pt modelId="{5C39AF4C-F7C1-D643-8F14-30169BE816D1}" type="pres">
      <dgm:prSet presAssocID="{2F000E06-A5F7-B24B-8EE1-1879EC646A15}" presName="parentLin" presStyleCnt="0"/>
      <dgm:spPr/>
    </dgm:pt>
    <dgm:pt modelId="{8785005A-626B-DC46-A42F-420738D2FA77}" type="pres">
      <dgm:prSet presAssocID="{2F000E06-A5F7-B24B-8EE1-1879EC646A15}" presName="parentLeftMargin" presStyleLbl="node1" presStyleIdx="0" presStyleCnt="3"/>
      <dgm:spPr/>
    </dgm:pt>
    <dgm:pt modelId="{760ACCFD-1704-D34A-B5FC-E6BB234A9A43}" type="pres">
      <dgm:prSet presAssocID="{2F000E06-A5F7-B24B-8EE1-1879EC646A15}" presName="parentText" presStyleLbl="node1" presStyleIdx="0" presStyleCnt="3">
        <dgm:presLayoutVars>
          <dgm:chMax val="0"/>
          <dgm:bulletEnabled val="1"/>
        </dgm:presLayoutVars>
      </dgm:prSet>
      <dgm:spPr/>
    </dgm:pt>
    <dgm:pt modelId="{601E256D-834B-6B48-8034-69A150AA8C19}" type="pres">
      <dgm:prSet presAssocID="{2F000E06-A5F7-B24B-8EE1-1879EC646A15}" presName="negativeSpace" presStyleCnt="0"/>
      <dgm:spPr/>
    </dgm:pt>
    <dgm:pt modelId="{A6B20093-6DFB-3A4B-91F8-05AEA91AADF9}" type="pres">
      <dgm:prSet presAssocID="{2F000E06-A5F7-B24B-8EE1-1879EC646A15}" presName="childText" presStyleLbl="conFgAcc1" presStyleIdx="0" presStyleCnt="3">
        <dgm:presLayoutVars>
          <dgm:bulletEnabled val="1"/>
        </dgm:presLayoutVars>
      </dgm:prSet>
      <dgm:spPr/>
    </dgm:pt>
    <dgm:pt modelId="{20338AD3-4879-4346-89B5-B56D5DAAC6BC}" type="pres">
      <dgm:prSet presAssocID="{CE1203BE-E855-9141-B1E3-9734524A3C6E}" presName="spaceBetweenRectangles" presStyleCnt="0"/>
      <dgm:spPr/>
    </dgm:pt>
    <dgm:pt modelId="{462DE8B8-20BB-F846-BE88-7D684927EFE5}" type="pres">
      <dgm:prSet presAssocID="{873ADC03-30A4-F743-A62A-6458A7400EC4}" presName="parentLin" presStyleCnt="0"/>
      <dgm:spPr/>
    </dgm:pt>
    <dgm:pt modelId="{D2F1C81E-651B-7C4F-83E7-BA55DBD49EDB}" type="pres">
      <dgm:prSet presAssocID="{873ADC03-30A4-F743-A62A-6458A7400EC4}" presName="parentLeftMargin" presStyleLbl="node1" presStyleIdx="0" presStyleCnt="3"/>
      <dgm:spPr/>
    </dgm:pt>
    <dgm:pt modelId="{03224C6A-2F15-7844-B2D7-F2AEDF69E69B}" type="pres">
      <dgm:prSet presAssocID="{873ADC03-30A4-F743-A62A-6458A7400EC4}" presName="parentText" presStyleLbl="node1" presStyleIdx="1" presStyleCnt="3">
        <dgm:presLayoutVars>
          <dgm:chMax val="0"/>
          <dgm:bulletEnabled val="1"/>
        </dgm:presLayoutVars>
      </dgm:prSet>
      <dgm:spPr/>
    </dgm:pt>
    <dgm:pt modelId="{C4955236-1EF5-6D46-B646-CEC920E3EE6A}" type="pres">
      <dgm:prSet presAssocID="{873ADC03-30A4-F743-A62A-6458A7400EC4}" presName="negativeSpace" presStyleCnt="0"/>
      <dgm:spPr/>
    </dgm:pt>
    <dgm:pt modelId="{83223949-F476-5B42-8DF6-24A5AF4A3694}" type="pres">
      <dgm:prSet presAssocID="{873ADC03-30A4-F743-A62A-6458A7400EC4}" presName="childText" presStyleLbl="conFgAcc1" presStyleIdx="1" presStyleCnt="3">
        <dgm:presLayoutVars>
          <dgm:bulletEnabled val="1"/>
        </dgm:presLayoutVars>
      </dgm:prSet>
      <dgm:spPr/>
    </dgm:pt>
    <dgm:pt modelId="{0036212F-D9B4-F846-A9BA-69FC5E165088}" type="pres">
      <dgm:prSet presAssocID="{BC2CFEAB-4B75-C747-8DC7-2BA33485D133}" presName="spaceBetweenRectangles" presStyleCnt="0"/>
      <dgm:spPr/>
    </dgm:pt>
    <dgm:pt modelId="{285701E3-500D-FB4D-9283-DAD263986C66}" type="pres">
      <dgm:prSet presAssocID="{A3674630-51F2-8F4F-BF7C-67867950A473}" presName="parentLin" presStyleCnt="0"/>
      <dgm:spPr/>
    </dgm:pt>
    <dgm:pt modelId="{BC3EF32F-1B1A-AD40-A3FB-8084F9F7D52E}" type="pres">
      <dgm:prSet presAssocID="{A3674630-51F2-8F4F-BF7C-67867950A473}" presName="parentLeftMargin" presStyleLbl="node1" presStyleIdx="1" presStyleCnt="3"/>
      <dgm:spPr/>
    </dgm:pt>
    <dgm:pt modelId="{9452D265-69BD-BE46-B432-962A509C17A1}" type="pres">
      <dgm:prSet presAssocID="{A3674630-51F2-8F4F-BF7C-67867950A473}" presName="parentText" presStyleLbl="node1" presStyleIdx="2" presStyleCnt="3">
        <dgm:presLayoutVars>
          <dgm:chMax val="0"/>
          <dgm:bulletEnabled val="1"/>
        </dgm:presLayoutVars>
      </dgm:prSet>
      <dgm:spPr/>
    </dgm:pt>
    <dgm:pt modelId="{A0D8D082-C269-AD41-97F6-DA3FC4AD0825}" type="pres">
      <dgm:prSet presAssocID="{A3674630-51F2-8F4F-BF7C-67867950A473}" presName="negativeSpace" presStyleCnt="0"/>
      <dgm:spPr/>
    </dgm:pt>
    <dgm:pt modelId="{ADA788B2-E128-874C-843D-9EDA1BE5F165}" type="pres">
      <dgm:prSet presAssocID="{A3674630-51F2-8F4F-BF7C-67867950A473}" presName="childText" presStyleLbl="conFgAcc1" presStyleIdx="2" presStyleCnt="3">
        <dgm:presLayoutVars>
          <dgm:bulletEnabled val="1"/>
        </dgm:presLayoutVars>
      </dgm:prSet>
      <dgm:spPr/>
    </dgm:pt>
  </dgm:ptLst>
  <dgm:cxnLst>
    <dgm:cxn modelId="{95411917-EF02-D94C-B821-FE4B9D44AE1D}" srcId="{A3674630-51F2-8F4F-BF7C-67867950A473}" destId="{E9073938-544C-024C-9671-429D18989D01}" srcOrd="0" destOrd="0" parTransId="{22EAC70A-AC36-D848-B784-55A1BC19188D}" sibTransId="{A46AF411-A388-1142-8D60-33C00B3A9229}"/>
    <dgm:cxn modelId="{77CE7229-E08E-194E-AB8D-7CEF436F29C6}" type="presOf" srcId="{32CCE469-4ECB-8549-BD6E-DA0879290D95}" destId="{83223949-F476-5B42-8DF6-24A5AF4A3694}" srcOrd="0" destOrd="1" presId="urn:microsoft.com/office/officeart/2005/8/layout/list1"/>
    <dgm:cxn modelId="{5EB5E934-752D-DA42-AD4C-75CD7517CD59}" type="presOf" srcId="{A3674630-51F2-8F4F-BF7C-67867950A473}" destId="{BC3EF32F-1B1A-AD40-A3FB-8084F9F7D52E}" srcOrd="0" destOrd="0" presId="urn:microsoft.com/office/officeart/2005/8/layout/list1"/>
    <dgm:cxn modelId="{3978B23B-7BAD-7E49-AF99-F119E86FB7E2}" srcId="{0834523C-3760-AF4F-AAED-92A6A6A08E4E}" destId="{A3674630-51F2-8F4F-BF7C-67867950A473}" srcOrd="2" destOrd="0" parTransId="{A526C2F5-2A9F-BD4A-A1D6-E3FDB9C087E0}" sibTransId="{443F7898-F62B-4A4F-9D85-4F334CC5A43C}"/>
    <dgm:cxn modelId="{9FE0655B-7736-214A-B80F-8A3A2B93AAC3}" type="presOf" srcId="{873ADC03-30A4-F743-A62A-6458A7400EC4}" destId="{D2F1C81E-651B-7C4F-83E7-BA55DBD49EDB}" srcOrd="0" destOrd="0" presId="urn:microsoft.com/office/officeart/2005/8/layout/list1"/>
    <dgm:cxn modelId="{391A6B5C-00DE-A243-AD74-4D1D6E5EACF8}" srcId="{2F000E06-A5F7-B24B-8EE1-1879EC646A15}" destId="{7BAAF456-BDDE-1B44-B8E2-05FCA76981C3}" srcOrd="0" destOrd="0" parTransId="{0997A94E-6EE3-ED4E-869B-07B0F4B302B4}" sibTransId="{8318AC79-C18D-6E49-A9A9-E64B2C1230C5}"/>
    <dgm:cxn modelId="{8E15C05F-1DB3-3A4C-882D-C5C531C190B1}" srcId="{873ADC03-30A4-F743-A62A-6458A7400EC4}" destId="{75D618E6-1208-674D-A970-B5E08AE4CAFD}" srcOrd="0" destOrd="0" parTransId="{C3302DF0-7B31-4D49-A6F0-8255E887FAF3}" sibTransId="{BC06E4A7-3599-A546-9DBA-53242D2AF3D3}"/>
    <dgm:cxn modelId="{1B826266-7722-E94E-9F17-E4415C7C548E}" type="presOf" srcId="{A3674630-51F2-8F4F-BF7C-67867950A473}" destId="{9452D265-69BD-BE46-B432-962A509C17A1}" srcOrd="1" destOrd="0" presId="urn:microsoft.com/office/officeart/2005/8/layout/list1"/>
    <dgm:cxn modelId="{5DC00449-11E2-7148-A368-859C3901D385}" type="presOf" srcId="{2F000E06-A5F7-B24B-8EE1-1879EC646A15}" destId="{8785005A-626B-DC46-A42F-420738D2FA77}" srcOrd="0" destOrd="0" presId="urn:microsoft.com/office/officeart/2005/8/layout/list1"/>
    <dgm:cxn modelId="{4E8FE156-D4C0-224E-908C-F8D782371347}" type="presOf" srcId="{7BAAF456-BDDE-1B44-B8E2-05FCA76981C3}" destId="{A6B20093-6DFB-3A4B-91F8-05AEA91AADF9}" srcOrd="0" destOrd="0" presId="urn:microsoft.com/office/officeart/2005/8/layout/list1"/>
    <dgm:cxn modelId="{CE859B87-A2AF-C349-B31C-04F4A1B44D3E}" type="presOf" srcId="{2F000E06-A5F7-B24B-8EE1-1879EC646A15}" destId="{760ACCFD-1704-D34A-B5FC-E6BB234A9A43}" srcOrd="1" destOrd="0" presId="urn:microsoft.com/office/officeart/2005/8/layout/list1"/>
    <dgm:cxn modelId="{4C46C1A6-4A90-8743-BC50-5BBB98A282DF}" srcId="{0834523C-3760-AF4F-AAED-92A6A6A08E4E}" destId="{2F000E06-A5F7-B24B-8EE1-1879EC646A15}" srcOrd="0" destOrd="0" parTransId="{A4E3A0E1-EC78-AC43-9DCF-0724249B67FF}" sibTransId="{CE1203BE-E855-9141-B1E3-9734524A3C6E}"/>
    <dgm:cxn modelId="{8704D3AA-5076-5F41-B180-2AA35377E8AE}" type="presOf" srcId="{E9073938-544C-024C-9671-429D18989D01}" destId="{ADA788B2-E128-874C-843D-9EDA1BE5F165}" srcOrd="0" destOrd="0" presId="urn:microsoft.com/office/officeart/2005/8/layout/list1"/>
    <dgm:cxn modelId="{233114B8-672A-FC4E-A17A-508A873C4F62}" type="presOf" srcId="{0834523C-3760-AF4F-AAED-92A6A6A08E4E}" destId="{9C34A659-4765-F749-A89E-5AB9479FAD9F}" srcOrd="0" destOrd="0" presId="urn:microsoft.com/office/officeart/2005/8/layout/list1"/>
    <dgm:cxn modelId="{BBC028C6-9C09-6049-9A85-972D38A063C9}" srcId="{0834523C-3760-AF4F-AAED-92A6A6A08E4E}" destId="{873ADC03-30A4-F743-A62A-6458A7400EC4}" srcOrd="1" destOrd="0" parTransId="{72C71F04-E98C-2F45-B014-12004BDDCD33}" sibTransId="{BC2CFEAB-4B75-C747-8DC7-2BA33485D133}"/>
    <dgm:cxn modelId="{92AA9AC8-E5D6-D042-BD1C-1F3242B0BD6D}" type="presOf" srcId="{75D618E6-1208-674D-A970-B5E08AE4CAFD}" destId="{83223949-F476-5B42-8DF6-24A5AF4A3694}" srcOrd="0" destOrd="0" presId="urn:microsoft.com/office/officeart/2005/8/layout/list1"/>
    <dgm:cxn modelId="{5A5CA5CE-7E33-9446-B4E7-A550ACF89906}" type="presOf" srcId="{873ADC03-30A4-F743-A62A-6458A7400EC4}" destId="{03224C6A-2F15-7844-B2D7-F2AEDF69E69B}" srcOrd="1" destOrd="0" presId="urn:microsoft.com/office/officeart/2005/8/layout/list1"/>
    <dgm:cxn modelId="{FF6801D2-9CA0-BC4F-9565-B0E120F7FEB5}" srcId="{873ADC03-30A4-F743-A62A-6458A7400EC4}" destId="{32CCE469-4ECB-8549-BD6E-DA0879290D95}" srcOrd="1" destOrd="0" parTransId="{5CA8D65F-525B-0343-86DB-FCBDC9072114}" sibTransId="{49B8961D-9B2A-C644-BC73-CD8453D1DE6A}"/>
    <dgm:cxn modelId="{0960086D-96A6-7340-ABD1-E61D8B24B5F4}" type="presParOf" srcId="{9C34A659-4765-F749-A89E-5AB9479FAD9F}" destId="{5C39AF4C-F7C1-D643-8F14-30169BE816D1}" srcOrd="0" destOrd="0" presId="urn:microsoft.com/office/officeart/2005/8/layout/list1"/>
    <dgm:cxn modelId="{E2865D25-A86D-9945-9D7B-E5B35486C56B}" type="presParOf" srcId="{5C39AF4C-F7C1-D643-8F14-30169BE816D1}" destId="{8785005A-626B-DC46-A42F-420738D2FA77}" srcOrd="0" destOrd="0" presId="urn:microsoft.com/office/officeart/2005/8/layout/list1"/>
    <dgm:cxn modelId="{0DCD587E-66DC-9945-8F3E-C8E16A96E6CF}" type="presParOf" srcId="{5C39AF4C-F7C1-D643-8F14-30169BE816D1}" destId="{760ACCFD-1704-D34A-B5FC-E6BB234A9A43}" srcOrd="1" destOrd="0" presId="urn:microsoft.com/office/officeart/2005/8/layout/list1"/>
    <dgm:cxn modelId="{C1913276-40B1-A54D-8916-ADC3F1FA88CB}" type="presParOf" srcId="{9C34A659-4765-F749-A89E-5AB9479FAD9F}" destId="{601E256D-834B-6B48-8034-69A150AA8C19}" srcOrd="1" destOrd="0" presId="urn:microsoft.com/office/officeart/2005/8/layout/list1"/>
    <dgm:cxn modelId="{E56CD0AC-F3A1-2C4E-9E93-A05C1AABC5F0}" type="presParOf" srcId="{9C34A659-4765-F749-A89E-5AB9479FAD9F}" destId="{A6B20093-6DFB-3A4B-91F8-05AEA91AADF9}" srcOrd="2" destOrd="0" presId="urn:microsoft.com/office/officeart/2005/8/layout/list1"/>
    <dgm:cxn modelId="{0C73F732-A6C7-E342-BADE-8308282026D9}" type="presParOf" srcId="{9C34A659-4765-F749-A89E-5AB9479FAD9F}" destId="{20338AD3-4879-4346-89B5-B56D5DAAC6BC}" srcOrd="3" destOrd="0" presId="urn:microsoft.com/office/officeart/2005/8/layout/list1"/>
    <dgm:cxn modelId="{E10FD082-7EFC-2F4A-BE62-69B71FCDAAAA}" type="presParOf" srcId="{9C34A659-4765-F749-A89E-5AB9479FAD9F}" destId="{462DE8B8-20BB-F846-BE88-7D684927EFE5}" srcOrd="4" destOrd="0" presId="urn:microsoft.com/office/officeart/2005/8/layout/list1"/>
    <dgm:cxn modelId="{4561A74E-8C70-9647-9C08-E5FB13A68B64}" type="presParOf" srcId="{462DE8B8-20BB-F846-BE88-7D684927EFE5}" destId="{D2F1C81E-651B-7C4F-83E7-BA55DBD49EDB}" srcOrd="0" destOrd="0" presId="urn:microsoft.com/office/officeart/2005/8/layout/list1"/>
    <dgm:cxn modelId="{AC6F51A6-8949-2640-BACB-2493BE9118DC}" type="presParOf" srcId="{462DE8B8-20BB-F846-BE88-7D684927EFE5}" destId="{03224C6A-2F15-7844-B2D7-F2AEDF69E69B}" srcOrd="1" destOrd="0" presId="urn:microsoft.com/office/officeart/2005/8/layout/list1"/>
    <dgm:cxn modelId="{5B6EA440-D1EF-144B-B19D-59AE1B5594C2}" type="presParOf" srcId="{9C34A659-4765-F749-A89E-5AB9479FAD9F}" destId="{C4955236-1EF5-6D46-B646-CEC920E3EE6A}" srcOrd="5" destOrd="0" presId="urn:microsoft.com/office/officeart/2005/8/layout/list1"/>
    <dgm:cxn modelId="{2A0810F9-94DC-2D47-9977-17584B0CCF40}" type="presParOf" srcId="{9C34A659-4765-F749-A89E-5AB9479FAD9F}" destId="{83223949-F476-5B42-8DF6-24A5AF4A3694}" srcOrd="6" destOrd="0" presId="urn:microsoft.com/office/officeart/2005/8/layout/list1"/>
    <dgm:cxn modelId="{1CC84F82-E889-5143-A47D-AB9552584869}" type="presParOf" srcId="{9C34A659-4765-F749-A89E-5AB9479FAD9F}" destId="{0036212F-D9B4-F846-A9BA-69FC5E165088}" srcOrd="7" destOrd="0" presId="urn:microsoft.com/office/officeart/2005/8/layout/list1"/>
    <dgm:cxn modelId="{47AC385F-E2FE-0C40-AD6B-E0037C5780EA}" type="presParOf" srcId="{9C34A659-4765-F749-A89E-5AB9479FAD9F}" destId="{285701E3-500D-FB4D-9283-DAD263986C66}" srcOrd="8" destOrd="0" presId="urn:microsoft.com/office/officeart/2005/8/layout/list1"/>
    <dgm:cxn modelId="{3023EED0-4465-514F-9225-48AB4B2B2EE3}" type="presParOf" srcId="{285701E3-500D-FB4D-9283-DAD263986C66}" destId="{BC3EF32F-1B1A-AD40-A3FB-8084F9F7D52E}" srcOrd="0" destOrd="0" presId="urn:microsoft.com/office/officeart/2005/8/layout/list1"/>
    <dgm:cxn modelId="{8D117BE9-C6E2-1545-A2C5-6A78D14CED2F}" type="presParOf" srcId="{285701E3-500D-FB4D-9283-DAD263986C66}" destId="{9452D265-69BD-BE46-B432-962A509C17A1}" srcOrd="1" destOrd="0" presId="urn:microsoft.com/office/officeart/2005/8/layout/list1"/>
    <dgm:cxn modelId="{5F39CE32-2E12-424A-8517-1A28AE4985B4}" type="presParOf" srcId="{9C34A659-4765-F749-A89E-5AB9479FAD9F}" destId="{A0D8D082-C269-AD41-97F6-DA3FC4AD0825}" srcOrd="9" destOrd="0" presId="urn:microsoft.com/office/officeart/2005/8/layout/list1"/>
    <dgm:cxn modelId="{0345FC6D-3D47-3C40-9BDF-B22833B31793}" type="presParOf" srcId="{9C34A659-4765-F749-A89E-5AB9479FAD9F}" destId="{ADA788B2-E128-874C-843D-9EDA1BE5F165}"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4EE8D31-EA0E-49D2-B7DA-171F46C0EFC7}" type="doc">
      <dgm:prSet loTypeId="urn:microsoft.com/office/officeart/2009/3/layout/HorizontalOrganizationChart" loCatId="hierarchy" qsTypeId="urn:microsoft.com/office/officeart/2005/8/quickstyle/simple1" qsCatId="simple" csTypeId="urn:microsoft.com/office/officeart/2005/8/colors/colorful3" csCatId="colorful" phldr="1"/>
      <dgm:spPr/>
      <dgm:t>
        <a:bodyPr/>
        <a:lstStyle/>
        <a:p>
          <a:endParaRPr lang="id-ID"/>
        </a:p>
      </dgm:t>
    </dgm:pt>
    <dgm:pt modelId="{D461012F-2163-4221-97C2-9DDC3F7F95E3}">
      <dgm:prSet phldrT="[Text]" custT="1"/>
      <dgm:spPr/>
      <dgm:t>
        <a:bodyPr/>
        <a:lstStyle/>
        <a:p>
          <a:r>
            <a:rPr lang="id-ID" sz="1100" b="1" dirty="0">
              <a:solidFill>
                <a:schemeClr val="tx1"/>
              </a:solidFill>
            </a:rPr>
            <a:t>NIB</a:t>
          </a:r>
        </a:p>
      </dgm:t>
    </dgm:pt>
    <dgm:pt modelId="{41DDC742-1930-4D97-B6A6-5AD0021EE850}" type="parTrans" cxnId="{110D41E0-4950-45C7-A0ED-5AF7C1A37AC3}">
      <dgm:prSet/>
      <dgm:spPr/>
      <dgm:t>
        <a:bodyPr/>
        <a:lstStyle/>
        <a:p>
          <a:endParaRPr lang="id-ID" sz="1100" b="1">
            <a:solidFill>
              <a:schemeClr val="tx1"/>
            </a:solidFill>
          </a:endParaRPr>
        </a:p>
      </dgm:t>
    </dgm:pt>
    <dgm:pt modelId="{00031DBA-4C56-4288-BBF4-8662B0C4364A}" type="sibTrans" cxnId="{110D41E0-4950-45C7-A0ED-5AF7C1A37AC3}">
      <dgm:prSet/>
      <dgm:spPr/>
      <dgm:t>
        <a:bodyPr/>
        <a:lstStyle/>
        <a:p>
          <a:endParaRPr lang="id-ID" sz="1100" b="1">
            <a:solidFill>
              <a:schemeClr val="tx1"/>
            </a:solidFill>
          </a:endParaRPr>
        </a:p>
      </dgm:t>
    </dgm:pt>
    <dgm:pt modelId="{A8876A11-CBC2-499C-BB4D-6BA828258C4A}">
      <dgm:prSet phldrT="[Text]" custT="1"/>
      <dgm:spPr/>
      <dgm:t>
        <a:bodyPr/>
        <a:lstStyle/>
        <a:p>
          <a:r>
            <a:rPr lang="id-ID" sz="1100" b="1" dirty="0">
              <a:solidFill>
                <a:schemeClr val="tx1"/>
              </a:solidFill>
            </a:rPr>
            <a:t>Belum Terverifikasi</a:t>
          </a:r>
        </a:p>
      </dgm:t>
    </dgm:pt>
    <dgm:pt modelId="{74CD85D7-B0D6-41C6-B647-219849737FE7}" type="parTrans" cxnId="{60D9D2A5-4A01-44B4-8AB5-3B6D3A8B2391}">
      <dgm:prSet/>
      <dgm:spPr/>
      <dgm:t>
        <a:bodyPr/>
        <a:lstStyle/>
        <a:p>
          <a:endParaRPr lang="id-ID" sz="1100" b="1">
            <a:solidFill>
              <a:schemeClr val="tx1"/>
            </a:solidFill>
          </a:endParaRPr>
        </a:p>
      </dgm:t>
    </dgm:pt>
    <dgm:pt modelId="{A1CCFFFF-3001-41CF-87C6-EB6A3216231F}" type="sibTrans" cxnId="{60D9D2A5-4A01-44B4-8AB5-3B6D3A8B2391}">
      <dgm:prSet/>
      <dgm:spPr/>
      <dgm:t>
        <a:bodyPr/>
        <a:lstStyle/>
        <a:p>
          <a:endParaRPr lang="id-ID" sz="1100" b="1">
            <a:solidFill>
              <a:schemeClr val="tx1"/>
            </a:solidFill>
          </a:endParaRPr>
        </a:p>
      </dgm:t>
    </dgm:pt>
    <dgm:pt modelId="{3C92B7E0-6671-4EAE-BFB5-ABD1782EFC41}">
      <dgm:prSet phldrT="[Text]" custT="1"/>
      <dgm:spPr/>
      <dgm:t>
        <a:bodyPr/>
        <a:lstStyle/>
        <a:p>
          <a:r>
            <a:rPr lang="id-ID" sz="1100" b="1" dirty="0">
              <a:solidFill>
                <a:schemeClr val="tx1"/>
              </a:solidFill>
            </a:rPr>
            <a:t>Sudah Terverifikasi</a:t>
          </a:r>
        </a:p>
      </dgm:t>
    </dgm:pt>
    <dgm:pt modelId="{286F969A-EF74-42F9-BF92-60DBC226012D}" type="parTrans" cxnId="{AAE60437-9ED9-4C1E-9B44-997AFB5C5E52}">
      <dgm:prSet/>
      <dgm:spPr/>
      <dgm:t>
        <a:bodyPr/>
        <a:lstStyle/>
        <a:p>
          <a:endParaRPr lang="id-ID" sz="1100" b="1">
            <a:solidFill>
              <a:schemeClr val="tx1"/>
            </a:solidFill>
          </a:endParaRPr>
        </a:p>
      </dgm:t>
    </dgm:pt>
    <dgm:pt modelId="{EF6D80AB-CA81-4775-8061-8627063C65A1}" type="sibTrans" cxnId="{AAE60437-9ED9-4C1E-9B44-997AFB5C5E52}">
      <dgm:prSet/>
      <dgm:spPr/>
      <dgm:t>
        <a:bodyPr/>
        <a:lstStyle/>
        <a:p>
          <a:endParaRPr lang="id-ID" sz="1100" b="1">
            <a:solidFill>
              <a:schemeClr val="tx1"/>
            </a:solidFill>
          </a:endParaRPr>
        </a:p>
      </dgm:t>
    </dgm:pt>
    <dgm:pt modelId="{631943E0-575F-4EB5-B612-1C29D10EACB9}">
      <dgm:prSet phldrT="[Text]" custT="1"/>
      <dgm:spPr/>
      <dgm:t>
        <a:bodyPr/>
        <a:lstStyle/>
        <a:p>
          <a:r>
            <a:rPr lang="id-ID" sz="1100" b="1" dirty="0">
              <a:solidFill>
                <a:schemeClr val="tx1"/>
              </a:solidFill>
            </a:rPr>
            <a:t>Disetujui secara otomatis (Fiktif Positif)</a:t>
          </a:r>
        </a:p>
      </dgm:t>
    </dgm:pt>
    <dgm:pt modelId="{33A510D4-11B0-4C03-9145-BF75ECC48B01}" type="parTrans" cxnId="{203A583D-BD39-456E-BB21-6C4B443F8058}">
      <dgm:prSet/>
      <dgm:spPr/>
      <dgm:t>
        <a:bodyPr/>
        <a:lstStyle/>
        <a:p>
          <a:endParaRPr lang="id-ID" sz="1100" b="1">
            <a:solidFill>
              <a:schemeClr val="tx1"/>
            </a:solidFill>
          </a:endParaRPr>
        </a:p>
      </dgm:t>
    </dgm:pt>
    <dgm:pt modelId="{F41F5D08-4FF1-42DE-99AF-FF270A9A3DAA}" type="sibTrans" cxnId="{203A583D-BD39-456E-BB21-6C4B443F8058}">
      <dgm:prSet/>
      <dgm:spPr/>
      <dgm:t>
        <a:bodyPr/>
        <a:lstStyle/>
        <a:p>
          <a:endParaRPr lang="id-ID" sz="1100" b="1">
            <a:solidFill>
              <a:schemeClr val="tx1"/>
            </a:solidFill>
          </a:endParaRPr>
        </a:p>
      </dgm:t>
    </dgm:pt>
    <dgm:pt modelId="{CA4A1BA9-0326-4C67-8EE5-D10030F61DE3}">
      <dgm:prSet phldrT="[Text]" custT="1"/>
      <dgm:spPr/>
      <dgm:t>
        <a:bodyPr/>
        <a:lstStyle/>
        <a:p>
          <a:r>
            <a:rPr lang="id-ID" sz="1100" b="1" dirty="0">
              <a:solidFill>
                <a:schemeClr val="tx1"/>
              </a:solidFill>
            </a:rPr>
            <a:t>Disetujui melalui Proses Verifikasi dan Persetujuan</a:t>
          </a:r>
        </a:p>
      </dgm:t>
    </dgm:pt>
    <dgm:pt modelId="{31B8945C-77F1-4042-A0CB-ED291572DCFE}" type="parTrans" cxnId="{F6DAF288-2E82-4D44-ABD0-4C2586670207}">
      <dgm:prSet/>
      <dgm:spPr/>
      <dgm:t>
        <a:bodyPr/>
        <a:lstStyle/>
        <a:p>
          <a:endParaRPr lang="id-ID" sz="1100" b="1">
            <a:solidFill>
              <a:schemeClr val="tx1"/>
            </a:solidFill>
          </a:endParaRPr>
        </a:p>
      </dgm:t>
    </dgm:pt>
    <dgm:pt modelId="{E53ED614-9E8B-42BF-BD2E-72AB6EE1324A}" type="sibTrans" cxnId="{F6DAF288-2E82-4D44-ABD0-4C2586670207}">
      <dgm:prSet/>
      <dgm:spPr/>
      <dgm:t>
        <a:bodyPr/>
        <a:lstStyle/>
        <a:p>
          <a:endParaRPr lang="id-ID" sz="1100" b="1">
            <a:solidFill>
              <a:schemeClr val="tx1"/>
            </a:solidFill>
          </a:endParaRPr>
        </a:p>
      </dgm:t>
    </dgm:pt>
    <dgm:pt modelId="{2A2A6BFC-EDDE-459C-A6F4-444E09911607}">
      <dgm:prSet phldrT="[Text]" custT="1"/>
      <dgm:spPr/>
      <dgm:t>
        <a:bodyPr/>
        <a:lstStyle/>
        <a:p>
          <a:r>
            <a:rPr lang="id-ID" sz="1100" b="1" dirty="0">
              <a:solidFill>
                <a:schemeClr val="tx1"/>
              </a:solidFill>
            </a:rPr>
            <a:t>Sertifikat Standar</a:t>
          </a:r>
        </a:p>
      </dgm:t>
    </dgm:pt>
    <dgm:pt modelId="{43B06A28-E161-4E31-B420-F1F2388FDC63}" type="parTrans" cxnId="{5E45E5D6-068A-4E1C-8AAA-A690F431113D}">
      <dgm:prSet/>
      <dgm:spPr/>
      <dgm:t>
        <a:bodyPr/>
        <a:lstStyle/>
        <a:p>
          <a:endParaRPr lang="id-ID" sz="1100" b="1">
            <a:solidFill>
              <a:schemeClr val="tx1"/>
            </a:solidFill>
          </a:endParaRPr>
        </a:p>
      </dgm:t>
    </dgm:pt>
    <dgm:pt modelId="{9F0D08ED-764F-4CD9-9A8A-41782391EF45}" type="sibTrans" cxnId="{5E45E5D6-068A-4E1C-8AAA-A690F431113D}">
      <dgm:prSet/>
      <dgm:spPr/>
      <dgm:t>
        <a:bodyPr/>
        <a:lstStyle/>
        <a:p>
          <a:endParaRPr lang="id-ID" sz="1100" b="1">
            <a:solidFill>
              <a:schemeClr val="tx1"/>
            </a:solidFill>
          </a:endParaRPr>
        </a:p>
      </dgm:t>
    </dgm:pt>
    <dgm:pt modelId="{3D4C13CD-979F-406F-BAAC-C24D00A29EDA}" type="pres">
      <dgm:prSet presAssocID="{E4EE8D31-EA0E-49D2-B7DA-171F46C0EFC7}" presName="hierChild1" presStyleCnt="0">
        <dgm:presLayoutVars>
          <dgm:orgChart val="1"/>
          <dgm:chPref val="1"/>
          <dgm:dir/>
          <dgm:animOne val="branch"/>
          <dgm:animLvl val="lvl"/>
          <dgm:resizeHandles/>
        </dgm:presLayoutVars>
      </dgm:prSet>
      <dgm:spPr/>
    </dgm:pt>
    <dgm:pt modelId="{AF2ABEAD-3D89-4349-8BCF-712091F97C9C}" type="pres">
      <dgm:prSet presAssocID="{D461012F-2163-4221-97C2-9DDC3F7F95E3}" presName="hierRoot1" presStyleCnt="0">
        <dgm:presLayoutVars>
          <dgm:hierBranch val="init"/>
        </dgm:presLayoutVars>
      </dgm:prSet>
      <dgm:spPr/>
    </dgm:pt>
    <dgm:pt modelId="{85FDE062-0A6F-48CD-98D5-9FEB3F80DF74}" type="pres">
      <dgm:prSet presAssocID="{D461012F-2163-4221-97C2-9DDC3F7F95E3}" presName="rootComposite1" presStyleCnt="0"/>
      <dgm:spPr/>
    </dgm:pt>
    <dgm:pt modelId="{3BA9C7DE-097F-4508-B2C0-0350F5DD7BF9}" type="pres">
      <dgm:prSet presAssocID="{D461012F-2163-4221-97C2-9DDC3F7F95E3}" presName="rootText1" presStyleLbl="node0" presStyleIdx="0" presStyleCnt="2">
        <dgm:presLayoutVars>
          <dgm:chPref val="3"/>
        </dgm:presLayoutVars>
      </dgm:prSet>
      <dgm:spPr/>
    </dgm:pt>
    <dgm:pt modelId="{DF60E8E8-4E30-43D2-A464-54188CFE6E0D}" type="pres">
      <dgm:prSet presAssocID="{D461012F-2163-4221-97C2-9DDC3F7F95E3}" presName="rootConnector1" presStyleLbl="node1" presStyleIdx="0" presStyleCnt="0"/>
      <dgm:spPr/>
    </dgm:pt>
    <dgm:pt modelId="{6E15D02C-05D0-4D21-9229-645DC79DE4B2}" type="pres">
      <dgm:prSet presAssocID="{D461012F-2163-4221-97C2-9DDC3F7F95E3}" presName="hierChild2" presStyleCnt="0"/>
      <dgm:spPr/>
    </dgm:pt>
    <dgm:pt modelId="{D9C1D138-DF15-4D2A-9532-E1C3DB4B24B7}" type="pres">
      <dgm:prSet presAssocID="{D461012F-2163-4221-97C2-9DDC3F7F95E3}" presName="hierChild3" presStyleCnt="0"/>
      <dgm:spPr/>
    </dgm:pt>
    <dgm:pt modelId="{D7C9CB29-7D10-4647-A76A-008F00F5AB70}" type="pres">
      <dgm:prSet presAssocID="{2A2A6BFC-EDDE-459C-A6F4-444E09911607}" presName="hierRoot1" presStyleCnt="0">
        <dgm:presLayoutVars>
          <dgm:hierBranch val="init"/>
        </dgm:presLayoutVars>
      </dgm:prSet>
      <dgm:spPr/>
    </dgm:pt>
    <dgm:pt modelId="{282119AB-C6E4-49B1-86C9-475B775ACB9A}" type="pres">
      <dgm:prSet presAssocID="{2A2A6BFC-EDDE-459C-A6F4-444E09911607}" presName="rootComposite1" presStyleCnt="0"/>
      <dgm:spPr/>
    </dgm:pt>
    <dgm:pt modelId="{D92B60E3-AC78-49E9-B1E5-CB422DF47653}" type="pres">
      <dgm:prSet presAssocID="{2A2A6BFC-EDDE-459C-A6F4-444E09911607}" presName="rootText1" presStyleLbl="node0" presStyleIdx="1" presStyleCnt="2">
        <dgm:presLayoutVars>
          <dgm:chPref val="3"/>
        </dgm:presLayoutVars>
      </dgm:prSet>
      <dgm:spPr/>
    </dgm:pt>
    <dgm:pt modelId="{0CD8DA8B-E335-428E-8B17-3BDAA4D11DA2}" type="pres">
      <dgm:prSet presAssocID="{2A2A6BFC-EDDE-459C-A6F4-444E09911607}" presName="rootConnector1" presStyleLbl="node1" presStyleIdx="0" presStyleCnt="0"/>
      <dgm:spPr/>
    </dgm:pt>
    <dgm:pt modelId="{9E8F1FDB-5415-4346-A552-D3C5500D7E07}" type="pres">
      <dgm:prSet presAssocID="{2A2A6BFC-EDDE-459C-A6F4-444E09911607}" presName="hierChild2" presStyleCnt="0"/>
      <dgm:spPr/>
    </dgm:pt>
    <dgm:pt modelId="{06D6D0C3-2C63-40A6-8D9D-2ADEA48367E2}" type="pres">
      <dgm:prSet presAssocID="{74CD85D7-B0D6-41C6-B647-219849737FE7}" presName="Name64" presStyleLbl="parChTrans1D2" presStyleIdx="0" presStyleCnt="2"/>
      <dgm:spPr/>
    </dgm:pt>
    <dgm:pt modelId="{07AB4ACD-D495-4CE1-84A2-3A0A6AEAB790}" type="pres">
      <dgm:prSet presAssocID="{A8876A11-CBC2-499C-BB4D-6BA828258C4A}" presName="hierRoot2" presStyleCnt="0">
        <dgm:presLayoutVars>
          <dgm:hierBranch val="init"/>
        </dgm:presLayoutVars>
      </dgm:prSet>
      <dgm:spPr/>
    </dgm:pt>
    <dgm:pt modelId="{B6715BEC-AAF5-4C53-9FFA-BD4DCA8C05C8}" type="pres">
      <dgm:prSet presAssocID="{A8876A11-CBC2-499C-BB4D-6BA828258C4A}" presName="rootComposite" presStyleCnt="0"/>
      <dgm:spPr/>
    </dgm:pt>
    <dgm:pt modelId="{7D9AED96-F585-43D4-925A-7C0308F4ED00}" type="pres">
      <dgm:prSet presAssocID="{A8876A11-CBC2-499C-BB4D-6BA828258C4A}" presName="rootText" presStyleLbl="node2" presStyleIdx="0" presStyleCnt="2">
        <dgm:presLayoutVars>
          <dgm:chPref val="3"/>
        </dgm:presLayoutVars>
      </dgm:prSet>
      <dgm:spPr/>
    </dgm:pt>
    <dgm:pt modelId="{44B0EEFE-67BF-49C1-BA5B-8AFD5E5ED817}" type="pres">
      <dgm:prSet presAssocID="{A8876A11-CBC2-499C-BB4D-6BA828258C4A}" presName="rootConnector" presStyleLbl="node2" presStyleIdx="0" presStyleCnt="2"/>
      <dgm:spPr/>
    </dgm:pt>
    <dgm:pt modelId="{FB22F9EF-D399-456C-BBE4-3D605A48D38B}" type="pres">
      <dgm:prSet presAssocID="{A8876A11-CBC2-499C-BB4D-6BA828258C4A}" presName="hierChild4" presStyleCnt="0"/>
      <dgm:spPr/>
    </dgm:pt>
    <dgm:pt modelId="{5D74744A-CBFA-4FFC-9786-9D78BC5E0951}" type="pres">
      <dgm:prSet presAssocID="{A8876A11-CBC2-499C-BB4D-6BA828258C4A}" presName="hierChild5" presStyleCnt="0"/>
      <dgm:spPr/>
    </dgm:pt>
    <dgm:pt modelId="{36BDEC2C-98BA-46A6-8C00-AC2AA6754C5D}" type="pres">
      <dgm:prSet presAssocID="{286F969A-EF74-42F9-BF92-60DBC226012D}" presName="Name64" presStyleLbl="parChTrans1D2" presStyleIdx="1" presStyleCnt="2"/>
      <dgm:spPr/>
    </dgm:pt>
    <dgm:pt modelId="{5FADF2F2-EF63-49D4-BA70-0A945068D72F}" type="pres">
      <dgm:prSet presAssocID="{3C92B7E0-6671-4EAE-BFB5-ABD1782EFC41}" presName="hierRoot2" presStyleCnt="0">
        <dgm:presLayoutVars>
          <dgm:hierBranch val="init"/>
        </dgm:presLayoutVars>
      </dgm:prSet>
      <dgm:spPr/>
    </dgm:pt>
    <dgm:pt modelId="{066C212E-A8A8-4CE9-85C0-CB5316DE8566}" type="pres">
      <dgm:prSet presAssocID="{3C92B7E0-6671-4EAE-BFB5-ABD1782EFC41}" presName="rootComposite" presStyleCnt="0"/>
      <dgm:spPr/>
    </dgm:pt>
    <dgm:pt modelId="{1AFEA7D6-0667-476F-A391-BE77068B752F}" type="pres">
      <dgm:prSet presAssocID="{3C92B7E0-6671-4EAE-BFB5-ABD1782EFC41}" presName="rootText" presStyleLbl="node2" presStyleIdx="1" presStyleCnt="2">
        <dgm:presLayoutVars>
          <dgm:chPref val="3"/>
        </dgm:presLayoutVars>
      </dgm:prSet>
      <dgm:spPr/>
    </dgm:pt>
    <dgm:pt modelId="{51CC871F-0956-4AC8-9F18-A7244A8EC819}" type="pres">
      <dgm:prSet presAssocID="{3C92B7E0-6671-4EAE-BFB5-ABD1782EFC41}" presName="rootConnector" presStyleLbl="node2" presStyleIdx="1" presStyleCnt="2"/>
      <dgm:spPr/>
    </dgm:pt>
    <dgm:pt modelId="{2EADF596-3627-4B59-971D-A68A3CE711C2}" type="pres">
      <dgm:prSet presAssocID="{3C92B7E0-6671-4EAE-BFB5-ABD1782EFC41}" presName="hierChild4" presStyleCnt="0"/>
      <dgm:spPr/>
    </dgm:pt>
    <dgm:pt modelId="{58704A2B-8FB0-4D0C-97E1-D1D5EF0FE797}" type="pres">
      <dgm:prSet presAssocID="{31B8945C-77F1-4042-A0CB-ED291572DCFE}" presName="Name64" presStyleLbl="parChTrans1D3" presStyleIdx="0" presStyleCnt="2"/>
      <dgm:spPr/>
    </dgm:pt>
    <dgm:pt modelId="{89E537CB-7A27-4B57-B2DA-254C0DFE5FFF}" type="pres">
      <dgm:prSet presAssocID="{CA4A1BA9-0326-4C67-8EE5-D10030F61DE3}" presName="hierRoot2" presStyleCnt="0">
        <dgm:presLayoutVars>
          <dgm:hierBranch val="init"/>
        </dgm:presLayoutVars>
      </dgm:prSet>
      <dgm:spPr/>
    </dgm:pt>
    <dgm:pt modelId="{7BFA9976-A13B-4248-A454-62E378BA3F74}" type="pres">
      <dgm:prSet presAssocID="{CA4A1BA9-0326-4C67-8EE5-D10030F61DE3}" presName="rootComposite" presStyleCnt="0"/>
      <dgm:spPr/>
    </dgm:pt>
    <dgm:pt modelId="{33F467EC-98A9-4CD0-8CA4-DBAF5ABEDF16}" type="pres">
      <dgm:prSet presAssocID="{CA4A1BA9-0326-4C67-8EE5-D10030F61DE3}" presName="rootText" presStyleLbl="node3" presStyleIdx="0" presStyleCnt="2">
        <dgm:presLayoutVars>
          <dgm:chPref val="3"/>
        </dgm:presLayoutVars>
      </dgm:prSet>
      <dgm:spPr/>
    </dgm:pt>
    <dgm:pt modelId="{E4F14BF1-4C59-4F43-AFB5-2B3BEDFEA724}" type="pres">
      <dgm:prSet presAssocID="{CA4A1BA9-0326-4C67-8EE5-D10030F61DE3}" presName="rootConnector" presStyleLbl="node3" presStyleIdx="0" presStyleCnt="2"/>
      <dgm:spPr/>
    </dgm:pt>
    <dgm:pt modelId="{5E79BD92-4801-45AD-99D2-2863C7107185}" type="pres">
      <dgm:prSet presAssocID="{CA4A1BA9-0326-4C67-8EE5-D10030F61DE3}" presName="hierChild4" presStyleCnt="0"/>
      <dgm:spPr/>
    </dgm:pt>
    <dgm:pt modelId="{4EE134A0-245D-43CD-9E7B-19260EA96F84}" type="pres">
      <dgm:prSet presAssocID="{CA4A1BA9-0326-4C67-8EE5-D10030F61DE3}" presName="hierChild5" presStyleCnt="0"/>
      <dgm:spPr/>
    </dgm:pt>
    <dgm:pt modelId="{3E4F1B89-38A5-4EF0-B715-3076ACF58160}" type="pres">
      <dgm:prSet presAssocID="{33A510D4-11B0-4C03-9145-BF75ECC48B01}" presName="Name64" presStyleLbl="parChTrans1D3" presStyleIdx="1" presStyleCnt="2"/>
      <dgm:spPr/>
    </dgm:pt>
    <dgm:pt modelId="{C787D79A-3ADB-4135-84AD-CABF6609F177}" type="pres">
      <dgm:prSet presAssocID="{631943E0-575F-4EB5-B612-1C29D10EACB9}" presName="hierRoot2" presStyleCnt="0">
        <dgm:presLayoutVars>
          <dgm:hierBranch val="init"/>
        </dgm:presLayoutVars>
      </dgm:prSet>
      <dgm:spPr/>
    </dgm:pt>
    <dgm:pt modelId="{CDBEBA7B-B42B-41D6-8496-32E6345B3817}" type="pres">
      <dgm:prSet presAssocID="{631943E0-575F-4EB5-B612-1C29D10EACB9}" presName="rootComposite" presStyleCnt="0"/>
      <dgm:spPr/>
    </dgm:pt>
    <dgm:pt modelId="{D117B27F-C0E4-4563-9236-F265788B76BE}" type="pres">
      <dgm:prSet presAssocID="{631943E0-575F-4EB5-B612-1C29D10EACB9}" presName="rootText" presStyleLbl="node3" presStyleIdx="1" presStyleCnt="2">
        <dgm:presLayoutVars>
          <dgm:chPref val="3"/>
        </dgm:presLayoutVars>
      </dgm:prSet>
      <dgm:spPr/>
    </dgm:pt>
    <dgm:pt modelId="{C6936ED2-3D2C-4C65-B6B2-FBA48727711B}" type="pres">
      <dgm:prSet presAssocID="{631943E0-575F-4EB5-B612-1C29D10EACB9}" presName="rootConnector" presStyleLbl="node3" presStyleIdx="1" presStyleCnt="2"/>
      <dgm:spPr/>
    </dgm:pt>
    <dgm:pt modelId="{5B0D58A2-6CF4-4DE4-B672-28C4E89F7F82}" type="pres">
      <dgm:prSet presAssocID="{631943E0-575F-4EB5-B612-1C29D10EACB9}" presName="hierChild4" presStyleCnt="0"/>
      <dgm:spPr/>
    </dgm:pt>
    <dgm:pt modelId="{85774CEC-6972-4B0E-85A5-8E0BCBE7776A}" type="pres">
      <dgm:prSet presAssocID="{631943E0-575F-4EB5-B612-1C29D10EACB9}" presName="hierChild5" presStyleCnt="0"/>
      <dgm:spPr/>
    </dgm:pt>
    <dgm:pt modelId="{40DFE46A-B4BE-45DE-B449-5C6F8C2B736B}" type="pres">
      <dgm:prSet presAssocID="{3C92B7E0-6671-4EAE-BFB5-ABD1782EFC41}" presName="hierChild5" presStyleCnt="0"/>
      <dgm:spPr/>
    </dgm:pt>
    <dgm:pt modelId="{8966A2FB-4A61-4F90-8286-14B248C23D3F}" type="pres">
      <dgm:prSet presAssocID="{2A2A6BFC-EDDE-459C-A6F4-444E09911607}" presName="hierChild3" presStyleCnt="0"/>
      <dgm:spPr/>
    </dgm:pt>
  </dgm:ptLst>
  <dgm:cxnLst>
    <dgm:cxn modelId="{CC28DC06-5B20-4398-92E0-63C69F38C37C}" type="presOf" srcId="{2A2A6BFC-EDDE-459C-A6F4-444E09911607}" destId="{0CD8DA8B-E335-428E-8B17-3BDAA4D11DA2}" srcOrd="1" destOrd="0" presId="urn:microsoft.com/office/officeart/2009/3/layout/HorizontalOrganizationChart"/>
    <dgm:cxn modelId="{EE0DF809-B81F-46F7-8983-CB868F3F4D16}" type="presOf" srcId="{CA4A1BA9-0326-4C67-8EE5-D10030F61DE3}" destId="{E4F14BF1-4C59-4F43-AFB5-2B3BEDFEA724}" srcOrd="1" destOrd="0" presId="urn:microsoft.com/office/officeart/2009/3/layout/HorizontalOrganizationChart"/>
    <dgm:cxn modelId="{ADB9711F-055D-42B0-ACB8-D579C752265B}" type="presOf" srcId="{33A510D4-11B0-4C03-9145-BF75ECC48B01}" destId="{3E4F1B89-38A5-4EF0-B715-3076ACF58160}" srcOrd="0" destOrd="0" presId="urn:microsoft.com/office/officeart/2009/3/layout/HorizontalOrganizationChart"/>
    <dgm:cxn modelId="{64E55E31-FD10-4929-890F-0269E101FB20}" type="presOf" srcId="{31B8945C-77F1-4042-A0CB-ED291572DCFE}" destId="{58704A2B-8FB0-4D0C-97E1-D1D5EF0FE797}" srcOrd="0" destOrd="0" presId="urn:microsoft.com/office/officeart/2009/3/layout/HorizontalOrganizationChart"/>
    <dgm:cxn modelId="{AAE60437-9ED9-4C1E-9B44-997AFB5C5E52}" srcId="{2A2A6BFC-EDDE-459C-A6F4-444E09911607}" destId="{3C92B7E0-6671-4EAE-BFB5-ABD1782EFC41}" srcOrd="1" destOrd="0" parTransId="{286F969A-EF74-42F9-BF92-60DBC226012D}" sibTransId="{EF6D80AB-CA81-4775-8061-8627063C65A1}"/>
    <dgm:cxn modelId="{203A583D-BD39-456E-BB21-6C4B443F8058}" srcId="{3C92B7E0-6671-4EAE-BFB5-ABD1782EFC41}" destId="{631943E0-575F-4EB5-B612-1C29D10EACB9}" srcOrd="1" destOrd="0" parTransId="{33A510D4-11B0-4C03-9145-BF75ECC48B01}" sibTransId="{F41F5D08-4FF1-42DE-99AF-FF270A9A3DAA}"/>
    <dgm:cxn modelId="{FFD7B561-586E-46FF-8891-99285C7F9859}" type="presOf" srcId="{631943E0-575F-4EB5-B612-1C29D10EACB9}" destId="{C6936ED2-3D2C-4C65-B6B2-FBA48727711B}" srcOrd="1" destOrd="0" presId="urn:microsoft.com/office/officeart/2009/3/layout/HorizontalOrganizationChart"/>
    <dgm:cxn modelId="{5E82744C-93BC-4601-941C-7BEE2061943D}" type="presOf" srcId="{3C92B7E0-6671-4EAE-BFB5-ABD1782EFC41}" destId="{51CC871F-0956-4AC8-9F18-A7244A8EC819}" srcOrd="1" destOrd="0" presId="urn:microsoft.com/office/officeart/2009/3/layout/HorizontalOrganizationChart"/>
    <dgm:cxn modelId="{125BBF81-5356-4067-9E40-6D18D05AF6C4}" type="presOf" srcId="{74CD85D7-B0D6-41C6-B647-219849737FE7}" destId="{06D6D0C3-2C63-40A6-8D9D-2ADEA48367E2}" srcOrd="0" destOrd="0" presId="urn:microsoft.com/office/officeart/2009/3/layout/HorizontalOrganizationChart"/>
    <dgm:cxn modelId="{10053483-FCFD-4311-856F-7E86710D8F74}" type="presOf" srcId="{A8876A11-CBC2-499C-BB4D-6BA828258C4A}" destId="{44B0EEFE-67BF-49C1-BA5B-8AFD5E5ED817}" srcOrd="1" destOrd="0" presId="urn:microsoft.com/office/officeart/2009/3/layout/HorizontalOrganizationChart"/>
    <dgm:cxn modelId="{F6DAF288-2E82-4D44-ABD0-4C2586670207}" srcId="{3C92B7E0-6671-4EAE-BFB5-ABD1782EFC41}" destId="{CA4A1BA9-0326-4C67-8EE5-D10030F61DE3}" srcOrd="0" destOrd="0" parTransId="{31B8945C-77F1-4042-A0CB-ED291572DCFE}" sibTransId="{E53ED614-9E8B-42BF-BD2E-72AB6EE1324A}"/>
    <dgm:cxn modelId="{34C6C694-D585-4CE0-9CC9-AFF93CB9706D}" type="presOf" srcId="{D461012F-2163-4221-97C2-9DDC3F7F95E3}" destId="{DF60E8E8-4E30-43D2-A464-54188CFE6E0D}" srcOrd="1" destOrd="0" presId="urn:microsoft.com/office/officeart/2009/3/layout/HorizontalOrganizationChart"/>
    <dgm:cxn modelId="{7C4F8E97-290F-4B51-96D8-D981A2051256}" type="presOf" srcId="{2A2A6BFC-EDDE-459C-A6F4-444E09911607}" destId="{D92B60E3-AC78-49E9-B1E5-CB422DF47653}" srcOrd="0" destOrd="0" presId="urn:microsoft.com/office/officeart/2009/3/layout/HorizontalOrganizationChart"/>
    <dgm:cxn modelId="{C7DFCA9C-A624-43D2-8DF8-7671EC35B411}" type="presOf" srcId="{D461012F-2163-4221-97C2-9DDC3F7F95E3}" destId="{3BA9C7DE-097F-4508-B2C0-0350F5DD7BF9}" srcOrd="0" destOrd="0" presId="urn:microsoft.com/office/officeart/2009/3/layout/HorizontalOrganizationChart"/>
    <dgm:cxn modelId="{EB4310A4-E0B0-47AF-A9EA-D3CAA0528B30}" type="presOf" srcId="{E4EE8D31-EA0E-49D2-B7DA-171F46C0EFC7}" destId="{3D4C13CD-979F-406F-BAAC-C24D00A29EDA}" srcOrd="0" destOrd="0" presId="urn:microsoft.com/office/officeart/2009/3/layout/HorizontalOrganizationChart"/>
    <dgm:cxn modelId="{60D9D2A5-4A01-44B4-8AB5-3B6D3A8B2391}" srcId="{2A2A6BFC-EDDE-459C-A6F4-444E09911607}" destId="{A8876A11-CBC2-499C-BB4D-6BA828258C4A}" srcOrd="0" destOrd="0" parTransId="{74CD85D7-B0D6-41C6-B647-219849737FE7}" sibTransId="{A1CCFFFF-3001-41CF-87C6-EB6A3216231F}"/>
    <dgm:cxn modelId="{BF9DD4CF-F788-43ED-B7A5-DF281D6CC933}" type="presOf" srcId="{631943E0-575F-4EB5-B612-1C29D10EACB9}" destId="{D117B27F-C0E4-4563-9236-F265788B76BE}" srcOrd="0" destOrd="0" presId="urn:microsoft.com/office/officeart/2009/3/layout/HorizontalOrganizationChart"/>
    <dgm:cxn modelId="{5E45E5D6-068A-4E1C-8AAA-A690F431113D}" srcId="{E4EE8D31-EA0E-49D2-B7DA-171F46C0EFC7}" destId="{2A2A6BFC-EDDE-459C-A6F4-444E09911607}" srcOrd="1" destOrd="0" parTransId="{43B06A28-E161-4E31-B420-F1F2388FDC63}" sibTransId="{9F0D08ED-764F-4CD9-9A8A-41782391EF45}"/>
    <dgm:cxn modelId="{F518ABDE-1832-4793-B08A-94C54A2C668F}" type="presOf" srcId="{286F969A-EF74-42F9-BF92-60DBC226012D}" destId="{36BDEC2C-98BA-46A6-8C00-AC2AA6754C5D}" srcOrd="0" destOrd="0" presId="urn:microsoft.com/office/officeart/2009/3/layout/HorizontalOrganizationChart"/>
    <dgm:cxn modelId="{110D41E0-4950-45C7-A0ED-5AF7C1A37AC3}" srcId="{E4EE8D31-EA0E-49D2-B7DA-171F46C0EFC7}" destId="{D461012F-2163-4221-97C2-9DDC3F7F95E3}" srcOrd="0" destOrd="0" parTransId="{41DDC742-1930-4D97-B6A6-5AD0021EE850}" sibTransId="{00031DBA-4C56-4288-BBF4-8662B0C4364A}"/>
    <dgm:cxn modelId="{64C18BE0-0417-46B0-8A11-7B805B5E77CA}" type="presOf" srcId="{CA4A1BA9-0326-4C67-8EE5-D10030F61DE3}" destId="{33F467EC-98A9-4CD0-8CA4-DBAF5ABEDF16}" srcOrd="0" destOrd="0" presId="urn:microsoft.com/office/officeart/2009/3/layout/HorizontalOrganizationChart"/>
    <dgm:cxn modelId="{08BDB7EA-3A79-41CD-91A3-DC2DE1995512}" type="presOf" srcId="{A8876A11-CBC2-499C-BB4D-6BA828258C4A}" destId="{7D9AED96-F585-43D4-925A-7C0308F4ED00}" srcOrd="0" destOrd="0" presId="urn:microsoft.com/office/officeart/2009/3/layout/HorizontalOrganizationChart"/>
    <dgm:cxn modelId="{32794DEC-F40B-4F80-A990-DEFB47CA67AC}" type="presOf" srcId="{3C92B7E0-6671-4EAE-BFB5-ABD1782EFC41}" destId="{1AFEA7D6-0667-476F-A391-BE77068B752F}" srcOrd="0" destOrd="0" presId="urn:microsoft.com/office/officeart/2009/3/layout/HorizontalOrganizationChart"/>
    <dgm:cxn modelId="{F736FD05-DFB1-4C1A-ACC2-B44E764CBF28}" type="presParOf" srcId="{3D4C13CD-979F-406F-BAAC-C24D00A29EDA}" destId="{AF2ABEAD-3D89-4349-8BCF-712091F97C9C}" srcOrd="0" destOrd="0" presId="urn:microsoft.com/office/officeart/2009/3/layout/HorizontalOrganizationChart"/>
    <dgm:cxn modelId="{27FD3625-C7C9-4732-9F2B-474C5B838395}" type="presParOf" srcId="{AF2ABEAD-3D89-4349-8BCF-712091F97C9C}" destId="{85FDE062-0A6F-48CD-98D5-9FEB3F80DF74}" srcOrd="0" destOrd="0" presId="urn:microsoft.com/office/officeart/2009/3/layout/HorizontalOrganizationChart"/>
    <dgm:cxn modelId="{EB3079AE-C8C0-4C68-A705-8BF3EC91DF5E}" type="presParOf" srcId="{85FDE062-0A6F-48CD-98D5-9FEB3F80DF74}" destId="{3BA9C7DE-097F-4508-B2C0-0350F5DD7BF9}" srcOrd="0" destOrd="0" presId="urn:microsoft.com/office/officeart/2009/3/layout/HorizontalOrganizationChart"/>
    <dgm:cxn modelId="{14D3157C-ECFD-42BA-AB8A-B96CDF3856C0}" type="presParOf" srcId="{85FDE062-0A6F-48CD-98D5-9FEB3F80DF74}" destId="{DF60E8E8-4E30-43D2-A464-54188CFE6E0D}" srcOrd="1" destOrd="0" presId="urn:microsoft.com/office/officeart/2009/3/layout/HorizontalOrganizationChart"/>
    <dgm:cxn modelId="{EB966A14-9E72-4499-8662-84CCA6F5E13B}" type="presParOf" srcId="{AF2ABEAD-3D89-4349-8BCF-712091F97C9C}" destId="{6E15D02C-05D0-4D21-9229-645DC79DE4B2}" srcOrd="1" destOrd="0" presId="urn:microsoft.com/office/officeart/2009/3/layout/HorizontalOrganizationChart"/>
    <dgm:cxn modelId="{A87C97CB-00A0-49EB-95DB-0010231CEC0A}" type="presParOf" srcId="{AF2ABEAD-3D89-4349-8BCF-712091F97C9C}" destId="{D9C1D138-DF15-4D2A-9532-E1C3DB4B24B7}" srcOrd="2" destOrd="0" presId="urn:microsoft.com/office/officeart/2009/3/layout/HorizontalOrganizationChart"/>
    <dgm:cxn modelId="{9B51BC88-8EEF-4629-B3AA-62682A34EA3D}" type="presParOf" srcId="{3D4C13CD-979F-406F-BAAC-C24D00A29EDA}" destId="{D7C9CB29-7D10-4647-A76A-008F00F5AB70}" srcOrd="1" destOrd="0" presId="urn:microsoft.com/office/officeart/2009/3/layout/HorizontalOrganizationChart"/>
    <dgm:cxn modelId="{D97B729C-0D6A-4D0C-933C-5DC2C0FA8880}" type="presParOf" srcId="{D7C9CB29-7D10-4647-A76A-008F00F5AB70}" destId="{282119AB-C6E4-49B1-86C9-475B775ACB9A}" srcOrd="0" destOrd="0" presId="urn:microsoft.com/office/officeart/2009/3/layout/HorizontalOrganizationChart"/>
    <dgm:cxn modelId="{60D20DE6-FDAE-401F-BC56-4289915889EB}" type="presParOf" srcId="{282119AB-C6E4-49B1-86C9-475B775ACB9A}" destId="{D92B60E3-AC78-49E9-B1E5-CB422DF47653}" srcOrd="0" destOrd="0" presId="urn:microsoft.com/office/officeart/2009/3/layout/HorizontalOrganizationChart"/>
    <dgm:cxn modelId="{0922A27A-2E59-417D-AEAD-BCF104FB6F39}" type="presParOf" srcId="{282119AB-C6E4-49B1-86C9-475B775ACB9A}" destId="{0CD8DA8B-E335-428E-8B17-3BDAA4D11DA2}" srcOrd="1" destOrd="0" presId="urn:microsoft.com/office/officeart/2009/3/layout/HorizontalOrganizationChart"/>
    <dgm:cxn modelId="{8435DD8E-9B24-4D26-957D-18E664B9A5C5}" type="presParOf" srcId="{D7C9CB29-7D10-4647-A76A-008F00F5AB70}" destId="{9E8F1FDB-5415-4346-A552-D3C5500D7E07}" srcOrd="1" destOrd="0" presId="urn:microsoft.com/office/officeart/2009/3/layout/HorizontalOrganizationChart"/>
    <dgm:cxn modelId="{E43BAF2A-00F3-4D84-B614-C0F18FF7492D}" type="presParOf" srcId="{9E8F1FDB-5415-4346-A552-D3C5500D7E07}" destId="{06D6D0C3-2C63-40A6-8D9D-2ADEA48367E2}" srcOrd="0" destOrd="0" presId="urn:microsoft.com/office/officeart/2009/3/layout/HorizontalOrganizationChart"/>
    <dgm:cxn modelId="{B0C6058C-476A-4A21-A9C6-75B57FAE6198}" type="presParOf" srcId="{9E8F1FDB-5415-4346-A552-D3C5500D7E07}" destId="{07AB4ACD-D495-4CE1-84A2-3A0A6AEAB790}" srcOrd="1" destOrd="0" presId="urn:microsoft.com/office/officeart/2009/3/layout/HorizontalOrganizationChart"/>
    <dgm:cxn modelId="{19625A89-E316-48BC-9FE6-B40F97785C83}" type="presParOf" srcId="{07AB4ACD-D495-4CE1-84A2-3A0A6AEAB790}" destId="{B6715BEC-AAF5-4C53-9FFA-BD4DCA8C05C8}" srcOrd="0" destOrd="0" presId="urn:microsoft.com/office/officeart/2009/3/layout/HorizontalOrganizationChart"/>
    <dgm:cxn modelId="{04F42714-2B35-4969-898A-0225A90AF87D}" type="presParOf" srcId="{B6715BEC-AAF5-4C53-9FFA-BD4DCA8C05C8}" destId="{7D9AED96-F585-43D4-925A-7C0308F4ED00}" srcOrd="0" destOrd="0" presId="urn:microsoft.com/office/officeart/2009/3/layout/HorizontalOrganizationChart"/>
    <dgm:cxn modelId="{CAF95BF1-2FCA-4181-B9F8-B8C6A09A8625}" type="presParOf" srcId="{B6715BEC-AAF5-4C53-9FFA-BD4DCA8C05C8}" destId="{44B0EEFE-67BF-49C1-BA5B-8AFD5E5ED817}" srcOrd="1" destOrd="0" presId="urn:microsoft.com/office/officeart/2009/3/layout/HorizontalOrganizationChart"/>
    <dgm:cxn modelId="{B23800F6-594C-47DE-A8B9-B6BC37156183}" type="presParOf" srcId="{07AB4ACD-D495-4CE1-84A2-3A0A6AEAB790}" destId="{FB22F9EF-D399-456C-BBE4-3D605A48D38B}" srcOrd="1" destOrd="0" presId="urn:microsoft.com/office/officeart/2009/3/layout/HorizontalOrganizationChart"/>
    <dgm:cxn modelId="{4253A29A-4AC5-460F-B82F-BE913BDBD284}" type="presParOf" srcId="{07AB4ACD-D495-4CE1-84A2-3A0A6AEAB790}" destId="{5D74744A-CBFA-4FFC-9786-9D78BC5E0951}" srcOrd="2" destOrd="0" presId="urn:microsoft.com/office/officeart/2009/3/layout/HorizontalOrganizationChart"/>
    <dgm:cxn modelId="{345EF634-F538-410B-B3A1-1F4C23B47A4F}" type="presParOf" srcId="{9E8F1FDB-5415-4346-A552-D3C5500D7E07}" destId="{36BDEC2C-98BA-46A6-8C00-AC2AA6754C5D}" srcOrd="2" destOrd="0" presId="urn:microsoft.com/office/officeart/2009/3/layout/HorizontalOrganizationChart"/>
    <dgm:cxn modelId="{088E742C-0703-490A-B8DE-67DD9B627CF9}" type="presParOf" srcId="{9E8F1FDB-5415-4346-A552-D3C5500D7E07}" destId="{5FADF2F2-EF63-49D4-BA70-0A945068D72F}" srcOrd="3" destOrd="0" presId="urn:microsoft.com/office/officeart/2009/3/layout/HorizontalOrganizationChart"/>
    <dgm:cxn modelId="{A74174A0-3EC9-47D0-AB43-89E4A3EF9226}" type="presParOf" srcId="{5FADF2F2-EF63-49D4-BA70-0A945068D72F}" destId="{066C212E-A8A8-4CE9-85C0-CB5316DE8566}" srcOrd="0" destOrd="0" presId="urn:microsoft.com/office/officeart/2009/3/layout/HorizontalOrganizationChart"/>
    <dgm:cxn modelId="{CCFB4062-49CE-417F-A314-E05FC288B446}" type="presParOf" srcId="{066C212E-A8A8-4CE9-85C0-CB5316DE8566}" destId="{1AFEA7D6-0667-476F-A391-BE77068B752F}" srcOrd="0" destOrd="0" presId="urn:microsoft.com/office/officeart/2009/3/layout/HorizontalOrganizationChart"/>
    <dgm:cxn modelId="{231981E3-D956-4A58-946C-12E6D5380BE4}" type="presParOf" srcId="{066C212E-A8A8-4CE9-85C0-CB5316DE8566}" destId="{51CC871F-0956-4AC8-9F18-A7244A8EC819}" srcOrd="1" destOrd="0" presId="urn:microsoft.com/office/officeart/2009/3/layout/HorizontalOrganizationChart"/>
    <dgm:cxn modelId="{10B65372-4856-450E-B1D0-96DAA15D3320}" type="presParOf" srcId="{5FADF2F2-EF63-49D4-BA70-0A945068D72F}" destId="{2EADF596-3627-4B59-971D-A68A3CE711C2}" srcOrd="1" destOrd="0" presId="urn:microsoft.com/office/officeart/2009/3/layout/HorizontalOrganizationChart"/>
    <dgm:cxn modelId="{AF233A28-8738-4DFE-8A50-860339E6D958}" type="presParOf" srcId="{2EADF596-3627-4B59-971D-A68A3CE711C2}" destId="{58704A2B-8FB0-4D0C-97E1-D1D5EF0FE797}" srcOrd="0" destOrd="0" presId="urn:microsoft.com/office/officeart/2009/3/layout/HorizontalOrganizationChart"/>
    <dgm:cxn modelId="{33FE7DF7-FCE1-4B12-92E2-4E14F96AFF94}" type="presParOf" srcId="{2EADF596-3627-4B59-971D-A68A3CE711C2}" destId="{89E537CB-7A27-4B57-B2DA-254C0DFE5FFF}" srcOrd="1" destOrd="0" presId="urn:microsoft.com/office/officeart/2009/3/layout/HorizontalOrganizationChart"/>
    <dgm:cxn modelId="{8B09D0ED-F1F5-429A-83D4-F65DB8CCD582}" type="presParOf" srcId="{89E537CB-7A27-4B57-B2DA-254C0DFE5FFF}" destId="{7BFA9976-A13B-4248-A454-62E378BA3F74}" srcOrd="0" destOrd="0" presId="urn:microsoft.com/office/officeart/2009/3/layout/HorizontalOrganizationChart"/>
    <dgm:cxn modelId="{94B9F83A-084C-48A2-AE83-22340317771F}" type="presParOf" srcId="{7BFA9976-A13B-4248-A454-62E378BA3F74}" destId="{33F467EC-98A9-4CD0-8CA4-DBAF5ABEDF16}" srcOrd="0" destOrd="0" presId="urn:microsoft.com/office/officeart/2009/3/layout/HorizontalOrganizationChart"/>
    <dgm:cxn modelId="{4121165B-D9A2-4C28-BDE4-256BEEF1202F}" type="presParOf" srcId="{7BFA9976-A13B-4248-A454-62E378BA3F74}" destId="{E4F14BF1-4C59-4F43-AFB5-2B3BEDFEA724}" srcOrd="1" destOrd="0" presId="urn:microsoft.com/office/officeart/2009/3/layout/HorizontalOrganizationChart"/>
    <dgm:cxn modelId="{81472CFF-D8C8-40D4-BF09-0078A5817CC0}" type="presParOf" srcId="{89E537CB-7A27-4B57-B2DA-254C0DFE5FFF}" destId="{5E79BD92-4801-45AD-99D2-2863C7107185}" srcOrd="1" destOrd="0" presId="urn:microsoft.com/office/officeart/2009/3/layout/HorizontalOrganizationChart"/>
    <dgm:cxn modelId="{5041C7B6-BD44-4039-A737-9AE5030CBC6B}" type="presParOf" srcId="{89E537CB-7A27-4B57-B2DA-254C0DFE5FFF}" destId="{4EE134A0-245D-43CD-9E7B-19260EA96F84}" srcOrd="2" destOrd="0" presId="urn:microsoft.com/office/officeart/2009/3/layout/HorizontalOrganizationChart"/>
    <dgm:cxn modelId="{B6A1A485-4793-4FBD-9375-F97E31755941}" type="presParOf" srcId="{2EADF596-3627-4B59-971D-A68A3CE711C2}" destId="{3E4F1B89-38A5-4EF0-B715-3076ACF58160}" srcOrd="2" destOrd="0" presId="urn:microsoft.com/office/officeart/2009/3/layout/HorizontalOrganizationChart"/>
    <dgm:cxn modelId="{69A79164-A2E6-45DC-BD69-995C3932F4D7}" type="presParOf" srcId="{2EADF596-3627-4B59-971D-A68A3CE711C2}" destId="{C787D79A-3ADB-4135-84AD-CABF6609F177}" srcOrd="3" destOrd="0" presId="urn:microsoft.com/office/officeart/2009/3/layout/HorizontalOrganizationChart"/>
    <dgm:cxn modelId="{D7D11598-C156-4A28-889D-3C81C82A0B30}" type="presParOf" srcId="{C787D79A-3ADB-4135-84AD-CABF6609F177}" destId="{CDBEBA7B-B42B-41D6-8496-32E6345B3817}" srcOrd="0" destOrd="0" presId="urn:microsoft.com/office/officeart/2009/3/layout/HorizontalOrganizationChart"/>
    <dgm:cxn modelId="{F022A105-D561-43FC-BBEE-F7ADE1AC359B}" type="presParOf" srcId="{CDBEBA7B-B42B-41D6-8496-32E6345B3817}" destId="{D117B27F-C0E4-4563-9236-F265788B76BE}" srcOrd="0" destOrd="0" presId="urn:microsoft.com/office/officeart/2009/3/layout/HorizontalOrganizationChart"/>
    <dgm:cxn modelId="{951F3222-CE06-4D05-8F5C-067D4C3949E8}" type="presParOf" srcId="{CDBEBA7B-B42B-41D6-8496-32E6345B3817}" destId="{C6936ED2-3D2C-4C65-B6B2-FBA48727711B}" srcOrd="1" destOrd="0" presId="urn:microsoft.com/office/officeart/2009/3/layout/HorizontalOrganizationChart"/>
    <dgm:cxn modelId="{8BC8B0DF-4566-448E-8B1D-F00D2526D680}" type="presParOf" srcId="{C787D79A-3ADB-4135-84AD-CABF6609F177}" destId="{5B0D58A2-6CF4-4DE4-B672-28C4E89F7F82}" srcOrd="1" destOrd="0" presId="urn:microsoft.com/office/officeart/2009/3/layout/HorizontalOrganizationChart"/>
    <dgm:cxn modelId="{51AAA567-D01B-4DB1-815D-CA892FA3C24C}" type="presParOf" srcId="{C787D79A-3ADB-4135-84AD-CABF6609F177}" destId="{85774CEC-6972-4B0E-85A5-8E0BCBE7776A}" srcOrd="2" destOrd="0" presId="urn:microsoft.com/office/officeart/2009/3/layout/HorizontalOrganizationChart"/>
    <dgm:cxn modelId="{3D4A4F75-5F6A-41CF-AF22-6F4650A5281E}" type="presParOf" srcId="{5FADF2F2-EF63-49D4-BA70-0A945068D72F}" destId="{40DFE46A-B4BE-45DE-B449-5C6F8C2B736B}" srcOrd="2" destOrd="0" presId="urn:microsoft.com/office/officeart/2009/3/layout/HorizontalOrganizationChart"/>
    <dgm:cxn modelId="{86B1546F-285F-4103-9EEC-59DC08D7CA6C}" type="presParOf" srcId="{D7C9CB29-7D10-4647-A76A-008F00F5AB70}" destId="{8966A2FB-4A61-4F90-8286-14B248C23D3F}"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15970C8-1044-492B-BD8E-9F4BB80244CA}" type="doc">
      <dgm:prSet loTypeId="urn:microsoft.com/office/officeart/2009/3/layout/HorizontalOrganizationChart" loCatId="hierarchy" qsTypeId="urn:microsoft.com/office/officeart/2005/8/quickstyle/simple1" qsCatId="simple" csTypeId="urn:microsoft.com/office/officeart/2005/8/colors/colorful3" csCatId="colorful" phldr="1"/>
      <dgm:spPr/>
      <dgm:t>
        <a:bodyPr/>
        <a:lstStyle/>
        <a:p>
          <a:endParaRPr lang="id-ID"/>
        </a:p>
      </dgm:t>
    </dgm:pt>
    <dgm:pt modelId="{59F9C309-2332-438B-9FEA-A2DAB2764521}">
      <dgm:prSet phldrT="[Text]" custT="1"/>
      <dgm:spPr/>
      <dgm:t>
        <a:bodyPr/>
        <a:lstStyle/>
        <a:p>
          <a:r>
            <a:rPr lang="id-ID" sz="1200" b="1" dirty="0">
              <a:solidFill>
                <a:schemeClr val="tx1"/>
              </a:solidFill>
            </a:rPr>
            <a:t>SBU</a:t>
          </a:r>
        </a:p>
      </dgm:t>
    </dgm:pt>
    <dgm:pt modelId="{D2B8FE33-A739-4E82-8D22-38BAD86B0F2E}" type="parTrans" cxnId="{CCAFDE7B-AC80-4DD4-960B-1829E71C5371}">
      <dgm:prSet/>
      <dgm:spPr/>
      <dgm:t>
        <a:bodyPr/>
        <a:lstStyle/>
        <a:p>
          <a:endParaRPr lang="id-ID" sz="1200" b="1">
            <a:solidFill>
              <a:schemeClr val="tx1"/>
            </a:solidFill>
          </a:endParaRPr>
        </a:p>
      </dgm:t>
    </dgm:pt>
    <dgm:pt modelId="{9CEC7A97-4BAA-47E4-9F09-6589806F98E7}" type="sibTrans" cxnId="{CCAFDE7B-AC80-4DD4-960B-1829E71C5371}">
      <dgm:prSet/>
      <dgm:spPr/>
      <dgm:t>
        <a:bodyPr/>
        <a:lstStyle/>
        <a:p>
          <a:endParaRPr lang="id-ID" sz="1200" b="1">
            <a:solidFill>
              <a:schemeClr val="tx1"/>
            </a:solidFill>
          </a:endParaRPr>
        </a:p>
      </dgm:t>
    </dgm:pt>
    <dgm:pt modelId="{11D0A94F-99AD-4620-AB4B-2C9D34016EBA}">
      <dgm:prSet phldrT="[Text]" custT="1"/>
      <dgm:spPr/>
      <dgm:t>
        <a:bodyPr/>
        <a:lstStyle/>
        <a:p>
          <a:r>
            <a:rPr lang="id-ID" sz="1200" b="1" dirty="0">
              <a:solidFill>
                <a:schemeClr val="tx1"/>
              </a:solidFill>
            </a:rPr>
            <a:t>diterbitkan LPJK</a:t>
          </a:r>
        </a:p>
        <a:p>
          <a:r>
            <a:rPr lang="id-ID" sz="1200" b="1" dirty="0">
              <a:solidFill>
                <a:schemeClr val="tx1"/>
              </a:solidFill>
            </a:rPr>
            <a:t>(sebelum UU Cipta Kerja)</a:t>
          </a:r>
        </a:p>
      </dgm:t>
    </dgm:pt>
    <dgm:pt modelId="{731804C9-E5E1-4150-B171-CDE5A7BB6FE2}" type="parTrans" cxnId="{3BB8F0F9-D273-4A67-AEC6-1BC9CAF14C4E}">
      <dgm:prSet/>
      <dgm:spPr/>
      <dgm:t>
        <a:bodyPr/>
        <a:lstStyle/>
        <a:p>
          <a:endParaRPr lang="id-ID" sz="1200" b="1">
            <a:solidFill>
              <a:schemeClr val="tx1"/>
            </a:solidFill>
          </a:endParaRPr>
        </a:p>
      </dgm:t>
    </dgm:pt>
    <dgm:pt modelId="{459CA806-7EB8-48F1-8E84-7D5B30450332}" type="sibTrans" cxnId="{3BB8F0F9-D273-4A67-AEC6-1BC9CAF14C4E}">
      <dgm:prSet/>
      <dgm:spPr/>
      <dgm:t>
        <a:bodyPr/>
        <a:lstStyle/>
        <a:p>
          <a:endParaRPr lang="id-ID" sz="1200" b="1">
            <a:solidFill>
              <a:schemeClr val="tx1"/>
            </a:solidFill>
          </a:endParaRPr>
        </a:p>
      </dgm:t>
    </dgm:pt>
    <dgm:pt modelId="{459BAB5A-F652-49D7-BD0E-3F8EB70974F1}">
      <dgm:prSet phldrT="[Text]" custT="1"/>
      <dgm:spPr/>
      <dgm:t>
        <a:bodyPr/>
        <a:lstStyle/>
        <a:p>
          <a:r>
            <a:rPr lang="id-ID" sz="1200" b="1" dirty="0">
              <a:solidFill>
                <a:schemeClr val="tx1"/>
              </a:solidFill>
            </a:rPr>
            <a:t>diterbitkan OSS</a:t>
          </a:r>
        </a:p>
        <a:p>
          <a:r>
            <a:rPr lang="id-ID" sz="1200" b="1" dirty="0">
              <a:solidFill>
                <a:schemeClr val="tx1"/>
              </a:solidFill>
            </a:rPr>
            <a:t>(setelah UU Cipta Kerja)</a:t>
          </a:r>
        </a:p>
      </dgm:t>
    </dgm:pt>
    <dgm:pt modelId="{FA16A0D9-B936-4970-A41A-6A1AA23EA262}" type="parTrans" cxnId="{0641748D-B9A3-4570-9A10-3173585CABF3}">
      <dgm:prSet/>
      <dgm:spPr/>
      <dgm:t>
        <a:bodyPr/>
        <a:lstStyle/>
        <a:p>
          <a:endParaRPr lang="id-ID" sz="1200" b="1">
            <a:solidFill>
              <a:schemeClr val="tx1"/>
            </a:solidFill>
          </a:endParaRPr>
        </a:p>
      </dgm:t>
    </dgm:pt>
    <dgm:pt modelId="{5436A2D6-4734-4B13-961D-AB8D4A6A3484}" type="sibTrans" cxnId="{0641748D-B9A3-4570-9A10-3173585CABF3}">
      <dgm:prSet/>
      <dgm:spPr/>
      <dgm:t>
        <a:bodyPr/>
        <a:lstStyle/>
        <a:p>
          <a:endParaRPr lang="id-ID" sz="1200" b="1">
            <a:solidFill>
              <a:schemeClr val="tx1"/>
            </a:solidFill>
          </a:endParaRPr>
        </a:p>
      </dgm:t>
    </dgm:pt>
    <dgm:pt modelId="{75CEEFBA-DA9E-40C5-AC0E-1656D07C71CE}" type="pres">
      <dgm:prSet presAssocID="{915970C8-1044-492B-BD8E-9F4BB80244CA}" presName="hierChild1" presStyleCnt="0">
        <dgm:presLayoutVars>
          <dgm:orgChart val="1"/>
          <dgm:chPref val="1"/>
          <dgm:dir/>
          <dgm:animOne val="branch"/>
          <dgm:animLvl val="lvl"/>
          <dgm:resizeHandles/>
        </dgm:presLayoutVars>
      </dgm:prSet>
      <dgm:spPr/>
    </dgm:pt>
    <dgm:pt modelId="{57A0477A-9D97-456C-9A50-D911AA0C3688}" type="pres">
      <dgm:prSet presAssocID="{59F9C309-2332-438B-9FEA-A2DAB2764521}" presName="hierRoot1" presStyleCnt="0">
        <dgm:presLayoutVars>
          <dgm:hierBranch val="init"/>
        </dgm:presLayoutVars>
      </dgm:prSet>
      <dgm:spPr/>
    </dgm:pt>
    <dgm:pt modelId="{315DCCF1-D8A0-4104-A853-B517A6D81865}" type="pres">
      <dgm:prSet presAssocID="{59F9C309-2332-438B-9FEA-A2DAB2764521}" presName="rootComposite1" presStyleCnt="0"/>
      <dgm:spPr/>
    </dgm:pt>
    <dgm:pt modelId="{674A040D-72D5-4607-BB4F-AE781A841FDC}" type="pres">
      <dgm:prSet presAssocID="{59F9C309-2332-438B-9FEA-A2DAB2764521}" presName="rootText1" presStyleLbl="node0" presStyleIdx="0" presStyleCnt="1">
        <dgm:presLayoutVars>
          <dgm:chPref val="3"/>
        </dgm:presLayoutVars>
      </dgm:prSet>
      <dgm:spPr/>
    </dgm:pt>
    <dgm:pt modelId="{C1322774-04C0-4061-8065-8E5AC72BD13C}" type="pres">
      <dgm:prSet presAssocID="{59F9C309-2332-438B-9FEA-A2DAB2764521}" presName="rootConnector1" presStyleLbl="node1" presStyleIdx="0" presStyleCnt="0"/>
      <dgm:spPr/>
    </dgm:pt>
    <dgm:pt modelId="{97B69FF7-BCF6-47FE-AEB6-821FC198FEF1}" type="pres">
      <dgm:prSet presAssocID="{59F9C309-2332-438B-9FEA-A2DAB2764521}" presName="hierChild2" presStyleCnt="0"/>
      <dgm:spPr/>
    </dgm:pt>
    <dgm:pt modelId="{6BFAF4A8-A58A-4A74-85B5-B38EC84422E8}" type="pres">
      <dgm:prSet presAssocID="{731804C9-E5E1-4150-B171-CDE5A7BB6FE2}" presName="Name64" presStyleLbl="parChTrans1D2" presStyleIdx="0" presStyleCnt="2"/>
      <dgm:spPr/>
    </dgm:pt>
    <dgm:pt modelId="{CCABE824-5BD4-4875-9C26-EC22181E7522}" type="pres">
      <dgm:prSet presAssocID="{11D0A94F-99AD-4620-AB4B-2C9D34016EBA}" presName="hierRoot2" presStyleCnt="0">
        <dgm:presLayoutVars>
          <dgm:hierBranch val="init"/>
        </dgm:presLayoutVars>
      </dgm:prSet>
      <dgm:spPr/>
    </dgm:pt>
    <dgm:pt modelId="{4A625AF1-9E00-4A96-8C97-BD2457AE2D1F}" type="pres">
      <dgm:prSet presAssocID="{11D0A94F-99AD-4620-AB4B-2C9D34016EBA}" presName="rootComposite" presStyleCnt="0"/>
      <dgm:spPr/>
    </dgm:pt>
    <dgm:pt modelId="{E95EDA32-15D9-472E-A8F6-E891392CDE0B}" type="pres">
      <dgm:prSet presAssocID="{11D0A94F-99AD-4620-AB4B-2C9D34016EBA}" presName="rootText" presStyleLbl="node2" presStyleIdx="0" presStyleCnt="2">
        <dgm:presLayoutVars>
          <dgm:chPref val="3"/>
        </dgm:presLayoutVars>
      </dgm:prSet>
      <dgm:spPr/>
    </dgm:pt>
    <dgm:pt modelId="{0053204B-FBAE-4D1F-91EA-65156567ED06}" type="pres">
      <dgm:prSet presAssocID="{11D0A94F-99AD-4620-AB4B-2C9D34016EBA}" presName="rootConnector" presStyleLbl="node2" presStyleIdx="0" presStyleCnt="2"/>
      <dgm:spPr/>
    </dgm:pt>
    <dgm:pt modelId="{36E60A83-DB16-42A1-984F-A4B06EA79246}" type="pres">
      <dgm:prSet presAssocID="{11D0A94F-99AD-4620-AB4B-2C9D34016EBA}" presName="hierChild4" presStyleCnt="0"/>
      <dgm:spPr/>
    </dgm:pt>
    <dgm:pt modelId="{FED2EAF7-0816-42AD-9BB0-4311B4A73BDB}" type="pres">
      <dgm:prSet presAssocID="{11D0A94F-99AD-4620-AB4B-2C9D34016EBA}" presName="hierChild5" presStyleCnt="0"/>
      <dgm:spPr/>
    </dgm:pt>
    <dgm:pt modelId="{7D5A7848-3E76-4F6A-A640-1E1DA21E5EA7}" type="pres">
      <dgm:prSet presAssocID="{FA16A0D9-B936-4970-A41A-6A1AA23EA262}" presName="Name64" presStyleLbl="parChTrans1D2" presStyleIdx="1" presStyleCnt="2"/>
      <dgm:spPr/>
    </dgm:pt>
    <dgm:pt modelId="{5312EA37-D967-425C-B316-73FF34D9AF8B}" type="pres">
      <dgm:prSet presAssocID="{459BAB5A-F652-49D7-BD0E-3F8EB70974F1}" presName="hierRoot2" presStyleCnt="0">
        <dgm:presLayoutVars>
          <dgm:hierBranch val="init"/>
        </dgm:presLayoutVars>
      </dgm:prSet>
      <dgm:spPr/>
    </dgm:pt>
    <dgm:pt modelId="{7DE75D21-C63C-4EED-9C59-B9EE88486BCD}" type="pres">
      <dgm:prSet presAssocID="{459BAB5A-F652-49D7-BD0E-3F8EB70974F1}" presName="rootComposite" presStyleCnt="0"/>
      <dgm:spPr/>
    </dgm:pt>
    <dgm:pt modelId="{53396848-2837-4938-8B1E-7A1C012C1B9C}" type="pres">
      <dgm:prSet presAssocID="{459BAB5A-F652-49D7-BD0E-3F8EB70974F1}" presName="rootText" presStyleLbl="node2" presStyleIdx="1" presStyleCnt="2">
        <dgm:presLayoutVars>
          <dgm:chPref val="3"/>
        </dgm:presLayoutVars>
      </dgm:prSet>
      <dgm:spPr/>
    </dgm:pt>
    <dgm:pt modelId="{A850BC0E-2FB5-4B28-9A7D-B3E6770F4479}" type="pres">
      <dgm:prSet presAssocID="{459BAB5A-F652-49D7-BD0E-3F8EB70974F1}" presName="rootConnector" presStyleLbl="node2" presStyleIdx="1" presStyleCnt="2"/>
      <dgm:spPr/>
    </dgm:pt>
    <dgm:pt modelId="{FDFE9A71-0DFF-4972-AC41-D4E4A754F9AA}" type="pres">
      <dgm:prSet presAssocID="{459BAB5A-F652-49D7-BD0E-3F8EB70974F1}" presName="hierChild4" presStyleCnt="0"/>
      <dgm:spPr/>
    </dgm:pt>
    <dgm:pt modelId="{B77C4E99-B176-43E9-A301-A1EFC15ABCC4}" type="pres">
      <dgm:prSet presAssocID="{459BAB5A-F652-49D7-BD0E-3F8EB70974F1}" presName="hierChild5" presStyleCnt="0"/>
      <dgm:spPr/>
    </dgm:pt>
    <dgm:pt modelId="{C422723D-6559-4B91-A15B-F5F27AB2D420}" type="pres">
      <dgm:prSet presAssocID="{59F9C309-2332-438B-9FEA-A2DAB2764521}" presName="hierChild3" presStyleCnt="0"/>
      <dgm:spPr/>
    </dgm:pt>
  </dgm:ptLst>
  <dgm:cxnLst>
    <dgm:cxn modelId="{86F51015-37C2-4699-9886-77461B3605D1}" type="presOf" srcId="{11D0A94F-99AD-4620-AB4B-2C9D34016EBA}" destId="{E95EDA32-15D9-472E-A8F6-E891392CDE0B}" srcOrd="0" destOrd="0" presId="urn:microsoft.com/office/officeart/2009/3/layout/HorizontalOrganizationChart"/>
    <dgm:cxn modelId="{9E93255D-BA6D-48B2-9B12-6EB5B7C7E51D}" type="presOf" srcId="{11D0A94F-99AD-4620-AB4B-2C9D34016EBA}" destId="{0053204B-FBAE-4D1F-91EA-65156567ED06}" srcOrd="1" destOrd="0" presId="urn:microsoft.com/office/officeart/2009/3/layout/HorizontalOrganizationChart"/>
    <dgm:cxn modelId="{CCAFDE7B-AC80-4DD4-960B-1829E71C5371}" srcId="{915970C8-1044-492B-BD8E-9F4BB80244CA}" destId="{59F9C309-2332-438B-9FEA-A2DAB2764521}" srcOrd="0" destOrd="0" parTransId="{D2B8FE33-A739-4E82-8D22-38BAD86B0F2E}" sibTransId="{9CEC7A97-4BAA-47E4-9F09-6589806F98E7}"/>
    <dgm:cxn modelId="{0641748D-B9A3-4570-9A10-3173585CABF3}" srcId="{59F9C309-2332-438B-9FEA-A2DAB2764521}" destId="{459BAB5A-F652-49D7-BD0E-3F8EB70974F1}" srcOrd="1" destOrd="0" parTransId="{FA16A0D9-B936-4970-A41A-6A1AA23EA262}" sibTransId="{5436A2D6-4734-4B13-961D-AB8D4A6A3484}"/>
    <dgm:cxn modelId="{2D7E8390-B13D-4CA8-A8EC-029E6212DC03}" type="presOf" srcId="{FA16A0D9-B936-4970-A41A-6A1AA23EA262}" destId="{7D5A7848-3E76-4F6A-A640-1E1DA21E5EA7}" srcOrd="0" destOrd="0" presId="urn:microsoft.com/office/officeart/2009/3/layout/HorizontalOrganizationChart"/>
    <dgm:cxn modelId="{A468E09D-4B96-44C2-A62D-9F29A7D235E9}" type="presOf" srcId="{915970C8-1044-492B-BD8E-9F4BB80244CA}" destId="{75CEEFBA-DA9E-40C5-AC0E-1656D07C71CE}" srcOrd="0" destOrd="0" presId="urn:microsoft.com/office/officeart/2009/3/layout/HorizontalOrganizationChart"/>
    <dgm:cxn modelId="{11DE22B9-B843-470B-AA2C-040AD324D671}" type="presOf" srcId="{459BAB5A-F652-49D7-BD0E-3F8EB70974F1}" destId="{53396848-2837-4938-8B1E-7A1C012C1B9C}" srcOrd="0" destOrd="0" presId="urn:microsoft.com/office/officeart/2009/3/layout/HorizontalOrganizationChart"/>
    <dgm:cxn modelId="{9428D0CF-1676-47E7-8E34-952BF6E68CF7}" type="presOf" srcId="{59F9C309-2332-438B-9FEA-A2DAB2764521}" destId="{C1322774-04C0-4061-8065-8E5AC72BD13C}" srcOrd="1" destOrd="0" presId="urn:microsoft.com/office/officeart/2009/3/layout/HorizontalOrganizationChart"/>
    <dgm:cxn modelId="{ED2EBBDC-EB6B-4C91-BAC9-C69582E6D634}" type="presOf" srcId="{731804C9-E5E1-4150-B171-CDE5A7BB6FE2}" destId="{6BFAF4A8-A58A-4A74-85B5-B38EC84422E8}" srcOrd="0" destOrd="0" presId="urn:microsoft.com/office/officeart/2009/3/layout/HorizontalOrganizationChart"/>
    <dgm:cxn modelId="{DC0759DE-25B9-4057-B5EE-326BF40748F3}" type="presOf" srcId="{59F9C309-2332-438B-9FEA-A2DAB2764521}" destId="{674A040D-72D5-4607-BB4F-AE781A841FDC}" srcOrd="0" destOrd="0" presId="urn:microsoft.com/office/officeart/2009/3/layout/HorizontalOrganizationChart"/>
    <dgm:cxn modelId="{60FE40EE-4BB4-4D7F-8154-AAB5661629AB}" type="presOf" srcId="{459BAB5A-F652-49D7-BD0E-3F8EB70974F1}" destId="{A850BC0E-2FB5-4B28-9A7D-B3E6770F4479}" srcOrd="1" destOrd="0" presId="urn:microsoft.com/office/officeart/2009/3/layout/HorizontalOrganizationChart"/>
    <dgm:cxn modelId="{3BB8F0F9-D273-4A67-AEC6-1BC9CAF14C4E}" srcId="{59F9C309-2332-438B-9FEA-A2DAB2764521}" destId="{11D0A94F-99AD-4620-AB4B-2C9D34016EBA}" srcOrd="0" destOrd="0" parTransId="{731804C9-E5E1-4150-B171-CDE5A7BB6FE2}" sibTransId="{459CA806-7EB8-48F1-8E84-7D5B30450332}"/>
    <dgm:cxn modelId="{A39004B2-9ABB-4CA6-BB5F-0FBE00E49BC9}" type="presParOf" srcId="{75CEEFBA-DA9E-40C5-AC0E-1656D07C71CE}" destId="{57A0477A-9D97-456C-9A50-D911AA0C3688}" srcOrd="0" destOrd="0" presId="urn:microsoft.com/office/officeart/2009/3/layout/HorizontalOrganizationChart"/>
    <dgm:cxn modelId="{A25C8FC8-4260-4E22-99AC-F52723343583}" type="presParOf" srcId="{57A0477A-9D97-456C-9A50-D911AA0C3688}" destId="{315DCCF1-D8A0-4104-A853-B517A6D81865}" srcOrd="0" destOrd="0" presId="urn:microsoft.com/office/officeart/2009/3/layout/HorizontalOrganizationChart"/>
    <dgm:cxn modelId="{E4C706EC-5C74-4645-87E9-19129161AE5C}" type="presParOf" srcId="{315DCCF1-D8A0-4104-A853-B517A6D81865}" destId="{674A040D-72D5-4607-BB4F-AE781A841FDC}" srcOrd="0" destOrd="0" presId="urn:microsoft.com/office/officeart/2009/3/layout/HorizontalOrganizationChart"/>
    <dgm:cxn modelId="{ECC76D55-E29B-4226-A9BB-B1B6E9B967A4}" type="presParOf" srcId="{315DCCF1-D8A0-4104-A853-B517A6D81865}" destId="{C1322774-04C0-4061-8065-8E5AC72BD13C}" srcOrd="1" destOrd="0" presId="urn:microsoft.com/office/officeart/2009/3/layout/HorizontalOrganizationChart"/>
    <dgm:cxn modelId="{427E677B-C159-4517-BC40-77049BD30B6D}" type="presParOf" srcId="{57A0477A-9D97-456C-9A50-D911AA0C3688}" destId="{97B69FF7-BCF6-47FE-AEB6-821FC198FEF1}" srcOrd="1" destOrd="0" presId="urn:microsoft.com/office/officeart/2009/3/layout/HorizontalOrganizationChart"/>
    <dgm:cxn modelId="{F61585EF-8657-4530-AD56-D45B43E1A4B5}" type="presParOf" srcId="{97B69FF7-BCF6-47FE-AEB6-821FC198FEF1}" destId="{6BFAF4A8-A58A-4A74-85B5-B38EC84422E8}" srcOrd="0" destOrd="0" presId="urn:microsoft.com/office/officeart/2009/3/layout/HorizontalOrganizationChart"/>
    <dgm:cxn modelId="{B62D3845-F48A-4890-B92D-D8C1FF76AA59}" type="presParOf" srcId="{97B69FF7-BCF6-47FE-AEB6-821FC198FEF1}" destId="{CCABE824-5BD4-4875-9C26-EC22181E7522}" srcOrd="1" destOrd="0" presId="urn:microsoft.com/office/officeart/2009/3/layout/HorizontalOrganizationChart"/>
    <dgm:cxn modelId="{CAD7E380-345D-499A-9BF0-81817A8C78A0}" type="presParOf" srcId="{CCABE824-5BD4-4875-9C26-EC22181E7522}" destId="{4A625AF1-9E00-4A96-8C97-BD2457AE2D1F}" srcOrd="0" destOrd="0" presId="urn:microsoft.com/office/officeart/2009/3/layout/HorizontalOrganizationChart"/>
    <dgm:cxn modelId="{B0264692-63D6-4CAE-B91E-58ED4379A739}" type="presParOf" srcId="{4A625AF1-9E00-4A96-8C97-BD2457AE2D1F}" destId="{E95EDA32-15D9-472E-A8F6-E891392CDE0B}" srcOrd="0" destOrd="0" presId="urn:microsoft.com/office/officeart/2009/3/layout/HorizontalOrganizationChart"/>
    <dgm:cxn modelId="{5A37D9C3-8369-44EE-A647-7E7CA2DE4FDB}" type="presParOf" srcId="{4A625AF1-9E00-4A96-8C97-BD2457AE2D1F}" destId="{0053204B-FBAE-4D1F-91EA-65156567ED06}" srcOrd="1" destOrd="0" presId="urn:microsoft.com/office/officeart/2009/3/layout/HorizontalOrganizationChart"/>
    <dgm:cxn modelId="{40338CE5-7496-4B14-97D8-D706906839E1}" type="presParOf" srcId="{CCABE824-5BD4-4875-9C26-EC22181E7522}" destId="{36E60A83-DB16-42A1-984F-A4B06EA79246}" srcOrd="1" destOrd="0" presId="urn:microsoft.com/office/officeart/2009/3/layout/HorizontalOrganizationChart"/>
    <dgm:cxn modelId="{7D16B6DF-EDC8-4EF3-AD16-09D8AF2CB664}" type="presParOf" srcId="{CCABE824-5BD4-4875-9C26-EC22181E7522}" destId="{FED2EAF7-0816-42AD-9BB0-4311B4A73BDB}" srcOrd="2" destOrd="0" presId="urn:microsoft.com/office/officeart/2009/3/layout/HorizontalOrganizationChart"/>
    <dgm:cxn modelId="{FC12330C-C013-416F-83E2-7EE403C38D57}" type="presParOf" srcId="{97B69FF7-BCF6-47FE-AEB6-821FC198FEF1}" destId="{7D5A7848-3E76-4F6A-A640-1E1DA21E5EA7}" srcOrd="2" destOrd="0" presId="urn:microsoft.com/office/officeart/2009/3/layout/HorizontalOrganizationChart"/>
    <dgm:cxn modelId="{2D87CF2F-3CFD-4E4F-98CD-12642DDF5DBA}" type="presParOf" srcId="{97B69FF7-BCF6-47FE-AEB6-821FC198FEF1}" destId="{5312EA37-D967-425C-B316-73FF34D9AF8B}" srcOrd="3" destOrd="0" presId="urn:microsoft.com/office/officeart/2009/3/layout/HorizontalOrganizationChart"/>
    <dgm:cxn modelId="{9F2ACD7D-8CE0-4DA0-96A4-31CC78E64F25}" type="presParOf" srcId="{5312EA37-D967-425C-B316-73FF34D9AF8B}" destId="{7DE75D21-C63C-4EED-9C59-B9EE88486BCD}" srcOrd="0" destOrd="0" presId="urn:microsoft.com/office/officeart/2009/3/layout/HorizontalOrganizationChart"/>
    <dgm:cxn modelId="{86E27E83-C65B-40FC-9254-0AAA895F15BA}" type="presParOf" srcId="{7DE75D21-C63C-4EED-9C59-B9EE88486BCD}" destId="{53396848-2837-4938-8B1E-7A1C012C1B9C}" srcOrd="0" destOrd="0" presId="urn:microsoft.com/office/officeart/2009/3/layout/HorizontalOrganizationChart"/>
    <dgm:cxn modelId="{0DA48783-5FC7-4DF8-A8F5-F944E1C9C85C}" type="presParOf" srcId="{7DE75D21-C63C-4EED-9C59-B9EE88486BCD}" destId="{A850BC0E-2FB5-4B28-9A7D-B3E6770F4479}" srcOrd="1" destOrd="0" presId="urn:microsoft.com/office/officeart/2009/3/layout/HorizontalOrganizationChart"/>
    <dgm:cxn modelId="{FBEA964B-4DA3-4F7A-8B98-285A627D6C72}" type="presParOf" srcId="{5312EA37-D967-425C-B316-73FF34D9AF8B}" destId="{FDFE9A71-0DFF-4972-AC41-D4E4A754F9AA}" srcOrd="1" destOrd="0" presId="urn:microsoft.com/office/officeart/2009/3/layout/HorizontalOrganizationChart"/>
    <dgm:cxn modelId="{773C2555-145D-4EC7-B372-1AD11A6940AF}" type="presParOf" srcId="{5312EA37-D967-425C-B316-73FF34D9AF8B}" destId="{B77C4E99-B176-43E9-A301-A1EFC15ABCC4}" srcOrd="2" destOrd="0" presId="urn:microsoft.com/office/officeart/2009/3/layout/HorizontalOrganizationChart"/>
    <dgm:cxn modelId="{D595523D-08CD-479F-A506-EB5AC84A0515}" type="presParOf" srcId="{57A0477A-9D97-456C-9A50-D911AA0C3688}" destId="{C422723D-6559-4B91-A15B-F5F27AB2D420}"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B725688-CA75-4144-99DE-105E2018C9FB}" type="doc">
      <dgm:prSet loTypeId="urn:microsoft.com/office/officeart/2005/8/layout/list1" loCatId="" qsTypeId="urn:microsoft.com/office/officeart/2005/8/quickstyle/simple1" qsCatId="simple" csTypeId="urn:microsoft.com/office/officeart/2005/8/colors/accent1_2" csCatId="accent1" phldr="1"/>
      <dgm:spPr/>
      <dgm:t>
        <a:bodyPr/>
        <a:lstStyle/>
        <a:p>
          <a:endParaRPr lang="en-US"/>
        </a:p>
      </dgm:t>
    </dgm:pt>
    <dgm:pt modelId="{8FC2B32D-426B-CA46-ABDE-25B7C8862DA9}">
      <dgm:prSet phldrT="[Text]"/>
      <dgm:spPr/>
      <dgm:t>
        <a:bodyPr/>
        <a:lstStyle/>
        <a:p>
          <a:r>
            <a:rPr lang="en-US" b="1" dirty="0"/>
            <a:t>SBU </a:t>
          </a:r>
          <a:r>
            <a:rPr lang="en-US" b="1" dirty="0" err="1"/>
            <a:t>Konstruksi</a:t>
          </a:r>
          <a:endParaRPr lang="en-US" b="1" dirty="0"/>
        </a:p>
      </dgm:t>
    </dgm:pt>
    <dgm:pt modelId="{BE1DCED1-2CEB-4141-B75B-61351580B593}" type="parTrans" cxnId="{B75A1D95-5C37-4243-9CC6-669249FC20B0}">
      <dgm:prSet/>
      <dgm:spPr/>
      <dgm:t>
        <a:bodyPr/>
        <a:lstStyle/>
        <a:p>
          <a:endParaRPr lang="en-US"/>
        </a:p>
      </dgm:t>
    </dgm:pt>
    <dgm:pt modelId="{E876CE63-F65C-BF42-935C-DF2BF76C9C7D}" type="sibTrans" cxnId="{B75A1D95-5C37-4243-9CC6-669249FC20B0}">
      <dgm:prSet/>
      <dgm:spPr/>
      <dgm:t>
        <a:bodyPr/>
        <a:lstStyle/>
        <a:p>
          <a:endParaRPr lang="en-US"/>
        </a:p>
      </dgm:t>
    </dgm:pt>
    <dgm:pt modelId="{FDDDB650-CACF-D54B-BC50-7E0D690D8744}">
      <dgm:prSet phldrT="[Text]"/>
      <dgm:spPr/>
      <dgm:t>
        <a:bodyPr/>
        <a:lstStyle/>
        <a:p>
          <a:pPr algn="just">
            <a:buFont typeface="Arial" panose="020B0604020202020204" pitchFamily="34" charset="0"/>
            <a:buChar char="•"/>
          </a:pPr>
          <a:r>
            <a:rPr lang="en-ID" dirty="0"/>
            <a:t>SBU </a:t>
          </a:r>
          <a:r>
            <a:rPr lang="en-ID" dirty="0" err="1"/>
            <a:t>Konstruksi</a:t>
          </a:r>
          <a:r>
            <a:rPr lang="en-ID" dirty="0"/>
            <a:t> </a:t>
          </a:r>
          <a:r>
            <a:rPr lang="en-ID" dirty="0" err="1"/>
            <a:t>wajib</a:t>
          </a:r>
          <a:r>
            <a:rPr lang="en-ID" dirty="0"/>
            <a:t> </a:t>
          </a:r>
          <a:r>
            <a:rPr lang="en-ID" dirty="0" err="1"/>
            <a:t>dimiliki</a:t>
          </a:r>
          <a:r>
            <a:rPr lang="en-ID" dirty="0"/>
            <a:t> oleh BUJK yang </a:t>
          </a:r>
          <a:r>
            <a:rPr lang="en-ID" dirty="0" err="1"/>
            <a:t>menyelenggarakan</a:t>
          </a:r>
          <a:r>
            <a:rPr lang="en-ID" dirty="0"/>
            <a:t> </a:t>
          </a:r>
          <a:r>
            <a:rPr lang="en-ID" dirty="0" err="1"/>
            <a:t>layanan</a:t>
          </a:r>
          <a:r>
            <a:rPr lang="en-ID" dirty="0"/>
            <a:t> </a:t>
          </a:r>
          <a:r>
            <a:rPr lang="en-ID" dirty="0" err="1"/>
            <a:t>jasa</a:t>
          </a:r>
          <a:r>
            <a:rPr lang="en-ID" dirty="0"/>
            <a:t> </a:t>
          </a:r>
          <a:r>
            <a:rPr lang="en-ID" dirty="0" err="1"/>
            <a:t>konstruksi</a:t>
          </a:r>
          <a:r>
            <a:rPr lang="en-ID" dirty="0"/>
            <a:t>. </a:t>
          </a:r>
          <a:endParaRPr lang="en-US" dirty="0"/>
        </a:p>
      </dgm:t>
    </dgm:pt>
    <dgm:pt modelId="{7BD51ECF-C661-8548-A0EC-68C6C522311D}" type="parTrans" cxnId="{D827E5F7-BB39-2D4A-9E8C-68B606425897}">
      <dgm:prSet/>
      <dgm:spPr/>
      <dgm:t>
        <a:bodyPr/>
        <a:lstStyle/>
        <a:p>
          <a:endParaRPr lang="en-US"/>
        </a:p>
      </dgm:t>
    </dgm:pt>
    <dgm:pt modelId="{16E28B7F-C276-2B43-84EF-E57718F2BBB6}" type="sibTrans" cxnId="{D827E5F7-BB39-2D4A-9E8C-68B606425897}">
      <dgm:prSet/>
      <dgm:spPr/>
      <dgm:t>
        <a:bodyPr/>
        <a:lstStyle/>
        <a:p>
          <a:endParaRPr lang="en-US"/>
        </a:p>
      </dgm:t>
    </dgm:pt>
    <dgm:pt modelId="{41997FFC-1710-6C4A-BFC7-F20942318EAA}">
      <dgm:prSet/>
      <dgm:spPr/>
      <dgm:t>
        <a:bodyPr/>
        <a:lstStyle/>
        <a:p>
          <a:pPr algn="just">
            <a:buFont typeface="Arial" panose="020B0604020202020204" pitchFamily="34" charset="0"/>
            <a:buChar char="•"/>
          </a:pPr>
          <a:r>
            <a:rPr lang="en-ID" dirty="0"/>
            <a:t>SBU </a:t>
          </a:r>
          <a:r>
            <a:rPr lang="en-ID" dirty="0" err="1"/>
            <a:t>Konstruksi</a:t>
          </a:r>
          <a:r>
            <a:rPr lang="en-ID" dirty="0"/>
            <a:t> </a:t>
          </a:r>
          <a:r>
            <a:rPr lang="en-ID" dirty="0" err="1"/>
            <a:t>diterbitkan</a:t>
          </a:r>
          <a:r>
            <a:rPr lang="en-ID" dirty="0"/>
            <a:t> </a:t>
          </a:r>
          <a:r>
            <a:rPr lang="en-ID" dirty="0" err="1"/>
            <a:t>melalui</a:t>
          </a:r>
          <a:r>
            <a:rPr lang="en-ID" dirty="0"/>
            <a:t> </a:t>
          </a:r>
          <a:r>
            <a:rPr lang="en-ID" dirty="0" err="1"/>
            <a:t>suatu</a:t>
          </a:r>
          <a:r>
            <a:rPr lang="en-ID" dirty="0"/>
            <a:t> proses </a:t>
          </a:r>
          <a:r>
            <a:rPr lang="en-ID" dirty="0" err="1"/>
            <a:t>sertifikasi</a:t>
          </a:r>
          <a:r>
            <a:rPr lang="en-ID" dirty="0"/>
            <a:t> dan </a:t>
          </a:r>
          <a:r>
            <a:rPr lang="en-ID" dirty="0" err="1"/>
            <a:t>pencatatan</a:t>
          </a:r>
          <a:r>
            <a:rPr lang="en-ID" dirty="0"/>
            <a:t> oleh </a:t>
          </a:r>
          <a:r>
            <a:rPr lang="en-ID" dirty="0" err="1"/>
            <a:t>menteri</a:t>
          </a:r>
          <a:r>
            <a:rPr lang="en-ID" dirty="0"/>
            <a:t> PUPR </a:t>
          </a:r>
          <a:r>
            <a:rPr lang="en-ID" dirty="0" err="1"/>
            <a:t>melalui</a:t>
          </a:r>
          <a:r>
            <a:rPr lang="en-ID" dirty="0"/>
            <a:t> SIJKT. </a:t>
          </a:r>
        </a:p>
      </dgm:t>
    </dgm:pt>
    <dgm:pt modelId="{5F48A392-2D1E-734D-9EFE-1EEE289104BA}" type="parTrans" cxnId="{D91EEBB2-1681-9343-8022-CD6C4983E0BA}">
      <dgm:prSet/>
      <dgm:spPr/>
      <dgm:t>
        <a:bodyPr/>
        <a:lstStyle/>
        <a:p>
          <a:endParaRPr lang="en-US"/>
        </a:p>
      </dgm:t>
    </dgm:pt>
    <dgm:pt modelId="{B798A1CF-6CD7-184B-ADF9-5F7315A825EF}" type="sibTrans" cxnId="{D91EEBB2-1681-9343-8022-CD6C4983E0BA}">
      <dgm:prSet/>
      <dgm:spPr/>
      <dgm:t>
        <a:bodyPr/>
        <a:lstStyle/>
        <a:p>
          <a:endParaRPr lang="en-US"/>
        </a:p>
      </dgm:t>
    </dgm:pt>
    <dgm:pt modelId="{58B94D75-34B2-BC46-ACD1-530FC8005159}">
      <dgm:prSet/>
      <dgm:spPr/>
      <dgm:t>
        <a:bodyPr/>
        <a:lstStyle/>
        <a:p>
          <a:pPr algn="just">
            <a:buFont typeface="Arial" panose="020B0604020202020204" pitchFamily="34" charset="0"/>
            <a:buChar char="•"/>
          </a:pPr>
          <a:r>
            <a:rPr lang="en-ID" dirty="0"/>
            <a:t>BUJK </a:t>
          </a:r>
          <a:r>
            <a:rPr lang="en-ID" dirty="0" err="1"/>
            <a:t>mengajukan</a:t>
          </a:r>
          <a:r>
            <a:rPr lang="en-ID" dirty="0"/>
            <a:t> </a:t>
          </a:r>
          <a:r>
            <a:rPr lang="en-ID" dirty="0" err="1"/>
            <a:t>permohonan</a:t>
          </a:r>
          <a:r>
            <a:rPr lang="en-ID" dirty="0"/>
            <a:t> </a:t>
          </a:r>
          <a:r>
            <a:rPr lang="en-ID" dirty="0" err="1"/>
            <a:t>kepada</a:t>
          </a:r>
          <a:r>
            <a:rPr lang="en-ID" dirty="0"/>
            <a:t> </a:t>
          </a:r>
          <a:r>
            <a:rPr lang="en-ID" dirty="0" err="1"/>
            <a:t>menteri</a:t>
          </a:r>
          <a:r>
            <a:rPr lang="en-ID" dirty="0"/>
            <a:t> PUPR </a:t>
          </a:r>
          <a:r>
            <a:rPr lang="en-ID" dirty="0" err="1"/>
            <a:t>melalui</a:t>
          </a:r>
          <a:r>
            <a:rPr lang="en-ID" dirty="0"/>
            <a:t> Lembaga </a:t>
          </a:r>
          <a:r>
            <a:rPr lang="en-ID" dirty="0" err="1"/>
            <a:t>Sertifikasi</a:t>
          </a:r>
          <a:r>
            <a:rPr lang="en-ID" dirty="0"/>
            <a:t> Badan Usaha (LSBU) </a:t>
          </a:r>
          <a:r>
            <a:rPr lang="en-ID" dirty="0" err="1"/>
            <a:t>untuk</a:t>
          </a:r>
          <a:r>
            <a:rPr lang="en-ID" dirty="0"/>
            <a:t> </a:t>
          </a:r>
          <a:r>
            <a:rPr lang="en-ID" dirty="0" err="1"/>
            <a:t>mendapatkan</a:t>
          </a:r>
          <a:r>
            <a:rPr lang="en-ID" dirty="0"/>
            <a:t> SBU </a:t>
          </a:r>
          <a:r>
            <a:rPr lang="en-ID" dirty="0" err="1"/>
            <a:t>Konstruksi</a:t>
          </a:r>
          <a:r>
            <a:rPr lang="en-ID" dirty="0"/>
            <a:t>. </a:t>
          </a:r>
        </a:p>
      </dgm:t>
    </dgm:pt>
    <dgm:pt modelId="{7A35B930-1C79-6943-86A4-D63DD28E9A3F}" type="parTrans" cxnId="{B294EE04-F7D2-A140-B7B2-1CEC06DDBCDB}">
      <dgm:prSet/>
      <dgm:spPr/>
      <dgm:t>
        <a:bodyPr/>
        <a:lstStyle/>
        <a:p>
          <a:endParaRPr lang="en-US"/>
        </a:p>
      </dgm:t>
    </dgm:pt>
    <dgm:pt modelId="{9E144B59-F535-8C44-B9FC-1AFA3072613E}" type="sibTrans" cxnId="{B294EE04-F7D2-A140-B7B2-1CEC06DDBCDB}">
      <dgm:prSet/>
      <dgm:spPr/>
      <dgm:t>
        <a:bodyPr/>
        <a:lstStyle/>
        <a:p>
          <a:endParaRPr lang="en-US"/>
        </a:p>
      </dgm:t>
    </dgm:pt>
    <dgm:pt modelId="{003C1011-874A-FF49-ACB1-27348474AD17}">
      <dgm:prSet/>
      <dgm:spPr/>
      <dgm:t>
        <a:bodyPr/>
        <a:lstStyle/>
        <a:p>
          <a:pPr algn="just">
            <a:buFont typeface="Arial" panose="020B0604020202020204" pitchFamily="34" charset="0"/>
            <a:buChar char="•"/>
          </a:pPr>
          <a:r>
            <a:rPr lang="en-ID" dirty="0"/>
            <a:t>SBU </a:t>
          </a:r>
          <a:r>
            <a:rPr lang="en-ID" dirty="0" err="1"/>
            <a:t>Konstruksi</a:t>
          </a:r>
          <a:r>
            <a:rPr lang="en-ID" dirty="0"/>
            <a:t> </a:t>
          </a:r>
          <a:r>
            <a:rPr lang="en-ID" dirty="0" err="1"/>
            <a:t>berlaku</a:t>
          </a:r>
          <a:r>
            <a:rPr lang="en-ID" dirty="0"/>
            <a:t> </a:t>
          </a:r>
          <a:r>
            <a:rPr lang="en-ID" dirty="0" err="1"/>
            <a:t>untuk</a:t>
          </a:r>
          <a:r>
            <a:rPr lang="en-ID" dirty="0"/>
            <a:t> </a:t>
          </a:r>
          <a:r>
            <a:rPr lang="en-ID" dirty="0" err="1"/>
            <a:t>jangka</a:t>
          </a:r>
          <a:r>
            <a:rPr lang="en-ID" dirty="0"/>
            <a:t> </a:t>
          </a:r>
          <a:r>
            <a:rPr lang="en-ID" dirty="0" err="1"/>
            <a:t>waktu</a:t>
          </a:r>
          <a:r>
            <a:rPr lang="en-ID" dirty="0"/>
            <a:t> 3 (</a:t>
          </a:r>
          <a:r>
            <a:rPr lang="en-ID" dirty="0" err="1"/>
            <a:t>tiga</a:t>
          </a:r>
          <a:r>
            <a:rPr lang="en-ID" dirty="0"/>
            <a:t>) </a:t>
          </a:r>
          <a:r>
            <a:rPr lang="en-ID" dirty="0" err="1"/>
            <a:t>tahun</a:t>
          </a:r>
          <a:r>
            <a:rPr lang="en-ID" dirty="0"/>
            <a:t> dan </a:t>
          </a:r>
          <a:r>
            <a:rPr lang="en-ID" dirty="0" err="1"/>
            <a:t>dapat</a:t>
          </a:r>
          <a:r>
            <a:rPr lang="en-ID" dirty="0"/>
            <a:t> </a:t>
          </a:r>
          <a:r>
            <a:rPr lang="en-ID" dirty="0" err="1"/>
            <a:t>diperpanjang</a:t>
          </a:r>
          <a:r>
            <a:rPr lang="en-ID" dirty="0"/>
            <a:t>, </a:t>
          </a:r>
          <a:r>
            <a:rPr lang="en-ID" dirty="0" err="1"/>
            <a:t>serta</a:t>
          </a:r>
          <a:r>
            <a:rPr lang="en-ID" dirty="0"/>
            <a:t> </a:t>
          </a:r>
          <a:r>
            <a:rPr lang="en-ID" dirty="0" err="1"/>
            <a:t>dapat</a:t>
          </a:r>
          <a:r>
            <a:rPr lang="en-ID" dirty="0"/>
            <a:t> </a:t>
          </a:r>
          <a:r>
            <a:rPr lang="en-ID" dirty="0" err="1"/>
            <a:t>dilakukan</a:t>
          </a:r>
          <a:r>
            <a:rPr lang="en-ID" dirty="0"/>
            <a:t> </a:t>
          </a:r>
          <a:r>
            <a:rPr lang="en-ID" dirty="0" err="1"/>
            <a:t>perubahan</a:t>
          </a:r>
          <a:r>
            <a:rPr lang="en-ID" dirty="0"/>
            <a:t>. </a:t>
          </a:r>
        </a:p>
      </dgm:t>
    </dgm:pt>
    <dgm:pt modelId="{3BE9E2BF-B5FC-5840-A368-01E23DCA05FB}" type="parTrans" cxnId="{1307C416-03CB-AA4B-8088-C77F9AE1A12D}">
      <dgm:prSet/>
      <dgm:spPr/>
      <dgm:t>
        <a:bodyPr/>
        <a:lstStyle/>
        <a:p>
          <a:endParaRPr lang="en-US"/>
        </a:p>
      </dgm:t>
    </dgm:pt>
    <dgm:pt modelId="{F479AA24-66A1-174E-B32A-9A72140D6326}" type="sibTrans" cxnId="{1307C416-03CB-AA4B-8088-C77F9AE1A12D}">
      <dgm:prSet/>
      <dgm:spPr/>
      <dgm:t>
        <a:bodyPr/>
        <a:lstStyle/>
        <a:p>
          <a:endParaRPr lang="en-US"/>
        </a:p>
      </dgm:t>
    </dgm:pt>
    <dgm:pt modelId="{C6E5471A-8199-CF4F-9BFD-1C2A008EC4DE}">
      <dgm:prSet/>
      <dgm:spPr/>
      <dgm:t>
        <a:bodyPr/>
        <a:lstStyle/>
        <a:p>
          <a:pPr algn="just">
            <a:buFont typeface="Arial" panose="020B0604020202020204" pitchFamily="34" charset="0"/>
            <a:buChar char="•"/>
          </a:pPr>
          <a:r>
            <a:rPr lang="en-ID" dirty="0"/>
            <a:t>SBU </a:t>
          </a:r>
          <a:r>
            <a:rPr lang="en-ID" dirty="0" err="1"/>
            <a:t>Konstruksi</a:t>
          </a:r>
          <a:r>
            <a:rPr lang="en-ID" dirty="0"/>
            <a:t> yang </a:t>
          </a:r>
          <a:r>
            <a:rPr lang="en-ID" dirty="0" err="1"/>
            <a:t>akan</a:t>
          </a:r>
          <a:r>
            <a:rPr lang="en-ID" dirty="0"/>
            <a:t> </a:t>
          </a:r>
          <a:r>
            <a:rPr lang="en-ID" dirty="0" err="1"/>
            <a:t>diperpanjang</a:t>
          </a:r>
          <a:r>
            <a:rPr lang="en-ID" dirty="0"/>
            <a:t> </a:t>
          </a:r>
          <a:r>
            <a:rPr lang="en-ID" dirty="0" err="1"/>
            <a:t>wajib</a:t>
          </a:r>
          <a:r>
            <a:rPr lang="en-ID" dirty="0"/>
            <a:t> </a:t>
          </a:r>
          <a:r>
            <a:rPr lang="en-ID" dirty="0" err="1"/>
            <a:t>diajukan</a:t>
          </a:r>
          <a:r>
            <a:rPr lang="en-ID" dirty="0"/>
            <a:t> </a:t>
          </a:r>
          <a:r>
            <a:rPr lang="en-ID" dirty="0" err="1"/>
            <a:t>sebelum</a:t>
          </a:r>
          <a:r>
            <a:rPr lang="en-ID" dirty="0"/>
            <a:t> </a:t>
          </a:r>
          <a:r>
            <a:rPr lang="en-ID" dirty="0" err="1"/>
            <a:t>habis</a:t>
          </a:r>
          <a:r>
            <a:rPr lang="en-ID" dirty="0"/>
            <a:t> masa </a:t>
          </a:r>
          <a:r>
            <a:rPr lang="en-ID" dirty="0" err="1"/>
            <a:t>berlakunya</a:t>
          </a:r>
          <a:r>
            <a:rPr lang="en-ID" dirty="0"/>
            <a:t>. </a:t>
          </a:r>
        </a:p>
      </dgm:t>
    </dgm:pt>
    <dgm:pt modelId="{C4746701-B3E0-6B4A-B2AD-A726AC4019B7}" type="parTrans" cxnId="{45DBDD4A-977A-D74D-BC87-620F14319EBA}">
      <dgm:prSet/>
      <dgm:spPr/>
      <dgm:t>
        <a:bodyPr/>
        <a:lstStyle/>
        <a:p>
          <a:endParaRPr lang="en-US"/>
        </a:p>
      </dgm:t>
    </dgm:pt>
    <dgm:pt modelId="{9B6486A2-6FAB-4940-A2D8-0FA3C2379C0C}" type="sibTrans" cxnId="{45DBDD4A-977A-D74D-BC87-620F14319EBA}">
      <dgm:prSet/>
      <dgm:spPr/>
      <dgm:t>
        <a:bodyPr/>
        <a:lstStyle/>
        <a:p>
          <a:endParaRPr lang="en-US"/>
        </a:p>
      </dgm:t>
    </dgm:pt>
    <dgm:pt modelId="{6C831CE2-2EC4-C84D-8E1E-3F218A2F6BAD}" type="pres">
      <dgm:prSet presAssocID="{2B725688-CA75-4144-99DE-105E2018C9FB}" presName="linear" presStyleCnt="0">
        <dgm:presLayoutVars>
          <dgm:dir/>
          <dgm:animLvl val="lvl"/>
          <dgm:resizeHandles val="exact"/>
        </dgm:presLayoutVars>
      </dgm:prSet>
      <dgm:spPr/>
    </dgm:pt>
    <dgm:pt modelId="{961AC05E-886F-E844-A2EC-74CF84CCB451}" type="pres">
      <dgm:prSet presAssocID="{8FC2B32D-426B-CA46-ABDE-25B7C8862DA9}" presName="parentLin" presStyleCnt="0"/>
      <dgm:spPr/>
    </dgm:pt>
    <dgm:pt modelId="{E20B1FAA-E839-ED46-A7DB-B2619A5EE0FE}" type="pres">
      <dgm:prSet presAssocID="{8FC2B32D-426B-CA46-ABDE-25B7C8862DA9}" presName="parentLeftMargin" presStyleLbl="node1" presStyleIdx="0" presStyleCnt="1"/>
      <dgm:spPr/>
    </dgm:pt>
    <dgm:pt modelId="{531AFF3A-0E79-9B4D-8F1B-E0BF703C1268}" type="pres">
      <dgm:prSet presAssocID="{8FC2B32D-426B-CA46-ABDE-25B7C8862DA9}" presName="parentText" presStyleLbl="node1" presStyleIdx="0" presStyleCnt="1">
        <dgm:presLayoutVars>
          <dgm:chMax val="0"/>
          <dgm:bulletEnabled val="1"/>
        </dgm:presLayoutVars>
      </dgm:prSet>
      <dgm:spPr/>
    </dgm:pt>
    <dgm:pt modelId="{D52AE230-169A-9E44-8881-F782BD653EF2}" type="pres">
      <dgm:prSet presAssocID="{8FC2B32D-426B-CA46-ABDE-25B7C8862DA9}" presName="negativeSpace" presStyleCnt="0"/>
      <dgm:spPr/>
    </dgm:pt>
    <dgm:pt modelId="{11B4E3D0-96AE-3742-BD8C-BF48874CBDF4}" type="pres">
      <dgm:prSet presAssocID="{8FC2B32D-426B-CA46-ABDE-25B7C8862DA9}" presName="childText" presStyleLbl="conFgAcc1" presStyleIdx="0" presStyleCnt="1">
        <dgm:presLayoutVars>
          <dgm:bulletEnabled val="1"/>
        </dgm:presLayoutVars>
      </dgm:prSet>
      <dgm:spPr/>
    </dgm:pt>
  </dgm:ptLst>
  <dgm:cxnLst>
    <dgm:cxn modelId="{B294EE04-F7D2-A140-B7B2-1CEC06DDBCDB}" srcId="{8FC2B32D-426B-CA46-ABDE-25B7C8862DA9}" destId="{58B94D75-34B2-BC46-ACD1-530FC8005159}" srcOrd="2" destOrd="0" parTransId="{7A35B930-1C79-6943-86A4-D63DD28E9A3F}" sibTransId="{9E144B59-F535-8C44-B9FC-1AFA3072613E}"/>
    <dgm:cxn modelId="{1307C416-03CB-AA4B-8088-C77F9AE1A12D}" srcId="{8FC2B32D-426B-CA46-ABDE-25B7C8862DA9}" destId="{003C1011-874A-FF49-ACB1-27348474AD17}" srcOrd="3" destOrd="0" parTransId="{3BE9E2BF-B5FC-5840-A368-01E23DCA05FB}" sibTransId="{F479AA24-66A1-174E-B32A-9A72140D6326}"/>
    <dgm:cxn modelId="{187D3F31-9DF0-584B-A32D-758B9736E67C}" type="presOf" srcId="{41997FFC-1710-6C4A-BFC7-F20942318EAA}" destId="{11B4E3D0-96AE-3742-BD8C-BF48874CBDF4}" srcOrd="0" destOrd="1" presId="urn:microsoft.com/office/officeart/2005/8/layout/list1"/>
    <dgm:cxn modelId="{5F0B6460-4EA0-3F46-920D-74AE2175FAC4}" type="presOf" srcId="{58B94D75-34B2-BC46-ACD1-530FC8005159}" destId="{11B4E3D0-96AE-3742-BD8C-BF48874CBDF4}" srcOrd="0" destOrd="2" presId="urn:microsoft.com/office/officeart/2005/8/layout/list1"/>
    <dgm:cxn modelId="{45DBDD4A-977A-D74D-BC87-620F14319EBA}" srcId="{8FC2B32D-426B-CA46-ABDE-25B7C8862DA9}" destId="{C6E5471A-8199-CF4F-9BFD-1C2A008EC4DE}" srcOrd="4" destOrd="0" parTransId="{C4746701-B3E0-6B4A-B2AD-A726AC4019B7}" sibTransId="{9B6486A2-6FAB-4940-A2D8-0FA3C2379C0C}"/>
    <dgm:cxn modelId="{B75A1D95-5C37-4243-9CC6-669249FC20B0}" srcId="{2B725688-CA75-4144-99DE-105E2018C9FB}" destId="{8FC2B32D-426B-CA46-ABDE-25B7C8862DA9}" srcOrd="0" destOrd="0" parTransId="{BE1DCED1-2CEB-4141-B75B-61351580B593}" sibTransId="{E876CE63-F65C-BF42-935C-DF2BF76C9C7D}"/>
    <dgm:cxn modelId="{DD9A339B-D8A2-9D4B-BCE5-0F4CED7A75FA}" type="presOf" srcId="{C6E5471A-8199-CF4F-9BFD-1C2A008EC4DE}" destId="{11B4E3D0-96AE-3742-BD8C-BF48874CBDF4}" srcOrd="0" destOrd="4" presId="urn:microsoft.com/office/officeart/2005/8/layout/list1"/>
    <dgm:cxn modelId="{2E9A93A8-76E9-734A-AF48-2973871C54B5}" type="presOf" srcId="{8FC2B32D-426B-CA46-ABDE-25B7C8862DA9}" destId="{E20B1FAA-E839-ED46-A7DB-B2619A5EE0FE}" srcOrd="0" destOrd="0" presId="urn:microsoft.com/office/officeart/2005/8/layout/list1"/>
    <dgm:cxn modelId="{D91EEBB2-1681-9343-8022-CD6C4983E0BA}" srcId="{8FC2B32D-426B-CA46-ABDE-25B7C8862DA9}" destId="{41997FFC-1710-6C4A-BFC7-F20942318EAA}" srcOrd="1" destOrd="0" parTransId="{5F48A392-2D1E-734D-9EFE-1EEE289104BA}" sibTransId="{B798A1CF-6CD7-184B-ADF9-5F7315A825EF}"/>
    <dgm:cxn modelId="{65CB74B7-825E-594B-9896-6D5D332A3F0A}" type="presOf" srcId="{003C1011-874A-FF49-ACB1-27348474AD17}" destId="{11B4E3D0-96AE-3742-BD8C-BF48874CBDF4}" srcOrd="0" destOrd="3" presId="urn:microsoft.com/office/officeart/2005/8/layout/list1"/>
    <dgm:cxn modelId="{775840D1-5849-1849-B684-8F5A0DC13A16}" type="presOf" srcId="{8FC2B32D-426B-CA46-ABDE-25B7C8862DA9}" destId="{531AFF3A-0E79-9B4D-8F1B-E0BF703C1268}" srcOrd="1" destOrd="0" presId="urn:microsoft.com/office/officeart/2005/8/layout/list1"/>
    <dgm:cxn modelId="{C9E7A7DC-3979-9D40-8818-1D726A9EB2EE}" type="presOf" srcId="{2B725688-CA75-4144-99DE-105E2018C9FB}" destId="{6C831CE2-2EC4-C84D-8E1E-3F218A2F6BAD}" srcOrd="0" destOrd="0" presId="urn:microsoft.com/office/officeart/2005/8/layout/list1"/>
    <dgm:cxn modelId="{EE4D73E6-FE4F-1044-B43A-735AF2BB4CA9}" type="presOf" srcId="{FDDDB650-CACF-D54B-BC50-7E0D690D8744}" destId="{11B4E3D0-96AE-3742-BD8C-BF48874CBDF4}" srcOrd="0" destOrd="0" presId="urn:microsoft.com/office/officeart/2005/8/layout/list1"/>
    <dgm:cxn modelId="{D827E5F7-BB39-2D4A-9E8C-68B606425897}" srcId="{8FC2B32D-426B-CA46-ABDE-25B7C8862DA9}" destId="{FDDDB650-CACF-D54B-BC50-7E0D690D8744}" srcOrd="0" destOrd="0" parTransId="{7BD51ECF-C661-8548-A0EC-68C6C522311D}" sibTransId="{16E28B7F-C276-2B43-84EF-E57718F2BBB6}"/>
    <dgm:cxn modelId="{31FDBC37-DEBF-8344-89C2-170CF0B14769}" type="presParOf" srcId="{6C831CE2-2EC4-C84D-8E1E-3F218A2F6BAD}" destId="{961AC05E-886F-E844-A2EC-74CF84CCB451}" srcOrd="0" destOrd="0" presId="urn:microsoft.com/office/officeart/2005/8/layout/list1"/>
    <dgm:cxn modelId="{FADAFE52-F9DD-724E-A1E7-4A9329DC80BA}" type="presParOf" srcId="{961AC05E-886F-E844-A2EC-74CF84CCB451}" destId="{E20B1FAA-E839-ED46-A7DB-B2619A5EE0FE}" srcOrd="0" destOrd="0" presId="urn:microsoft.com/office/officeart/2005/8/layout/list1"/>
    <dgm:cxn modelId="{02BD58DF-A8B9-F147-9DBA-E0FD7DD891F9}" type="presParOf" srcId="{961AC05E-886F-E844-A2EC-74CF84CCB451}" destId="{531AFF3A-0E79-9B4D-8F1B-E0BF703C1268}" srcOrd="1" destOrd="0" presId="urn:microsoft.com/office/officeart/2005/8/layout/list1"/>
    <dgm:cxn modelId="{FFC8B460-4940-C544-B65D-B167271C34CE}" type="presParOf" srcId="{6C831CE2-2EC4-C84D-8E1E-3F218A2F6BAD}" destId="{D52AE230-169A-9E44-8881-F782BD653EF2}" srcOrd="1" destOrd="0" presId="urn:microsoft.com/office/officeart/2005/8/layout/list1"/>
    <dgm:cxn modelId="{6E92BCBC-B32E-094E-ABF5-C50608439BBD}" type="presParOf" srcId="{6C831CE2-2EC4-C84D-8E1E-3F218A2F6BAD}" destId="{11B4E3D0-96AE-3742-BD8C-BF48874CBDF4}"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B725688-CA75-4144-99DE-105E2018C9FB}" type="doc">
      <dgm:prSet loTypeId="urn:microsoft.com/office/officeart/2005/8/layout/list1" loCatId="" qsTypeId="urn:microsoft.com/office/officeart/2005/8/quickstyle/simple1" qsCatId="simple" csTypeId="urn:microsoft.com/office/officeart/2005/8/colors/accent1_2" csCatId="accent1" phldr="1"/>
      <dgm:spPr/>
      <dgm:t>
        <a:bodyPr/>
        <a:lstStyle/>
        <a:p>
          <a:endParaRPr lang="en-US"/>
        </a:p>
      </dgm:t>
    </dgm:pt>
    <dgm:pt modelId="{8FC2B32D-426B-CA46-ABDE-25B7C8862DA9}">
      <dgm:prSet phldrT="[Text]"/>
      <dgm:spPr/>
      <dgm:t>
        <a:bodyPr/>
        <a:lstStyle/>
        <a:p>
          <a:r>
            <a:rPr lang="en-US" b="1" dirty="0"/>
            <a:t>SKK </a:t>
          </a:r>
          <a:r>
            <a:rPr lang="en-US" b="1" dirty="0" err="1"/>
            <a:t>Konstruksi</a:t>
          </a:r>
          <a:endParaRPr lang="en-US" b="1" dirty="0"/>
        </a:p>
      </dgm:t>
    </dgm:pt>
    <dgm:pt modelId="{BE1DCED1-2CEB-4141-B75B-61351580B593}" type="parTrans" cxnId="{B75A1D95-5C37-4243-9CC6-669249FC20B0}">
      <dgm:prSet/>
      <dgm:spPr/>
      <dgm:t>
        <a:bodyPr/>
        <a:lstStyle/>
        <a:p>
          <a:endParaRPr lang="en-US"/>
        </a:p>
      </dgm:t>
    </dgm:pt>
    <dgm:pt modelId="{E876CE63-F65C-BF42-935C-DF2BF76C9C7D}" type="sibTrans" cxnId="{B75A1D95-5C37-4243-9CC6-669249FC20B0}">
      <dgm:prSet/>
      <dgm:spPr/>
      <dgm:t>
        <a:bodyPr/>
        <a:lstStyle/>
        <a:p>
          <a:endParaRPr lang="en-US"/>
        </a:p>
      </dgm:t>
    </dgm:pt>
    <dgm:pt modelId="{FDDDB650-CACF-D54B-BC50-7E0D690D8744}">
      <dgm:prSet phldrT="[Text]"/>
      <dgm:spPr/>
      <dgm:t>
        <a:bodyPr/>
        <a:lstStyle/>
        <a:p>
          <a:pPr algn="just">
            <a:buFont typeface="Arial" panose="020B0604020202020204" pitchFamily="34" charset="0"/>
            <a:buChar char="•"/>
          </a:pPr>
          <a:r>
            <a:rPr lang="en-US" dirty="0"/>
            <a:t>SKK </a:t>
          </a:r>
          <a:r>
            <a:rPr lang="en-US" dirty="0" err="1"/>
            <a:t>Konstruksi</a:t>
          </a:r>
          <a:r>
            <a:rPr lang="en-US" dirty="0"/>
            <a:t> </a:t>
          </a:r>
          <a:r>
            <a:rPr lang="en-US" dirty="0" err="1"/>
            <a:t>wajib</a:t>
          </a:r>
          <a:r>
            <a:rPr lang="en-US" dirty="0"/>
            <a:t> </a:t>
          </a:r>
          <a:r>
            <a:rPr lang="en-US" dirty="0" err="1"/>
            <a:t>dimiliki</a:t>
          </a:r>
          <a:r>
            <a:rPr lang="en-US" dirty="0"/>
            <a:t> </a:t>
          </a:r>
          <a:r>
            <a:rPr lang="en-US" dirty="0" err="1"/>
            <a:t>tenaga</a:t>
          </a:r>
          <a:r>
            <a:rPr lang="en-US" dirty="0"/>
            <a:t> </a:t>
          </a:r>
          <a:r>
            <a:rPr lang="en-US" dirty="0" err="1"/>
            <a:t>kerja</a:t>
          </a:r>
          <a:r>
            <a:rPr lang="en-US" dirty="0"/>
            <a:t> </a:t>
          </a:r>
          <a:r>
            <a:rPr lang="en-US" dirty="0" err="1"/>
            <a:t>konstruksi</a:t>
          </a:r>
          <a:r>
            <a:rPr lang="en-US" dirty="0"/>
            <a:t>.
SKK </a:t>
          </a:r>
          <a:r>
            <a:rPr lang="en-US" dirty="0" err="1"/>
            <a:t>Konstruksi</a:t>
          </a:r>
          <a:r>
            <a:rPr lang="en-US" dirty="0"/>
            <a:t> </a:t>
          </a:r>
          <a:r>
            <a:rPr lang="en-US" dirty="0" err="1"/>
            <a:t>diterbitkan</a:t>
          </a:r>
          <a:r>
            <a:rPr lang="en-US" dirty="0"/>
            <a:t> </a:t>
          </a:r>
          <a:r>
            <a:rPr lang="en-US" dirty="0" err="1"/>
            <a:t>melalui</a:t>
          </a:r>
          <a:r>
            <a:rPr lang="en-US" dirty="0"/>
            <a:t> uji </a:t>
          </a:r>
          <a:r>
            <a:rPr lang="en-US" dirty="0" err="1"/>
            <a:t>kompetensi</a:t>
          </a:r>
          <a:r>
            <a:rPr lang="en-US" dirty="0"/>
            <a:t> </a:t>
          </a:r>
          <a:r>
            <a:rPr lang="en-US" dirty="0" err="1"/>
            <a:t>sesuai</a:t>
          </a:r>
          <a:r>
            <a:rPr lang="en-US" dirty="0"/>
            <a:t> </a:t>
          </a:r>
          <a:r>
            <a:rPr lang="en-US" dirty="0" err="1"/>
            <a:t>dengan</a:t>
          </a:r>
          <a:r>
            <a:rPr lang="en-US" dirty="0"/>
            <a:t> </a:t>
          </a:r>
          <a:r>
            <a:rPr lang="en-US" dirty="0" err="1"/>
            <a:t>standar</a:t>
          </a:r>
          <a:r>
            <a:rPr lang="en-US" dirty="0"/>
            <a:t> </a:t>
          </a:r>
          <a:r>
            <a:rPr lang="en-US" dirty="0" err="1"/>
            <a:t>kompetensi</a:t>
          </a:r>
          <a:r>
            <a:rPr lang="en-US" dirty="0"/>
            <a:t> </a:t>
          </a:r>
          <a:r>
            <a:rPr lang="en-US" dirty="0" err="1"/>
            <a:t>kerja</a:t>
          </a:r>
          <a:r>
            <a:rPr lang="en-US" dirty="0"/>
            <a:t>.
</a:t>
          </a:r>
          <a:r>
            <a:rPr lang="en-US" dirty="0" err="1"/>
            <a:t>Pelaksanaan</a:t>
          </a:r>
          <a:r>
            <a:rPr lang="en-US" dirty="0"/>
            <a:t> uji </a:t>
          </a:r>
          <a:r>
            <a:rPr lang="en-US" dirty="0" err="1"/>
            <a:t>kompetensi</a:t>
          </a:r>
          <a:r>
            <a:rPr lang="en-US" dirty="0"/>
            <a:t> </a:t>
          </a:r>
          <a:r>
            <a:rPr lang="en-US" dirty="0" err="1"/>
            <a:t>dilaksanakan</a:t>
          </a:r>
          <a:r>
            <a:rPr lang="en-US" dirty="0"/>
            <a:t> oleh LSP </a:t>
          </a:r>
          <a:r>
            <a:rPr lang="en-US" dirty="0" err="1"/>
            <a:t>bidang</a:t>
          </a:r>
          <a:r>
            <a:rPr lang="en-US" dirty="0"/>
            <a:t> </a:t>
          </a:r>
          <a:r>
            <a:rPr lang="en-US" dirty="0" err="1"/>
            <a:t>konstruksi</a:t>
          </a:r>
          <a:r>
            <a:rPr lang="en-US" dirty="0"/>
            <a:t>.
</a:t>
          </a:r>
          <a:r>
            <a:rPr lang="en-US" dirty="0" err="1"/>
            <a:t>Sertifikasi</a:t>
          </a:r>
          <a:r>
            <a:rPr lang="en-US" dirty="0"/>
            <a:t> SKK </a:t>
          </a:r>
          <a:r>
            <a:rPr lang="en-US" dirty="0" err="1"/>
            <a:t>Konstruksi</a:t>
          </a:r>
          <a:r>
            <a:rPr lang="en-US" dirty="0"/>
            <a:t> </a:t>
          </a:r>
          <a:r>
            <a:rPr lang="en-US" dirty="0" err="1"/>
            <a:t>dicatat</a:t>
          </a:r>
          <a:r>
            <a:rPr lang="en-US" dirty="0"/>
            <a:t> oleh </a:t>
          </a:r>
          <a:r>
            <a:rPr lang="en-US" dirty="0" err="1"/>
            <a:t>menteri</a:t>
          </a:r>
          <a:r>
            <a:rPr lang="en-US" dirty="0"/>
            <a:t> PUPR </a:t>
          </a:r>
          <a:r>
            <a:rPr lang="en-US" dirty="0" err="1"/>
            <a:t>melalui</a:t>
          </a:r>
          <a:r>
            <a:rPr lang="en-US" dirty="0"/>
            <a:t> SIJKT
SKK </a:t>
          </a:r>
          <a:r>
            <a:rPr lang="en-US" dirty="0" err="1"/>
            <a:t>Konstruksi</a:t>
          </a:r>
          <a:r>
            <a:rPr lang="en-US" dirty="0"/>
            <a:t> </a:t>
          </a:r>
          <a:r>
            <a:rPr lang="en-US" dirty="0" err="1"/>
            <a:t>berlaku</a:t>
          </a:r>
          <a:r>
            <a:rPr lang="en-US" dirty="0"/>
            <a:t> </a:t>
          </a:r>
          <a:r>
            <a:rPr lang="en-US" dirty="0" err="1"/>
            <a:t>untuk</a:t>
          </a:r>
          <a:r>
            <a:rPr lang="en-US" dirty="0"/>
            <a:t> </a:t>
          </a:r>
          <a:r>
            <a:rPr lang="en-US" dirty="0" err="1"/>
            <a:t>jangka</a:t>
          </a:r>
          <a:r>
            <a:rPr lang="en-US" dirty="0"/>
            <a:t> </a:t>
          </a:r>
          <a:r>
            <a:rPr lang="en-US" dirty="0" err="1"/>
            <a:t>waktu</a:t>
          </a:r>
          <a:r>
            <a:rPr lang="en-US" dirty="0"/>
            <a:t> 5 (lima) </a:t>
          </a:r>
          <a:r>
            <a:rPr lang="en-US" dirty="0" err="1"/>
            <a:t>tahun</a:t>
          </a:r>
          <a:r>
            <a:rPr lang="en-US" dirty="0"/>
            <a:t> dan </a:t>
          </a:r>
          <a:r>
            <a:rPr lang="en-US" dirty="0" err="1"/>
            <a:t>dapat</a:t>
          </a:r>
          <a:r>
            <a:rPr lang="en-US" dirty="0"/>
            <a:t> </a:t>
          </a:r>
          <a:r>
            <a:rPr lang="en-US" dirty="0" err="1"/>
            <a:t>diperpanjang</a:t>
          </a:r>
          <a:r>
            <a:rPr lang="en-US" dirty="0"/>
            <a:t>, </a:t>
          </a:r>
          <a:r>
            <a:rPr lang="en-US" dirty="0" err="1"/>
            <a:t>serta</a:t>
          </a:r>
          <a:r>
            <a:rPr lang="en-US" dirty="0"/>
            <a:t> </a:t>
          </a:r>
          <a:r>
            <a:rPr lang="en-US" dirty="0" err="1"/>
            <a:t>dapat</a:t>
          </a:r>
          <a:r>
            <a:rPr lang="en-US" dirty="0"/>
            <a:t> </a:t>
          </a:r>
          <a:r>
            <a:rPr lang="en-US" dirty="0" err="1"/>
            <a:t>dilakukan</a:t>
          </a:r>
          <a:r>
            <a:rPr lang="en-US" dirty="0"/>
            <a:t> </a:t>
          </a:r>
          <a:r>
            <a:rPr lang="en-US" dirty="0" err="1"/>
            <a:t>perubahan</a:t>
          </a:r>
          <a:r>
            <a:rPr lang="en-US" dirty="0"/>
            <a:t>.
SKK </a:t>
          </a:r>
          <a:r>
            <a:rPr lang="en-US" dirty="0" err="1"/>
            <a:t>Konstruksi</a:t>
          </a:r>
          <a:r>
            <a:rPr lang="en-US" dirty="0"/>
            <a:t> yang </a:t>
          </a:r>
          <a:r>
            <a:rPr lang="en-US" dirty="0" err="1"/>
            <a:t>akan</a:t>
          </a:r>
          <a:r>
            <a:rPr lang="en-US" dirty="0"/>
            <a:t> </a:t>
          </a:r>
          <a:r>
            <a:rPr lang="en-US" dirty="0" err="1"/>
            <a:t>diperpanjang</a:t>
          </a:r>
          <a:r>
            <a:rPr lang="en-US" dirty="0"/>
            <a:t> </a:t>
          </a:r>
          <a:r>
            <a:rPr lang="en-US" dirty="0" err="1"/>
            <a:t>wajib</a:t>
          </a:r>
          <a:r>
            <a:rPr lang="en-US" dirty="0"/>
            <a:t> </a:t>
          </a:r>
          <a:r>
            <a:rPr lang="en-US" dirty="0" err="1"/>
            <a:t>diajukan</a:t>
          </a:r>
          <a:r>
            <a:rPr lang="en-US" dirty="0"/>
            <a:t> </a:t>
          </a:r>
          <a:r>
            <a:rPr lang="en-US" dirty="0" err="1"/>
            <a:t>sebelum</a:t>
          </a:r>
          <a:r>
            <a:rPr lang="en-US" dirty="0"/>
            <a:t> </a:t>
          </a:r>
          <a:r>
            <a:rPr lang="en-US" dirty="0" err="1"/>
            <a:t>habis</a:t>
          </a:r>
          <a:r>
            <a:rPr lang="en-US" dirty="0"/>
            <a:t> masa </a:t>
          </a:r>
          <a:r>
            <a:rPr lang="en-US" dirty="0" err="1"/>
            <a:t>berlakunya</a:t>
          </a:r>
          <a:r>
            <a:rPr lang="en-US" dirty="0"/>
            <a:t>.</a:t>
          </a:r>
        </a:p>
      </dgm:t>
    </dgm:pt>
    <dgm:pt modelId="{7BD51ECF-C661-8548-A0EC-68C6C522311D}" type="parTrans" cxnId="{D827E5F7-BB39-2D4A-9E8C-68B606425897}">
      <dgm:prSet/>
      <dgm:spPr/>
      <dgm:t>
        <a:bodyPr/>
        <a:lstStyle/>
        <a:p>
          <a:endParaRPr lang="en-US"/>
        </a:p>
      </dgm:t>
    </dgm:pt>
    <dgm:pt modelId="{16E28B7F-C276-2B43-84EF-E57718F2BBB6}" type="sibTrans" cxnId="{D827E5F7-BB39-2D4A-9E8C-68B606425897}">
      <dgm:prSet/>
      <dgm:spPr/>
      <dgm:t>
        <a:bodyPr/>
        <a:lstStyle/>
        <a:p>
          <a:endParaRPr lang="en-US"/>
        </a:p>
      </dgm:t>
    </dgm:pt>
    <dgm:pt modelId="{6C831CE2-2EC4-C84D-8E1E-3F218A2F6BAD}" type="pres">
      <dgm:prSet presAssocID="{2B725688-CA75-4144-99DE-105E2018C9FB}" presName="linear" presStyleCnt="0">
        <dgm:presLayoutVars>
          <dgm:dir/>
          <dgm:animLvl val="lvl"/>
          <dgm:resizeHandles val="exact"/>
        </dgm:presLayoutVars>
      </dgm:prSet>
      <dgm:spPr/>
    </dgm:pt>
    <dgm:pt modelId="{961AC05E-886F-E844-A2EC-74CF84CCB451}" type="pres">
      <dgm:prSet presAssocID="{8FC2B32D-426B-CA46-ABDE-25B7C8862DA9}" presName="parentLin" presStyleCnt="0"/>
      <dgm:spPr/>
    </dgm:pt>
    <dgm:pt modelId="{E20B1FAA-E839-ED46-A7DB-B2619A5EE0FE}" type="pres">
      <dgm:prSet presAssocID="{8FC2B32D-426B-CA46-ABDE-25B7C8862DA9}" presName="parentLeftMargin" presStyleLbl="node1" presStyleIdx="0" presStyleCnt="1"/>
      <dgm:spPr/>
    </dgm:pt>
    <dgm:pt modelId="{531AFF3A-0E79-9B4D-8F1B-E0BF703C1268}" type="pres">
      <dgm:prSet presAssocID="{8FC2B32D-426B-CA46-ABDE-25B7C8862DA9}" presName="parentText" presStyleLbl="node1" presStyleIdx="0" presStyleCnt="1">
        <dgm:presLayoutVars>
          <dgm:chMax val="0"/>
          <dgm:bulletEnabled val="1"/>
        </dgm:presLayoutVars>
      </dgm:prSet>
      <dgm:spPr/>
    </dgm:pt>
    <dgm:pt modelId="{D52AE230-169A-9E44-8881-F782BD653EF2}" type="pres">
      <dgm:prSet presAssocID="{8FC2B32D-426B-CA46-ABDE-25B7C8862DA9}" presName="negativeSpace" presStyleCnt="0"/>
      <dgm:spPr/>
    </dgm:pt>
    <dgm:pt modelId="{11B4E3D0-96AE-3742-BD8C-BF48874CBDF4}" type="pres">
      <dgm:prSet presAssocID="{8FC2B32D-426B-CA46-ABDE-25B7C8862DA9}" presName="childText" presStyleLbl="conFgAcc1" presStyleIdx="0" presStyleCnt="1">
        <dgm:presLayoutVars>
          <dgm:bulletEnabled val="1"/>
        </dgm:presLayoutVars>
      </dgm:prSet>
      <dgm:spPr/>
    </dgm:pt>
  </dgm:ptLst>
  <dgm:cxnLst>
    <dgm:cxn modelId="{B75A1D95-5C37-4243-9CC6-669249FC20B0}" srcId="{2B725688-CA75-4144-99DE-105E2018C9FB}" destId="{8FC2B32D-426B-CA46-ABDE-25B7C8862DA9}" srcOrd="0" destOrd="0" parTransId="{BE1DCED1-2CEB-4141-B75B-61351580B593}" sibTransId="{E876CE63-F65C-BF42-935C-DF2BF76C9C7D}"/>
    <dgm:cxn modelId="{2E9A93A8-76E9-734A-AF48-2973871C54B5}" type="presOf" srcId="{8FC2B32D-426B-CA46-ABDE-25B7C8862DA9}" destId="{E20B1FAA-E839-ED46-A7DB-B2619A5EE0FE}" srcOrd="0" destOrd="0" presId="urn:microsoft.com/office/officeart/2005/8/layout/list1"/>
    <dgm:cxn modelId="{775840D1-5849-1849-B684-8F5A0DC13A16}" type="presOf" srcId="{8FC2B32D-426B-CA46-ABDE-25B7C8862DA9}" destId="{531AFF3A-0E79-9B4D-8F1B-E0BF703C1268}" srcOrd="1" destOrd="0" presId="urn:microsoft.com/office/officeart/2005/8/layout/list1"/>
    <dgm:cxn modelId="{C9E7A7DC-3979-9D40-8818-1D726A9EB2EE}" type="presOf" srcId="{2B725688-CA75-4144-99DE-105E2018C9FB}" destId="{6C831CE2-2EC4-C84D-8E1E-3F218A2F6BAD}" srcOrd="0" destOrd="0" presId="urn:microsoft.com/office/officeart/2005/8/layout/list1"/>
    <dgm:cxn modelId="{EE4D73E6-FE4F-1044-B43A-735AF2BB4CA9}" type="presOf" srcId="{FDDDB650-CACF-D54B-BC50-7E0D690D8744}" destId="{11B4E3D0-96AE-3742-BD8C-BF48874CBDF4}" srcOrd="0" destOrd="0" presId="urn:microsoft.com/office/officeart/2005/8/layout/list1"/>
    <dgm:cxn modelId="{D827E5F7-BB39-2D4A-9E8C-68B606425897}" srcId="{8FC2B32D-426B-CA46-ABDE-25B7C8862DA9}" destId="{FDDDB650-CACF-D54B-BC50-7E0D690D8744}" srcOrd="0" destOrd="0" parTransId="{7BD51ECF-C661-8548-A0EC-68C6C522311D}" sibTransId="{16E28B7F-C276-2B43-84EF-E57718F2BBB6}"/>
    <dgm:cxn modelId="{31FDBC37-DEBF-8344-89C2-170CF0B14769}" type="presParOf" srcId="{6C831CE2-2EC4-C84D-8E1E-3F218A2F6BAD}" destId="{961AC05E-886F-E844-A2EC-74CF84CCB451}" srcOrd="0" destOrd="0" presId="urn:microsoft.com/office/officeart/2005/8/layout/list1"/>
    <dgm:cxn modelId="{FADAFE52-F9DD-724E-A1E7-4A9329DC80BA}" type="presParOf" srcId="{961AC05E-886F-E844-A2EC-74CF84CCB451}" destId="{E20B1FAA-E839-ED46-A7DB-B2619A5EE0FE}" srcOrd="0" destOrd="0" presId="urn:microsoft.com/office/officeart/2005/8/layout/list1"/>
    <dgm:cxn modelId="{02BD58DF-A8B9-F147-9DBA-E0FD7DD891F9}" type="presParOf" srcId="{961AC05E-886F-E844-A2EC-74CF84CCB451}" destId="{531AFF3A-0E79-9B4D-8F1B-E0BF703C1268}" srcOrd="1" destOrd="0" presId="urn:microsoft.com/office/officeart/2005/8/layout/list1"/>
    <dgm:cxn modelId="{FFC8B460-4940-C544-B65D-B167271C34CE}" type="presParOf" srcId="{6C831CE2-2EC4-C84D-8E1E-3F218A2F6BAD}" destId="{D52AE230-169A-9E44-8881-F782BD653EF2}" srcOrd="1" destOrd="0" presId="urn:microsoft.com/office/officeart/2005/8/layout/list1"/>
    <dgm:cxn modelId="{6E92BCBC-B32E-094E-ABF5-C50608439BBD}" type="presParOf" srcId="{6C831CE2-2EC4-C84D-8E1E-3F218A2F6BAD}" destId="{11B4E3D0-96AE-3742-BD8C-BF48874CBDF4}" srcOrd="2"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B725688-CA75-4144-99DE-105E2018C9FB}" type="doc">
      <dgm:prSet loTypeId="urn:microsoft.com/office/officeart/2005/8/layout/list1" loCatId="" qsTypeId="urn:microsoft.com/office/officeart/2005/8/quickstyle/simple1" qsCatId="simple" csTypeId="urn:microsoft.com/office/officeart/2005/8/colors/accent1_2" csCatId="accent1" phldr="1"/>
      <dgm:spPr/>
      <dgm:t>
        <a:bodyPr/>
        <a:lstStyle/>
        <a:p>
          <a:endParaRPr lang="en-US"/>
        </a:p>
      </dgm:t>
    </dgm:pt>
    <dgm:pt modelId="{8FC2B32D-426B-CA46-ABDE-25B7C8862DA9}">
      <dgm:prSet phldrT="[Text]"/>
      <dgm:spPr/>
      <dgm:t>
        <a:bodyPr/>
        <a:lstStyle/>
        <a:p>
          <a:r>
            <a:rPr lang="en-US" b="1" dirty="0" err="1"/>
            <a:t>Lisensi</a:t>
          </a:r>
          <a:endParaRPr lang="en-US" b="1" dirty="0"/>
        </a:p>
      </dgm:t>
    </dgm:pt>
    <dgm:pt modelId="{BE1DCED1-2CEB-4141-B75B-61351580B593}" type="parTrans" cxnId="{B75A1D95-5C37-4243-9CC6-669249FC20B0}">
      <dgm:prSet/>
      <dgm:spPr/>
      <dgm:t>
        <a:bodyPr/>
        <a:lstStyle/>
        <a:p>
          <a:endParaRPr lang="en-US"/>
        </a:p>
      </dgm:t>
    </dgm:pt>
    <dgm:pt modelId="{E876CE63-F65C-BF42-935C-DF2BF76C9C7D}" type="sibTrans" cxnId="{B75A1D95-5C37-4243-9CC6-669249FC20B0}">
      <dgm:prSet/>
      <dgm:spPr/>
      <dgm:t>
        <a:bodyPr/>
        <a:lstStyle/>
        <a:p>
          <a:endParaRPr lang="en-US"/>
        </a:p>
      </dgm:t>
    </dgm:pt>
    <dgm:pt modelId="{FDDDB650-CACF-D54B-BC50-7E0D690D8744}">
      <dgm:prSet phldrT="[Text]"/>
      <dgm:spPr/>
      <dgm:t>
        <a:bodyPr/>
        <a:lstStyle/>
        <a:p>
          <a:pPr algn="just">
            <a:buFont typeface="Arial" panose="020B0604020202020204" pitchFamily="34" charset="0"/>
            <a:buChar char="•"/>
          </a:pPr>
          <a:r>
            <a:rPr lang="en-US" dirty="0" err="1"/>
            <a:t>Lisensi</a:t>
          </a:r>
          <a:r>
            <a:rPr lang="en-US" dirty="0"/>
            <a:t> </a:t>
          </a:r>
          <a:r>
            <a:rPr lang="en-US" dirty="0" err="1"/>
            <a:t>wajib</a:t>
          </a:r>
          <a:r>
            <a:rPr lang="en-US" dirty="0"/>
            <a:t> </a:t>
          </a:r>
          <a:r>
            <a:rPr lang="en-US" dirty="0" err="1"/>
            <a:t>dimiliki</a:t>
          </a:r>
          <a:r>
            <a:rPr lang="en-US" dirty="0"/>
            <a:t> oleh Lembaga </a:t>
          </a:r>
          <a:r>
            <a:rPr lang="en-US" dirty="0" err="1"/>
            <a:t>Sertifikasi</a:t>
          </a:r>
          <a:r>
            <a:rPr lang="en-US" dirty="0"/>
            <a:t> Badan Usaha (LSBU) dan Lembaga </a:t>
          </a:r>
          <a:r>
            <a:rPr lang="en-US" dirty="0" err="1"/>
            <a:t>Sertifikasi</a:t>
          </a:r>
          <a:r>
            <a:rPr lang="en-US" dirty="0"/>
            <a:t> </a:t>
          </a:r>
          <a:r>
            <a:rPr lang="en-US" dirty="0" err="1"/>
            <a:t>Profesi</a:t>
          </a:r>
          <a:r>
            <a:rPr lang="en-US" dirty="0"/>
            <a:t> (LSP) </a:t>
          </a:r>
          <a:r>
            <a:rPr lang="en-US" dirty="0" err="1"/>
            <a:t>bidang</a:t>
          </a:r>
          <a:r>
            <a:rPr lang="en-US" dirty="0"/>
            <a:t> </a:t>
          </a:r>
          <a:r>
            <a:rPr lang="en-US" dirty="0" err="1"/>
            <a:t>Konstruksi</a:t>
          </a:r>
          <a:endParaRPr lang="en-US" dirty="0"/>
        </a:p>
      </dgm:t>
    </dgm:pt>
    <dgm:pt modelId="{7BD51ECF-C661-8548-A0EC-68C6C522311D}" type="parTrans" cxnId="{D827E5F7-BB39-2D4A-9E8C-68B606425897}">
      <dgm:prSet/>
      <dgm:spPr/>
      <dgm:t>
        <a:bodyPr/>
        <a:lstStyle/>
        <a:p>
          <a:endParaRPr lang="en-US"/>
        </a:p>
      </dgm:t>
    </dgm:pt>
    <dgm:pt modelId="{16E28B7F-C276-2B43-84EF-E57718F2BBB6}" type="sibTrans" cxnId="{D827E5F7-BB39-2D4A-9E8C-68B606425897}">
      <dgm:prSet/>
      <dgm:spPr/>
      <dgm:t>
        <a:bodyPr/>
        <a:lstStyle/>
        <a:p>
          <a:endParaRPr lang="en-US"/>
        </a:p>
      </dgm:t>
    </dgm:pt>
    <dgm:pt modelId="{335435D2-BAE8-CE44-AE36-C46D0F3738AC}">
      <dgm:prSet phldrT="[Text]"/>
      <dgm:spPr/>
      <dgm:t>
        <a:bodyPr/>
        <a:lstStyle/>
        <a:p>
          <a:pPr algn="just">
            <a:buFont typeface="Arial" panose="020B0604020202020204" pitchFamily="34" charset="0"/>
            <a:buChar char="•"/>
          </a:pPr>
          <a:r>
            <a:rPr lang="en-US" dirty="0" err="1"/>
            <a:t>Lebih</a:t>
          </a:r>
          <a:r>
            <a:rPr lang="en-US" dirty="0"/>
            <a:t> </a:t>
          </a:r>
          <a:r>
            <a:rPr lang="en-US" dirty="0" err="1"/>
            <a:t>lanjut</a:t>
          </a:r>
          <a:r>
            <a:rPr lang="en-US" dirty="0"/>
            <a:t> </a:t>
          </a:r>
          <a:r>
            <a:rPr lang="en-US" dirty="0" err="1"/>
            <a:t>terkait</a:t>
          </a:r>
          <a:r>
            <a:rPr lang="en-US" dirty="0"/>
            <a:t> </a:t>
          </a:r>
          <a:r>
            <a:rPr lang="en-US" dirty="0" err="1"/>
            <a:t>lisensi</a:t>
          </a:r>
          <a:r>
            <a:rPr lang="en-US" dirty="0"/>
            <a:t> </a:t>
          </a:r>
          <a:r>
            <a:rPr lang="en-US" dirty="0" err="1"/>
            <a:t>diatur</a:t>
          </a:r>
          <a:r>
            <a:rPr lang="en-US" dirty="0"/>
            <a:t> </a:t>
          </a:r>
          <a:r>
            <a:rPr lang="en-US" dirty="0" err="1"/>
            <a:t>dalam</a:t>
          </a:r>
          <a:r>
            <a:rPr lang="en-US" dirty="0"/>
            <a:t> PP 14/2021 </a:t>
          </a:r>
          <a:r>
            <a:rPr lang="en-US" dirty="0" err="1"/>
            <a:t>tentang</a:t>
          </a:r>
          <a:r>
            <a:rPr lang="en-US" dirty="0"/>
            <a:t> </a:t>
          </a:r>
          <a:r>
            <a:rPr lang="en-US" dirty="0" err="1"/>
            <a:t>Perubahan</a:t>
          </a:r>
          <a:r>
            <a:rPr lang="en-US" dirty="0"/>
            <a:t> PP </a:t>
          </a:r>
          <a:r>
            <a:rPr lang="en-US" dirty="0" err="1"/>
            <a:t>tentang</a:t>
          </a:r>
          <a:r>
            <a:rPr lang="en-US" dirty="0"/>
            <a:t> Jasa </a:t>
          </a:r>
          <a:r>
            <a:rPr lang="en-US" dirty="0" err="1"/>
            <a:t>Konstruksi</a:t>
          </a:r>
          <a:endParaRPr lang="en-US" dirty="0"/>
        </a:p>
      </dgm:t>
    </dgm:pt>
    <dgm:pt modelId="{9DB6756A-3CDE-2E4A-A1C8-D03C8B66F099}" type="parTrans" cxnId="{8D91E1DE-BDD1-7B45-B7B1-010996BDC266}">
      <dgm:prSet/>
      <dgm:spPr/>
      <dgm:t>
        <a:bodyPr/>
        <a:lstStyle/>
        <a:p>
          <a:endParaRPr lang="en-US"/>
        </a:p>
      </dgm:t>
    </dgm:pt>
    <dgm:pt modelId="{05A69D11-1429-F54A-BDC0-A76AF854497D}" type="sibTrans" cxnId="{8D91E1DE-BDD1-7B45-B7B1-010996BDC266}">
      <dgm:prSet/>
      <dgm:spPr/>
      <dgm:t>
        <a:bodyPr/>
        <a:lstStyle/>
        <a:p>
          <a:endParaRPr lang="en-US"/>
        </a:p>
      </dgm:t>
    </dgm:pt>
    <dgm:pt modelId="{6C831CE2-2EC4-C84D-8E1E-3F218A2F6BAD}" type="pres">
      <dgm:prSet presAssocID="{2B725688-CA75-4144-99DE-105E2018C9FB}" presName="linear" presStyleCnt="0">
        <dgm:presLayoutVars>
          <dgm:dir/>
          <dgm:animLvl val="lvl"/>
          <dgm:resizeHandles val="exact"/>
        </dgm:presLayoutVars>
      </dgm:prSet>
      <dgm:spPr/>
    </dgm:pt>
    <dgm:pt modelId="{961AC05E-886F-E844-A2EC-74CF84CCB451}" type="pres">
      <dgm:prSet presAssocID="{8FC2B32D-426B-CA46-ABDE-25B7C8862DA9}" presName="parentLin" presStyleCnt="0"/>
      <dgm:spPr/>
    </dgm:pt>
    <dgm:pt modelId="{E20B1FAA-E839-ED46-A7DB-B2619A5EE0FE}" type="pres">
      <dgm:prSet presAssocID="{8FC2B32D-426B-CA46-ABDE-25B7C8862DA9}" presName="parentLeftMargin" presStyleLbl="node1" presStyleIdx="0" presStyleCnt="1"/>
      <dgm:spPr/>
    </dgm:pt>
    <dgm:pt modelId="{531AFF3A-0E79-9B4D-8F1B-E0BF703C1268}" type="pres">
      <dgm:prSet presAssocID="{8FC2B32D-426B-CA46-ABDE-25B7C8862DA9}" presName="parentText" presStyleLbl="node1" presStyleIdx="0" presStyleCnt="1">
        <dgm:presLayoutVars>
          <dgm:chMax val="0"/>
          <dgm:bulletEnabled val="1"/>
        </dgm:presLayoutVars>
      </dgm:prSet>
      <dgm:spPr/>
    </dgm:pt>
    <dgm:pt modelId="{D52AE230-169A-9E44-8881-F782BD653EF2}" type="pres">
      <dgm:prSet presAssocID="{8FC2B32D-426B-CA46-ABDE-25B7C8862DA9}" presName="negativeSpace" presStyleCnt="0"/>
      <dgm:spPr/>
    </dgm:pt>
    <dgm:pt modelId="{11B4E3D0-96AE-3742-BD8C-BF48874CBDF4}" type="pres">
      <dgm:prSet presAssocID="{8FC2B32D-426B-CA46-ABDE-25B7C8862DA9}" presName="childText" presStyleLbl="conFgAcc1" presStyleIdx="0" presStyleCnt="1" custScaleY="112151" custLinFactNeighborY="67047">
        <dgm:presLayoutVars>
          <dgm:bulletEnabled val="1"/>
        </dgm:presLayoutVars>
      </dgm:prSet>
      <dgm:spPr/>
    </dgm:pt>
  </dgm:ptLst>
  <dgm:cxnLst>
    <dgm:cxn modelId="{17D27D11-D623-294C-93AD-42852550C632}" type="presOf" srcId="{335435D2-BAE8-CE44-AE36-C46D0F3738AC}" destId="{11B4E3D0-96AE-3742-BD8C-BF48874CBDF4}" srcOrd="0" destOrd="1" presId="urn:microsoft.com/office/officeart/2005/8/layout/list1"/>
    <dgm:cxn modelId="{B75A1D95-5C37-4243-9CC6-669249FC20B0}" srcId="{2B725688-CA75-4144-99DE-105E2018C9FB}" destId="{8FC2B32D-426B-CA46-ABDE-25B7C8862DA9}" srcOrd="0" destOrd="0" parTransId="{BE1DCED1-2CEB-4141-B75B-61351580B593}" sibTransId="{E876CE63-F65C-BF42-935C-DF2BF76C9C7D}"/>
    <dgm:cxn modelId="{2E9A93A8-76E9-734A-AF48-2973871C54B5}" type="presOf" srcId="{8FC2B32D-426B-CA46-ABDE-25B7C8862DA9}" destId="{E20B1FAA-E839-ED46-A7DB-B2619A5EE0FE}" srcOrd="0" destOrd="0" presId="urn:microsoft.com/office/officeart/2005/8/layout/list1"/>
    <dgm:cxn modelId="{775840D1-5849-1849-B684-8F5A0DC13A16}" type="presOf" srcId="{8FC2B32D-426B-CA46-ABDE-25B7C8862DA9}" destId="{531AFF3A-0E79-9B4D-8F1B-E0BF703C1268}" srcOrd="1" destOrd="0" presId="urn:microsoft.com/office/officeart/2005/8/layout/list1"/>
    <dgm:cxn modelId="{C9E7A7DC-3979-9D40-8818-1D726A9EB2EE}" type="presOf" srcId="{2B725688-CA75-4144-99DE-105E2018C9FB}" destId="{6C831CE2-2EC4-C84D-8E1E-3F218A2F6BAD}" srcOrd="0" destOrd="0" presId="urn:microsoft.com/office/officeart/2005/8/layout/list1"/>
    <dgm:cxn modelId="{8D91E1DE-BDD1-7B45-B7B1-010996BDC266}" srcId="{8FC2B32D-426B-CA46-ABDE-25B7C8862DA9}" destId="{335435D2-BAE8-CE44-AE36-C46D0F3738AC}" srcOrd="1" destOrd="0" parTransId="{9DB6756A-3CDE-2E4A-A1C8-D03C8B66F099}" sibTransId="{05A69D11-1429-F54A-BDC0-A76AF854497D}"/>
    <dgm:cxn modelId="{EE4D73E6-FE4F-1044-B43A-735AF2BB4CA9}" type="presOf" srcId="{FDDDB650-CACF-D54B-BC50-7E0D690D8744}" destId="{11B4E3D0-96AE-3742-BD8C-BF48874CBDF4}" srcOrd="0" destOrd="0" presId="urn:microsoft.com/office/officeart/2005/8/layout/list1"/>
    <dgm:cxn modelId="{D827E5F7-BB39-2D4A-9E8C-68B606425897}" srcId="{8FC2B32D-426B-CA46-ABDE-25B7C8862DA9}" destId="{FDDDB650-CACF-D54B-BC50-7E0D690D8744}" srcOrd="0" destOrd="0" parTransId="{7BD51ECF-C661-8548-A0EC-68C6C522311D}" sibTransId="{16E28B7F-C276-2B43-84EF-E57718F2BBB6}"/>
    <dgm:cxn modelId="{31FDBC37-DEBF-8344-89C2-170CF0B14769}" type="presParOf" srcId="{6C831CE2-2EC4-C84D-8E1E-3F218A2F6BAD}" destId="{961AC05E-886F-E844-A2EC-74CF84CCB451}" srcOrd="0" destOrd="0" presId="urn:microsoft.com/office/officeart/2005/8/layout/list1"/>
    <dgm:cxn modelId="{FADAFE52-F9DD-724E-A1E7-4A9329DC80BA}" type="presParOf" srcId="{961AC05E-886F-E844-A2EC-74CF84CCB451}" destId="{E20B1FAA-E839-ED46-A7DB-B2619A5EE0FE}" srcOrd="0" destOrd="0" presId="urn:microsoft.com/office/officeart/2005/8/layout/list1"/>
    <dgm:cxn modelId="{02BD58DF-A8B9-F147-9DBA-E0FD7DD891F9}" type="presParOf" srcId="{961AC05E-886F-E844-A2EC-74CF84CCB451}" destId="{531AFF3A-0E79-9B4D-8F1B-E0BF703C1268}" srcOrd="1" destOrd="0" presId="urn:microsoft.com/office/officeart/2005/8/layout/list1"/>
    <dgm:cxn modelId="{FFC8B460-4940-C544-B65D-B167271C34CE}" type="presParOf" srcId="{6C831CE2-2EC4-C84D-8E1E-3F218A2F6BAD}" destId="{D52AE230-169A-9E44-8881-F782BD653EF2}" srcOrd="1" destOrd="0" presId="urn:microsoft.com/office/officeart/2005/8/layout/list1"/>
    <dgm:cxn modelId="{6E92BCBC-B32E-094E-ABF5-C50608439BBD}" type="presParOf" srcId="{6C831CE2-2EC4-C84D-8E1E-3F218A2F6BAD}" destId="{11B4E3D0-96AE-3742-BD8C-BF48874CBDF4}" srcOrd="2" destOrd="0" presId="urn:microsoft.com/office/officeart/2005/8/layout/list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918A3AA-050B-BC40-A0FF-0FA4861ADC55}" type="doc">
      <dgm:prSet loTypeId="urn:microsoft.com/office/officeart/2005/8/layout/venn1" loCatId="" qsTypeId="urn:microsoft.com/office/officeart/2005/8/quickstyle/simple1" qsCatId="simple" csTypeId="urn:microsoft.com/office/officeart/2005/8/colors/accent1_5" csCatId="accent1" phldr="1"/>
      <dgm:spPr/>
      <dgm:t>
        <a:bodyPr/>
        <a:lstStyle/>
        <a:p>
          <a:endParaRPr lang="en-US"/>
        </a:p>
      </dgm:t>
    </dgm:pt>
    <dgm:pt modelId="{4697844E-02D9-C143-ABEC-1A9523B3113B}">
      <dgm:prSet phldrT="[Text]" custT="1"/>
      <dgm:spPr/>
      <dgm:t>
        <a:bodyPr/>
        <a:lstStyle/>
        <a:p>
          <a:r>
            <a:rPr lang="en-US" sz="2000" dirty="0">
              <a:latin typeface="Century Gothic" panose="020B0502020202020204" pitchFamily="34" charset="0"/>
            </a:rPr>
            <a:t>TERTIB USAHA</a:t>
          </a:r>
        </a:p>
      </dgm:t>
    </dgm:pt>
    <dgm:pt modelId="{DECDEE2B-9DDB-384B-B550-A005608FD810}" type="parTrans" cxnId="{D959F19A-B9F1-1941-9345-3D81DD6EE174}">
      <dgm:prSet/>
      <dgm:spPr/>
      <dgm:t>
        <a:bodyPr/>
        <a:lstStyle/>
        <a:p>
          <a:endParaRPr lang="en-US"/>
        </a:p>
      </dgm:t>
    </dgm:pt>
    <dgm:pt modelId="{21AFFBC2-45B7-0646-9F4B-2BE6ECBAD7A4}" type="sibTrans" cxnId="{D959F19A-B9F1-1941-9345-3D81DD6EE174}">
      <dgm:prSet/>
      <dgm:spPr/>
      <dgm:t>
        <a:bodyPr/>
        <a:lstStyle/>
        <a:p>
          <a:endParaRPr lang="en-US"/>
        </a:p>
      </dgm:t>
    </dgm:pt>
    <dgm:pt modelId="{E12127A1-21A5-DA42-A58E-7DAF19361946}">
      <dgm:prSet custT="1"/>
      <dgm:spPr/>
      <dgm:t>
        <a:bodyPr/>
        <a:lstStyle/>
        <a:p>
          <a:r>
            <a:rPr lang="en-US" sz="2000" dirty="0">
              <a:latin typeface="Century Gothic" panose="020B0502020202020204" pitchFamily="34" charset="0"/>
            </a:rPr>
            <a:t>TERTIB</a:t>
          </a:r>
        </a:p>
        <a:p>
          <a:r>
            <a:rPr lang="en-US" sz="1800" dirty="0">
              <a:latin typeface="Century Gothic" panose="020B0502020202020204" pitchFamily="34" charset="0"/>
            </a:rPr>
            <a:t>PENYELENGGARAAN</a:t>
          </a:r>
        </a:p>
      </dgm:t>
    </dgm:pt>
    <dgm:pt modelId="{2FE94610-1545-7241-898B-57825173E9B9}" type="parTrans" cxnId="{2812AEC7-A9CF-2947-A798-3374428C5EEA}">
      <dgm:prSet/>
      <dgm:spPr/>
      <dgm:t>
        <a:bodyPr/>
        <a:lstStyle/>
        <a:p>
          <a:endParaRPr lang="en-US"/>
        </a:p>
      </dgm:t>
    </dgm:pt>
    <dgm:pt modelId="{0928C977-A160-5B44-951E-86A62924196F}" type="sibTrans" cxnId="{2812AEC7-A9CF-2947-A798-3374428C5EEA}">
      <dgm:prSet/>
      <dgm:spPr/>
      <dgm:t>
        <a:bodyPr/>
        <a:lstStyle/>
        <a:p>
          <a:endParaRPr lang="en-US"/>
        </a:p>
      </dgm:t>
    </dgm:pt>
    <dgm:pt modelId="{ACE923C5-C803-9445-A9F9-2C34296CBEF3}">
      <dgm:prSet custT="1"/>
      <dgm:spPr/>
      <dgm:t>
        <a:bodyPr/>
        <a:lstStyle/>
        <a:p>
          <a:r>
            <a:rPr lang="en-US" sz="2000" dirty="0">
              <a:latin typeface="Century Gothic" panose="020B0502020202020204" pitchFamily="34" charset="0"/>
            </a:rPr>
            <a:t>TERTIB </a:t>
          </a:r>
          <a:r>
            <a:rPr lang="en-US" sz="1800" dirty="0">
              <a:latin typeface="Century Gothic" panose="020B0502020202020204" pitchFamily="34" charset="0"/>
            </a:rPr>
            <a:t>PEMANFAATAN</a:t>
          </a:r>
          <a:endParaRPr lang="en-US" sz="2000" dirty="0">
            <a:latin typeface="Century Gothic" panose="020B0502020202020204" pitchFamily="34" charset="0"/>
          </a:endParaRPr>
        </a:p>
      </dgm:t>
    </dgm:pt>
    <dgm:pt modelId="{95A3AA37-8658-414E-916E-89C9577E19C0}" type="parTrans" cxnId="{829F55F9-1254-514F-A462-DF88442FB48B}">
      <dgm:prSet/>
      <dgm:spPr/>
      <dgm:t>
        <a:bodyPr/>
        <a:lstStyle/>
        <a:p>
          <a:endParaRPr lang="en-US"/>
        </a:p>
      </dgm:t>
    </dgm:pt>
    <dgm:pt modelId="{A2FF142E-4A19-6149-AA2F-46E31D0BD283}" type="sibTrans" cxnId="{829F55F9-1254-514F-A462-DF88442FB48B}">
      <dgm:prSet/>
      <dgm:spPr/>
      <dgm:t>
        <a:bodyPr/>
        <a:lstStyle/>
        <a:p>
          <a:endParaRPr lang="en-US"/>
        </a:p>
      </dgm:t>
    </dgm:pt>
    <dgm:pt modelId="{6F605F48-A550-B44D-B66B-6FC06D6AE597}" type="pres">
      <dgm:prSet presAssocID="{7918A3AA-050B-BC40-A0FF-0FA4861ADC55}" presName="compositeShape" presStyleCnt="0">
        <dgm:presLayoutVars>
          <dgm:chMax val="7"/>
          <dgm:dir/>
          <dgm:resizeHandles val="exact"/>
        </dgm:presLayoutVars>
      </dgm:prSet>
      <dgm:spPr/>
    </dgm:pt>
    <dgm:pt modelId="{900FE241-C44F-F04A-B089-A75EB148E726}" type="pres">
      <dgm:prSet presAssocID="{4697844E-02D9-C143-ABEC-1A9523B3113B}" presName="circ1" presStyleLbl="vennNode1" presStyleIdx="0" presStyleCnt="3"/>
      <dgm:spPr/>
    </dgm:pt>
    <dgm:pt modelId="{7D39FC20-0FE3-EA4C-83D2-C74342932177}" type="pres">
      <dgm:prSet presAssocID="{4697844E-02D9-C143-ABEC-1A9523B3113B}" presName="circ1Tx" presStyleLbl="revTx" presStyleIdx="0" presStyleCnt="0">
        <dgm:presLayoutVars>
          <dgm:chMax val="0"/>
          <dgm:chPref val="0"/>
          <dgm:bulletEnabled val="1"/>
        </dgm:presLayoutVars>
      </dgm:prSet>
      <dgm:spPr/>
    </dgm:pt>
    <dgm:pt modelId="{DD105659-D689-C541-8F48-D03147344233}" type="pres">
      <dgm:prSet presAssocID="{E12127A1-21A5-DA42-A58E-7DAF19361946}" presName="circ2" presStyleLbl="vennNode1" presStyleIdx="1" presStyleCnt="3"/>
      <dgm:spPr/>
    </dgm:pt>
    <dgm:pt modelId="{BB163449-21B4-764C-B2AB-B6E2DCFA86D3}" type="pres">
      <dgm:prSet presAssocID="{E12127A1-21A5-DA42-A58E-7DAF19361946}" presName="circ2Tx" presStyleLbl="revTx" presStyleIdx="0" presStyleCnt="0">
        <dgm:presLayoutVars>
          <dgm:chMax val="0"/>
          <dgm:chPref val="0"/>
          <dgm:bulletEnabled val="1"/>
        </dgm:presLayoutVars>
      </dgm:prSet>
      <dgm:spPr/>
    </dgm:pt>
    <dgm:pt modelId="{5DEA6273-AC58-3E42-B6EC-61ECFFEF76DB}" type="pres">
      <dgm:prSet presAssocID="{ACE923C5-C803-9445-A9F9-2C34296CBEF3}" presName="circ3" presStyleLbl="vennNode1" presStyleIdx="2" presStyleCnt="3"/>
      <dgm:spPr/>
    </dgm:pt>
    <dgm:pt modelId="{F776A093-F985-9746-8338-EEED989F92FD}" type="pres">
      <dgm:prSet presAssocID="{ACE923C5-C803-9445-A9F9-2C34296CBEF3}" presName="circ3Tx" presStyleLbl="revTx" presStyleIdx="0" presStyleCnt="0">
        <dgm:presLayoutVars>
          <dgm:chMax val="0"/>
          <dgm:chPref val="0"/>
          <dgm:bulletEnabled val="1"/>
        </dgm:presLayoutVars>
      </dgm:prSet>
      <dgm:spPr/>
    </dgm:pt>
  </dgm:ptLst>
  <dgm:cxnLst>
    <dgm:cxn modelId="{01BC0A5E-5C37-2943-ACF0-906C324100C8}" type="presOf" srcId="{7918A3AA-050B-BC40-A0FF-0FA4861ADC55}" destId="{6F605F48-A550-B44D-B66B-6FC06D6AE597}" srcOrd="0" destOrd="0" presId="urn:microsoft.com/office/officeart/2005/8/layout/venn1"/>
    <dgm:cxn modelId="{31011C45-B805-B64F-984C-5D2A2823F533}" type="presOf" srcId="{ACE923C5-C803-9445-A9F9-2C34296CBEF3}" destId="{F776A093-F985-9746-8338-EEED989F92FD}" srcOrd="1" destOrd="0" presId="urn:microsoft.com/office/officeart/2005/8/layout/venn1"/>
    <dgm:cxn modelId="{1842CC71-E20E-6C43-83C5-2FB61F4B6E85}" type="presOf" srcId="{4697844E-02D9-C143-ABEC-1A9523B3113B}" destId="{900FE241-C44F-F04A-B089-A75EB148E726}" srcOrd="0" destOrd="0" presId="urn:microsoft.com/office/officeart/2005/8/layout/venn1"/>
    <dgm:cxn modelId="{5DDF6895-0B2D-2841-AC06-4F5471D1DF41}" type="presOf" srcId="{4697844E-02D9-C143-ABEC-1A9523B3113B}" destId="{7D39FC20-0FE3-EA4C-83D2-C74342932177}" srcOrd="1" destOrd="0" presId="urn:microsoft.com/office/officeart/2005/8/layout/venn1"/>
    <dgm:cxn modelId="{D959F19A-B9F1-1941-9345-3D81DD6EE174}" srcId="{7918A3AA-050B-BC40-A0FF-0FA4861ADC55}" destId="{4697844E-02D9-C143-ABEC-1A9523B3113B}" srcOrd="0" destOrd="0" parTransId="{DECDEE2B-9DDB-384B-B550-A005608FD810}" sibTransId="{21AFFBC2-45B7-0646-9F4B-2BE6ECBAD7A4}"/>
    <dgm:cxn modelId="{0933439E-2771-3749-9B0A-ECBC40BC14EE}" type="presOf" srcId="{E12127A1-21A5-DA42-A58E-7DAF19361946}" destId="{BB163449-21B4-764C-B2AB-B6E2DCFA86D3}" srcOrd="1" destOrd="0" presId="urn:microsoft.com/office/officeart/2005/8/layout/venn1"/>
    <dgm:cxn modelId="{838CC9B7-3704-4B4B-9FDF-FD8DA17088A8}" type="presOf" srcId="{E12127A1-21A5-DA42-A58E-7DAF19361946}" destId="{DD105659-D689-C541-8F48-D03147344233}" srcOrd="0" destOrd="0" presId="urn:microsoft.com/office/officeart/2005/8/layout/venn1"/>
    <dgm:cxn modelId="{B6FA96C2-1CE5-574C-894D-01E7309B7B3E}" type="presOf" srcId="{ACE923C5-C803-9445-A9F9-2C34296CBEF3}" destId="{5DEA6273-AC58-3E42-B6EC-61ECFFEF76DB}" srcOrd="0" destOrd="0" presId="urn:microsoft.com/office/officeart/2005/8/layout/venn1"/>
    <dgm:cxn modelId="{2812AEC7-A9CF-2947-A798-3374428C5EEA}" srcId="{7918A3AA-050B-BC40-A0FF-0FA4861ADC55}" destId="{E12127A1-21A5-DA42-A58E-7DAF19361946}" srcOrd="1" destOrd="0" parTransId="{2FE94610-1545-7241-898B-57825173E9B9}" sibTransId="{0928C977-A160-5B44-951E-86A62924196F}"/>
    <dgm:cxn modelId="{829F55F9-1254-514F-A462-DF88442FB48B}" srcId="{7918A3AA-050B-BC40-A0FF-0FA4861ADC55}" destId="{ACE923C5-C803-9445-A9F9-2C34296CBEF3}" srcOrd="2" destOrd="0" parTransId="{95A3AA37-8658-414E-916E-89C9577E19C0}" sibTransId="{A2FF142E-4A19-6149-AA2F-46E31D0BD283}"/>
    <dgm:cxn modelId="{09BCF791-5F61-A943-B3FE-C905E2C6136E}" type="presParOf" srcId="{6F605F48-A550-B44D-B66B-6FC06D6AE597}" destId="{900FE241-C44F-F04A-B089-A75EB148E726}" srcOrd="0" destOrd="0" presId="urn:microsoft.com/office/officeart/2005/8/layout/venn1"/>
    <dgm:cxn modelId="{F7F68DE4-C58E-3047-9DDA-99C65F632C35}" type="presParOf" srcId="{6F605F48-A550-B44D-B66B-6FC06D6AE597}" destId="{7D39FC20-0FE3-EA4C-83D2-C74342932177}" srcOrd="1" destOrd="0" presId="urn:microsoft.com/office/officeart/2005/8/layout/venn1"/>
    <dgm:cxn modelId="{6D7A2633-FE08-504A-86AA-FD52F8719BCB}" type="presParOf" srcId="{6F605F48-A550-B44D-B66B-6FC06D6AE597}" destId="{DD105659-D689-C541-8F48-D03147344233}" srcOrd="2" destOrd="0" presId="urn:microsoft.com/office/officeart/2005/8/layout/venn1"/>
    <dgm:cxn modelId="{956DF6D2-D4E1-D749-B4DA-BACE27F54FC1}" type="presParOf" srcId="{6F605F48-A550-B44D-B66B-6FC06D6AE597}" destId="{BB163449-21B4-764C-B2AB-B6E2DCFA86D3}" srcOrd="3" destOrd="0" presId="urn:microsoft.com/office/officeart/2005/8/layout/venn1"/>
    <dgm:cxn modelId="{8E972EEF-B336-6349-9683-C4E1BBC733D9}" type="presParOf" srcId="{6F605F48-A550-B44D-B66B-6FC06D6AE597}" destId="{5DEA6273-AC58-3E42-B6EC-61ECFFEF76DB}" srcOrd="4" destOrd="0" presId="urn:microsoft.com/office/officeart/2005/8/layout/venn1"/>
    <dgm:cxn modelId="{F24EEBBD-02D7-1A45-9905-088B514A7F14}" type="presParOf" srcId="{6F605F48-A550-B44D-B66B-6FC06D6AE597}" destId="{F776A093-F985-9746-8338-EEED989F92FD}" srcOrd="5" destOrd="0" presId="urn:microsoft.com/office/officeart/2005/8/layout/venn1"/>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3AFB93-923E-4C90-8DDB-3F607FBB5C3B}">
      <dsp:nvSpPr>
        <dsp:cNvPr id="0" name=""/>
        <dsp:cNvSpPr/>
      </dsp:nvSpPr>
      <dsp:spPr>
        <a:xfrm>
          <a:off x="1620769" y="0"/>
          <a:ext cx="1620769" cy="1455789"/>
        </a:xfrm>
        <a:prstGeom prst="trapezoid">
          <a:avLst>
            <a:gd name="adj" fmla="val 55666"/>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1" i="1" kern="1200" dirty="0">
              <a:latin typeface="Century Gothic" panose="020B0502020202020204" pitchFamily="34" charset="0"/>
            </a:rPr>
            <a:t>Decision Making Tool</a:t>
          </a:r>
        </a:p>
        <a:p>
          <a:pPr marL="0" lvl="0" indent="0" algn="ctr" defTabSz="800100">
            <a:lnSpc>
              <a:spcPct val="90000"/>
            </a:lnSpc>
            <a:spcBef>
              <a:spcPct val="0"/>
            </a:spcBef>
            <a:spcAft>
              <a:spcPct val="35000"/>
            </a:spcAft>
            <a:buNone/>
          </a:pPr>
          <a:r>
            <a:rPr lang="en-US" sz="1400" b="1" i="1" kern="1200" dirty="0">
              <a:latin typeface="Century Gothic" panose="020B0502020202020204" pitchFamily="34" charset="0"/>
              <a:cs typeface="Century Gothic Regular" charset="0"/>
            </a:rPr>
            <a:t>STRATEGIC MANAGEMENT</a:t>
          </a:r>
        </a:p>
      </dsp:txBody>
      <dsp:txXfrm>
        <a:off x="1620769" y="0"/>
        <a:ext cx="1620769" cy="1455789"/>
      </dsp:txXfrm>
    </dsp:sp>
    <dsp:sp modelId="{EAF18A28-6BE4-48CC-8FD8-FE26074F5AD6}">
      <dsp:nvSpPr>
        <dsp:cNvPr id="0" name=""/>
        <dsp:cNvSpPr/>
      </dsp:nvSpPr>
      <dsp:spPr>
        <a:xfrm>
          <a:off x="810384" y="1455789"/>
          <a:ext cx="3241539" cy="1455789"/>
        </a:xfrm>
        <a:prstGeom prst="trapezoid">
          <a:avLst>
            <a:gd name="adj" fmla="val 55666"/>
          </a:avLst>
        </a:prstGeom>
        <a:gradFill rotWithShape="0">
          <a:gsLst>
            <a:gs pos="0">
              <a:schemeClr val="accent5">
                <a:hueOff val="-3379271"/>
                <a:satOff val="-8710"/>
                <a:lumOff val="-5883"/>
                <a:alphaOff val="0"/>
                <a:satMod val="103000"/>
                <a:lumMod val="102000"/>
                <a:tint val="94000"/>
              </a:schemeClr>
            </a:gs>
            <a:gs pos="50000">
              <a:schemeClr val="accent5">
                <a:hueOff val="-3379271"/>
                <a:satOff val="-8710"/>
                <a:lumOff val="-5883"/>
                <a:alphaOff val="0"/>
                <a:satMod val="110000"/>
                <a:lumMod val="100000"/>
                <a:shade val="100000"/>
              </a:schemeClr>
            </a:gs>
            <a:gs pos="100000">
              <a:schemeClr val="accent5">
                <a:hueOff val="-3379271"/>
                <a:satOff val="-8710"/>
                <a:lumOff val="-5883"/>
                <a:alphaOff val="0"/>
                <a:lumMod val="99000"/>
                <a:satMod val="120000"/>
                <a:shade val="78000"/>
              </a:schemeClr>
            </a:gs>
          </a:gsLst>
          <a:lin ang="5400000" scaled="0"/>
        </a:gradFill>
        <a:ln>
          <a:noFill/>
        </a:ln>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1" i="1" kern="1200" dirty="0">
              <a:latin typeface="Century Gothic" panose="020B0502020202020204" pitchFamily="34" charset="0"/>
              <a:cs typeface="Century Gothic Regular" charset="0"/>
            </a:rPr>
            <a:t>Management Information System </a:t>
          </a:r>
          <a:r>
            <a:rPr lang="en-US" sz="1800" b="1" i="0" kern="1200" dirty="0">
              <a:latin typeface="Century Gothic" panose="020B0502020202020204" pitchFamily="34" charset="0"/>
              <a:cs typeface="Century Gothic Regular" charset="0"/>
            </a:rPr>
            <a:t>(MIS)</a:t>
          </a:r>
        </a:p>
        <a:p>
          <a:pPr marL="0" lvl="0" indent="0" algn="ctr" defTabSz="800100">
            <a:lnSpc>
              <a:spcPct val="90000"/>
            </a:lnSpc>
            <a:spcBef>
              <a:spcPct val="0"/>
            </a:spcBef>
            <a:spcAft>
              <a:spcPct val="35000"/>
            </a:spcAft>
            <a:buNone/>
          </a:pPr>
          <a:r>
            <a:rPr lang="en-US" sz="1400" b="1" i="1" kern="1200" dirty="0">
              <a:latin typeface="Century Gothic" panose="020B0502020202020204" pitchFamily="34" charset="0"/>
              <a:cs typeface="Century Gothic Regular" charset="0"/>
            </a:rPr>
            <a:t>TACTICAL MANAGEMENT</a:t>
          </a:r>
        </a:p>
      </dsp:txBody>
      <dsp:txXfrm>
        <a:off x="1377654" y="1455789"/>
        <a:ext cx="2107000" cy="1455789"/>
      </dsp:txXfrm>
    </dsp:sp>
    <dsp:sp modelId="{860F47CE-C410-4901-840B-DE608D804758}">
      <dsp:nvSpPr>
        <dsp:cNvPr id="0" name=""/>
        <dsp:cNvSpPr/>
      </dsp:nvSpPr>
      <dsp:spPr>
        <a:xfrm>
          <a:off x="0" y="2911579"/>
          <a:ext cx="4862309" cy="1455789"/>
        </a:xfrm>
        <a:prstGeom prst="trapezoid">
          <a:avLst>
            <a:gd name="adj" fmla="val 55666"/>
          </a:avLst>
        </a:prstGeom>
        <a:gradFill rotWithShape="0">
          <a:gsLst>
            <a:gs pos="0">
              <a:schemeClr val="accent5">
                <a:hueOff val="-6758543"/>
                <a:satOff val="-17419"/>
                <a:lumOff val="-11765"/>
                <a:alphaOff val="0"/>
                <a:satMod val="103000"/>
                <a:lumMod val="102000"/>
                <a:tint val="94000"/>
              </a:schemeClr>
            </a:gs>
            <a:gs pos="50000">
              <a:schemeClr val="accent5">
                <a:hueOff val="-6758543"/>
                <a:satOff val="-17419"/>
                <a:lumOff val="-11765"/>
                <a:alphaOff val="0"/>
                <a:satMod val="110000"/>
                <a:lumMod val="100000"/>
                <a:shade val="100000"/>
              </a:schemeClr>
            </a:gs>
            <a:gs pos="100000">
              <a:schemeClr val="accent5">
                <a:hueOff val="-6758543"/>
                <a:satOff val="-17419"/>
                <a:lumOff val="-11765"/>
                <a:alphaOff val="0"/>
                <a:lumMod val="99000"/>
                <a:satMod val="120000"/>
                <a:shade val="78000"/>
              </a:schemeClr>
            </a:gs>
          </a:gsLst>
          <a:lin ang="5400000" scaled="0"/>
        </a:gradFill>
        <a:ln>
          <a:noFill/>
        </a:ln>
        <a:effectLst/>
        <a:scene3d>
          <a:camera prst="orthographicFront">
            <a:rot lat="0" lon="0" rev="0"/>
          </a:camera>
          <a:lightRig rig="balanced" dir="t">
            <a:rot lat="0" lon="0" rev="8700000"/>
          </a:lightRig>
        </a:scene3d>
        <a:sp3d>
          <a:bevelT w="190500" h="38100"/>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1" i="1" kern="1200" dirty="0">
              <a:latin typeface="Century Gothic" panose="020B0502020202020204" pitchFamily="34" charset="0"/>
              <a:cs typeface="Century Gothic Regular" charset="0"/>
            </a:rPr>
            <a:t>Transaction Processing System </a:t>
          </a:r>
          <a:r>
            <a:rPr lang="en-US" sz="1800" b="1" i="0" kern="1200" dirty="0">
              <a:latin typeface="Century Gothic" panose="020B0502020202020204" pitchFamily="34" charset="0"/>
              <a:cs typeface="Century Gothic Regular" charset="0"/>
            </a:rPr>
            <a:t>(TPS)</a:t>
          </a:r>
        </a:p>
        <a:p>
          <a:pPr marL="0" lvl="0" indent="0" algn="ctr" defTabSz="800100">
            <a:lnSpc>
              <a:spcPct val="90000"/>
            </a:lnSpc>
            <a:spcBef>
              <a:spcPct val="0"/>
            </a:spcBef>
            <a:spcAft>
              <a:spcPct val="35000"/>
            </a:spcAft>
            <a:buNone/>
          </a:pPr>
          <a:r>
            <a:rPr lang="en-US" sz="1400" b="1" i="1" kern="1200" dirty="0">
              <a:latin typeface="Century Gothic" panose="020B0502020202020204" pitchFamily="34" charset="0"/>
              <a:cs typeface="Century Gothic Regular" charset="0"/>
            </a:rPr>
            <a:t>WORKERS/OPERATIONAL MANAGEMENT</a:t>
          </a:r>
        </a:p>
      </dsp:txBody>
      <dsp:txXfrm>
        <a:off x="850904" y="2911579"/>
        <a:ext cx="3160500" cy="145578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B20093-6DFB-3A4B-91F8-05AEA91AADF9}">
      <dsp:nvSpPr>
        <dsp:cNvPr id="0" name=""/>
        <dsp:cNvSpPr/>
      </dsp:nvSpPr>
      <dsp:spPr>
        <a:xfrm>
          <a:off x="0" y="343233"/>
          <a:ext cx="8128000" cy="119700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30823" tIns="416560" rIns="630823"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err="1"/>
            <a:t>Mendukung</a:t>
          </a:r>
          <a:r>
            <a:rPr lang="en-US" sz="2000" kern="1200"/>
            <a:t> </a:t>
          </a:r>
          <a:r>
            <a:rPr lang="en-US" sz="2000" kern="1200" err="1"/>
            <a:t>penciptaan</a:t>
          </a:r>
          <a:r>
            <a:rPr lang="en-US" sz="2000" kern="1200"/>
            <a:t> </a:t>
          </a:r>
          <a:r>
            <a:rPr lang="en-US" sz="2000" kern="1200" err="1"/>
            <a:t>lapangan</a:t>
          </a:r>
          <a:r>
            <a:rPr lang="en-US" sz="2000" kern="1200"/>
            <a:t> </a:t>
          </a:r>
          <a:r>
            <a:rPr lang="en-US" sz="2000" kern="1200" err="1"/>
            <a:t>kerja</a:t>
          </a:r>
          <a:r>
            <a:rPr lang="en-US" sz="2000" kern="1200"/>
            <a:t> </a:t>
          </a:r>
          <a:r>
            <a:rPr lang="en-US" sz="2000" kern="1200" err="1"/>
            <a:t>melalui</a:t>
          </a:r>
          <a:r>
            <a:rPr lang="en-US" sz="2000" kern="1200"/>
            <a:t> </a:t>
          </a:r>
          <a:r>
            <a:rPr lang="en-US" sz="2000" kern="1200" err="1"/>
            <a:t>pemberian</a:t>
          </a:r>
          <a:r>
            <a:rPr lang="en-US" sz="2000" kern="1200"/>
            <a:t> </a:t>
          </a:r>
          <a:r>
            <a:rPr lang="en-US" sz="2000" kern="1200" err="1"/>
            <a:t>kemudahan</a:t>
          </a:r>
          <a:r>
            <a:rPr lang="en-US" sz="2000" kern="1200"/>
            <a:t> </a:t>
          </a:r>
          <a:r>
            <a:rPr lang="en-US" sz="2000" kern="1200" err="1"/>
            <a:t>usaha</a:t>
          </a:r>
          <a:r>
            <a:rPr lang="en-US" sz="2000" kern="1200"/>
            <a:t> </a:t>
          </a:r>
          <a:r>
            <a:rPr lang="en-US" sz="2000" kern="1200" err="1"/>
            <a:t>untuk</a:t>
          </a:r>
          <a:r>
            <a:rPr lang="en-US" sz="2000" kern="1200"/>
            <a:t> UMKM dan </a:t>
          </a:r>
          <a:r>
            <a:rPr lang="en-US" sz="2000" kern="1200" err="1"/>
            <a:t>peningkatan</a:t>
          </a:r>
          <a:r>
            <a:rPr lang="en-US" sz="2000" kern="1200"/>
            <a:t> </a:t>
          </a:r>
          <a:r>
            <a:rPr lang="en-US" sz="2000" kern="1200" err="1"/>
            <a:t>investasi</a:t>
          </a:r>
          <a:endParaRPr lang="en-US" sz="2000" kern="1200"/>
        </a:p>
      </dsp:txBody>
      <dsp:txXfrm>
        <a:off x="0" y="343233"/>
        <a:ext cx="8128000" cy="1197000"/>
      </dsp:txXfrm>
    </dsp:sp>
    <dsp:sp modelId="{760ACCFD-1704-D34A-B5FC-E6BB234A9A43}">
      <dsp:nvSpPr>
        <dsp:cNvPr id="0" name=""/>
        <dsp:cNvSpPr/>
      </dsp:nvSpPr>
      <dsp:spPr>
        <a:xfrm>
          <a:off x="406400" y="48033"/>
          <a:ext cx="5689599" cy="590399"/>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marL="0" lvl="0" indent="0" algn="l" defTabSz="889000">
            <a:lnSpc>
              <a:spcPct val="90000"/>
            </a:lnSpc>
            <a:spcBef>
              <a:spcPct val="0"/>
            </a:spcBef>
            <a:spcAft>
              <a:spcPct val="35000"/>
            </a:spcAft>
            <a:buNone/>
          </a:pPr>
          <a:r>
            <a:rPr lang="en-US" sz="2000" kern="1200"/>
            <a:t>RBA – </a:t>
          </a:r>
          <a:r>
            <a:rPr lang="en-US" sz="2000" i="1" kern="1200"/>
            <a:t>RISK BASE APPROACH</a:t>
          </a:r>
          <a:endParaRPr lang="en-US" sz="2000" kern="1200"/>
        </a:p>
      </dsp:txBody>
      <dsp:txXfrm>
        <a:off x="435221" y="76854"/>
        <a:ext cx="5631957" cy="532757"/>
      </dsp:txXfrm>
    </dsp:sp>
    <dsp:sp modelId="{83223949-F476-5B42-8DF6-24A5AF4A3694}">
      <dsp:nvSpPr>
        <dsp:cNvPr id="0" name=""/>
        <dsp:cNvSpPr/>
      </dsp:nvSpPr>
      <dsp:spPr>
        <a:xfrm>
          <a:off x="0" y="1943433"/>
          <a:ext cx="8128000" cy="1827000"/>
        </a:xfrm>
        <a:prstGeom prst="rect">
          <a:avLst/>
        </a:prstGeom>
        <a:solidFill>
          <a:schemeClr val="lt1">
            <a:alpha val="90000"/>
            <a:hueOff val="0"/>
            <a:satOff val="0"/>
            <a:lumOff val="0"/>
            <a:alphaOff val="0"/>
          </a:schemeClr>
        </a:solidFill>
        <a:ln w="12700" cap="flat" cmpd="sng" algn="ctr">
          <a:solidFill>
            <a:schemeClr val="accent3">
              <a:hueOff val="1355300"/>
              <a:satOff val="50000"/>
              <a:lumOff val="-735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30823" tIns="416560" rIns="630823"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err="1"/>
            <a:t>Meminimalisir</a:t>
          </a:r>
          <a:r>
            <a:rPr lang="en-US" sz="2000" kern="1200"/>
            <a:t> </a:t>
          </a:r>
          <a:r>
            <a:rPr lang="en-US" sz="2000" kern="1200" err="1"/>
            <a:t>jumlah</a:t>
          </a:r>
          <a:r>
            <a:rPr lang="en-US" sz="2000" kern="1200"/>
            <a:t> </a:t>
          </a:r>
          <a:r>
            <a:rPr lang="en-US" sz="2000" kern="1200" err="1"/>
            <a:t>perizinan</a:t>
          </a:r>
          <a:r>
            <a:rPr lang="en-US" sz="2000" kern="1200"/>
            <a:t> </a:t>
          </a:r>
          <a:r>
            <a:rPr lang="en-US" sz="2000" kern="1200" err="1"/>
            <a:t>berusaha</a:t>
          </a:r>
          <a:r>
            <a:rPr lang="en-US" sz="2000" kern="1200"/>
            <a:t> </a:t>
          </a:r>
          <a:r>
            <a:rPr lang="en-US" sz="2000" kern="1200" err="1"/>
            <a:t>sehingga</a:t>
          </a:r>
          <a:r>
            <a:rPr lang="en-US" sz="2000" kern="1200"/>
            <a:t> </a:t>
          </a:r>
          <a:r>
            <a:rPr lang="en-US" sz="2000" kern="1200" err="1"/>
            <a:t>perizinan</a:t>
          </a:r>
          <a:r>
            <a:rPr lang="en-US" sz="2000" kern="1200"/>
            <a:t> </a:t>
          </a:r>
          <a:r>
            <a:rPr lang="en-US" sz="2000" kern="1200" err="1"/>
            <a:t>lebih</a:t>
          </a:r>
          <a:r>
            <a:rPr lang="en-US" sz="2000" kern="1200"/>
            <a:t> </a:t>
          </a:r>
          <a:r>
            <a:rPr lang="en-US" sz="2000" kern="1200" err="1"/>
            <a:t>sederhana</a:t>
          </a:r>
          <a:endParaRPr lang="en-US" sz="2000" kern="1200"/>
        </a:p>
        <a:p>
          <a:pPr marL="228600" lvl="1" indent="-228600" algn="l" defTabSz="889000">
            <a:lnSpc>
              <a:spcPct val="90000"/>
            </a:lnSpc>
            <a:spcBef>
              <a:spcPct val="0"/>
            </a:spcBef>
            <a:spcAft>
              <a:spcPct val="15000"/>
            </a:spcAft>
            <a:buChar char="•"/>
          </a:pPr>
          <a:r>
            <a:rPr lang="en-US" sz="2000" kern="1200"/>
            <a:t>Perizinan berusaha ditentukan berdasarkan tingkat risiko yang akan ditimbulkan (</a:t>
          </a:r>
          <a:r>
            <a:rPr lang="en-US" sz="2000" i="1" kern="1200"/>
            <a:t>level of initial risk</a:t>
          </a:r>
          <a:r>
            <a:rPr lang="en-US" sz="2000" kern="1200"/>
            <a:t>)</a:t>
          </a:r>
        </a:p>
      </dsp:txBody>
      <dsp:txXfrm>
        <a:off x="0" y="1943433"/>
        <a:ext cx="8128000" cy="1827000"/>
      </dsp:txXfrm>
    </dsp:sp>
    <dsp:sp modelId="{03224C6A-2F15-7844-B2D7-F2AEDF69E69B}">
      <dsp:nvSpPr>
        <dsp:cNvPr id="0" name=""/>
        <dsp:cNvSpPr/>
      </dsp:nvSpPr>
      <dsp:spPr>
        <a:xfrm>
          <a:off x="406400" y="1648233"/>
          <a:ext cx="5689599" cy="590399"/>
        </a:xfrm>
        <a:prstGeom prst="roundRect">
          <a:avLst/>
        </a:prstGeom>
        <a:solidFill>
          <a:schemeClr val="accent3">
            <a:hueOff val="1355300"/>
            <a:satOff val="50000"/>
            <a:lumOff val="-7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marL="0" lvl="0" indent="0" algn="l" defTabSz="889000">
            <a:lnSpc>
              <a:spcPct val="90000"/>
            </a:lnSpc>
            <a:spcBef>
              <a:spcPct val="0"/>
            </a:spcBef>
            <a:spcAft>
              <a:spcPct val="35000"/>
            </a:spcAft>
            <a:buNone/>
          </a:pPr>
          <a:r>
            <a:rPr lang="en-US" sz="2000" kern="1200"/>
            <a:t>PRINSIP RBA PERIZINAN BERUSAHA</a:t>
          </a:r>
        </a:p>
      </dsp:txBody>
      <dsp:txXfrm>
        <a:off x="435221" y="1677054"/>
        <a:ext cx="5631957" cy="532757"/>
      </dsp:txXfrm>
    </dsp:sp>
    <dsp:sp modelId="{ADA788B2-E128-874C-843D-9EDA1BE5F165}">
      <dsp:nvSpPr>
        <dsp:cNvPr id="0" name=""/>
        <dsp:cNvSpPr/>
      </dsp:nvSpPr>
      <dsp:spPr>
        <a:xfrm>
          <a:off x="0" y="4173633"/>
          <a:ext cx="8128000" cy="1197000"/>
        </a:xfrm>
        <a:prstGeom prst="rect">
          <a:avLst/>
        </a:prstGeom>
        <a:solidFill>
          <a:schemeClr val="lt1">
            <a:alpha val="90000"/>
            <a:hueOff val="0"/>
            <a:satOff val="0"/>
            <a:lumOff val="0"/>
            <a:alphaOff val="0"/>
          </a:schemeClr>
        </a:solidFill>
        <a:ln w="12700" cap="flat" cmpd="sng" algn="ctr">
          <a:solidFill>
            <a:schemeClr val="accent3">
              <a:hueOff val="2710599"/>
              <a:satOff val="100000"/>
              <a:lumOff val="-1470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30823" tIns="416560" rIns="630823"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dirty="0" err="1"/>
            <a:t>Intensitas</a:t>
          </a:r>
          <a:r>
            <a:rPr lang="en-US" sz="2000" kern="1200" dirty="0"/>
            <a:t> </a:t>
          </a:r>
          <a:r>
            <a:rPr lang="en-US" sz="2000" kern="1200" dirty="0" err="1"/>
            <a:t>Pelaksanaan</a:t>
          </a:r>
          <a:r>
            <a:rPr lang="en-US" sz="2000" kern="1200" dirty="0"/>
            <a:t> </a:t>
          </a:r>
          <a:r>
            <a:rPr lang="en-US" sz="2000" kern="1200" dirty="0" err="1"/>
            <a:t>Pengawasan</a:t>
          </a:r>
          <a:r>
            <a:rPr lang="en-US" sz="2000" kern="1200" dirty="0"/>
            <a:t> </a:t>
          </a:r>
          <a:r>
            <a:rPr lang="en-US" sz="2000" b="1" kern="1200" dirty="0" err="1"/>
            <a:t>Berdasarkan</a:t>
          </a:r>
          <a:r>
            <a:rPr lang="en-US" sz="2000" b="1" kern="1200" dirty="0"/>
            <a:t> Tingkat </a:t>
          </a:r>
          <a:r>
            <a:rPr lang="en-US" sz="2000" b="1" kern="1200" dirty="0" err="1"/>
            <a:t>Risiko</a:t>
          </a:r>
          <a:r>
            <a:rPr lang="en-US" sz="2000" b="1" kern="1200" dirty="0"/>
            <a:t> </a:t>
          </a:r>
        </a:p>
      </dsp:txBody>
      <dsp:txXfrm>
        <a:off x="0" y="4173633"/>
        <a:ext cx="8128000" cy="1197000"/>
      </dsp:txXfrm>
    </dsp:sp>
    <dsp:sp modelId="{9452D265-69BD-BE46-B432-962A509C17A1}">
      <dsp:nvSpPr>
        <dsp:cNvPr id="0" name=""/>
        <dsp:cNvSpPr/>
      </dsp:nvSpPr>
      <dsp:spPr>
        <a:xfrm>
          <a:off x="406400" y="3878433"/>
          <a:ext cx="5689599" cy="590399"/>
        </a:xfrm>
        <a:prstGeom prst="roundRect">
          <a:avLst/>
        </a:prstGeom>
        <a:solidFill>
          <a:schemeClr val="accent3">
            <a:hueOff val="2710599"/>
            <a:satOff val="100000"/>
            <a:lumOff val="-14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marL="0" lvl="0" indent="0" algn="l" defTabSz="889000">
            <a:lnSpc>
              <a:spcPct val="90000"/>
            </a:lnSpc>
            <a:spcBef>
              <a:spcPct val="0"/>
            </a:spcBef>
            <a:spcAft>
              <a:spcPct val="35000"/>
            </a:spcAft>
            <a:buNone/>
          </a:pPr>
          <a:r>
            <a:rPr lang="en-US" sz="2000" kern="1200"/>
            <a:t>PRINZIP RBA PENGAWASAN</a:t>
          </a:r>
        </a:p>
      </dsp:txBody>
      <dsp:txXfrm>
        <a:off x="435221" y="3907254"/>
        <a:ext cx="5631957" cy="53275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4F1B89-38A5-4EF0-B715-3076ACF58160}">
      <dsp:nvSpPr>
        <dsp:cNvPr id="0" name=""/>
        <dsp:cNvSpPr/>
      </dsp:nvSpPr>
      <dsp:spPr>
        <a:xfrm>
          <a:off x="3493486" y="1421199"/>
          <a:ext cx="317394" cy="341199"/>
        </a:xfrm>
        <a:custGeom>
          <a:avLst/>
          <a:gdLst/>
          <a:ahLst/>
          <a:cxnLst/>
          <a:rect l="0" t="0" r="0" b="0"/>
          <a:pathLst>
            <a:path>
              <a:moveTo>
                <a:pt x="0" y="0"/>
              </a:moveTo>
              <a:lnTo>
                <a:pt x="158697" y="0"/>
              </a:lnTo>
              <a:lnTo>
                <a:pt x="158697" y="341199"/>
              </a:lnTo>
              <a:lnTo>
                <a:pt x="317394" y="341199"/>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8704A2B-8FB0-4D0C-97E1-D1D5EF0FE797}">
      <dsp:nvSpPr>
        <dsp:cNvPr id="0" name=""/>
        <dsp:cNvSpPr/>
      </dsp:nvSpPr>
      <dsp:spPr>
        <a:xfrm>
          <a:off x="3493486" y="1080000"/>
          <a:ext cx="317394" cy="341199"/>
        </a:xfrm>
        <a:custGeom>
          <a:avLst/>
          <a:gdLst/>
          <a:ahLst/>
          <a:cxnLst/>
          <a:rect l="0" t="0" r="0" b="0"/>
          <a:pathLst>
            <a:path>
              <a:moveTo>
                <a:pt x="0" y="341199"/>
              </a:moveTo>
              <a:lnTo>
                <a:pt x="158697" y="341199"/>
              </a:lnTo>
              <a:lnTo>
                <a:pt x="158697" y="0"/>
              </a:lnTo>
              <a:lnTo>
                <a:pt x="317394" y="0"/>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6BDEC2C-98BA-46A6-8C00-AC2AA6754C5D}">
      <dsp:nvSpPr>
        <dsp:cNvPr id="0" name=""/>
        <dsp:cNvSpPr/>
      </dsp:nvSpPr>
      <dsp:spPr>
        <a:xfrm>
          <a:off x="1589117" y="1080000"/>
          <a:ext cx="317394" cy="341199"/>
        </a:xfrm>
        <a:custGeom>
          <a:avLst/>
          <a:gdLst/>
          <a:ahLst/>
          <a:cxnLst/>
          <a:rect l="0" t="0" r="0" b="0"/>
          <a:pathLst>
            <a:path>
              <a:moveTo>
                <a:pt x="0" y="0"/>
              </a:moveTo>
              <a:lnTo>
                <a:pt x="158697" y="0"/>
              </a:lnTo>
              <a:lnTo>
                <a:pt x="158697" y="341199"/>
              </a:lnTo>
              <a:lnTo>
                <a:pt x="317394" y="341199"/>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6D6D0C3-2C63-40A6-8D9D-2ADEA48367E2}">
      <dsp:nvSpPr>
        <dsp:cNvPr id="0" name=""/>
        <dsp:cNvSpPr/>
      </dsp:nvSpPr>
      <dsp:spPr>
        <a:xfrm>
          <a:off x="1589117" y="738800"/>
          <a:ext cx="317394" cy="341199"/>
        </a:xfrm>
        <a:custGeom>
          <a:avLst/>
          <a:gdLst/>
          <a:ahLst/>
          <a:cxnLst/>
          <a:rect l="0" t="0" r="0" b="0"/>
          <a:pathLst>
            <a:path>
              <a:moveTo>
                <a:pt x="0" y="341199"/>
              </a:moveTo>
              <a:lnTo>
                <a:pt x="158697" y="341199"/>
              </a:lnTo>
              <a:lnTo>
                <a:pt x="158697" y="0"/>
              </a:lnTo>
              <a:lnTo>
                <a:pt x="317394" y="0"/>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BA9C7DE-097F-4508-B2C0-0350F5DD7BF9}">
      <dsp:nvSpPr>
        <dsp:cNvPr id="0" name=""/>
        <dsp:cNvSpPr/>
      </dsp:nvSpPr>
      <dsp:spPr>
        <a:xfrm>
          <a:off x="2142" y="155587"/>
          <a:ext cx="1586974" cy="48402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id-ID" sz="1100" b="1" kern="1200" dirty="0">
              <a:solidFill>
                <a:schemeClr val="tx1"/>
              </a:solidFill>
            </a:rPr>
            <a:t>NIB</a:t>
          </a:r>
        </a:p>
      </dsp:txBody>
      <dsp:txXfrm>
        <a:off x="2142" y="155587"/>
        <a:ext cx="1586974" cy="484027"/>
      </dsp:txXfrm>
    </dsp:sp>
    <dsp:sp modelId="{D92B60E3-AC78-49E9-B1E5-CB422DF47653}">
      <dsp:nvSpPr>
        <dsp:cNvPr id="0" name=""/>
        <dsp:cNvSpPr/>
      </dsp:nvSpPr>
      <dsp:spPr>
        <a:xfrm>
          <a:off x="2142" y="837986"/>
          <a:ext cx="1586974" cy="484027"/>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id-ID" sz="1100" b="1" kern="1200" dirty="0">
              <a:solidFill>
                <a:schemeClr val="tx1"/>
              </a:solidFill>
            </a:rPr>
            <a:t>Sertifikat Standar</a:t>
          </a:r>
        </a:p>
      </dsp:txBody>
      <dsp:txXfrm>
        <a:off x="2142" y="837986"/>
        <a:ext cx="1586974" cy="484027"/>
      </dsp:txXfrm>
    </dsp:sp>
    <dsp:sp modelId="{7D9AED96-F585-43D4-925A-7C0308F4ED00}">
      <dsp:nvSpPr>
        <dsp:cNvPr id="0" name=""/>
        <dsp:cNvSpPr/>
      </dsp:nvSpPr>
      <dsp:spPr>
        <a:xfrm>
          <a:off x="1906512" y="496786"/>
          <a:ext cx="1586974" cy="484027"/>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id-ID" sz="1100" b="1" kern="1200" dirty="0">
              <a:solidFill>
                <a:schemeClr val="tx1"/>
              </a:solidFill>
            </a:rPr>
            <a:t>Belum Terverifikasi</a:t>
          </a:r>
        </a:p>
      </dsp:txBody>
      <dsp:txXfrm>
        <a:off x="1906512" y="496786"/>
        <a:ext cx="1586974" cy="484027"/>
      </dsp:txXfrm>
    </dsp:sp>
    <dsp:sp modelId="{1AFEA7D6-0667-476F-A391-BE77068B752F}">
      <dsp:nvSpPr>
        <dsp:cNvPr id="0" name=""/>
        <dsp:cNvSpPr/>
      </dsp:nvSpPr>
      <dsp:spPr>
        <a:xfrm>
          <a:off x="1906512" y="1179185"/>
          <a:ext cx="1586974" cy="484027"/>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id-ID" sz="1100" b="1" kern="1200" dirty="0">
              <a:solidFill>
                <a:schemeClr val="tx1"/>
              </a:solidFill>
            </a:rPr>
            <a:t>Sudah Terverifikasi</a:t>
          </a:r>
        </a:p>
      </dsp:txBody>
      <dsp:txXfrm>
        <a:off x="1906512" y="1179185"/>
        <a:ext cx="1586974" cy="484027"/>
      </dsp:txXfrm>
    </dsp:sp>
    <dsp:sp modelId="{33F467EC-98A9-4CD0-8CA4-DBAF5ABEDF16}">
      <dsp:nvSpPr>
        <dsp:cNvPr id="0" name=""/>
        <dsp:cNvSpPr/>
      </dsp:nvSpPr>
      <dsp:spPr>
        <a:xfrm>
          <a:off x="3810881" y="837986"/>
          <a:ext cx="1586974" cy="484027"/>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id-ID" sz="1100" b="1" kern="1200" dirty="0">
              <a:solidFill>
                <a:schemeClr val="tx1"/>
              </a:solidFill>
            </a:rPr>
            <a:t>Disetujui melalui Proses Verifikasi dan Persetujuan</a:t>
          </a:r>
        </a:p>
      </dsp:txBody>
      <dsp:txXfrm>
        <a:off x="3810881" y="837986"/>
        <a:ext cx="1586974" cy="484027"/>
      </dsp:txXfrm>
    </dsp:sp>
    <dsp:sp modelId="{D117B27F-C0E4-4563-9236-F265788B76BE}">
      <dsp:nvSpPr>
        <dsp:cNvPr id="0" name=""/>
        <dsp:cNvSpPr/>
      </dsp:nvSpPr>
      <dsp:spPr>
        <a:xfrm>
          <a:off x="3810881" y="1520385"/>
          <a:ext cx="1586974" cy="484027"/>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id-ID" sz="1100" b="1" kern="1200" dirty="0">
              <a:solidFill>
                <a:schemeClr val="tx1"/>
              </a:solidFill>
            </a:rPr>
            <a:t>Disetujui secara otomatis (Fiktif Positif)</a:t>
          </a:r>
        </a:p>
      </dsp:txBody>
      <dsp:txXfrm>
        <a:off x="3810881" y="1520385"/>
        <a:ext cx="1586974" cy="48402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5A7848-3E76-4F6A-A640-1E1DA21E5EA7}">
      <dsp:nvSpPr>
        <dsp:cNvPr id="0" name=""/>
        <dsp:cNvSpPr/>
      </dsp:nvSpPr>
      <dsp:spPr>
        <a:xfrm>
          <a:off x="1963828" y="900000"/>
          <a:ext cx="392343" cy="421769"/>
        </a:xfrm>
        <a:custGeom>
          <a:avLst/>
          <a:gdLst/>
          <a:ahLst/>
          <a:cxnLst/>
          <a:rect l="0" t="0" r="0" b="0"/>
          <a:pathLst>
            <a:path>
              <a:moveTo>
                <a:pt x="0" y="0"/>
              </a:moveTo>
              <a:lnTo>
                <a:pt x="196171" y="0"/>
              </a:lnTo>
              <a:lnTo>
                <a:pt x="196171" y="421769"/>
              </a:lnTo>
              <a:lnTo>
                <a:pt x="392343" y="421769"/>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BFAF4A8-A58A-4A74-85B5-B38EC84422E8}">
      <dsp:nvSpPr>
        <dsp:cNvPr id="0" name=""/>
        <dsp:cNvSpPr/>
      </dsp:nvSpPr>
      <dsp:spPr>
        <a:xfrm>
          <a:off x="1963828" y="478230"/>
          <a:ext cx="392343" cy="421769"/>
        </a:xfrm>
        <a:custGeom>
          <a:avLst/>
          <a:gdLst/>
          <a:ahLst/>
          <a:cxnLst/>
          <a:rect l="0" t="0" r="0" b="0"/>
          <a:pathLst>
            <a:path>
              <a:moveTo>
                <a:pt x="0" y="421769"/>
              </a:moveTo>
              <a:lnTo>
                <a:pt x="196171" y="421769"/>
              </a:lnTo>
              <a:lnTo>
                <a:pt x="196171" y="0"/>
              </a:lnTo>
              <a:lnTo>
                <a:pt x="392343" y="0"/>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74A040D-72D5-4607-BB4F-AE781A841FDC}">
      <dsp:nvSpPr>
        <dsp:cNvPr id="0" name=""/>
        <dsp:cNvSpPr/>
      </dsp:nvSpPr>
      <dsp:spPr>
        <a:xfrm>
          <a:off x="2109" y="600837"/>
          <a:ext cx="1961718" cy="598324"/>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id-ID" sz="1200" b="1" kern="1200" dirty="0">
              <a:solidFill>
                <a:schemeClr val="tx1"/>
              </a:solidFill>
            </a:rPr>
            <a:t>SBU</a:t>
          </a:r>
        </a:p>
      </dsp:txBody>
      <dsp:txXfrm>
        <a:off x="2109" y="600837"/>
        <a:ext cx="1961718" cy="598324"/>
      </dsp:txXfrm>
    </dsp:sp>
    <dsp:sp modelId="{E95EDA32-15D9-472E-A8F6-E891392CDE0B}">
      <dsp:nvSpPr>
        <dsp:cNvPr id="0" name=""/>
        <dsp:cNvSpPr/>
      </dsp:nvSpPr>
      <dsp:spPr>
        <a:xfrm>
          <a:off x="2356171" y="179068"/>
          <a:ext cx="1961718" cy="598324"/>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id-ID" sz="1200" b="1" kern="1200" dirty="0">
              <a:solidFill>
                <a:schemeClr val="tx1"/>
              </a:solidFill>
            </a:rPr>
            <a:t>diterbitkan LPJK</a:t>
          </a:r>
        </a:p>
        <a:p>
          <a:pPr marL="0" lvl="0" indent="0" algn="ctr" defTabSz="533400">
            <a:lnSpc>
              <a:spcPct val="90000"/>
            </a:lnSpc>
            <a:spcBef>
              <a:spcPct val="0"/>
            </a:spcBef>
            <a:spcAft>
              <a:spcPct val="35000"/>
            </a:spcAft>
            <a:buNone/>
          </a:pPr>
          <a:r>
            <a:rPr lang="id-ID" sz="1200" b="1" kern="1200" dirty="0">
              <a:solidFill>
                <a:schemeClr val="tx1"/>
              </a:solidFill>
            </a:rPr>
            <a:t>(sebelum UU Cipta Kerja)</a:t>
          </a:r>
        </a:p>
      </dsp:txBody>
      <dsp:txXfrm>
        <a:off x="2356171" y="179068"/>
        <a:ext cx="1961718" cy="598324"/>
      </dsp:txXfrm>
    </dsp:sp>
    <dsp:sp modelId="{53396848-2837-4938-8B1E-7A1C012C1B9C}">
      <dsp:nvSpPr>
        <dsp:cNvPr id="0" name=""/>
        <dsp:cNvSpPr/>
      </dsp:nvSpPr>
      <dsp:spPr>
        <a:xfrm>
          <a:off x="2356171" y="1022607"/>
          <a:ext cx="1961718" cy="598324"/>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id-ID" sz="1200" b="1" kern="1200" dirty="0">
              <a:solidFill>
                <a:schemeClr val="tx1"/>
              </a:solidFill>
            </a:rPr>
            <a:t>diterbitkan OSS</a:t>
          </a:r>
        </a:p>
        <a:p>
          <a:pPr marL="0" lvl="0" indent="0" algn="ctr" defTabSz="533400">
            <a:lnSpc>
              <a:spcPct val="90000"/>
            </a:lnSpc>
            <a:spcBef>
              <a:spcPct val="0"/>
            </a:spcBef>
            <a:spcAft>
              <a:spcPct val="35000"/>
            </a:spcAft>
            <a:buNone/>
          </a:pPr>
          <a:r>
            <a:rPr lang="id-ID" sz="1200" b="1" kern="1200" dirty="0">
              <a:solidFill>
                <a:schemeClr val="tx1"/>
              </a:solidFill>
            </a:rPr>
            <a:t>(setelah UU Cipta Kerja)</a:t>
          </a:r>
        </a:p>
      </dsp:txBody>
      <dsp:txXfrm>
        <a:off x="2356171" y="1022607"/>
        <a:ext cx="1961718" cy="59832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B4E3D0-96AE-3742-BD8C-BF48874CBDF4}">
      <dsp:nvSpPr>
        <dsp:cNvPr id="0" name=""/>
        <dsp:cNvSpPr/>
      </dsp:nvSpPr>
      <dsp:spPr>
        <a:xfrm>
          <a:off x="0" y="270239"/>
          <a:ext cx="3599571" cy="3880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367" tIns="291592" rIns="279367" bIns="99568" numCol="1" spcCol="1270" anchor="t" anchorCtr="0">
          <a:noAutofit/>
        </a:bodyPr>
        <a:lstStyle/>
        <a:p>
          <a:pPr marL="114300" lvl="1" indent="-114300" algn="just" defTabSz="622300">
            <a:lnSpc>
              <a:spcPct val="90000"/>
            </a:lnSpc>
            <a:spcBef>
              <a:spcPct val="0"/>
            </a:spcBef>
            <a:spcAft>
              <a:spcPct val="15000"/>
            </a:spcAft>
            <a:buFont typeface="Arial" panose="020B0604020202020204" pitchFamily="34" charset="0"/>
            <a:buChar char="•"/>
          </a:pPr>
          <a:r>
            <a:rPr lang="en-ID" sz="1400" kern="1200" dirty="0"/>
            <a:t>SBU </a:t>
          </a:r>
          <a:r>
            <a:rPr lang="en-ID" sz="1400" kern="1200" dirty="0" err="1"/>
            <a:t>Konstruksi</a:t>
          </a:r>
          <a:r>
            <a:rPr lang="en-ID" sz="1400" kern="1200" dirty="0"/>
            <a:t> </a:t>
          </a:r>
          <a:r>
            <a:rPr lang="en-ID" sz="1400" kern="1200" dirty="0" err="1"/>
            <a:t>wajib</a:t>
          </a:r>
          <a:r>
            <a:rPr lang="en-ID" sz="1400" kern="1200" dirty="0"/>
            <a:t> </a:t>
          </a:r>
          <a:r>
            <a:rPr lang="en-ID" sz="1400" kern="1200" dirty="0" err="1"/>
            <a:t>dimiliki</a:t>
          </a:r>
          <a:r>
            <a:rPr lang="en-ID" sz="1400" kern="1200" dirty="0"/>
            <a:t> oleh BUJK yang </a:t>
          </a:r>
          <a:r>
            <a:rPr lang="en-ID" sz="1400" kern="1200" dirty="0" err="1"/>
            <a:t>menyelenggarakan</a:t>
          </a:r>
          <a:r>
            <a:rPr lang="en-ID" sz="1400" kern="1200" dirty="0"/>
            <a:t> </a:t>
          </a:r>
          <a:r>
            <a:rPr lang="en-ID" sz="1400" kern="1200" dirty="0" err="1"/>
            <a:t>layanan</a:t>
          </a:r>
          <a:r>
            <a:rPr lang="en-ID" sz="1400" kern="1200" dirty="0"/>
            <a:t> </a:t>
          </a:r>
          <a:r>
            <a:rPr lang="en-ID" sz="1400" kern="1200" dirty="0" err="1"/>
            <a:t>jasa</a:t>
          </a:r>
          <a:r>
            <a:rPr lang="en-ID" sz="1400" kern="1200" dirty="0"/>
            <a:t> </a:t>
          </a:r>
          <a:r>
            <a:rPr lang="en-ID" sz="1400" kern="1200" dirty="0" err="1"/>
            <a:t>konstruksi</a:t>
          </a:r>
          <a:r>
            <a:rPr lang="en-ID" sz="1400" kern="1200" dirty="0"/>
            <a:t>. </a:t>
          </a:r>
          <a:endParaRPr lang="en-US" sz="1400" kern="1200" dirty="0"/>
        </a:p>
        <a:p>
          <a:pPr marL="114300" lvl="1" indent="-114300" algn="just" defTabSz="622300">
            <a:lnSpc>
              <a:spcPct val="90000"/>
            </a:lnSpc>
            <a:spcBef>
              <a:spcPct val="0"/>
            </a:spcBef>
            <a:spcAft>
              <a:spcPct val="15000"/>
            </a:spcAft>
            <a:buFont typeface="Arial" panose="020B0604020202020204" pitchFamily="34" charset="0"/>
            <a:buChar char="•"/>
          </a:pPr>
          <a:r>
            <a:rPr lang="en-ID" sz="1400" kern="1200" dirty="0"/>
            <a:t>SBU </a:t>
          </a:r>
          <a:r>
            <a:rPr lang="en-ID" sz="1400" kern="1200" dirty="0" err="1"/>
            <a:t>Konstruksi</a:t>
          </a:r>
          <a:r>
            <a:rPr lang="en-ID" sz="1400" kern="1200" dirty="0"/>
            <a:t> </a:t>
          </a:r>
          <a:r>
            <a:rPr lang="en-ID" sz="1400" kern="1200" dirty="0" err="1"/>
            <a:t>diterbitkan</a:t>
          </a:r>
          <a:r>
            <a:rPr lang="en-ID" sz="1400" kern="1200" dirty="0"/>
            <a:t> </a:t>
          </a:r>
          <a:r>
            <a:rPr lang="en-ID" sz="1400" kern="1200" dirty="0" err="1"/>
            <a:t>melalui</a:t>
          </a:r>
          <a:r>
            <a:rPr lang="en-ID" sz="1400" kern="1200" dirty="0"/>
            <a:t> </a:t>
          </a:r>
          <a:r>
            <a:rPr lang="en-ID" sz="1400" kern="1200" dirty="0" err="1"/>
            <a:t>suatu</a:t>
          </a:r>
          <a:r>
            <a:rPr lang="en-ID" sz="1400" kern="1200" dirty="0"/>
            <a:t> proses </a:t>
          </a:r>
          <a:r>
            <a:rPr lang="en-ID" sz="1400" kern="1200" dirty="0" err="1"/>
            <a:t>sertifikasi</a:t>
          </a:r>
          <a:r>
            <a:rPr lang="en-ID" sz="1400" kern="1200" dirty="0"/>
            <a:t> dan </a:t>
          </a:r>
          <a:r>
            <a:rPr lang="en-ID" sz="1400" kern="1200" dirty="0" err="1"/>
            <a:t>pencatatan</a:t>
          </a:r>
          <a:r>
            <a:rPr lang="en-ID" sz="1400" kern="1200" dirty="0"/>
            <a:t> oleh </a:t>
          </a:r>
          <a:r>
            <a:rPr lang="en-ID" sz="1400" kern="1200" dirty="0" err="1"/>
            <a:t>menteri</a:t>
          </a:r>
          <a:r>
            <a:rPr lang="en-ID" sz="1400" kern="1200" dirty="0"/>
            <a:t> PUPR </a:t>
          </a:r>
          <a:r>
            <a:rPr lang="en-ID" sz="1400" kern="1200" dirty="0" err="1"/>
            <a:t>melalui</a:t>
          </a:r>
          <a:r>
            <a:rPr lang="en-ID" sz="1400" kern="1200" dirty="0"/>
            <a:t> SIJKT. </a:t>
          </a:r>
        </a:p>
        <a:p>
          <a:pPr marL="114300" lvl="1" indent="-114300" algn="just" defTabSz="622300">
            <a:lnSpc>
              <a:spcPct val="90000"/>
            </a:lnSpc>
            <a:spcBef>
              <a:spcPct val="0"/>
            </a:spcBef>
            <a:spcAft>
              <a:spcPct val="15000"/>
            </a:spcAft>
            <a:buFont typeface="Arial" panose="020B0604020202020204" pitchFamily="34" charset="0"/>
            <a:buChar char="•"/>
          </a:pPr>
          <a:r>
            <a:rPr lang="en-ID" sz="1400" kern="1200" dirty="0"/>
            <a:t>BUJK </a:t>
          </a:r>
          <a:r>
            <a:rPr lang="en-ID" sz="1400" kern="1200" dirty="0" err="1"/>
            <a:t>mengajukan</a:t>
          </a:r>
          <a:r>
            <a:rPr lang="en-ID" sz="1400" kern="1200" dirty="0"/>
            <a:t> </a:t>
          </a:r>
          <a:r>
            <a:rPr lang="en-ID" sz="1400" kern="1200" dirty="0" err="1"/>
            <a:t>permohonan</a:t>
          </a:r>
          <a:r>
            <a:rPr lang="en-ID" sz="1400" kern="1200" dirty="0"/>
            <a:t> </a:t>
          </a:r>
          <a:r>
            <a:rPr lang="en-ID" sz="1400" kern="1200" dirty="0" err="1"/>
            <a:t>kepada</a:t>
          </a:r>
          <a:r>
            <a:rPr lang="en-ID" sz="1400" kern="1200" dirty="0"/>
            <a:t> </a:t>
          </a:r>
          <a:r>
            <a:rPr lang="en-ID" sz="1400" kern="1200" dirty="0" err="1"/>
            <a:t>menteri</a:t>
          </a:r>
          <a:r>
            <a:rPr lang="en-ID" sz="1400" kern="1200" dirty="0"/>
            <a:t> PUPR </a:t>
          </a:r>
          <a:r>
            <a:rPr lang="en-ID" sz="1400" kern="1200" dirty="0" err="1"/>
            <a:t>melalui</a:t>
          </a:r>
          <a:r>
            <a:rPr lang="en-ID" sz="1400" kern="1200" dirty="0"/>
            <a:t> Lembaga </a:t>
          </a:r>
          <a:r>
            <a:rPr lang="en-ID" sz="1400" kern="1200" dirty="0" err="1"/>
            <a:t>Sertifikasi</a:t>
          </a:r>
          <a:r>
            <a:rPr lang="en-ID" sz="1400" kern="1200" dirty="0"/>
            <a:t> Badan Usaha (LSBU) </a:t>
          </a:r>
          <a:r>
            <a:rPr lang="en-ID" sz="1400" kern="1200" dirty="0" err="1"/>
            <a:t>untuk</a:t>
          </a:r>
          <a:r>
            <a:rPr lang="en-ID" sz="1400" kern="1200" dirty="0"/>
            <a:t> </a:t>
          </a:r>
          <a:r>
            <a:rPr lang="en-ID" sz="1400" kern="1200" dirty="0" err="1"/>
            <a:t>mendapatkan</a:t>
          </a:r>
          <a:r>
            <a:rPr lang="en-ID" sz="1400" kern="1200" dirty="0"/>
            <a:t> SBU </a:t>
          </a:r>
          <a:r>
            <a:rPr lang="en-ID" sz="1400" kern="1200" dirty="0" err="1"/>
            <a:t>Konstruksi</a:t>
          </a:r>
          <a:r>
            <a:rPr lang="en-ID" sz="1400" kern="1200" dirty="0"/>
            <a:t>. </a:t>
          </a:r>
        </a:p>
        <a:p>
          <a:pPr marL="114300" lvl="1" indent="-114300" algn="just" defTabSz="622300">
            <a:lnSpc>
              <a:spcPct val="90000"/>
            </a:lnSpc>
            <a:spcBef>
              <a:spcPct val="0"/>
            </a:spcBef>
            <a:spcAft>
              <a:spcPct val="15000"/>
            </a:spcAft>
            <a:buFont typeface="Arial" panose="020B0604020202020204" pitchFamily="34" charset="0"/>
            <a:buChar char="•"/>
          </a:pPr>
          <a:r>
            <a:rPr lang="en-ID" sz="1400" kern="1200" dirty="0"/>
            <a:t>SBU </a:t>
          </a:r>
          <a:r>
            <a:rPr lang="en-ID" sz="1400" kern="1200" dirty="0" err="1"/>
            <a:t>Konstruksi</a:t>
          </a:r>
          <a:r>
            <a:rPr lang="en-ID" sz="1400" kern="1200" dirty="0"/>
            <a:t> </a:t>
          </a:r>
          <a:r>
            <a:rPr lang="en-ID" sz="1400" kern="1200" dirty="0" err="1"/>
            <a:t>berlaku</a:t>
          </a:r>
          <a:r>
            <a:rPr lang="en-ID" sz="1400" kern="1200" dirty="0"/>
            <a:t> </a:t>
          </a:r>
          <a:r>
            <a:rPr lang="en-ID" sz="1400" kern="1200" dirty="0" err="1"/>
            <a:t>untuk</a:t>
          </a:r>
          <a:r>
            <a:rPr lang="en-ID" sz="1400" kern="1200" dirty="0"/>
            <a:t> </a:t>
          </a:r>
          <a:r>
            <a:rPr lang="en-ID" sz="1400" kern="1200" dirty="0" err="1"/>
            <a:t>jangka</a:t>
          </a:r>
          <a:r>
            <a:rPr lang="en-ID" sz="1400" kern="1200" dirty="0"/>
            <a:t> </a:t>
          </a:r>
          <a:r>
            <a:rPr lang="en-ID" sz="1400" kern="1200" dirty="0" err="1"/>
            <a:t>waktu</a:t>
          </a:r>
          <a:r>
            <a:rPr lang="en-ID" sz="1400" kern="1200" dirty="0"/>
            <a:t> 3 (</a:t>
          </a:r>
          <a:r>
            <a:rPr lang="en-ID" sz="1400" kern="1200" dirty="0" err="1"/>
            <a:t>tiga</a:t>
          </a:r>
          <a:r>
            <a:rPr lang="en-ID" sz="1400" kern="1200" dirty="0"/>
            <a:t>) </a:t>
          </a:r>
          <a:r>
            <a:rPr lang="en-ID" sz="1400" kern="1200" dirty="0" err="1"/>
            <a:t>tahun</a:t>
          </a:r>
          <a:r>
            <a:rPr lang="en-ID" sz="1400" kern="1200" dirty="0"/>
            <a:t> dan </a:t>
          </a:r>
          <a:r>
            <a:rPr lang="en-ID" sz="1400" kern="1200" dirty="0" err="1"/>
            <a:t>dapat</a:t>
          </a:r>
          <a:r>
            <a:rPr lang="en-ID" sz="1400" kern="1200" dirty="0"/>
            <a:t> </a:t>
          </a:r>
          <a:r>
            <a:rPr lang="en-ID" sz="1400" kern="1200" dirty="0" err="1"/>
            <a:t>diperpanjang</a:t>
          </a:r>
          <a:r>
            <a:rPr lang="en-ID" sz="1400" kern="1200" dirty="0"/>
            <a:t>, </a:t>
          </a:r>
          <a:r>
            <a:rPr lang="en-ID" sz="1400" kern="1200" dirty="0" err="1"/>
            <a:t>serta</a:t>
          </a:r>
          <a:r>
            <a:rPr lang="en-ID" sz="1400" kern="1200" dirty="0"/>
            <a:t> </a:t>
          </a:r>
          <a:r>
            <a:rPr lang="en-ID" sz="1400" kern="1200" dirty="0" err="1"/>
            <a:t>dapat</a:t>
          </a:r>
          <a:r>
            <a:rPr lang="en-ID" sz="1400" kern="1200" dirty="0"/>
            <a:t> </a:t>
          </a:r>
          <a:r>
            <a:rPr lang="en-ID" sz="1400" kern="1200" dirty="0" err="1"/>
            <a:t>dilakukan</a:t>
          </a:r>
          <a:r>
            <a:rPr lang="en-ID" sz="1400" kern="1200" dirty="0"/>
            <a:t> </a:t>
          </a:r>
          <a:r>
            <a:rPr lang="en-ID" sz="1400" kern="1200" dirty="0" err="1"/>
            <a:t>perubahan</a:t>
          </a:r>
          <a:r>
            <a:rPr lang="en-ID" sz="1400" kern="1200" dirty="0"/>
            <a:t>. </a:t>
          </a:r>
        </a:p>
        <a:p>
          <a:pPr marL="114300" lvl="1" indent="-114300" algn="just" defTabSz="622300">
            <a:lnSpc>
              <a:spcPct val="90000"/>
            </a:lnSpc>
            <a:spcBef>
              <a:spcPct val="0"/>
            </a:spcBef>
            <a:spcAft>
              <a:spcPct val="15000"/>
            </a:spcAft>
            <a:buFont typeface="Arial" panose="020B0604020202020204" pitchFamily="34" charset="0"/>
            <a:buChar char="•"/>
          </a:pPr>
          <a:r>
            <a:rPr lang="en-ID" sz="1400" kern="1200" dirty="0"/>
            <a:t>SBU </a:t>
          </a:r>
          <a:r>
            <a:rPr lang="en-ID" sz="1400" kern="1200" dirty="0" err="1"/>
            <a:t>Konstruksi</a:t>
          </a:r>
          <a:r>
            <a:rPr lang="en-ID" sz="1400" kern="1200" dirty="0"/>
            <a:t> yang </a:t>
          </a:r>
          <a:r>
            <a:rPr lang="en-ID" sz="1400" kern="1200" dirty="0" err="1"/>
            <a:t>akan</a:t>
          </a:r>
          <a:r>
            <a:rPr lang="en-ID" sz="1400" kern="1200" dirty="0"/>
            <a:t> </a:t>
          </a:r>
          <a:r>
            <a:rPr lang="en-ID" sz="1400" kern="1200" dirty="0" err="1"/>
            <a:t>diperpanjang</a:t>
          </a:r>
          <a:r>
            <a:rPr lang="en-ID" sz="1400" kern="1200" dirty="0"/>
            <a:t> </a:t>
          </a:r>
          <a:r>
            <a:rPr lang="en-ID" sz="1400" kern="1200" dirty="0" err="1"/>
            <a:t>wajib</a:t>
          </a:r>
          <a:r>
            <a:rPr lang="en-ID" sz="1400" kern="1200" dirty="0"/>
            <a:t> </a:t>
          </a:r>
          <a:r>
            <a:rPr lang="en-ID" sz="1400" kern="1200" dirty="0" err="1"/>
            <a:t>diajukan</a:t>
          </a:r>
          <a:r>
            <a:rPr lang="en-ID" sz="1400" kern="1200" dirty="0"/>
            <a:t> </a:t>
          </a:r>
          <a:r>
            <a:rPr lang="en-ID" sz="1400" kern="1200" dirty="0" err="1"/>
            <a:t>sebelum</a:t>
          </a:r>
          <a:r>
            <a:rPr lang="en-ID" sz="1400" kern="1200" dirty="0"/>
            <a:t> </a:t>
          </a:r>
          <a:r>
            <a:rPr lang="en-ID" sz="1400" kern="1200" dirty="0" err="1"/>
            <a:t>habis</a:t>
          </a:r>
          <a:r>
            <a:rPr lang="en-ID" sz="1400" kern="1200" dirty="0"/>
            <a:t> masa </a:t>
          </a:r>
          <a:r>
            <a:rPr lang="en-ID" sz="1400" kern="1200" dirty="0" err="1"/>
            <a:t>berlakunya</a:t>
          </a:r>
          <a:r>
            <a:rPr lang="en-ID" sz="1400" kern="1200" dirty="0"/>
            <a:t>. </a:t>
          </a:r>
        </a:p>
      </dsp:txBody>
      <dsp:txXfrm>
        <a:off x="0" y="270239"/>
        <a:ext cx="3599571" cy="3880800"/>
      </dsp:txXfrm>
    </dsp:sp>
    <dsp:sp modelId="{531AFF3A-0E79-9B4D-8F1B-E0BF703C1268}">
      <dsp:nvSpPr>
        <dsp:cNvPr id="0" name=""/>
        <dsp:cNvSpPr/>
      </dsp:nvSpPr>
      <dsp:spPr>
        <a:xfrm>
          <a:off x="179978" y="63599"/>
          <a:ext cx="2519699" cy="41327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39" tIns="0" rIns="95239" bIns="0" numCol="1" spcCol="1270" anchor="ctr" anchorCtr="0">
          <a:noAutofit/>
        </a:bodyPr>
        <a:lstStyle/>
        <a:p>
          <a:pPr marL="0" lvl="0" indent="0" algn="l" defTabSz="622300">
            <a:lnSpc>
              <a:spcPct val="90000"/>
            </a:lnSpc>
            <a:spcBef>
              <a:spcPct val="0"/>
            </a:spcBef>
            <a:spcAft>
              <a:spcPct val="35000"/>
            </a:spcAft>
            <a:buNone/>
          </a:pPr>
          <a:r>
            <a:rPr lang="en-US" sz="1400" b="1" kern="1200" dirty="0"/>
            <a:t>SBU </a:t>
          </a:r>
          <a:r>
            <a:rPr lang="en-US" sz="1400" b="1" kern="1200" dirty="0" err="1"/>
            <a:t>Konstruksi</a:t>
          </a:r>
          <a:endParaRPr lang="en-US" sz="1400" b="1" kern="1200" dirty="0"/>
        </a:p>
      </dsp:txBody>
      <dsp:txXfrm>
        <a:off x="200153" y="83774"/>
        <a:ext cx="2479349" cy="37292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B4E3D0-96AE-3742-BD8C-BF48874CBDF4}">
      <dsp:nvSpPr>
        <dsp:cNvPr id="0" name=""/>
        <dsp:cNvSpPr/>
      </dsp:nvSpPr>
      <dsp:spPr>
        <a:xfrm>
          <a:off x="0" y="358439"/>
          <a:ext cx="3599571" cy="3704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367" tIns="291592" rIns="279367" bIns="99568" numCol="1" spcCol="1270" anchor="t" anchorCtr="0">
          <a:noAutofit/>
        </a:bodyPr>
        <a:lstStyle/>
        <a:p>
          <a:pPr marL="114300" lvl="1" indent="-114300" algn="just" defTabSz="622300">
            <a:lnSpc>
              <a:spcPct val="90000"/>
            </a:lnSpc>
            <a:spcBef>
              <a:spcPct val="0"/>
            </a:spcBef>
            <a:spcAft>
              <a:spcPct val="15000"/>
            </a:spcAft>
            <a:buFont typeface="Arial" panose="020B0604020202020204" pitchFamily="34" charset="0"/>
            <a:buChar char="•"/>
          </a:pPr>
          <a:r>
            <a:rPr lang="en-US" sz="1400" kern="1200" dirty="0"/>
            <a:t>SKK </a:t>
          </a:r>
          <a:r>
            <a:rPr lang="en-US" sz="1400" kern="1200" dirty="0" err="1"/>
            <a:t>Konstruksi</a:t>
          </a:r>
          <a:r>
            <a:rPr lang="en-US" sz="1400" kern="1200" dirty="0"/>
            <a:t> </a:t>
          </a:r>
          <a:r>
            <a:rPr lang="en-US" sz="1400" kern="1200" dirty="0" err="1"/>
            <a:t>wajib</a:t>
          </a:r>
          <a:r>
            <a:rPr lang="en-US" sz="1400" kern="1200" dirty="0"/>
            <a:t> </a:t>
          </a:r>
          <a:r>
            <a:rPr lang="en-US" sz="1400" kern="1200" dirty="0" err="1"/>
            <a:t>dimiliki</a:t>
          </a:r>
          <a:r>
            <a:rPr lang="en-US" sz="1400" kern="1200" dirty="0"/>
            <a:t> </a:t>
          </a:r>
          <a:r>
            <a:rPr lang="en-US" sz="1400" kern="1200" dirty="0" err="1"/>
            <a:t>tenaga</a:t>
          </a:r>
          <a:r>
            <a:rPr lang="en-US" sz="1400" kern="1200" dirty="0"/>
            <a:t> </a:t>
          </a:r>
          <a:r>
            <a:rPr lang="en-US" sz="1400" kern="1200" dirty="0" err="1"/>
            <a:t>kerja</a:t>
          </a:r>
          <a:r>
            <a:rPr lang="en-US" sz="1400" kern="1200" dirty="0"/>
            <a:t> </a:t>
          </a:r>
          <a:r>
            <a:rPr lang="en-US" sz="1400" kern="1200" dirty="0" err="1"/>
            <a:t>konstruksi</a:t>
          </a:r>
          <a:r>
            <a:rPr lang="en-US" sz="1400" kern="1200" dirty="0"/>
            <a:t>.
SKK </a:t>
          </a:r>
          <a:r>
            <a:rPr lang="en-US" sz="1400" kern="1200" dirty="0" err="1"/>
            <a:t>Konstruksi</a:t>
          </a:r>
          <a:r>
            <a:rPr lang="en-US" sz="1400" kern="1200" dirty="0"/>
            <a:t> </a:t>
          </a:r>
          <a:r>
            <a:rPr lang="en-US" sz="1400" kern="1200" dirty="0" err="1"/>
            <a:t>diterbitkan</a:t>
          </a:r>
          <a:r>
            <a:rPr lang="en-US" sz="1400" kern="1200" dirty="0"/>
            <a:t> </a:t>
          </a:r>
          <a:r>
            <a:rPr lang="en-US" sz="1400" kern="1200" dirty="0" err="1"/>
            <a:t>melalui</a:t>
          </a:r>
          <a:r>
            <a:rPr lang="en-US" sz="1400" kern="1200" dirty="0"/>
            <a:t> uji </a:t>
          </a:r>
          <a:r>
            <a:rPr lang="en-US" sz="1400" kern="1200" dirty="0" err="1"/>
            <a:t>kompetensi</a:t>
          </a:r>
          <a:r>
            <a:rPr lang="en-US" sz="1400" kern="1200" dirty="0"/>
            <a:t> </a:t>
          </a:r>
          <a:r>
            <a:rPr lang="en-US" sz="1400" kern="1200" dirty="0" err="1"/>
            <a:t>sesuai</a:t>
          </a:r>
          <a:r>
            <a:rPr lang="en-US" sz="1400" kern="1200" dirty="0"/>
            <a:t> </a:t>
          </a:r>
          <a:r>
            <a:rPr lang="en-US" sz="1400" kern="1200" dirty="0" err="1"/>
            <a:t>dengan</a:t>
          </a:r>
          <a:r>
            <a:rPr lang="en-US" sz="1400" kern="1200" dirty="0"/>
            <a:t> </a:t>
          </a:r>
          <a:r>
            <a:rPr lang="en-US" sz="1400" kern="1200" dirty="0" err="1"/>
            <a:t>standar</a:t>
          </a:r>
          <a:r>
            <a:rPr lang="en-US" sz="1400" kern="1200" dirty="0"/>
            <a:t> </a:t>
          </a:r>
          <a:r>
            <a:rPr lang="en-US" sz="1400" kern="1200" dirty="0" err="1"/>
            <a:t>kompetensi</a:t>
          </a:r>
          <a:r>
            <a:rPr lang="en-US" sz="1400" kern="1200" dirty="0"/>
            <a:t> </a:t>
          </a:r>
          <a:r>
            <a:rPr lang="en-US" sz="1400" kern="1200" dirty="0" err="1"/>
            <a:t>kerja</a:t>
          </a:r>
          <a:r>
            <a:rPr lang="en-US" sz="1400" kern="1200" dirty="0"/>
            <a:t>.
</a:t>
          </a:r>
          <a:r>
            <a:rPr lang="en-US" sz="1400" kern="1200" dirty="0" err="1"/>
            <a:t>Pelaksanaan</a:t>
          </a:r>
          <a:r>
            <a:rPr lang="en-US" sz="1400" kern="1200" dirty="0"/>
            <a:t> uji </a:t>
          </a:r>
          <a:r>
            <a:rPr lang="en-US" sz="1400" kern="1200" dirty="0" err="1"/>
            <a:t>kompetensi</a:t>
          </a:r>
          <a:r>
            <a:rPr lang="en-US" sz="1400" kern="1200" dirty="0"/>
            <a:t> </a:t>
          </a:r>
          <a:r>
            <a:rPr lang="en-US" sz="1400" kern="1200" dirty="0" err="1"/>
            <a:t>dilaksanakan</a:t>
          </a:r>
          <a:r>
            <a:rPr lang="en-US" sz="1400" kern="1200" dirty="0"/>
            <a:t> oleh LSP </a:t>
          </a:r>
          <a:r>
            <a:rPr lang="en-US" sz="1400" kern="1200" dirty="0" err="1"/>
            <a:t>bidang</a:t>
          </a:r>
          <a:r>
            <a:rPr lang="en-US" sz="1400" kern="1200" dirty="0"/>
            <a:t> </a:t>
          </a:r>
          <a:r>
            <a:rPr lang="en-US" sz="1400" kern="1200" dirty="0" err="1"/>
            <a:t>konstruksi</a:t>
          </a:r>
          <a:r>
            <a:rPr lang="en-US" sz="1400" kern="1200" dirty="0"/>
            <a:t>.
</a:t>
          </a:r>
          <a:r>
            <a:rPr lang="en-US" sz="1400" kern="1200" dirty="0" err="1"/>
            <a:t>Sertifikasi</a:t>
          </a:r>
          <a:r>
            <a:rPr lang="en-US" sz="1400" kern="1200" dirty="0"/>
            <a:t> SKK </a:t>
          </a:r>
          <a:r>
            <a:rPr lang="en-US" sz="1400" kern="1200" dirty="0" err="1"/>
            <a:t>Konstruksi</a:t>
          </a:r>
          <a:r>
            <a:rPr lang="en-US" sz="1400" kern="1200" dirty="0"/>
            <a:t> </a:t>
          </a:r>
          <a:r>
            <a:rPr lang="en-US" sz="1400" kern="1200" dirty="0" err="1"/>
            <a:t>dicatat</a:t>
          </a:r>
          <a:r>
            <a:rPr lang="en-US" sz="1400" kern="1200" dirty="0"/>
            <a:t> oleh </a:t>
          </a:r>
          <a:r>
            <a:rPr lang="en-US" sz="1400" kern="1200" dirty="0" err="1"/>
            <a:t>menteri</a:t>
          </a:r>
          <a:r>
            <a:rPr lang="en-US" sz="1400" kern="1200" dirty="0"/>
            <a:t> PUPR </a:t>
          </a:r>
          <a:r>
            <a:rPr lang="en-US" sz="1400" kern="1200" dirty="0" err="1"/>
            <a:t>melalui</a:t>
          </a:r>
          <a:r>
            <a:rPr lang="en-US" sz="1400" kern="1200" dirty="0"/>
            <a:t> SIJKT
SKK </a:t>
          </a:r>
          <a:r>
            <a:rPr lang="en-US" sz="1400" kern="1200" dirty="0" err="1"/>
            <a:t>Konstruksi</a:t>
          </a:r>
          <a:r>
            <a:rPr lang="en-US" sz="1400" kern="1200" dirty="0"/>
            <a:t> </a:t>
          </a:r>
          <a:r>
            <a:rPr lang="en-US" sz="1400" kern="1200" dirty="0" err="1"/>
            <a:t>berlaku</a:t>
          </a:r>
          <a:r>
            <a:rPr lang="en-US" sz="1400" kern="1200" dirty="0"/>
            <a:t> </a:t>
          </a:r>
          <a:r>
            <a:rPr lang="en-US" sz="1400" kern="1200" dirty="0" err="1"/>
            <a:t>untuk</a:t>
          </a:r>
          <a:r>
            <a:rPr lang="en-US" sz="1400" kern="1200" dirty="0"/>
            <a:t> </a:t>
          </a:r>
          <a:r>
            <a:rPr lang="en-US" sz="1400" kern="1200" dirty="0" err="1"/>
            <a:t>jangka</a:t>
          </a:r>
          <a:r>
            <a:rPr lang="en-US" sz="1400" kern="1200" dirty="0"/>
            <a:t> </a:t>
          </a:r>
          <a:r>
            <a:rPr lang="en-US" sz="1400" kern="1200" dirty="0" err="1"/>
            <a:t>waktu</a:t>
          </a:r>
          <a:r>
            <a:rPr lang="en-US" sz="1400" kern="1200" dirty="0"/>
            <a:t> 5 (lima) </a:t>
          </a:r>
          <a:r>
            <a:rPr lang="en-US" sz="1400" kern="1200" dirty="0" err="1"/>
            <a:t>tahun</a:t>
          </a:r>
          <a:r>
            <a:rPr lang="en-US" sz="1400" kern="1200" dirty="0"/>
            <a:t> dan </a:t>
          </a:r>
          <a:r>
            <a:rPr lang="en-US" sz="1400" kern="1200" dirty="0" err="1"/>
            <a:t>dapat</a:t>
          </a:r>
          <a:r>
            <a:rPr lang="en-US" sz="1400" kern="1200" dirty="0"/>
            <a:t> </a:t>
          </a:r>
          <a:r>
            <a:rPr lang="en-US" sz="1400" kern="1200" dirty="0" err="1"/>
            <a:t>diperpanjang</a:t>
          </a:r>
          <a:r>
            <a:rPr lang="en-US" sz="1400" kern="1200" dirty="0"/>
            <a:t>, </a:t>
          </a:r>
          <a:r>
            <a:rPr lang="en-US" sz="1400" kern="1200" dirty="0" err="1"/>
            <a:t>serta</a:t>
          </a:r>
          <a:r>
            <a:rPr lang="en-US" sz="1400" kern="1200" dirty="0"/>
            <a:t> </a:t>
          </a:r>
          <a:r>
            <a:rPr lang="en-US" sz="1400" kern="1200" dirty="0" err="1"/>
            <a:t>dapat</a:t>
          </a:r>
          <a:r>
            <a:rPr lang="en-US" sz="1400" kern="1200" dirty="0"/>
            <a:t> </a:t>
          </a:r>
          <a:r>
            <a:rPr lang="en-US" sz="1400" kern="1200" dirty="0" err="1"/>
            <a:t>dilakukan</a:t>
          </a:r>
          <a:r>
            <a:rPr lang="en-US" sz="1400" kern="1200" dirty="0"/>
            <a:t> </a:t>
          </a:r>
          <a:r>
            <a:rPr lang="en-US" sz="1400" kern="1200" dirty="0" err="1"/>
            <a:t>perubahan</a:t>
          </a:r>
          <a:r>
            <a:rPr lang="en-US" sz="1400" kern="1200" dirty="0"/>
            <a:t>.
SKK </a:t>
          </a:r>
          <a:r>
            <a:rPr lang="en-US" sz="1400" kern="1200" dirty="0" err="1"/>
            <a:t>Konstruksi</a:t>
          </a:r>
          <a:r>
            <a:rPr lang="en-US" sz="1400" kern="1200" dirty="0"/>
            <a:t> yang </a:t>
          </a:r>
          <a:r>
            <a:rPr lang="en-US" sz="1400" kern="1200" dirty="0" err="1"/>
            <a:t>akan</a:t>
          </a:r>
          <a:r>
            <a:rPr lang="en-US" sz="1400" kern="1200" dirty="0"/>
            <a:t> </a:t>
          </a:r>
          <a:r>
            <a:rPr lang="en-US" sz="1400" kern="1200" dirty="0" err="1"/>
            <a:t>diperpanjang</a:t>
          </a:r>
          <a:r>
            <a:rPr lang="en-US" sz="1400" kern="1200" dirty="0"/>
            <a:t> </a:t>
          </a:r>
          <a:r>
            <a:rPr lang="en-US" sz="1400" kern="1200" dirty="0" err="1"/>
            <a:t>wajib</a:t>
          </a:r>
          <a:r>
            <a:rPr lang="en-US" sz="1400" kern="1200" dirty="0"/>
            <a:t> </a:t>
          </a:r>
          <a:r>
            <a:rPr lang="en-US" sz="1400" kern="1200" dirty="0" err="1"/>
            <a:t>diajukan</a:t>
          </a:r>
          <a:r>
            <a:rPr lang="en-US" sz="1400" kern="1200" dirty="0"/>
            <a:t> </a:t>
          </a:r>
          <a:r>
            <a:rPr lang="en-US" sz="1400" kern="1200" dirty="0" err="1"/>
            <a:t>sebelum</a:t>
          </a:r>
          <a:r>
            <a:rPr lang="en-US" sz="1400" kern="1200" dirty="0"/>
            <a:t> </a:t>
          </a:r>
          <a:r>
            <a:rPr lang="en-US" sz="1400" kern="1200" dirty="0" err="1"/>
            <a:t>habis</a:t>
          </a:r>
          <a:r>
            <a:rPr lang="en-US" sz="1400" kern="1200" dirty="0"/>
            <a:t> masa </a:t>
          </a:r>
          <a:r>
            <a:rPr lang="en-US" sz="1400" kern="1200" dirty="0" err="1"/>
            <a:t>berlakunya</a:t>
          </a:r>
          <a:r>
            <a:rPr lang="en-US" sz="1400" kern="1200" dirty="0"/>
            <a:t>.</a:t>
          </a:r>
        </a:p>
      </dsp:txBody>
      <dsp:txXfrm>
        <a:off x="0" y="358439"/>
        <a:ext cx="3599571" cy="3704400"/>
      </dsp:txXfrm>
    </dsp:sp>
    <dsp:sp modelId="{531AFF3A-0E79-9B4D-8F1B-E0BF703C1268}">
      <dsp:nvSpPr>
        <dsp:cNvPr id="0" name=""/>
        <dsp:cNvSpPr/>
      </dsp:nvSpPr>
      <dsp:spPr>
        <a:xfrm>
          <a:off x="179978" y="151799"/>
          <a:ext cx="2519699" cy="41327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39" tIns="0" rIns="95239" bIns="0" numCol="1" spcCol="1270" anchor="ctr" anchorCtr="0">
          <a:noAutofit/>
        </a:bodyPr>
        <a:lstStyle/>
        <a:p>
          <a:pPr marL="0" lvl="0" indent="0" algn="l" defTabSz="622300">
            <a:lnSpc>
              <a:spcPct val="90000"/>
            </a:lnSpc>
            <a:spcBef>
              <a:spcPct val="0"/>
            </a:spcBef>
            <a:spcAft>
              <a:spcPct val="35000"/>
            </a:spcAft>
            <a:buNone/>
          </a:pPr>
          <a:r>
            <a:rPr lang="en-US" sz="1400" b="1" kern="1200" dirty="0"/>
            <a:t>SKK </a:t>
          </a:r>
          <a:r>
            <a:rPr lang="en-US" sz="1400" b="1" kern="1200" dirty="0" err="1"/>
            <a:t>Konstruksi</a:t>
          </a:r>
          <a:endParaRPr lang="en-US" sz="1400" b="1" kern="1200" dirty="0"/>
        </a:p>
      </dsp:txBody>
      <dsp:txXfrm>
        <a:off x="200153" y="171974"/>
        <a:ext cx="2479349" cy="37292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B4E3D0-96AE-3742-BD8C-BF48874CBDF4}">
      <dsp:nvSpPr>
        <dsp:cNvPr id="0" name=""/>
        <dsp:cNvSpPr/>
      </dsp:nvSpPr>
      <dsp:spPr>
        <a:xfrm>
          <a:off x="0" y="293460"/>
          <a:ext cx="3599571" cy="217264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367" tIns="312420" rIns="279367" bIns="106680" numCol="1" spcCol="1270" anchor="t" anchorCtr="0">
          <a:noAutofit/>
        </a:bodyPr>
        <a:lstStyle/>
        <a:p>
          <a:pPr marL="114300" lvl="1" indent="-114300" algn="just" defTabSz="666750">
            <a:lnSpc>
              <a:spcPct val="90000"/>
            </a:lnSpc>
            <a:spcBef>
              <a:spcPct val="0"/>
            </a:spcBef>
            <a:spcAft>
              <a:spcPct val="15000"/>
            </a:spcAft>
            <a:buFont typeface="Arial" panose="020B0604020202020204" pitchFamily="34" charset="0"/>
            <a:buChar char="•"/>
          </a:pPr>
          <a:r>
            <a:rPr lang="en-US" sz="1500" kern="1200" dirty="0" err="1"/>
            <a:t>Lisensi</a:t>
          </a:r>
          <a:r>
            <a:rPr lang="en-US" sz="1500" kern="1200" dirty="0"/>
            <a:t> </a:t>
          </a:r>
          <a:r>
            <a:rPr lang="en-US" sz="1500" kern="1200" dirty="0" err="1"/>
            <a:t>wajib</a:t>
          </a:r>
          <a:r>
            <a:rPr lang="en-US" sz="1500" kern="1200" dirty="0"/>
            <a:t> </a:t>
          </a:r>
          <a:r>
            <a:rPr lang="en-US" sz="1500" kern="1200" dirty="0" err="1"/>
            <a:t>dimiliki</a:t>
          </a:r>
          <a:r>
            <a:rPr lang="en-US" sz="1500" kern="1200" dirty="0"/>
            <a:t> oleh Lembaga </a:t>
          </a:r>
          <a:r>
            <a:rPr lang="en-US" sz="1500" kern="1200" dirty="0" err="1"/>
            <a:t>Sertifikasi</a:t>
          </a:r>
          <a:r>
            <a:rPr lang="en-US" sz="1500" kern="1200" dirty="0"/>
            <a:t> Badan Usaha (LSBU) dan Lembaga </a:t>
          </a:r>
          <a:r>
            <a:rPr lang="en-US" sz="1500" kern="1200" dirty="0" err="1"/>
            <a:t>Sertifikasi</a:t>
          </a:r>
          <a:r>
            <a:rPr lang="en-US" sz="1500" kern="1200" dirty="0"/>
            <a:t> </a:t>
          </a:r>
          <a:r>
            <a:rPr lang="en-US" sz="1500" kern="1200" dirty="0" err="1"/>
            <a:t>Profesi</a:t>
          </a:r>
          <a:r>
            <a:rPr lang="en-US" sz="1500" kern="1200" dirty="0"/>
            <a:t> (LSP) </a:t>
          </a:r>
          <a:r>
            <a:rPr lang="en-US" sz="1500" kern="1200" dirty="0" err="1"/>
            <a:t>bidang</a:t>
          </a:r>
          <a:r>
            <a:rPr lang="en-US" sz="1500" kern="1200" dirty="0"/>
            <a:t> </a:t>
          </a:r>
          <a:r>
            <a:rPr lang="en-US" sz="1500" kern="1200" dirty="0" err="1"/>
            <a:t>Konstruksi</a:t>
          </a:r>
          <a:endParaRPr lang="en-US" sz="1500" kern="1200" dirty="0"/>
        </a:p>
        <a:p>
          <a:pPr marL="114300" lvl="1" indent="-114300" algn="just" defTabSz="666750">
            <a:lnSpc>
              <a:spcPct val="90000"/>
            </a:lnSpc>
            <a:spcBef>
              <a:spcPct val="0"/>
            </a:spcBef>
            <a:spcAft>
              <a:spcPct val="15000"/>
            </a:spcAft>
            <a:buFont typeface="Arial" panose="020B0604020202020204" pitchFamily="34" charset="0"/>
            <a:buChar char="•"/>
          </a:pPr>
          <a:r>
            <a:rPr lang="en-US" sz="1500" kern="1200" dirty="0" err="1"/>
            <a:t>Lebih</a:t>
          </a:r>
          <a:r>
            <a:rPr lang="en-US" sz="1500" kern="1200" dirty="0"/>
            <a:t> </a:t>
          </a:r>
          <a:r>
            <a:rPr lang="en-US" sz="1500" kern="1200" dirty="0" err="1"/>
            <a:t>lanjut</a:t>
          </a:r>
          <a:r>
            <a:rPr lang="en-US" sz="1500" kern="1200" dirty="0"/>
            <a:t> </a:t>
          </a:r>
          <a:r>
            <a:rPr lang="en-US" sz="1500" kern="1200" dirty="0" err="1"/>
            <a:t>terkait</a:t>
          </a:r>
          <a:r>
            <a:rPr lang="en-US" sz="1500" kern="1200" dirty="0"/>
            <a:t> </a:t>
          </a:r>
          <a:r>
            <a:rPr lang="en-US" sz="1500" kern="1200" dirty="0" err="1"/>
            <a:t>lisensi</a:t>
          </a:r>
          <a:r>
            <a:rPr lang="en-US" sz="1500" kern="1200" dirty="0"/>
            <a:t> </a:t>
          </a:r>
          <a:r>
            <a:rPr lang="en-US" sz="1500" kern="1200" dirty="0" err="1"/>
            <a:t>diatur</a:t>
          </a:r>
          <a:r>
            <a:rPr lang="en-US" sz="1500" kern="1200" dirty="0"/>
            <a:t> </a:t>
          </a:r>
          <a:r>
            <a:rPr lang="en-US" sz="1500" kern="1200" dirty="0" err="1"/>
            <a:t>dalam</a:t>
          </a:r>
          <a:r>
            <a:rPr lang="en-US" sz="1500" kern="1200" dirty="0"/>
            <a:t> PP 14/2021 </a:t>
          </a:r>
          <a:r>
            <a:rPr lang="en-US" sz="1500" kern="1200" dirty="0" err="1"/>
            <a:t>tentang</a:t>
          </a:r>
          <a:r>
            <a:rPr lang="en-US" sz="1500" kern="1200" dirty="0"/>
            <a:t> </a:t>
          </a:r>
          <a:r>
            <a:rPr lang="en-US" sz="1500" kern="1200" dirty="0" err="1"/>
            <a:t>Perubahan</a:t>
          </a:r>
          <a:r>
            <a:rPr lang="en-US" sz="1500" kern="1200" dirty="0"/>
            <a:t> PP </a:t>
          </a:r>
          <a:r>
            <a:rPr lang="en-US" sz="1500" kern="1200" dirty="0" err="1"/>
            <a:t>tentang</a:t>
          </a:r>
          <a:r>
            <a:rPr lang="en-US" sz="1500" kern="1200" dirty="0"/>
            <a:t> Jasa </a:t>
          </a:r>
          <a:r>
            <a:rPr lang="en-US" sz="1500" kern="1200" dirty="0" err="1"/>
            <a:t>Konstruksi</a:t>
          </a:r>
          <a:endParaRPr lang="en-US" sz="1500" kern="1200" dirty="0"/>
        </a:p>
      </dsp:txBody>
      <dsp:txXfrm>
        <a:off x="0" y="293460"/>
        <a:ext cx="3599571" cy="2172645"/>
      </dsp:txXfrm>
    </dsp:sp>
    <dsp:sp modelId="{531AFF3A-0E79-9B4D-8F1B-E0BF703C1268}">
      <dsp:nvSpPr>
        <dsp:cNvPr id="0" name=""/>
        <dsp:cNvSpPr/>
      </dsp:nvSpPr>
      <dsp:spPr>
        <a:xfrm>
          <a:off x="179978" y="36030"/>
          <a:ext cx="2519699" cy="4428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39" tIns="0" rIns="95239" bIns="0" numCol="1" spcCol="1270" anchor="ctr" anchorCtr="0">
          <a:noAutofit/>
        </a:bodyPr>
        <a:lstStyle/>
        <a:p>
          <a:pPr marL="0" lvl="0" indent="0" algn="l" defTabSz="666750">
            <a:lnSpc>
              <a:spcPct val="90000"/>
            </a:lnSpc>
            <a:spcBef>
              <a:spcPct val="0"/>
            </a:spcBef>
            <a:spcAft>
              <a:spcPct val="35000"/>
            </a:spcAft>
            <a:buNone/>
          </a:pPr>
          <a:r>
            <a:rPr lang="en-US" sz="1500" b="1" kern="1200" dirty="0" err="1"/>
            <a:t>Lisensi</a:t>
          </a:r>
          <a:endParaRPr lang="en-US" sz="1500" b="1" kern="1200" dirty="0"/>
        </a:p>
      </dsp:txBody>
      <dsp:txXfrm>
        <a:off x="201594" y="57646"/>
        <a:ext cx="2476467" cy="39956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0FE241-C44F-F04A-B089-A75EB148E726}">
      <dsp:nvSpPr>
        <dsp:cNvPr id="0" name=""/>
        <dsp:cNvSpPr/>
      </dsp:nvSpPr>
      <dsp:spPr>
        <a:xfrm>
          <a:off x="1541701" y="107833"/>
          <a:ext cx="2231043" cy="2231043"/>
        </a:xfrm>
        <a:prstGeom prst="ellipse">
          <a:avLst/>
        </a:prstGeom>
        <a:solidFill>
          <a:schemeClr val="accent1">
            <a:shade val="80000"/>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Century Gothic" panose="020B0502020202020204" pitchFamily="34" charset="0"/>
            </a:rPr>
            <a:t>TERTIB USAHA</a:t>
          </a:r>
        </a:p>
      </dsp:txBody>
      <dsp:txXfrm>
        <a:off x="1839174" y="498266"/>
        <a:ext cx="1636098" cy="1003969"/>
      </dsp:txXfrm>
    </dsp:sp>
    <dsp:sp modelId="{DD105659-D689-C541-8F48-D03147344233}">
      <dsp:nvSpPr>
        <dsp:cNvPr id="0" name=""/>
        <dsp:cNvSpPr/>
      </dsp:nvSpPr>
      <dsp:spPr>
        <a:xfrm>
          <a:off x="2346736" y="1502236"/>
          <a:ext cx="2231043" cy="2231043"/>
        </a:xfrm>
        <a:prstGeom prst="ellipse">
          <a:avLst/>
        </a:prstGeom>
        <a:solidFill>
          <a:schemeClr val="accent1">
            <a:shade val="80000"/>
            <a:alpha val="50000"/>
            <a:hueOff val="7"/>
            <a:satOff val="1521"/>
            <a:lumOff val="2542"/>
            <a:alphaOff val="1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Century Gothic" panose="020B0502020202020204" pitchFamily="34" charset="0"/>
            </a:rPr>
            <a:t>TERTIB</a:t>
          </a:r>
        </a:p>
        <a:p>
          <a:pPr marL="0" lvl="0" indent="0" algn="ctr" defTabSz="889000">
            <a:lnSpc>
              <a:spcPct val="90000"/>
            </a:lnSpc>
            <a:spcBef>
              <a:spcPct val="0"/>
            </a:spcBef>
            <a:spcAft>
              <a:spcPct val="35000"/>
            </a:spcAft>
            <a:buNone/>
          </a:pPr>
          <a:r>
            <a:rPr lang="en-US" sz="1800" kern="1200" dirty="0">
              <a:latin typeface="Century Gothic" panose="020B0502020202020204" pitchFamily="34" charset="0"/>
            </a:rPr>
            <a:t>PENYELENGGARAAN</a:t>
          </a:r>
        </a:p>
      </dsp:txBody>
      <dsp:txXfrm>
        <a:off x="3029064" y="2078589"/>
        <a:ext cx="1338626" cy="1227074"/>
      </dsp:txXfrm>
    </dsp:sp>
    <dsp:sp modelId="{5DEA6273-AC58-3E42-B6EC-61ECFFEF76DB}">
      <dsp:nvSpPr>
        <dsp:cNvPr id="0" name=""/>
        <dsp:cNvSpPr/>
      </dsp:nvSpPr>
      <dsp:spPr>
        <a:xfrm>
          <a:off x="736666" y="1502236"/>
          <a:ext cx="2231043" cy="2231043"/>
        </a:xfrm>
        <a:prstGeom prst="ellipse">
          <a:avLst/>
        </a:prstGeom>
        <a:solidFill>
          <a:schemeClr val="accent1">
            <a:shade val="80000"/>
            <a:alpha val="50000"/>
            <a:hueOff val="15"/>
            <a:satOff val="3042"/>
            <a:lumOff val="5084"/>
            <a:alphaOff val="3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Century Gothic" panose="020B0502020202020204" pitchFamily="34" charset="0"/>
            </a:rPr>
            <a:t>TERTIB </a:t>
          </a:r>
          <a:r>
            <a:rPr lang="en-US" sz="1800" kern="1200" dirty="0">
              <a:latin typeface="Century Gothic" panose="020B0502020202020204" pitchFamily="34" charset="0"/>
            </a:rPr>
            <a:t>PEMANFAATAN</a:t>
          </a:r>
          <a:endParaRPr lang="en-US" sz="2000" kern="1200" dirty="0">
            <a:latin typeface="Century Gothic" panose="020B0502020202020204" pitchFamily="34" charset="0"/>
          </a:endParaRPr>
        </a:p>
      </dsp:txBody>
      <dsp:txXfrm>
        <a:off x="946756" y="2078589"/>
        <a:ext cx="1338626" cy="1227074"/>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677624C-CCD5-40CF-A424-67B227F6B7AC}" type="datetimeFigureOut">
              <a:rPr lang="en-ID" smtClean="0"/>
              <a:t>12/12/2023</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E9CF5A-7B15-4DE5-8113-858689263835}" type="slidenum">
              <a:rPr lang="en-ID" smtClean="0"/>
              <a:t>‹#›</a:t>
            </a:fld>
            <a:endParaRPr lang="en-ID"/>
          </a:p>
        </p:txBody>
      </p:sp>
    </p:spTree>
    <p:extLst>
      <p:ext uri="{BB962C8B-B14F-4D97-AF65-F5344CB8AC3E}">
        <p14:creationId xmlns:p14="http://schemas.microsoft.com/office/powerpoint/2010/main" val="32251565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E9CF5A-7B15-4DE5-8113-858689263835}" type="slidenum">
              <a:rPr lang="en-ID" smtClean="0"/>
              <a:t>1</a:t>
            </a:fld>
            <a:endParaRPr lang="en-ID"/>
          </a:p>
        </p:txBody>
      </p:sp>
    </p:spTree>
    <p:extLst>
      <p:ext uri="{BB962C8B-B14F-4D97-AF65-F5344CB8AC3E}">
        <p14:creationId xmlns:p14="http://schemas.microsoft.com/office/powerpoint/2010/main" val="18981337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2"/>
        <p:cNvGrpSpPr/>
        <p:nvPr/>
      </p:nvGrpSpPr>
      <p:grpSpPr>
        <a:xfrm>
          <a:off x="0" y="0"/>
          <a:ext cx="0" cy="0"/>
          <a:chOff x="0" y="0"/>
          <a:chExt cx="0" cy="0"/>
        </a:xfrm>
      </p:grpSpPr>
      <p:sp>
        <p:nvSpPr>
          <p:cNvPr id="513" name="Google Shape;513;p3:notes"/>
          <p:cNvSpPr txBox="1">
            <a:spLocks noGrp="1"/>
          </p:cNvSpPr>
          <p:nvPr>
            <p:ph type="body" idx="1"/>
          </p:nvPr>
        </p:nvSpPr>
        <p:spPr>
          <a:xfrm>
            <a:off x="679768" y="4777958"/>
            <a:ext cx="5438140" cy="3909239"/>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14" name="Google Shape;514;p3: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6"/>
        <p:cNvGrpSpPr/>
        <p:nvPr/>
      </p:nvGrpSpPr>
      <p:grpSpPr>
        <a:xfrm>
          <a:off x="0" y="0"/>
          <a:ext cx="0" cy="0"/>
          <a:chOff x="0" y="0"/>
          <a:chExt cx="0" cy="0"/>
        </a:xfrm>
      </p:grpSpPr>
      <p:sp>
        <p:nvSpPr>
          <p:cNvPr id="557" name="Google Shape;557;p5:notes"/>
          <p:cNvSpPr txBox="1">
            <a:spLocks noGrp="1"/>
          </p:cNvSpPr>
          <p:nvPr>
            <p:ph type="body" idx="1"/>
          </p:nvPr>
        </p:nvSpPr>
        <p:spPr>
          <a:xfrm>
            <a:off x="679768" y="4777958"/>
            <a:ext cx="5438140" cy="3909239"/>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58" name="Google Shape;558;p5: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2"/>
        <p:cNvGrpSpPr/>
        <p:nvPr/>
      </p:nvGrpSpPr>
      <p:grpSpPr>
        <a:xfrm>
          <a:off x="0" y="0"/>
          <a:ext cx="0" cy="0"/>
          <a:chOff x="0" y="0"/>
          <a:chExt cx="0" cy="0"/>
        </a:xfrm>
      </p:grpSpPr>
      <p:sp>
        <p:nvSpPr>
          <p:cNvPr id="583" name="Google Shape;583;p6:notes"/>
          <p:cNvSpPr txBox="1">
            <a:spLocks noGrp="1"/>
          </p:cNvSpPr>
          <p:nvPr>
            <p:ph type="body" idx="1"/>
          </p:nvPr>
        </p:nvSpPr>
        <p:spPr>
          <a:xfrm>
            <a:off x="679768" y="4777958"/>
            <a:ext cx="5438140" cy="3909239"/>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84" name="Google Shape;584;p6: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7:notes"/>
          <p:cNvSpPr txBox="1">
            <a:spLocks noGrp="1"/>
          </p:cNvSpPr>
          <p:nvPr>
            <p:ph type="body" idx="1"/>
          </p:nvPr>
        </p:nvSpPr>
        <p:spPr>
          <a:xfrm>
            <a:off x="679768" y="4777958"/>
            <a:ext cx="5438140" cy="3909239"/>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12" name="Google Shape;612;p7: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dirty="0"/>
              <a:t>https://unsplash.com/photos/KPyXMkJ0UQU</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E9CF5A-7B15-4DE5-8113-858689263835}" type="slidenum">
              <a:rPr kumimoji="0" lang="en-ID"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ID"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13008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288550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92493A-6EFB-CB4A-A5FA-D0246C79E288}" type="slidenum">
              <a:rPr kumimoji="0" lang="id-ID"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id-ID"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5690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FD0820-A911-CB49-86A3-BA327329BBF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12155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354" rtl="0" eaLnBrk="1" fontAlgn="auto" latinLnBrk="0" hangingPunct="1">
              <a:lnSpc>
                <a:spcPct val="100000"/>
              </a:lnSpc>
              <a:spcBef>
                <a:spcPts val="0"/>
              </a:spcBef>
              <a:spcAft>
                <a:spcPts val="0"/>
              </a:spcAft>
              <a:buClrTx/>
              <a:buSzTx/>
              <a:buFontTx/>
              <a:buNone/>
              <a:tabLst/>
              <a:defRPr/>
            </a:pPr>
            <a:fld id="{168375C1-7C5C-42A2-80F2-05631BB376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5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47517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dirty="0"/>
              <a:t>https://unsplash.com/photos/KPyXMkJ0UQU</a:t>
            </a:r>
          </a:p>
        </p:txBody>
      </p:sp>
      <p:sp>
        <p:nvSpPr>
          <p:cNvPr id="4" name="Slide Number Placeholder 3"/>
          <p:cNvSpPr>
            <a:spLocks noGrp="1"/>
          </p:cNvSpPr>
          <p:nvPr>
            <p:ph type="sldNum" sz="quarter" idx="5"/>
          </p:nvPr>
        </p:nvSpPr>
        <p:spPr/>
        <p:txBody>
          <a:bodyPr/>
          <a:lstStyle/>
          <a:p>
            <a:fld id="{A2E9CF5A-7B15-4DE5-8113-858689263835}" type="slidenum">
              <a:rPr lang="en-ID" smtClean="0"/>
              <a:t>25</a:t>
            </a:fld>
            <a:endParaRPr lang="en-ID"/>
          </a:p>
        </p:txBody>
      </p:sp>
    </p:spTree>
    <p:extLst>
      <p:ext uri="{BB962C8B-B14F-4D97-AF65-F5344CB8AC3E}">
        <p14:creationId xmlns:p14="http://schemas.microsoft.com/office/powerpoint/2010/main" val="27270894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1B707F-C521-495F-8261-6A0F85E64386}" type="slidenum">
              <a:rPr kumimoji="0" lang="en-ID"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ID"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56114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1B707F-C521-495F-8261-6A0F85E64386}" type="slidenum">
              <a:rPr kumimoji="0" lang="en-ID"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ID"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69864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2.xml"/><Relationship Id="rId5" Type="http://schemas.openxmlformats.org/officeDocument/2006/relationships/image" Target="../media/image17.png"/><Relationship Id="rId4" Type="http://schemas.openxmlformats.org/officeDocument/2006/relationships/image" Target="../media/image16.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3.emf"/><Relationship Id="rId4" Type="http://schemas.openxmlformats.org/officeDocument/2006/relationships/oleObject" Target="../embeddings/oleObject23.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hyperlink" Target="http://www.pptmon.com/" TargetMode="External"/><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9.emf"/><Relationship Id="rId4" Type="http://schemas.openxmlformats.org/officeDocument/2006/relationships/oleObject" Target="../embeddings/oleObject13.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E991D9-A3AD-0799-047D-DE30A8E52FB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CF79E63A-41C5-9AC0-5C39-82FC48EB72A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90C35D8A-8752-B655-3947-B6C54EAC9B26}"/>
              </a:ext>
            </a:extLst>
          </p:cNvPr>
          <p:cNvSpPr>
            <a:spLocks noGrp="1"/>
          </p:cNvSpPr>
          <p:nvPr>
            <p:ph type="dt" sz="half" idx="10"/>
          </p:nvPr>
        </p:nvSpPr>
        <p:spPr/>
        <p:txBody>
          <a:bodyPr/>
          <a:lstStyle/>
          <a:p>
            <a:fld id="{62FB3A63-0457-4056-959C-681C51DC124A}" type="datetimeFigureOut">
              <a:rPr lang="en-ID" smtClean="0"/>
              <a:t>12/12/2023</a:t>
            </a:fld>
            <a:endParaRPr lang="en-ID"/>
          </a:p>
        </p:txBody>
      </p:sp>
      <p:sp>
        <p:nvSpPr>
          <p:cNvPr id="5" name="Footer Placeholder 4">
            <a:extLst>
              <a:ext uri="{FF2B5EF4-FFF2-40B4-BE49-F238E27FC236}">
                <a16:creationId xmlns:a16="http://schemas.microsoft.com/office/drawing/2014/main" id="{58A807CD-C511-DFE3-E421-07FE7B841422}"/>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1975E7A1-57CA-B01D-0121-FFA912B8D7E9}"/>
              </a:ext>
            </a:extLst>
          </p:cNvPr>
          <p:cNvSpPr>
            <a:spLocks noGrp="1"/>
          </p:cNvSpPr>
          <p:nvPr>
            <p:ph type="sldNum" sz="quarter" idx="12"/>
          </p:nvPr>
        </p:nvSpPr>
        <p:spPr/>
        <p:txBody>
          <a:bodyPr/>
          <a:lstStyle/>
          <a:p>
            <a:fld id="{BC5A0E4C-AEED-4EAC-B96D-5DCBA748C5AA}" type="slidenum">
              <a:rPr lang="en-ID" smtClean="0"/>
              <a:t>‹#›</a:t>
            </a:fld>
            <a:endParaRPr lang="en-ID"/>
          </a:p>
        </p:txBody>
      </p:sp>
    </p:spTree>
    <p:extLst>
      <p:ext uri="{BB962C8B-B14F-4D97-AF65-F5344CB8AC3E}">
        <p14:creationId xmlns:p14="http://schemas.microsoft.com/office/powerpoint/2010/main" val="39995178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E5AB3D-FD23-B53C-92E6-575ABF5F51BF}"/>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2C57B80E-806A-5AE5-47D3-6C06A00C77F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898F5C9C-FB98-ECA8-26E2-9026202EBAB5}"/>
              </a:ext>
            </a:extLst>
          </p:cNvPr>
          <p:cNvSpPr>
            <a:spLocks noGrp="1"/>
          </p:cNvSpPr>
          <p:nvPr>
            <p:ph type="dt" sz="half" idx="10"/>
          </p:nvPr>
        </p:nvSpPr>
        <p:spPr/>
        <p:txBody>
          <a:bodyPr/>
          <a:lstStyle/>
          <a:p>
            <a:fld id="{62FB3A63-0457-4056-959C-681C51DC124A}" type="datetimeFigureOut">
              <a:rPr lang="en-ID" smtClean="0"/>
              <a:t>12/12/2023</a:t>
            </a:fld>
            <a:endParaRPr lang="en-ID"/>
          </a:p>
        </p:txBody>
      </p:sp>
      <p:sp>
        <p:nvSpPr>
          <p:cNvPr id="5" name="Footer Placeholder 4">
            <a:extLst>
              <a:ext uri="{FF2B5EF4-FFF2-40B4-BE49-F238E27FC236}">
                <a16:creationId xmlns:a16="http://schemas.microsoft.com/office/drawing/2014/main" id="{5C7760E6-D489-B4B0-4422-F3861164A428}"/>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A26AEFCF-6B1B-9CBC-A4B4-F6DC2199F965}"/>
              </a:ext>
            </a:extLst>
          </p:cNvPr>
          <p:cNvSpPr>
            <a:spLocks noGrp="1"/>
          </p:cNvSpPr>
          <p:nvPr>
            <p:ph type="sldNum" sz="quarter" idx="12"/>
          </p:nvPr>
        </p:nvSpPr>
        <p:spPr/>
        <p:txBody>
          <a:bodyPr/>
          <a:lstStyle/>
          <a:p>
            <a:fld id="{BC5A0E4C-AEED-4EAC-B96D-5DCBA748C5AA}" type="slidenum">
              <a:rPr lang="en-ID" smtClean="0"/>
              <a:t>‹#›</a:t>
            </a:fld>
            <a:endParaRPr lang="en-ID"/>
          </a:p>
        </p:txBody>
      </p:sp>
    </p:spTree>
    <p:extLst>
      <p:ext uri="{BB962C8B-B14F-4D97-AF65-F5344CB8AC3E}">
        <p14:creationId xmlns:p14="http://schemas.microsoft.com/office/powerpoint/2010/main" val="281542731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562DBD5-2427-428E-AFD9-72E8C9DADFAA}"/>
              </a:ext>
            </a:extLst>
          </p:cNvPr>
          <p:cNvSpPr>
            <a:spLocks noGrp="1"/>
          </p:cNvSpPr>
          <p:nvPr>
            <p:ph type="pic" sz="quarter" idx="10"/>
          </p:nvPr>
        </p:nvSpPr>
        <p:spPr>
          <a:xfrm>
            <a:off x="1" y="-1"/>
            <a:ext cx="4914899" cy="6835074"/>
          </a:xfrm>
          <a:custGeom>
            <a:avLst/>
            <a:gdLst>
              <a:gd name="connsiteX0" fmla="*/ 2225960 w 4451945"/>
              <a:gd name="connsiteY0" fmla="*/ 0 h 6191251"/>
              <a:gd name="connsiteX1" fmla="*/ 2225981 w 4451945"/>
              <a:gd name="connsiteY1" fmla="*/ 1 h 6191251"/>
              <a:gd name="connsiteX2" fmla="*/ 2330410 w 4451945"/>
              <a:gd name="connsiteY2" fmla="*/ 1 h 6191251"/>
              <a:gd name="connsiteX3" fmla="*/ 2330410 w 4451945"/>
              <a:gd name="connsiteY3" fmla="*/ 5009 h 6191251"/>
              <a:gd name="connsiteX4" fmla="*/ 2438050 w 4451945"/>
              <a:gd name="connsiteY4" fmla="*/ 10106 h 6191251"/>
              <a:gd name="connsiteX5" fmla="*/ 2444580 w 4451945"/>
              <a:gd name="connsiteY5" fmla="*/ 11041 h 6191251"/>
              <a:gd name="connsiteX6" fmla="*/ 2453282 w 4451945"/>
              <a:gd name="connsiteY6" fmla="*/ 11479 h 6191251"/>
              <a:gd name="connsiteX7" fmla="*/ 2836272 w 4451945"/>
              <a:gd name="connsiteY7" fmla="*/ 84814 h 6191251"/>
              <a:gd name="connsiteX8" fmla="*/ 2845282 w 4451945"/>
              <a:gd name="connsiteY8" fmla="*/ 87808 h 6191251"/>
              <a:gd name="connsiteX9" fmla="*/ 2846835 w 4451945"/>
              <a:gd name="connsiteY9" fmla="*/ 88183 h 6191251"/>
              <a:gd name="connsiteX10" fmla="*/ 2862293 w 4451945"/>
              <a:gd name="connsiteY10" fmla="*/ 93466 h 6191251"/>
              <a:gd name="connsiteX11" fmla="*/ 3018261 w 4451945"/>
              <a:gd name="connsiteY11" fmla="*/ 145321 h 6191251"/>
              <a:gd name="connsiteX12" fmla="*/ 3034270 w 4451945"/>
              <a:gd name="connsiteY12" fmla="*/ 152232 h 6191251"/>
              <a:gd name="connsiteX13" fmla="*/ 3040354 w 4451945"/>
              <a:gd name="connsiteY13" fmla="*/ 154311 h 6191251"/>
              <a:gd name="connsiteX14" fmla="*/ 3073246 w 4451945"/>
              <a:gd name="connsiteY14" fmla="*/ 169059 h 6191251"/>
              <a:gd name="connsiteX15" fmla="*/ 3192900 w 4451945"/>
              <a:gd name="connsiteY15" fmla="*/ 220711 h 6191251"/>
              <a:gd name="connsiteX16" fmla="*/ 3215233 w 4451945"/>
              <a:gd name="connsiteY16" fmla="*/ 232715 h 6191251"/>
              <a:gd name="connsiteX17" fmla="*/ 3225396 w 4451945"/>
              <a:gd name="connsiteY17" fmla="*/ 237271 h 6191251"/>
              <a:gd name="connsiteX18" fmla="*/ 3261085 w 4451945"/>
              <a:gd name="connsiteY18" fmla="*/ 257362 h 6191251"/>
              <a:gd name="connsiteX19" fmla="*/ 3359433 w 4451945"/>
              <a:gd name="connsiteY19" fmla="*/ 310226 h 6191251"/>
              <a:gd name="connsiteX20" fmla="*/ 3387305 w 4451945"/>
              <a:gd name="connsiteY20" fmla="*/ 328413 h 6191251"/>
              <a:gd name="connsiteX21" fmla="*/ 3401038 w 4451945"/>
              <a:gd name="connsiteY21" fmla="*/ 336142 h 6191251"/>
              <a:gd name="connsiteX22" fmla="*/ 3435022 w 4451945"/>
              <a:gd name="connsiteY22" fmla="*/ 359548 h 6191251"/>
              <a:gd name="connsiteX23" fmla="*/ 3517099 w 4451945"/>
              <a:gd name="connsiteY23" fmla="*/ 413105 h 6191251"/>
              <a:gd name="connsiteX24" fmla="*/ 3549622 w 4451945"/>
              <a:gd name="connsiteY24" fmla="*/ 438475 h 6191251"/>
              <a:gd name="connsiteX25" fmla="*/ 3566359 w 4451945"/>
              <a:gd name="connsiteY25" fmla="*/ 450001 h 6191251"/>
              <a:gd name="connsiteX26" fmla="*/ 3596837 w 4451945"/>
              <a:gd name="connsiteY26" fmla="*/ 475307 h 6191251"/>
              <a:gd name="connsiteX27" fmla="*/ 3665142 w 4451945"/>
              <a:gd name="connsiteY27" fmla="*/ 528589 h 6191251"/>
              <a:gd name="connsiteX28" fmla="*/ 3701322 w 4451945"/>
              <a:gd name="connsiteY28" fmla="*/ 562056 h 6191251"/>
              <a:gd name="connsiteX29" fmla="*/ 3720439 w 4451945"/>
              <a:gd name="connsiteY29" fmla="*/ 577928 h 6191251"/>
              <a:gd name="connsiteX30" fmla="*/ 3746661 w 4451945"/>
              <a:gd name="connsiteY30" fmla="*/ 603995 h 6191251"/>
              <a:gd name="connsiteX31" fmla="*/ 3802799 w 4451945"/>
              <a:gd name="connsiteY31" fmla="*/ 655921 h 6191251"/>
              <a:gd name="connsiteX32" fmla="*/ 3841548 w 4451945"/>
              <a:gd name="connsiteY32" fmla="*/ 698318 h 6191251"/>
              <a:gd name="connsiteX33" fmla="*/ 3862356 w 4451945"/>
              <a:gd name="connsiteY33" fmla="*/ 719001 h 6191251"/>
              <a:gd name="connsiteX34" fmla="*/ 3884088 w 4451945"/>
              <a:gd name="connsiteY34" fmla="*/ 744860 h 6191251"/>
              <a:gd name="connsiteX35" fmla="*/ 3929313 w 4451945"/>
              <a:gd name="connsiteY35" fmla="*/ 794342 h 6191251"/>
              <a:gd name="connsiteX36" fmla="*/ 3969450 w 4451945"/>
              <a:gd name="connsiteY36" fmla="*/ 846435 h 6191251"/>
              <a:gd name="connsiteX37" fmla="*/ 3991188 w 4451945"/>
              <a:gd name="connsiteY37" fmla="*/ 872298 h 6191251"/>
              <a:gd name="connsiteX38" fmla="*/ 4008485 w 4451945"/>
              <a:gd name="connsiteY38" fmla="*/ 897096 h 6191251"/>
              <a:gd name="connsiteX39" fmla="*/ 4043928 w 4451945"/>
              <a:gd name="connsiteY39" fmla="*/ 943093 h 6191251"/>
              <a:gd name="connsiteX40" fmla="*/ 4084188 w 4451945"/>
              <a:gd name="connsiteY40" fmla="*/ 1005614 h 6191251"/>
              <a:gd name="connsiteX41" fmla="*/ 4106012 w 4451945"/>
              <a:gd name="connsiteY41" fmla="*/ 1036899 h 6191251"/>
              <a:gd name="connsiteX42" fmla="*/ 4119126 w 4451945"/>
              <a:gd name="connsiteY42" fmla="*/ 1059869 h 6191251"/>
              <a:gd name="connsiteX43" fmla="*/ 4145880 w 4451945"/>
              <a:gd name="connsiteY43" fmla="*/ 1101415 h 6191251"/>
              <a:gd name="connsiteX44" fmla="*/ 4184921 w 4451945"/>
              <a:gd name="connsiteY44" fmla="*/ 1175119 h 6191251"/>
              <a:gd name="connsiteX45" fmla="*/ 4205911 w 4451945"/>
              <a:gd name="connsiteY45" fmla="*/ 1211882 h 6191251"/>
              <a:gd name="connsiteX46" fmla="*/ 4215230 w 4451945"/>
              <a:gd name="connsiteY46" fmla="*/ 1232334 h 6191251"/>
              <a:gd name="connsiteX47" fmla="*/ 4234415 w 4451945"/>
              <a:gd name="connsiteY47" fmla="*/ 1268548 h 6191251"/>
              <a:gd name="connsiteX48" fmla="*/ 4270827 w 4451945"/>
              <a:gd name="connsiteY48" fmla="*/ 1354338 h 6191251"/>
              <a:gd name="connsiteX49" fmla="*/ 4289961 w 4451945"/>
              <a:gd name="connsiteY49" fmla="*/ 1396326 h 6191251"/>
              <a:gd name="connsiteX50" fmla="*/ 4295995 w 4451945"/>
              <a:gd name="connsiteY50" fmla="*/ 1413634 h 6191251"/>
              <a:gd name="connsiteX51" fmla="*/ 4308772 w 4451945"/>
              <a:gd name="connsiteY51" fmla="*/ 1443737 h 6191251"/>
              <a:gd name="connsiteX52" fmla="*/ 4341074 w 4451945"/>
              <a:gd name="connsiteY52" fmla="*/ 1542938 h 6191251"/>
              <a:gd name="connsiteX53" fmla="*/ 4357240 w 4451945"/>
              <a:gd name="connsiteY53" fmla="*/ 1589308 h 6191251"/>
              <a:gd name="connsiteX54" fmla="*/ 4360602 w 4451945"/>
              <a:gd name="connsiteY54" fmla="*/ 1602910 h 6191251"/>
              <a:gd name="connsiteX55" fmla="*/ 4368193 w 4451945"/>
              <a:gd name="connsiteY55" fmla="*/ 1626219 h 6191251"/>
              <a:gd name="connsiteX56" fmla="*/ 4394846 w 4451945"/>
              <a:gd name="connsiteY56" fmla="*/ 1741438 h 6191251"/>
              <a:gd name="connsiteX57" fmla="*/ 4406827 w 4451945"/>
              <a:gd name="connsiteY57" fmla="*/ 1789908 h 6191251"/>
              <a:gd name="connsiteX58" fmla="*/ 4408230 w 4451945"/>
              <a:gd name="connsiteY58" fmla="*/ 1799297 h 6191251"/>
              <a:gd name="connsiteX59" fmla="*/ 4411918 w 4451945"/>
              <a:gd name="connsiteY59" fmla="*/ 1815238 h 6191251"/>
              <a:gd name="connsiteX60" fmla="*/ 4431323 w 4451945"/>
              <a:gd name="connsiteY60" fmla="*/ 1953846 h 6191251"/>
              <a:gd name="connsiteX61" fmla="*/ 4437802 w 4451945"/>
              <a:gd name="connsiteY61" fmla="*/ 1997203 h 6191251"/>
              <a:gd name="connsiteX62" fmla="*/ 4438032 w 4451945"/>
              <a:gd name="connsiteY62" fmla="*/ 2001767 h 6191251"/>
              <a:gd name="connsiteX63" fmla="*/ 4439190 w 4451945"/>
              <a:gd name="connsiteY63" fmla="*/ 2010034 h 6191251"/>
              <a:gd name="connsiteX64" fmla="*/ 4443741 w 4451945"/>
              <a:gd name="connsiteY64" fmla="*/ 2106169 h 6191251"/>
              <a:gd name="connsiteX65" fmla="*/ 4449289 w 4451945"/>
              <a:gd name="connsiteY65" fmla="*/ 2106169 h 6191251"/>
              <a:gd name="connsiteX66" fmla="*/ 4449289 w 4451945"/>
              <a:gd name="connsiteY66" fmla="*/ 2194799 h 6191251"/>
              <a:gd name="connsiteX67" fmla="*/ 4449289 w 4451945"/>
              <a:gd name="connsiteY67" fmla="*/ 2223329 h 6191251"/>
              <a:gd name="connsiteX68" fmla="*/ 4449289 w 4451945"/>
              <a:gd name="connsiteY68" fmla="*/ 2223995 h 6191251"/>
              <a:gd name="connsiteX69" fmla="*/ 4449289 w 4451945"/>
              <a:gd name="connsiteY69" fmla="*/ 2223996 h 6191251"/>
              <a:gd name="connsiteX70" fmla="*/ 4451945 w 4451945"/>
              <a:gd name="connsiteY70" fmla="*/ 2223996 h 6191251"/>
              <a:gd name="connsiteX71" fmla="*/ 4451945 w 4451945"/>
              <a:gd name="connsiteY71" fmla="*/ 2649834 h 6191251"/>
              <a:gd name="connsiteX72" fmla="*/ 4451945 w 4451945"/>
              <a:gd name="connsiteY72" fmla="*/ 3541417 h 6191251"/>
              <a:gd name="connsiteX73" fmla="*/ 4451945 w 4451945"/>
              <a:gd name="connsiteY73" fmla="*/ 3967256 h 6191251"/>
              <a:gd name="connsiteX74" fmla="*/ 4451945 w 4451945"/>
              <a:gd name="connsiteY74" fmla="*/ 4085083 h 6191251"/>
              <a:gd name="connsiteX75" fmla="*/ 4449314 w 4451945"/>
              <a:gd name="connsiteY75" fmla="*/ 4085083 h 6191251"/>
              <a:gd name="connsiteX76" fmla="*/ 4449314 w 4451945"/>
              <a:gd name="connsiteY76" fmla="*/ 6191250 h 6191251"/>
              <a:gd name="connsiteX77" fmla="*/ 2227318 w 4451945"/>
              <a:gd name="connsiteY77" fmla="*/ 6191250 h 6191251"/>
              <a:gd name="connsiteX78" fmla="*/ 2226007 w 4451945"/>
              <a:gd name="connsiteY78" fmla="*/ 6191250 h 6191251"/>
              <a:gd name="connsiteX79" fmla="*/ 2225986 w 4451945"/>
              <a:gd name="connsiteY79" fmla="*/ 6191251 h 6191251"/>
              <a:gd name="connsiteX80" fmla="*/ 2225965 w 4451945"/>
              <a:gd name="connsiteY80" fmla="*/ 6191250 h 6191251"/>
              <a:gd name="connsiteX81" fmla="*/ 2121536 w 4451945"/>
              <a:gd name="connsiteY81" fmla="*/ 6191250 h 6191251"/>
              <a:gd name="connsiteX82" fmla="*/ 2121536 w 4451945"/>
              <a:gd name="connsiteY82" fmla="*/ 6186242 h 6191251"/>
              <a:gd name="connsiteX83" fmla="*/ 2013895 w 4451945"/>
              <a:gd name="connsiteY83" fmla="*/ 6181144 h 6191251"/>
              <a:gd name="connsiteX84" fmla="*/ 2007364 w 4451945"/>
              <a:gd name="connsiteY84" fmla="*/ 6180211 h 6191251"/>
              <a:gd name="connsiteX85" fmla="*/ 1998664 w 4451945"/>
              <a:gd name="connsiteY85" fmla="*/ 6179772 h 6191251"/>
              <a:gd name="connsiteX86" fmla="*/ 1615674 w 4451945"/>
              <a:gd name="connsiteY86" fmla="*/ 6106438 h 6191251"/>
              <a:gd name="connsiteX87" fmla="*/ 1606663 w 4451945"/>
              <a:gd name="connsiteY87" fmla="*/ 6103442 h 6191251"/>
              <a:gd name="connsiteX88" fmla="*/ 1605110 w 4451945"/>
              <a:gd name="connsiteY88" fmla="*/ 6103069 h 6191251"/>
              <a:gd name="connsiteX89" fmla="*/ 1589652 w 4451945"/>
              <a:gd name="connsiteY89" fmla="*/ 6097785 h 6191251"/>
              <a:gd name="connsiteX90" fmla="*/ 1433684 w 4451945"/>
              <a:gd name="connsiteY90" fmla="*/ 6045931 h 6191251"/>
              <a:gd name="connsiteX91" fmla="*/ 1417676 w 4451945"/>
              <a:gd name="connsiteY91" fmla="*/ 6039019 h 6191251"/>
              <a:gd name="connsiteX92" fmla="*/ 1411591 w 4451945"/>
              <a:gd name="connsiteY92" fmla="*/ 6036940 h 6191251"/>
              <a:gd name="connsiteX93" fmla="*/ 1378699 w 4451945"/>
              <a:gd name="connsiteY93" fmla="*/ 6022193 h 6191251"/>
              <a:gd name="connsiteX94" fmla="*/ 1259044 w 4451945"/>
              <a:gd name="connsiteY94" fmla="*/ 5970541 h 6191251"/>
              <a:gd name="connsiteX95" fmla="*/ 1236712 w 4451945"/>
              <a:gd name="connsiteY95" fmla="*/ 5958537 h 6191251"/>
              <a:gd name="connsiteX96" fmla="*/ 1226549 w 4451945"/>
              <a:gd name="connsiteY96" fmla="*/ 5953980 h 6191251"/>
              <a:gd name="connsiteX97" fmla="*/ 1190860 w 4451945"/>
              <a:gd name="connsiteY97" fmla="*/ 5933890 h 6191251"/>
              <a:gd name="connsiteX98" fmla="*/ 1092512 w 4451945"/>
              <a:gd name="connsiteY98" fmla="*/ 5881025 h 6191251"/>
              <a:gd name="connsiteX99" fmla="*/ 1064640 w 4451945"/>
              <a:gd name="connsiteY99" fmla="*/ 5862838 h 6191251"/>
              <a:gd name="connsiteX100" fmla="*/ 1050907 w 4451945"/>
              <a:gd name="connsiteY100" fmla="*/ 5855110 h 6191251"/>
              <a:gd name="connsiteX101" fmla="*/ 1016923 w 4451945"/>
              <a:gd name="connsiteY101" fmla="*/ 5831703 h 6191251"/>
              <a:gd name="connsiteX102" fmla="*/ 934846 w 4451945"/>
              <a:gd name="connsiteY102" fmla="*/ 5778147 h 6191251"/>
              <a:gd name="connsiteX103" fmla="*/ 902324 w 4451945"/>
              <a:gd name="connsiteY103" fmla="*/ 5752777 h 6191251"/>
              <a:gd name="connsiteX104" fmla="*/ 885586 w 4451945"/>
              <a:gd name="connsiteY104" fmla="*/ 5741251 h 6191251"/>
              <a:gd name="connsiteX105" fmla="*/ 855108 w 4451945"/>
              <a:gd name="connsiteY105" fmla="*/ 5715945 h 6191251"/>
              <a:gd name="connsiteX106" fmla="*/ 786804 w 4451945"/>
              <a:gd name="connsiteY106" fmla="*/ 5662661 h 6191251"/>
              <a:gd name="connsiteX107" fmla="*/ 750624 w 4451945"/>
              <a:gd name="connsiteY107" fmla="*/ 5629195 h 6191251"/>
              <a:gd name="connsiteX108" fmla="*/ 731506 w 4451945"/>
              <a:gd name="connsiteY108" fmla="*/ 5613323 h 6191251"/>
              <a:gd name="connsiteX109" fmla="*/ 705284 w 4451945"/>
              <a:gd name="connsiteY109" fmla="*/ 5587257 h 6191251"/>
              <a:gd name="connsiteX110" fmla="*/ 649146 w 4451945"/>
              <a:gd name="connsiteY110" fmla="*/ 5535330 h 6191251"/>
              <a:gd name="connsiteX111" fmla="*/ 610397 w 4451945"/>
              <a:gd name="connsiteY111" fmla="*/ 5492934 h 6191251"/>
              <a:gd name="connsiteX112" fmla="*/ 589589 w 4451945"/>
              <a:gd name="connsiteY112" fmla="*/ 5472250 h 6191251"/>
              <a:gd name="connsiteX113" fmla="*/ 567858 w 4451945"/>
              <a:gd name="connsiteY113" fmla="*/ 5446391 h 6191251"/>
              <a:gd name="connsiteX114" fmla="*/ 522632 w 4451945"/>
              <a:gd name="connsiteY114" fmla="*/ 5396909 h 6191251"/>
              <a:gd name="connsiteX115" fmla="*/ 482495 w 4451945"/>
              <a:gd name="connsiteY115" fmla="*/ 5344816 h 6191251"/>
              <a:gd name="connsiteX116" fmla="*/ 460758 w 4451945"/>
              <a:gd name="connsiteY116" fmla="*/ 5318953 h 6191251"/>
              <a:gd name="connsiteX117" fmla="*/ 443460 w 4451945"/>
              <a:gd name="connsiteY117" fmla="*/ 5294156 h 6191251"/>
              <a:gd name="connsiteX118" fmla="*/ 408018 w 4451945"/>
              <a:gd name="connsiteY118" fmla="*/ 5248158 h 6191251"/>
              <a:gd name="connsiteX119" fmla="*/ 367757 w 4451945"/>
              <a:gd name="connsiteY119" fmla="*/ 5185637 h 6191251"/>
              <a:gd name="connsiteX120" fmla="*/ 345932 w 4451945"/>
              <a:gd name="connsiteY120" fmla="*/ 5154352 h 6191251"/>
              <a:gd name="connsiteX121" fmla="*/ 332819 w 4451945"/>
              <a:gd name="connsiteY121" fmla="*/ 5131383 h 6191251"/>
              <a:gd name="connsiteX122" fmla="*/ 306065 w 4451945"/>
              <a:gd name="connsiteY122" fmla="*/ 5089836 h 6191251"/>
              <a:gd name="connsiteX123" fmla="*/ 267024 w 4451945"/>
              <a:gd name="connsiteY123" fmla="*/ 5016132 h 6191251"/>
              <a:gd name="connsiteX124" fmla="*/ 246035 w 4451945"/>
              <a:gd name="connsiteY124" fmla="*/ 4979369 h 6191251"/>
              <a:gd name="connsiteX125" fmla="*/ 236715 w 4451945"/>
              <a:gd name="connsiteY125" fmla="*/ 4958917 h 6191251"/>
              <a:gd name="connsiteX126" fmla="*/ 217531 w 4451945"/>
              <a:gd name="connsiteY126" fmla="*/ 4922702 h 6191251"/>
              <a:gd name="connsiteX127" fmla="*/ 181118 w 4451945"/>
              <a:gd name="connsiteY127" fmla="*/ 4836913 h 6191251"/>
              <a:gd name="connsiteX128" fmla="*/ 161984 w 4451945"/>
              <a:gd name="connsiteY128" fmla="*/ 4794925 h 6191251"/>
              <a:gd name="connsiteX129" fmla="*/ 155951 w 4451945"/>
              <a:gd name="connsiteY129" fmla="*/ 4777618 h 6191251"/>
              <a:gd name="connsiteX130" fmla="*/ 143173 w 4451945"/>
              <a:gd name="connsiteY130" fmla="*/ 4747515 h 6191251"/>
              <a:gd name="connsiteX131" fmla="*/ 110871 w 4451945"/>
              <a:gd name="connsiteY131" fmla="*/ 4648314 h 6191251"/>
              <a:gd name="connsiteX132" fmla="*/ 94705 w 4451945"/>
              <a:gd name="connsiteY132" fmla="*/ 4601944 h 6191251"/>
              <a:gd name="connsiteX133" fmla="*/ 91343 w 4451945"/>
              <a:gd name="connsiteY133" fmla="*/ 4588341 h 6191251"/>
              <a:gd name="connsiteX134" fmla="*/ 83753 w 4451945"/>
              <a:gd name="connsiteY134" fmla="*/ 4565031 h 6191251"/>
              <a:gd name="connsiteX135" fmla="*/ 57100 w 4451945"/>
              <a:gd name="connsiteY135" fmla="*/ 4449814 h 6191251"/>
              <a:gd name="connsiteX136" fmla="*/ 45118 w 4451945"/>
              <a:gd name="connsiteY136" fmla="*/ 4401343 h 6191251"/>
              <a:gd name="connsiteX137" fmla="*/ 43715 w 4451945"/>
              <a:gd name="connsiteY137" fmla="*/ 4391954 h 6191251"/>
              <a:gd name="connsiteX138" fmla="*/ 40028 w 4451945"/>
              <a:gd name="connsiteY138" fmla="*/ 4376013 h 6191251"/>
              <a:gd name="connsiteX139" fmla="*/ 20623 w 4451945"/>
              <a:gd name="connsiteY139" fmla="*/ 4237405 h 6191251"/>
              <a:gd name="connsiteX140" fmla="*/ 14144 w 4451945"/>
              <a:gd name="connsiteY140" fmla="*/ 4194048 h 6191251"/>
              <a:gd name="connsiteX141" fmla="*/ 13913 w 4451945"/>
              <a:gd name="connsiteY141" fmla="*/ 4189483 h 6191251"/>
              <a:gd name="connsiteX142" fmla="*/ 12755 w 4451945"/>
              <a:gd name="connsiteY142" fmla="*/ 4181217 h 6191251"/>
              <a:gd name="connsiteX143" fmla="*/ 8205 w 4451945"/>
              <a:gd name="connsiteY143" fmla="*/ 4085083 h 6191251"/>
              <a:gd name="connsiteX144" fmla="*/ 2656 w 4451945"/>
              <a:gd name="connsiteY144" fmla="*/ 4085083 h 6191251"/>
              <a:gd name="connsiteX145" fmla="*/ 2656 w 4451945"/>
              <a:gd name="connsiteY145" fmla="*/ 3996451 h 6191251"/>
              <a:gd name="connsiteX146" fmla="*/ 2656 w 4451945"/>
              <a:gd name="connsiteY146" fmla="*/ 3967921 h 6191251"/>
              <a:gd name="connsiteX147" fmla="*/ 2656 w 4451945"/>
              <a:gd name="connsiteY147" fmla="*/ 3967256 h 6191251"/>
              <a:gd name="connsiteX148" fmla="*/ 2656 w 4451945"/>
              <a:gd name="connsiteY148" fmla="*/ 3967255 h 6191251"/>
              <a:gd name="connsiteX149" fmla="*/ 0 w 4451945"/>
              <a:gd name="connsiteY149" fmla="*/ 3967255 h 6191251"/>
              <a:gd name="connsiteX150" fmla="*/ 0 w 4451945"/>
              <a:gd name="connsiteY150" fmla="*/ 3541417 h 6191251"/>
              <a:gd name="connsiteX151" fmla="*/ 0 w 4451945"/>
              <a:gd name="connsiteY151" fmla="*/ 2649834 h 6191251"/>
              <a:gd name="connsiteX152" fmla="*/ 0 w 4451945"/>
              <a:gd name="connsiteY152" fmla="*/ 2223995 h 6191251"/>
              <a:gd name="connsiteX153" fmla="*/ 0 w 4451945"/>
              <a:gd name="connsiteY153" fmla="*/ 2106169 h 6191251"/>
              <a:gd name="connsiteX154" fmla="*/ 2630 w 4451945"/>
              <a:gd name="connsiteY154" fmla="*/ 2106169 h 6191251"/>
              <a:gd name="connsiteX155" fmla="*/ 2630 w 4451945"/>
              <a:gd name="connsiteY155" fmla="*/ 1 h 6191251"/>
              <a:gd name="connsiteX156" fmla="*/ 2224628 w 4451945"/>
              <a:gd name="connsiteY156" fmla="*/ 1 h 6191251"/>
              <a:gd name="connsiteX157" fmla="*/ 2225938 w 4451945"/>
              <a:gd name="connsiteY157" fmla="*/ 1 h 619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4451945" h="6191251">
                <a:moveTo>
                  <a:pt x="2225960" y="0"/>
                </a:moveTo>
                <a:lnTo>
                  <a:pt x="2225981" y="1"/>
                </a:lnTo>
                <a:lnTo>
                  <a:pt x="2330410" y="1"/>
                </a:lnTo>
                <a:lnTo>
                  <a:pt x="2330410" y="5009"/>
                </a:lnTo>
                <a:lnTo>
                  <a:pt x="2438050" y="10106"/>
                </a:lnTo>
                <a:lnTo>
                  <a:pt x="2444580" y="11041"/>
                </a:lnTo>
                <a:lnTo>
                  <a:pt x="2453282" y="11479"/>
                </a:lnTo>
                <a:cubicBezTo>
                  <a:pt x="2584664" y="24822"/>
                  <a:pt x="2712664" y="49604"/>
                  <a:pt x="2836272" y="84814"/>
                </a:cubicBezTo>
                <a:lnTo>
                  <a:pt x="2845282" y="87808"/>
                </a:lnTo>
                <a:lnTo>
                  <a:pt x="2846835" y="88183"/>
                </a:lnTo>
                <a:lnTo>
                  <a:pt x="2862293" y="93466"/>
                </a:lnTo>
                <a:lnTo>
                  <a:pt x="3018261" y="145321"/>
                </a:lnTo>
                <a:lnTo>
                  <a:pt x="3034270" y="152232"/>
                </a:lnTo>
                <a:lnTo>
                  <a:pt x="3040354" y="154311"/>
                </a:lnTo>
                <a:lnTo>
                  <a:pt x="3073246" y="169059"/>
                </a:lnTo>
                <a:lnTo>
                  <a:pt x="3192900" y="220711"/>
                </a:lnTo>
                <a:lnTo>
                  <a:pt x="3215233" y="232715"/>
                </a:lnTo>
                <a:lnTo>
                  <a:pt x="3225396" y="237271"/>
                </a:lnTo>
                <a:lnTo>
                  <a:pt x="3261085" y="257362"/>
                </a:lnTo>
                <a:lnTo>
                  <a:pt x="3359433" y="310226"/>
                </a:lnTo>
                <a:lnTo>
                  <a:pt x="3387305" y="328413"/>
                </a:lnTo>
                <a:lnTo>
                  <a:pt x="3401038" y="336142"/>
                </a:lnTo>
                <a:lnTo>
                  <a:pt x="3435022" y="359548"/>
                </a:lnTo>
                <a:lnTo>
                  <a:pt x="3517099" y="413105"/>
                </a:lnTo>
                <a:lnTo>
                  <a:pt x="3549622" y="438475"/>
                </a:lnTo>
                <a:lnTo>
                  <a:pt x="3566359" y="450001"/>
                </a:lnTo>
                <a:lnTo>
                  <a:pt x="3596837" y="475307"/>
                </a:lnTo>
                <a:lnTo>
                  <a:pt x="3665142" y="528589"/>
                </a:lnTo>
                <a:lnTo>
                  <a:pt x="3701322" y="562056"/>
                </a:lnTo>
                <a:lnTo>
                  <a:pt x="3720439" y="577928"/>
                </a:lnTo>
                <a:lnTo>
                  <a:pt x="3746661" y="603995"/>
                </a:lnTo>
                <a:lnTo>
                  <a:pt x="3802799" y="655921"/>
                </a:lnTo>
                <a:lnTo>
                  <a:pt x="3841548" y="698318"/>
                </a:lnTo>
                <a:lnTo>
                  <a:pt x="3862356" y="719001"/>
                </a:lnTo>
                <a:lnTo>
                  <a:pt x="3884088" y="744860"/>
                </a:lnTo>
                <a:lnTo>
                  <a:pt x="3929313" y="794342"/>
                </a:lnTo>
                <a:lnTo>
                  <a:pt x="3969450" y="846435"/>
                </a:lnTo>
                <a:lnTo>
                  <a:pt x="3991188" y="872298"/>
                </a:lnTo>
                <a:lnTo>
                  <a:pt x="4008485" y="897096"/>
                </a:lnTo>
                <a:lnTo>
                  <a:pt x="4043928" y="943093"/>
                </a:lnTo>
                <a:lnTo>
                  <a:pt x="4084188" y="1005614"/>
                </a:lnTo>
                <a:lnTo>
                  <a:pt x="4106012" y="1036899"/>
                </a:lnTo>
                <a:lnTo>
                  <a:pt x="4119126" y="1059869"/>
                </a:lnTo>
                <a:lnTo>
                  <a:pt x="4145880" y="1101415"/>
                </a:lnTo>
                <a:lnTo>
                  <a:pt x="4184921" y="1175119"/>
                </a:lnTo>
                <a:lnTo>
                  <a:pt x="4205911" y="1211882"/>
                </a:lnTo>
                <a:lnTo>
                  <a:pt x="4215230" y="1232334"/>
                </a:lnTo>
                <a:lnTo>
                  <a:pt x="4234415" y="1268548"/>
                </a:lnTo>
                <a:lnTo>
                  <a:pt x="4270827" y="1354338"/>
                </a:lnTo>
                <a:lnTo>
                  <a:pt x="4289961" y="1396326"/>
                </a:lnTo>
                <a:lnTo>
                  <a:pt x="4295995" y="1413634"/>
                </a:lnTo>
                <a:lnTo>
                  <a:pt x="4308772" y="1443737"/>
                </a:lnTo>
                <a:lnTo>
                  <a:pt x="4341074" y="1542938"/>
                </a:lnTo>
                <a:lnTo>
                  <a:pt x="4357240" y="1589308"/>
                </a:lnTo>
                <a:lnTo>
                  <a:pt x="4360602" y="1602910"/>
                </a:lnTo>
                <a:lnTo>
                  <a:pt x="4368193" y="1626219"/>
                </a:lnTo>
                <a:lnTo>
                  <a:pt x="4394846" y="1741438"/>
                </a:lnTo>
                <a:lnTo>
                  <a:pt x="4406827" y="1789908"/>
                </a:lnTo>
                <a:lnTo>
                  <a:pt x="4408230" y="1799297"/>
                </a:lnTo>
                <a:lnTo>
                  <a:pt x="4411918" y="1815238"/>
                </a:lnTo>
                <a:lnTo>
                  <a:pt x="4431323" y="1953846"/>
                </a:lnTo>
                <a:lnTo>
                  <a:pt x="4437802" y="1997203"/>
                </a:lnTo>
                <a:lnTo>
                  <a:pt x="4438032" y="2001767"/>
                </a:lnTo>
                <a:lnTo>
                  <a:pt x="4439190" y="2010034"/>
                </a:lnTo>
                <a:lnTo>
                  <a:pt x="4443741" y="2106169"/>
                </a:lnTo>
                <a:lnTo>
                  <a:pt x="4449289" y="2106169"/>
                </a:lnTo>
                <a:lnTo>
                  <a:pt x="4449289" y="2194799"/>
                </a:lnTo>
                <a:lnTo>
                  <a:pt x="4449289" y="2223329"/>
                </a:lnTo>
                <a:lnTo>
                  <a:pt x="4449289" y="2223995"/>
                </a:lnTo>
                <a:lnTo>
                  <a:pt x="4449289" y="2223996"/>
                </a:lnTo>
                <a:lnTo>
                  <a:pt x="4451945" y="2223996"/>
                </a:lnTo>
                <a:lnTo>
                  <a:pt x="4451945" y="2649834"/>
                </a:lnTo>
                <a:lnTo>
                  <a:pt x="4451945" y="3541417"/>
                </a:lnTo>
                <a:lnTo>
                  <a:pt x="4451945" y="3967256"/>
                </a:lnTo>
                <a:lnTo>
                  <a:pt x="4451945" y="4085083"/>
                </a:lnTo>
                <a:lnTo>
                  <a:pt x="4449314" y="4085083"/>
                </a:lnTo>
                <a:lnTo>
                  <a:pt x="4449314" y="6191250"/>
                </a:lnTo>
                <a:lnTo>
                  <a:pt x="2227318" y="6191250"/>
                </a:lnTo>
                <a:lnTo>
                  <a:pt x="2226007" y="6191250"/>
                </a:lnTo>
                <a:lnTo>
                  <a:pt x="2225986" y="6191251"/>
                </a:lnTo>
                <a:lnTo>
                  <a:pt x="2225965" y="6191250"/>
                </a:lnTo>
                <a:lnTo>
                  <a:pt x="2121536" y="6191250"/>
                </a:lnTo>
                <a:lnTo>
                  <a:pt x="2121536" y="6186242"/>
                </a:lnTo>
                <a:lnTo>
                  <a:pt x="2013895" y="6181144"/>
                </a:lnTo>
                <a:lnTo>
                  <a:pt x="2007364" y="6180211"/>
                </a:lnTo>
                <a:lnTo>
                  <a:pt x="1998664" y="6179772"/>
                </a:lnTo>
                <a:cubicBezTo>
                  <a:pt x="1867282" y="6166428"/>
                  <a:pt x="1739282" y="6141647"/>
                  <a:pt x="1615674" y="6106438"/>
                </a:cubicBezTo>
                <a:lnTo>
                  <a:pt x="1606663" y="6103442"/>
                </a:lnTo>
                <a:lnTo>
                  <a:pt x="1605110" y="6103069"/>
                </a:lnTo>
                <a:lnTo>
                  <a:pt x="1589652" y="6097785"/>
                </a:lnTo>
                <a:lnTo>
                  <a:pt x="1433684" y="6045931"/>
                </a:lnTo>
                <a:lnTo>
                  <a:pt x="1417676" y="6039019"/>
                </a:lnTo>
                <a:lnTo>
                  <a:pt x="1411591" y="6036940"/>
                </a:lnTo>
                <a:lnTo>
                  <a:pt x="1378699" y="6022193"/>
                </a:lnTo>
                <a:lnTo>
                  <a:pt x="1259044" y="5970541"/>
                </a:lnTo>
                <a:lnTo>
                  <a:pt x="1236712" y="5958537"/>
                </a:lnTo>
                <a:lnTo>
                  <a:pt x="1226549" y="5953980"/>
                </a:lnTo>
                <a:lnTo>
                  <a:pt x="1190860" y="5933890"/>
                </a:lnTo>
                <a:lnTo>
                  <a:pt x="1092512" y="5881025"/>
                </a:lnTo>
                <a:lnTo>
                  <a:pt x="1064640" y="5862838"/>
                </a:lnTo>
                <a:lnTo>
                  <a:pt x="1050907" y="5855110"/>
                </a:lnTo>
                <a:lnTo>
                  <a:pt x="1016923" y="5831703"/>
                </a:lnTo>
                <a:lnTo>
                  <a:pt x="934846" y="5778147"/>
                </a:lnTo>
                <a:lnTo>
                  <a:pt x="902324" y="5752777"/>
                </a:lnTo>
                <a:lnTo>
                  <a:pt x="885586" y="5741251"/>
                </a:lnTo>
                <a:lnTo>
                  <a:pt x="855108" y="5715945"/>
                </a:lnTo>
                <a:lnTo>
                  <a:pt x="786804" y="5662661"/>
                </a:lnTo>
                <a:lnTo>
                  <a:pt x="750624" y="5629195"/>
                </a:lnTo>
                <a:lnTo>
                  <a:pt x="731506" y="5613323"/>
                </a:lnTo>
                <a:lnTo>
                  <a:pt x="705284" y="5587257"/>
                </a:lnTo>
                <a:lnTo>
                  <a:pt x="649146" y="5535330"/>
                </a:lnTo>
                <a:lnTo>
                  <a:pt x="610397" y="5492934"/>
                </a:lnTo>
                <a:lnTo>
                  <a:pt x="589589" y="5472250"/>
                </a:lnTo>
                <a:lnTo>
                  <a:pt x="567858" y="5446391"/>
                </a:lnTo>
                <a:lnTo>
                  <a:pt x="522632" y="5396909"/>
                </a:lnTo>
                <a:lnTo>
                  <a:pt x="482495" y="5344816"/>
                </a:lnTo>
                <a:lnTo>
                  <a:pt x="460758" y="5318953"/>
                </a:lnTo>
                <a:lnTo>
                  <a:pt x="443460" y="5294156"/>
                </a:lnTo>
                <a:lnTo>
                  <a:pt x="408018" y="5248158"/>
                </a:lnTo>
                <a:lnTo>
                  <a:pt x="367757" y="5185637"/>
                </a:lnTo>
                <a:lnTo>
                  <a:pt x="345932" y="5154352"/>
                </a:lnTo>
                <a:lnTo>
                  <a:pt x="332819" y="5131383"/>
                </a:lnTo>
                <a:lnTo>
                  <a:pt x="306065" y="5089836"/>
                </a:lnTo>
                <a:lnTo>
                  <a:pt x="267024" y="5016132"/>
                </a:lnTo>
                <a:lnTo>
                  <a:pt x="246035" y="4979369"/>
                </a:lnTo>
                <a:lnTo>
                  <a:pt x="236715" y="4958917"/>
                </a:lnTo>
                <a:lnTo>
                  <a:pt x="217531" y="4922702"/>
                </a:lnTo>
                <a:lnTo>
                  <a:pt x="181118" y="4836913"/>
                </a:lnTo>
                <a:lnTo>
                  <a:pt x="161984" y="4794925"/>
                </a:lnTo>
                <a:lnTo>
                  <a:pt x="155951" y="4777618"/>
                </a:lnTo>
                <a:lnTo>
                  <a:pt x="143173" y="4747515"/>
                </a:lnTo>
                <a:lnTo>
                  <a:pt x="110871" y="4648314"/>
                </a:lnTo>
                <a:lnTo>
                  <a:pt x="94705" y="4601944"/>
                </a:lnTo>
                <a:lnTo>
                  <a:pt x="91343" y="4588341"/>
                </a:lnTo>
                <a:lnTo>
                  <a:pt x="83753" y="4565031"/>
                </a:lnTo>
                <a:lnTo>
                  <a:pt x="57100" y="4449814"/>
                </a:lnTo>
                <a:lnTo>
                  <a:pt x="45118" y="4401343"/>
                </a:lnTo>
                <a:lnTo>
                  <a:pt x="43715" y="4391954"/>
                </a:lnTo>
                <a:lnTo>
                  <a:pt x="40028" y="4376013"/>
                </a:lnTo>
                <a:lnTo>
                  <a:pt x="20623" y="4237405"/>
                </a:lnTo>
                <a:lnTo>
                  <a:pt x="14144" y="4194048"/>
                </a:lnTo>
                <a:lnTo>
                  <a:pt x="13913" y="4189483"/>
                </a:lnTo>
                <a:lnTo>
                  <a:pt x="12755" y="4181217"/>
                </a:lnTo>
                <a:lnTo>
                  <a:pt x="8205" y="4085083"/>
                </a:lnTo>
                <a:lnTo>
                  <a:pt x="2656" y="4085083"/>
                </a:lnTo>
                <a:lnTo>
                  <a:pt x="2656" y="3996451"/>
                </a:lnTo>
                <a:lnTo>
                  <a:pt x="2656" y="3967921"/>
                </a:lnTo>
                <a:lnTo>
                  <a:pt x="2656" y="3967256"/>
                </a:lnTo>
                <a:lnTo>
                  <a:pt x="2656" y="3967255"/>
                </a:lnTo>
                <a:lnTo>
                  <a:pt x="0" y="3967255"/>
                </a:lnTo>
                <a:lnTo>
                  <a:pt x="0" y="3541417"/>
                </a:lnTo>
                <a:lnTo>
                  <a:pt x="0" y="2649834"/>
                </a:lnTo>
                <a:lnTo>
                  <a:pt x="0" y="2223995"/>
                </a:lnTo>
                <a:lnTo>
                  <a:pt x="0" y="2106169"/>
                </a:lnTo>
                <a:lnTo>
                  <a:pt x="2630" y="2106169"/>
                </a:lnTo>
                <a:lnTo>
                  <a:pt x="2630" y="1"/>
                </a:lnTo>
                <a:lnTo>
                  <a:pt x="2224628" y="1"/>
                </a:lnTo>
                <a:lnTo>
                  <a:pt x="2225938" y="1"/>
                </a:lnTo>
                <a:close/>
              </a:path>
            </a:pathLst>
          </a:custGeom>
        </p:spPr>
        <p:txBody>
          <a:bodyPr wrap="square">
            <a:noAutofit/>
          </a:bodyPr>
          <a:lstStyle/>
          <a:p>
            <a:endParaRPr lang="en-US"/>
          </a:p>
        </p:txBody>
      </p:sp>
    </p:spTree>
    <p:extLst>
      <p:ext uri="{BB962C8B-B14F-4D97-AF65-F5344CB8AC3E}">
        <p14:creationId xmlns:p14="http://schemas.microsoft.com/office/powerpoint/2010/main" val="281328569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60D88FC9-71F7-4AC8-AAC5-506B7E20D113}"/>
              </a:ext>
            </a:extLst>
          </p:cNvPr>
          <p:cNvSpPr>
            <a:spLocks noGrp="1"/>
          </p:cNvSpPr>
          <p:nvPr>
            <p:ph type="pic" sz="quarter" idx="11"/>
          </p:nvPr>
        </p:nvSpPr>
        <p:spPr>
          <a:xfrm>
            <a:off x="361950" y="1706346"/>
            <a:ext cx="2978926" cy="3445307"/>
          </a:xfrm>
          <a:custGeom>
            <a:avLst/>
            <a:gdLst>
              <a:gd name="connsiteX0" fmla="*/ 1717881 w 3435742"/>
              <a:gd name="connsiteY0" fmla="*/ 0 h 3973642"/>
              <a:gd name="connsiteX1" fmla="*/ 1717898 w 3435742"/>
              <a:gd name="connsiteY1" fmla="*/ 1 h 3973642"/>
              <a:gd name="connsiteX2" fmla="*/ 1718909 w 3435742"/>
              <a:gd name="connsiteY2" fmla="*/ 1 h 3973642"/>
              <a:gd name="connsiteX3" fmla="*/ 3433713 w 3435742"/>
              <a:gd name="connsiteY3" fmla="*/ 1 h 3973642"/>
              <a:gd name="connsiteX4" fmla="*/ 3433713 w 3435742"/>
              <a:gd name="connsiteY4" fmla="*/ 1625413 h 3973642"/>
              <a:gd name="connsiteX5" fmla="*/ 3435742 w 3435742"/>
              <a:gd name="connsiteY5" fmla="*/ 1625413 h 3973642"/>
              <a:gd name="connsiteX6" fmla="*/ 3435742 w 3435742"/>
              <a:gd name="connsiteY6" fmla="*/ 1716345 h 3973642"/>
              <a:gd name="connsiteX7" fmla="*/ 3435742 w 3435742"/>
              <a:gd name="connsiteY7" fmla="*/ 1742298 h 3973642"/>
              <a:gd name="connsiteX8" fmla="*/ 3435742 w 3435742"/>
              <a:gd name="connsiteY8" fmla="*/ 1928661 h 3973642"/>
              <a:gd name="connsiteX9" fmla="*/ 3435742 w 3435742"/>
              <a:gd name="connsiteY9" fmla="*/ 2033495 h 3973642"/>
              <a:gd name="connsiteX10" fmla="*/ 3435742 w 3435742"/>
              <a:gd name="connsiteY10" fmla="*/ 2257297 h 3973642"/>
              <a:gd name="connsiteX11" fmla="*/ 3433692 w 3435742"/>
              <a:gd name="connsiteY11" fmla="*/ 2257297 h 3973642"/>
              <a:gd name="connsiteX12" fmla="*/ 3433692 w 3435742"/>
              <a:gd name="connsiteY12" fmla="*/ 2257298 h 3973642"/>
              <a:gd name="connsiteX13" fmla="*/ 3433692 w 3435742"/>
              <a:gd name="connsiteY13" fmla="*/ 2257811 h 3973642"/>
              <a:gd name="connsiteX14" fmla="*/ 3433692 w 3435742"/>
              <a:gd name="connsiteY14" fmla="*/ 2279828 h 3973642"/>
              <a:gd name="connsiteX15" fmla="*/ 3433692 w 3435742"/>
              <a:gd name="connsiteY15" fmla="*/ 2348229 h 3973642"/>
              <a:gd name="connsiteX16" fmla="*/ 3429411 w 3435742"/>
              <a:gd name="connsiteY16" fmla="*/ 2348229 h 3973642"/>
              <a:gd name="connsiteX17" fmla="*/ 3425898 w 3435742"/>
              <a:gd name="connsiteY17" fmla="*/ 2422420 h 3973642"/>
              <a:gd name="connsiteX18" fmla="*/ 3425005 w 3435742"/>
              <a:gd name="connsiteY18" fmla="*/ 2428799 h 3973642"/>
              <a:gd name="connsiteX19" fmla="*/ 3424827 w 3435742"/>
              <a:gd name="connsiteY19" fmla="*/ 2432322 h 3973642"/>
              <a:gd name="connsiteX20" fmla="*/ 3419827 w 3435742"/>
              <a:gd name="connsiteY20" fmla="*/ 2465782 h 3973642"/>
              <a:gd name="connsiteX21" fmla="*/ 3404851 w 3435742"/>
              <a:gd name="connsiteY21" fmla="*/ 2572751 h 3973642"/>
              <a:gd name="connsiteX22" fmla="*/ 3402005 w 3435742"/>
              <a:gd name="connsiteY22" fmla="*/ 2585054 h 3973642"/>
              <a:gd name="connsiteX23" fmla="*/ 3400923 w 3435742"/>
              <a:gd name="connsiteY23" fmla="*/ 2592300 h 3973642"/>
              <a:gd name="connsiteX24" fmla="*/ 3391676 w 3435742"/>
              <a:gd name="connsiteY24" fmla="*/ 2629706 h 3973642"/>
              <a:gd name="connsiteX25" fmla="*/ 3371107 w 3435742"/>
              <a:gd name="connsiteY25" fmla="*/ 2718624 h 3973642"/>
              <a:gd name="connsiteX26" fmla="*/ 3365249 w 3435742"/>
              <a:gd name="connsiteY26" fmla="*/ 2736614 h 3973642"/>
              <a:gd name="connsiteX27" fmla="*/ 3362654 w 3435742"/>
              <a:gd name="connsiteY27" fmla="*/ 2747111 h 3973642"/>
              <a:gd name="connsiteX28" fmla="*/ 3350179 w 3435742"/>
              <a:gd name="connsiteY28" fmla="*/ 2782897 h 3973642"/>
              <a:gd name="connsiteX29" fmla="*/ 3325250 w 3435742"/>
              <a:gd name="connsiteY29" fmla="*/ 2859454 h 3973642"/>
              <a:gd name="connsiteX30" fmla="*/ 3315389 w 3435742"/>
              <a:gd name="connsiteY30" fmla="*/ 2882686 h 3973642"/>
              <a:gd name="connsiteX31" fmla="*/ 3310733 w 3435742"/>
              <a:gd name="connsiteY31" fmla="*/ 2896042 h 3973642"/>
              <a:gd name="connsiteX32" fmla="*/ 3295966 w 3435742"/>
              <a:gd name="connsiteY32" fmla="*/ 2928446 h 3973642"/>
              <a:gd name="connsiteX33" fmla="*/ 3267865 w 3435742"/>
              <a:gd name="connsiteY33" fmla="*/ 2994653 h 3973642"/>
              <a:gd name="connsiteX34" fmla="*/ 3253060 w 3435742"/>
              <a:gd name="connsiteY34" fmla="*/ 3022602 h 3973642"/>
              <a:gd name="connsiteX35" fmla="*/ 3245868 w 3435742"/>
              <a:gd name="connsiteY35" fmla="*/ 3038385 h 3973642"/>
              <a:gd name="connsiteX36" fmla="*/ 3229669 w 3435742"/>
              <a:gd name="connsiteY36" fmla="*/ 3066757 h 3973642"/>
              <a:gd name="connsiteX37" fmla="*/ 3199540 w 3435742"/>
              <a:gd name="connsiteY37" fmla="*/ 3123637 h 3973642"/>
              <a:gd name="connsiteX38" fmla="*/ 3178893 w 3435742"/>
              <a:gd name="connsiteY38" fmla="*/ 3155700 h 3973642"/>
              <a:gd name="connsiteX39" fmla="*/ 3168773 w 3435742"/>
              <a:gd name="connsiteY39" fmla="*/ 3173426 h 3973642"/>
              <a:gd name="connsiteX40" fmla="*/ 3151929 w 3435742"/>
              <a:gd name="connsiteY40" fmla="*/ 3197570 h 3973642"/>
              <a:gd name="connsiteX41" fmla="*/ 3120859 w 3435742"/>
              <a:gd name="connsiteY41" fmla="*/ 3245820 h 3973642"/>
              <a:gd name="connsiteX42" fmla="*/ 3093506 w 3435742"/>
              <a:gd name="connsiteY42" fmla="*/ 3281318 h 3973642"/>
              <a:gd name="connsiteX43" fmla="*/ 3080157 w 3435742"/>
              <a:gd name="connsiteY43" fmla="*/ 3300456 h 3973642"/>
              <a:gd name="connsiteX44" fmla="*/ 3063382 w 3435742"/>
              <a:gd name="connsiteY44" fmla="*/ 3320415 h 3973642"/>
              <a:gd name="connsiteX45" fmla="*/ 3032406 w 3435742"/>
              <a:gd name="connsiteY45" fmla="*/ 3360617 h 3973642"/>
              <a:gd name="connsiteX46" fmla="*/ 2997504 w 3435742"/>
              <a:gd name="connsiteY46" fmla="*/ 3398805 h 3973642"/>
              <a:gd name="connsiteX47" fmla="*/ 2980733 w 3435742"/>
              <a:gd name="connsiteY47" fmla="*/ 3418761 h 3973642"/>
              <a:gd name="connsiteX48" fmla="*/ 2964674 w 3435742"/>
              <a:gd name="connsiteY48" fmla="*/ 3434723 h 3973642"/>
              <a:gd name="connsiteX49" fmla="*/ 2934770 w 3435742"/>
              <a:gd name="connsiteY49" fmla="*/ 3467442 h 3973642"/>
              <a:gd name="connsiteX50" fmla="*/ 2891447 w 3435742"/>
              <a:gd name="connsiteY50" fmla="*/ 3507516 h 3973642"/>
              <a:gd name="connsiteX51" fmla="*/ 2871210 w 3435742"/>
              <a:gd name="connsiteY51" fmla="*/ 3527632 h 3973642"/>
              <a:gd name="connsiteX52" fmla="*/ 2856456 w 3435742"/>
              <a:gd name="connsiteY52" fmla="*/ 3539881 h 3973642"/>
              <a:gd name="connsiteX53" fmla="*/ 2828534 w 3435742"/>
              <a:gd name="connsiteY53" fmla="*/ 3565708 h 3973642"/>
              <a:gd name="connsiteX54" fmla="*/ 2775821 w 3435742"/>
              <a:gd name="connsiteY54" fmla="*/ 3606830 h 3973642"/>
              <a:gd name="connsiteX55" fmla="*/ 2752301 w 3435742"/>
              <a:gd name="connsiteY55" fmla="*/ 3626359 h 3973642"/>
              <a:gd name="connsiteX56" fmla="*/ 2739383 w 3435742"/>
              <a:gd name="connsiteY56" fmla="*/ 3635254 h 3973642"/>
              <a:gd name="connsiteX57" fmla="*/ 2714285 w 3435742"/>
              <a:gd name="connsiteY57" fmla="*/ 3654833 h 3973642"/>
              <a:gd name="connsiteX58" fmla="*/ 2650942 w 3435742"/>
              <a:gd name="connsiteY58" fmla="*/ 3696165 h 3973642"/>
              <a:gd name="connsiteX59" fmla="*/ 2624716 w 3435742"/>
              <a:gd name="connsiteY59" fmla="*/ 3714229 h 3973642"/>
              <a:gd name="connsiteX60" fmla="*/ 2614117 w 3435742"/>
              <a:gd name="connsiteY60" fmla="*/ 3720193 h 3973642"/>
              <a:gd name="connsiteX61" fmla="*/ 2592607 w 3435742"/>
              <a:gd name="connsiteY61" fmla="*/ 3734229 h 3973642"/>
              <a:gd name="connsiteX62" fmla="*/ 2516709 w 3435742"/>
              <a:gd name="connsiteY62" fmla="*/ 3775026 h 3973642"/>
              <a:gd name="connsiteX63" fmla="*/ 2489165 w 3435742"/>
              <a:gd name="connsiteY63" fmla="*/ 3790531 h 3973642"/>
              <a:gd name="connsiteX64" fmla="*/ 2481322 w 3435742"/>
              <a:gd name="connsiteY64" fmla="*/ 3794047 h 3973642"/>
              <a:gd name="connsiteX65" fmla="*/ 2464088 w 3435742"/>
              <a:gd name="connsiteY65" fmla="*/ 3803311 h 3973642"/>
              <a:gd name="connsiteX66" fmla="*/ 2371745 w 3435742"/>
              <a:gd name="connsiteY66" fmla="*/ 3843173 h 3973642"/>
              <a:gd name="connsiteX67" fmla="*/ 2346361 w 3435742"/>
              <a:gd name="connsiteY67" fmla="*/ 3854554 h 3973642"/>
              <a:gd name="connsiteX68" fmla="*/ 2341666 w 3435742"/>
              <a:gd name="connsiteY68" fmla="*/ 3856159 h 3973642"/>
              <a:gd name="connsiteX69" fmla="*/ 2329311 w 3435742"/>
              <a:gd name="connsiteY69" fmla="*/ 3861493 h 3973642"/>
              <a:gd name="connsiteX70" fmla="*/ 2208945 w 3435742"/>
              <a:gd name="connsiteY70" fmla="*/ 3901511 h 3973642"/>
              <a:gd name="connsiteX71" fmla="*/ 2197015 w 3435742"/>
              <a:gd name="connsiteY71" fmla="*/ 3905588 h 3973642"/>
              <a:gd name="connsiteX72" fmla="*/ 2195817 w 3435742"/>
              <a:gd name="connsiteY72" fmla="*/ 3905877 h 3973642"/>
              <a:gd name="connsiteX73" fmla="*/ 2188863 w 3435742"/>
              <a:gd name="connsiteY73" fmla="*/ 3908188 h 3973642"/>
              <a:gd name="connsiteX74" fmla="*/ 1893294 w 3435742"/>
              <a:gd name="connsiteY74" fmla="*/ 3964784 h 3973642"/>
              <a:gd name="connsiteX75" fmla="*/ 1886580 w 3435742"/>
              <a:gd name="connsiteY75" fmla="*/ 3965122 h 3973642"/>
              <a:gd name="connsiteX76" fmla="*/ 1881540 w 3435742"/>
              <a:gd name="connsiteY76" fmla="*/ 3965842 h 3973642"/>
              <a:gd name="connsiteX77" fmla="*/ 1798469 w 3435742"/>
              <a:gd name="connsiteY77" fmla="*/ 3969777 h 3973642"/>
              <a:gd name="connsiteX78" fmla="*/ 1798469 w 3435742"/>
              <a:gd name="connsiteY78" fmla="*/ 3973641 h 3973642"/>
              <a:gd name="connsiteX79" fmla="*/ 1717877 w 3435742"/>
              <a:gd name="connsiteY79" fmla="*/ 3973641 h 3973642"/>
              <a:gd name="connsiteX80" fmla="*/ 1717860 w 3435742"/>
              <a:gd name="connsiteY80" fmla="*/ 3973642 h 3973642"/>
              <a:gd name="connsiteX81" fmla="*/ 1717844 w 3435742"/>
              <a:gd name="connsiteY81" fmla="*/ 3973641 h 3973642"/>
              <a:gd name="connsiteX82" fmla="*/ 1716833 w 3435742"/>
              <a:gd name="connsiteY82" fmla="*/ 3973641 h 3973642"/>
              <a:gd name="connsiteX83" fmla="*/ 2030 w 3435742"/>
              <a:gd name="connsiteY83" fmla="*/ 3973641 h 3973642"/>
              <a:gd name="connsiteX84" fmla="*/ 2030 w 3435742"/>
              <a:gd name="connsiteY84" fmla="*/ 2348229 h 3973642"/>
              <a:gd name="connsiteX85" fmla="*/ 0 w 3435742"/>
              <a:gd name="connsiteY85" fmla="*/ 2348229 h 3973642"/>
              <a:gd name="connsiteX86" fmla="*/ 0 w 3435742"/>
              <a:gd name="connsiteY86" fmla="*/ 2257298 h 3973642"/>
              <a:gd name="connsiteX87" fmla="*/ 0 w 3435742"/>
              <a:gd name="connsiteY87" fmla="*/ 2033495 h 3973642"/>
              <a:gd name="connsiteX88" fmla="*/ 0 w 3435742"/>
              <a:gd name="connsiteY88" fmla="*/ 1928661 h 3973642"/>
              <a:gd name="connsiteX89" fmla="*/ 0 w 3435742"/>
              <a:gd name="connsiteY89" fmla="*/ 1742298 h 3973642"/>
              <a:gd name="connsiteX90" fmla="*/ 0 w 3435742"/>
              <a:gd name="connsiteY90" fmla="*/ 1716345 h 3973642"/>
              <a:gd name="connsiteX91" fmla="*/ 2050 w 3435742"/>
              <a:gd name="connsiteY91" fmla="*/ 1716345 h 3973642"/>
              <a:gd name="connsiteX92" fmla="*/ 2050 w 3435742"/>
              <a:gd name="connsiteY92" fmla="*/ 1715831 h 3973642"/>
              <a:gd name="connsiteX93" fmla="*/ 2050 w 3435742"/>
              <a:gd name="connsiteY93" fmla="*/ 1693813 h 3973642"/>
              <a:gd name="connsiteX94" fmla="*/ 2050 w 3435742"/>
              <a:gd name="connsiteY94" fmla="*/ 1625413 h 3973642"/>
              <a:gd name="connsiteX95" fmla="*/ 6332 w 3435742"/>
              <a:gd name="connsiteY95" fmla="*/ 1625413 h 3973642"/>
              <a:gd name="connsiteX96" fmla="*/ 9844 w 3435742"/>
              <a:gd name="connsiteY96" fmla="*/ 1551223 h 3973642"/>
              <a:gd name="connsiteX97" fmla="*/ 10737 w 3435742"/>
              <a:gd name="connsiteY97" fmla="*/ 1544843 h 3973642"/>
              <a:gd name="connsiteX98" fmla="*/ 10915 w 3435742"/>
              <a:gd name="connsiteY98" fmla="*/ 1541320 h 3973642"/>
              <a:gd name="connsiteX99" fmla="*/ 15915 w 3435742"/>
              <a:gd name="connsiteY99" fmla="*/ 1507860 h 3973642"/>
              <a:gd name="connsiteX100" fmla="*/ 30891 w 3435742"/>
              <a:gd name="connsiteY100" fmla="*/ 1400891 h 3973642"/>
              <a:gd name="connsiteX101" fmla="*/ 33737 w 3435742"/>
              <a:gd name="connsiteY101" fmla="*/ 1388588 h 3973642"/>
              <a:gd name="connsiteX102" fmla="*/ 34819 w 3435742"/>
              <a:gd name="connsiteY102" fmla="*/ 1381342 h 3973642"/>
              <a:gd name="connsiteX103" fmla="*/ 44066 w 3435742"/>
              <a:gd name="connsiteY103" fmla="*/ 1343936 h 3973642"/>
              <a:gd name="connsiteX104" fmla="*/ 64635 w 3435742"/>
              <a:gd name="connsiteY104" fmla="*/ 1255017 h 3973642"/>
              <a:gd name="connsiteX105" fmla="*/ 70493 w 3435742"/>
              <a:gd name="connsiteY105" fmla="*/ 1237029 h 3973642"/>
              <a:gd name="connsiteX106" fmla="*/ 73088 w 3435742"/>
              <a:gd name="connsiteY106" fmla="*/ 1226531 h 3973642"/>
              <a:gd name="connsiteX107" fmla="*/ 85564 w 3435742"/>
              <a:gd name="connsiteY107" fmla="*/ 1190746 h 3973642"/>
              <a:gd name="connsiteX108" fmla="*/ 110492 w 3435742"/>
              <a:gd name="connsiteY108" fmla="*/ 1114188 h 3973642"/>
              <a:gd name="connsiteX109" fmla="*/ 120353 w 3435742"/>
              <a:gd name="connsiteY109" fmla="*/ 1090957 h 3973642"/>
              <a:gd name="connsiteX110" fmla="*/ 125010 w 3435742"/>
              <a:gd name="connsiteY110" fmla="*/ 1077600 h 3973642"/>
              <a:gd name="connsiteX111" fmla="*/ 139776 w 3435742"/>
              <a:gd name="connsiteY111" fmla="*/ 1045196 h 3973642"/>
              <a:gd name="connsiteX112" fmla="*/ 167877 w 3435742"/>
              <a:gd name="connsiteY112" fmla="*/ 978988 h 3973642"/>
              <a:gd name="connsiteX113" fmla="*/ 182682 w 3435742"/>
              <a:gd name="connsiteY113" fmla="*/ 951041 h 3973642"/>
              <a:gd name="connsiteX114" fmla="*/ 189874 w 3435742"/>
              <a:gd name="connsiteY114" fmla="*/ 935257 h 3973642"/>
              <a:gd name="connsiteX115" fmla="*/ 206073 w 3435742"/>
              <a:gd name="connsiteY115" fmla="*/ 906886 h 3973642"/>
              <a:gd name="connsiteX116" fmla="*/ 236202 w 3435742"/>
              <a:gd name="connsiteY116" fmla="*/ 850005 h 3973642"/>
              <a:gd name="connsiteX117" fmla="*/ 256849 w 3435742"/>
              <a:gd name="connsiteY117" fmla="*/ 817942 h 3973642"/>
              <a:gd name="connsiteX118" fmla="*/ 266970 w 3435742"/>
              <a:gd name="connsiteY118" fmla="*/ 800216 h 3973642"/>
              <a:gd name="connsiteX119" fmla="*/ 283813 w 3435742"/>
              <a:gd name="connsiteY119" fmla="*/ 776072 h 3973642"/>
              <a:gd name="connsiteX120" fmla="*/ 314883 w 3435742"/>
              <a:gd name="connsiteY120" fmla="*/ 727822 h 3973642"/>
              <a:gd name="connsiteX121" fmla="*/ 342236 w 3435742"/>
              <a:gd name="connsiteY121" fmla="*/ 692324 h 3973642"/>
              <a:gd name="connsiteX122" fmla="*/ 355585 w 3435742"/>
              <a:gd name="connsiteY122" fmla="*/ 673187 h 3973642"/>
              <a:gd name="connsiteX123" fmla="*/ 372360 w 3435742"/>
              <a:gd name="connsiteY123" fmla="*/ 653227 h 3973642"/>
              <a:gd name="connsiteX124" fmla="*/ 403336 w 3435742"/>
              <a:gd name="connsiteY124" fmla="*/ 613025 h 3973642"/>
              <a:gd name="connsiteX125" fmla="*/ 438238 w 3435742"/>
              <a:gd name="connsiteY125" fmla="*/ 574838 h 3973642"/>
              <a:gd name="connsiteX126" fmla="*/ 455009 w 3435742"/>
              <a:gd name="connsiteY126" fmla="*/ 554882 h 3973642"/>
              <a:gd name="connsiteX127" fmla="*/ 471068 w 3435742"/>
              <a:gd name="connsiteY127" fmla="*/ 538919 h 3973642"/>
              <a:gd name="connsiteX128" fmla="*/ 500972 w 3435742"/>
              <a:gd name="connsiteY128" fmla="*/ 506200 h 3973642"/>
              <a:gd name="connsiteX129" fmla="*/ 544295 w 3435742"/>
              <a:gd name="connsiteY129" fmla="*/ 466127 h 3973642"/>
              <a:gd name="connsiteX130" fmla="*/ 564532 w 3435742"/>
              <a:gd name="connsiteY130" fmla="*/ 446010 h 3973642"/>
              <a:gd name="connsiteX131" fmla="*/ 579286 w 3435742"/>
              <a:gd name="connsiteY131" fmla="*/ 433761 h 3973642"/>
              <a:gd name="connsiteX132" fmla="*/ 607207 w 3435742"/>
              <a:gd name="connsiteY132" fmla="*/ 407933 h 3973642"/>
              <a:gd name="connsiteX133" fmla="*/ 659921 w 3435742"/>
              <a:gd name="connsiteY133" fmla="*/ 366813 h 3973642"/>
              <a:gd name="connsiteX134" fmla="*/ 683442 w 3435742"/>
              <a:gd name="connsiteY134" fmla="*/ 347283 h 3973642"/>
              <a:gd name="connsiteX135" fmla="*/ 696358 w 3435742"/>
              <a:gd name="connsiteY135" fmla="*/ 338388 h 3973642"/>
              <a:gd name="connsiteX136" fmla="*/ 721457 w 3435742"/>
              <a:gd name="connsiteY136" fmla="*/ 318809 h 3973642"/>
              <a:gd name="connsiteX137" fmla="*/ 784800 w 3435742"/>
              <a:gd name="connsiteY137" fmla="*/ 277477 h 3973642"/>
              <a:gd name="connsiteX138" fmla="*/ 811027 w 3435742"/>
              <a:gd name="connsiteY138" fmla="*/ 259414 h 3973642"/>
              <a:gd name="connsiteX139" fmla="*/ 821625 w 3435742"/>
              <a:gd name="connsiteY139" fmla="*/ 253449 h 3973642"/>
              <a:gd name="connsiteX140" fmla="*/ 843135 w 3435742"/>
              <a:gd name="connsiteY140" fmla="*/ 239414 h 3973642"/>
              <a:gd name="connsiteX141" fmla="*/ 919033 w 3435742"/>
              <a:gd name="connsiteY141" fmla="*/ 198616 h 3973642"/>
              <a:gd name="connsiteX142" fmla="*/ 946577 w 3435742"/>
              <a:gd name="connsiteY142" fmla="*/ 183112 h 3973642"/>
              <a:gd name="connsiteX143" fmla="*/ 954420 w 3435742"/>
              <a:gd name="connsiteY143" fmla="*/ 179595 h 3973642"/>
              <a:gd name="connsiteX144" fmla="*/ 971655 w 3435742"/>
              <a:gd name="connsiteY144" fmla="*/ 170331 h 3973642"/>
              <a:gd name="connsiteX145" fmla="*/ 1063997 w 3435742"/>
              <a:gd name="connsiteY145" fmla="*/ 130469 h 3973642"/>
              <a:gd name="connsiteX146" fmla="*/ 1089381 w 3435742"/>
              <a:gd name="connsiteY146" fmla="*/ 119088 h 3973642"/>
              <a:gd name="connsiteX147" fmla="*/ 1094076 w 3435742"/>
              <a:gd name="connsiteY147" fmla="*/ 117484 h 3973642"/>
              <a:gd name="connsiteX148" fmla="*/ 1106431 w 3435742"/>
              <a:gd name="connsiteY148" fmla="*/ 112150 h 3973642"/>
              <a:gd name="connsiteX149" fmla="*/ 1226798 w 3435742"/>
              <a:gd name="connsiteY149" fmla="*/ 72132 h 3973642"/>
              <a:gd name="connsiteX150" fmla="*/ 1238727 w 3435742"/>
              <a:gd name="connsiteY150" fmla="*/ 68054 h 3973642"/>
              <a:gd name="connsiteX151" fmla="*/ 1239925 w 3435742"/>
              <a:gd name="connsiteY151" fmla="*/ 67765 h 3973642"/>
              <a:gd name="connsiteX152" fmla="*/ 1246879 w 3435742"/>
              <a:gd name="connsiteY152" fmla="*/ 65454 h 3973642"/>
              <a:gd name="connsiteX153" fmla="*/ 1542447 w 3435742"/>
              <a:gd name="connsiteY153" fmla="*/ 8859 h 3973642"/>
              <a:gd name="connsiteX154" fmla="*/ 1549163 w 3435742"/>
              <a:gd name="connsiteY154" fmla="*/ 8521 h 3973642"/>
              <a:gd name="connsiteX155" fmla="*/ 1554203 w 3435742"/>
              <a:gd name="connsiteY155" fmla="*/ 7799 h 3973642"/>
              <a:gd name="connsiteX156" fmla="*/ 1637273 w 3435742"/>
              <a:gd name="connsiteY156" fmla="*/ 3866 h 3973642"/>
              <a:gd name="connsiteX157" fmla="*/ 1637273 w 3435742"/>
              <a:gd name="connsiteY157" fmla="*/ 1 h 3973642"/>
              <a:gd name="connsiteX158" fmla="*/ 1717865 w 3435742"/>
              <a:gd name="connsiteY158" fmla="*/ 1 h 397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3435742" h="3973642">
                <a:moveTo>
                  <a:pt x="1717881" y="0"/>
                </a:moveTo>
                <a:lnTo>
                  <a:pt x="1717898" y="1"/>
                </a:lnTo>
                <a:lnTo>
                  <a:pt x="1718909" y="1"/>
                </a:lnTo>
                <a:lnTo>
                  <a:pt x="3433713" y="1"/>
                </a:lnTo>
                <a:lnTo>
                  <a:pt x="3433713" y="1625413"/>
                </a:lnTo>
                <a:lnTo>
                  <a:pt x="3435742" y="1625413"/>
                </a:lnTo>
                <a:lnTo>
                  <a:pt x="3435742" y="1716345"/>
                </a:lnTo>
                <a:lnTo>
                  <a:pt x="3435742" y="1742298"/>
                </a:lnTo>
                <a:lnTo>
                  <a:pt x="3435742" y="1928661"/>
                </a:lnTo>
                <a:lnTo>
                  <a:pt x="3435742" y="2033495"/>
                </a:lnTo>
                <a:lnTo>
                  <a:pt x="3435742" y="2257297"/>
                </a:lnTo>
                <a:lnTo>
                  <a:pt x="3433692" y="2257297"/>
                </a:lnTo>
                <a:lnTo>
                  <a:pt x="3433692" y="2257298"/>
                </a:lnTo>
                <a:lnTo>
                  <a:pt x="3433692" y="2257811"/>
                </a:lnTo>
                <a:lnTo>
                  <a:pt x="3433692" y="2279828"/>
                </a:lnTo>
                <a:lnTo>
                  <a:pt x="3433692" y="2348229"/>
                </a:lnTo>
                <a:lnTo>
                  <a:pt x="3429411" y="2348229"/>
                </a:lnTo>
                <a:lnTo>
                  <a:pt x="3425898" y="2422420"/>
                </a:lnTo>
                <a:lnTo>
                  <a:pt x="3425005" y="2428799"/>
                </a:lnTo>
                <a:lnTo>
                  <a:pt x="3424827" y="2432322"/>
                </a:lnTo>
                <a:lnTo>
                  <a:pt x="3419827" y="2465782"/>
                </a:lnTo>
                <a:lnTo>
                  <a:pt x="3404851" y="2572751"/>
                </a:lnTo>
                <a:lnTo>
                  <a:pt x="3402005" y="2585054"/>
                </a:lnTo>
                <a:lnTo>
                  <a:pt x="3400923" y="2592300"/>
                </a:lnTo>
                <a:lnTo>
                  <a:pt x="3391676" y="2629706"/>
                </a:lnTo>
                <a:lnTo>
                  <a:pt x="3371107" y="2718624"/>
                </a:lnTo>
                <a:lnTo>
                  <a:pt x="3365249" y="2736614"/>
                </a:lnTo>
                <a:lnTo>
                  <a:pt x="3362654" y="2747111"/>
                </a:lnTo>
                <a:lnTo>
                  <a:pt x="3350179" y="2782897"/>
                </a:lnTo>
                <a:lnTo>
                  <a:pt x="3325250" y="2859454"/>
                </a:lnTo>
                <a:lnTo>
                  <a:pt x="3315389" y="2882686"/>
                </a:lnTo>
                <a:lnTo>
                  <a:pt x="3310733" y="2896042"/>
                </a:lnTo>
                <a:lnTo>
                  <a:pt x="3295966" y="2928446"/>
                </a:lnTo>
                <a:lnTo>
                  <a:pt x="3267865" y="2994653"/>
                </a:lnTo>
                <a:lnTo>
                  <a:pt x="3253060" y="3022602"/>
                </a:lnTo>
                <a:lnTo>
                  <a:pt x="3245868" y="3038385"/>
                </a:lnTo>
                <a:lnTo>
                  <a:pt x="3229669" y="3066757"/>
                </a:lnTo>
                <a:lnTo>
                  <a:pt x="3199540" y="3123637"/>
                </a:lnTo>
                <a:lnTo>
                  <a:pt x="3178893" y="3155700"/>
                </a:lnTo>
                <a:lnTo>
                  <a:pt x="3168773" y="3173426"/>
                </a:lnTo>
                <a:lnTo>
                  <a:pt x="3151929" y="3197570"/>
                </a:lnTo>
                <a:lnTo>
                  <a:pt x="3120859" y="3245820"/>
                </a:lnTo>
                <a:lnTo>
                  <a:pt x="3093506" y="3281318"/>
                </a:lnTo>
                <a:lnTo>
                  <a:pt x="3080157" y="3300456"/>
                </a:lnTo>
                <a:lnTo>
                  <a:pt x="3063382" y="3320415"/>
                </a:lnTo>
                <a:lnTo>
                  <a:pt x="3032406" y="3360617"/>
                </a:lnTo>
                <a:lnTo>
                  <a:pt x="2997504" y="3398805"/>
                </a:lnTo>
                <a:lnTo>
                  <a:pt x="2980733" y="3418761"/>
                </a:lnTo>
                <a:lnTo>
                  <a:pt x="2964674" y="3434723"/>
                </a:lnTo>
                <a:lnTo>
                  <a:pt x="2934770" y="3467442"/>
                </a:lnTo>
                <a:lnTo>
                  <a:pt x="2891447" y="3507516"/>
                </a:lnTo>
                <a:lnTo>
                  <a:pt x="2871210" y="3527632"/>
                </a:lnTo>
                <a:lnTo>
                  <a:pt x="2856456" y="3539881"/>
                </a:lnTo>
                <a:lnTo>
                  <a:pt x="2828534" y="3565708"/>
                </a:lnTo>
                <a:lnTo>
                  <a:pt x="2775821" y="3606830"/>
                </a:lnTo>
                <a:lnTo>
                  <a:pt x="2752301" y="3626359"/>
                </a:lnTo>
                <a:lnTo>
                  <a:pt x="2739383" y="3635254"/>
                </a:lnTo>
                <a:lnTo>
                  <a:pt x="2714285" y="3654833"/>
                </a:lnTo>
                <a:lnTo>
                  <a:pt x="2650942" y="3696165"/>
                </a:lnTo>
                <a:lnTo>
                  <a:pt x="2624716" y="3714229"/>
                </a:lnTo>
                <a:lnTo>
                  <a:pt x="2614117" y="3720193"/>
                </a:lnTo>
                <a:lnTo>
                  <a:pt x="2592607" y="3734229"/>
                </a:lnTo>
                <a:lnTo>
                  <a:pt x="2516709" y="3775026"/>
                </a:lnTo>
                <a:lnTo>
                  <a:pt x="2489165" y="3790531"/>
                </a:lnTo>
                <a:lnTo>
                  <a:pt x="2481322" y="3794047"/>
                </a:lnTo>
                <a:lnTo>
                  <a:pt x="2464088" y="3803311"/>
                </a:lnTo>
                <a:lnTo>
                  <a:pt x="2371745" y="3843173"/>
                </a:lnTo>
                <a:lnTo>
                  <a:pt x="2346361" y="3854554"/>
                </a:lnTo>
                <a:lnTo>
                  <a:pt x="2341666" y="3856159"/>
                </a:lnTo>
                <a:lnTo>
                  <a:pt x="2329311" y="3861493"/>
                </a:lnTo>
                <a:lnTo>
                  <a:pt x="2208945" y="3901511"/>
                </a:lnTo>
                <a:lnTo>
                  <a:pt x="2197015" y="3905588"/>
                </a:lnTo>
                <a:lnTo>
                  <a:pt x="2195817" y="3905877"/>
                </a:lnTo>
                <a:lnTo>
                  <a:pt x="2188863" y="3908188"/>
                </a:lnTo>
                <a:cubicBezTo>
                  <a:pt x="2093469" y="3935361"/>
                  <a:pt x="1994687" y="3954486"/>
                  <a:pt x="1893294" y="3964784"/>
                </a:cubicBezTo>
                <a:lnTo>
                  <a:pt x="1886580" y="3965122"/>
                </a:lnTo>
                <a:lnTo>
                  <a:pt x="1881540" y="3965842"/>
                </a:lnTo>
                <a:lnTo>
                  <a:pt x="1798469" y="3969777"/>
                </a:lnTo>
                <a:lnTo>
                  <a:pt x="1798469" y="3973641"/>
                </a:lnTo>
                <a:lnTo>
                  <a:pt x="1717877" y="3973641"/>
                </a:lnTo>
                <a:lnTo>
                  <a:pt x="1717860" y="3973642"/>
                </a:lnTo>
                <a:lnTo>
                  <a:pt x="1717844" y="3973641"/>
                </a:lnTo>
                <a:lnTo>
                  <a:pt x="1716833" y="3973641"/>
                </a:lnTo>
                <a:lnTo>
                  <a:pt x="2030" y="3973641"/>
                </a:lnTo>
                <a:lnTo>
                  <a:pt x="2030" y="2348229"/>
                </a:lnTo>
                <a:lnTo>
                  <a:pt x="0" y="2348229"/>
                </a:lnTo>
                <a:lnTo>
                  <a:pt x="0" y="2257298"/>
                </a:lnTo>
                <a:lnTo>
                  <a:pt x="0" y="2033495"/>
                </a:lnTo>
                <a:lnTo>
                  <a:pt x="0" y="1928661"/>
                </a:lnTo>
                <a:lnTo>
                  <a:pt x="0" y="1742298"/>
                </a:lnTo>
                <a:lnTo>
                  <a:pt x="0" y="1716345"/>
                </a:lnTo>
                <a:lnTo>
                  <a:pt x="2050" y="1716345"/>
                </a:lnTo>
                <a:lnTo>
                  <a:pt x="2050" y="1715831"/>
                </a:lnTo>
                <a:lnTo>
                  <a:pt x="2050" y="1693813"/>
                </a:lnTo>
                <a:lnTo>
                  <a:pt x="2050" y="1625413"/>
                </a:lnTo>
                <a:lnTo>
                  <a:pt x="6332" y="1625413"/>
                </a:lnTo>
                <a:lnTo>
                  <a:pt x="9844" y="1551223"/>
                </a:lnTo>
                <a:lnTo>
                  <a:pt x="10737" y="1544843"/>
                </a:lnTo>
                <a:lnTo>
                  <a:pt x="10915" y="1541320"/>
                </a:lnTo>
                <a:lnTo>
                  <a:pt x="15915" y="1507860"/>
                </a:lnTo>
                <a:lnTo>
                  <a:pt x="30891" y="1400891"/>
                </a:lnTo>
                <a:lnTo>
                  <a:pt x="33737" y="1388588"/>
                </a:lnTo>
                <a:lnTo>
                  <a:pt x="34819" y="1381342"/>
                </a:lnTo>
                <a:lnTo>
                  <a:pt x="44066" y="1343936"/>
                </a:lnTo>
                <a:lnTo>
                  <a:pt x="64635" y="1255017"/>
                </a:lnTo>
                <a:lnTo>
                  <a:pt x="70493" y="1237029"/>
                </a:lnTo>
                <a:lnTo>
                  <a:pt x="73088" y="1226531"/>
                </a:lnTo>
                <a:lnTo>
                  <a:pt x="85564" y="1190746"/>
                </a:lnTo>
                <a:lnTo>
                  <a:pt x="110492" y="1114188"/>
                </a:lnTo>
                <a:lnTo>
                  <a:pt x="120353" y="1090957"/>
                </a:lnTo>
                <a:lnTo>
                  <a:pt x="125010" y="1077600"/>
                </a:lnTo>
                <a:lnTo>
                  <a:pt x="139776" y="1045196"/>
                </a:lnTo>
                <a:lnTo>
                  <a:pt x="167877" y="978988"/>
                </a:lnTo>
                <a:lnTo>
                  <a:pt x="182682" y="951041"/>
                </a:lnTo>
                <a:lnTo>
                  <a:pt x="189874" y="935257"/>
                </a:lnTo>
                <a:lnTo>
                  <a:pt x="206073" y="906886"/>
                </a:lnTo>
                <a:lnTo>
                  <a:pt x="236202" y="850005"/>
                </a:lnTo>
                <a:lnTo>
                  <a:pt x="256849" y="817942"/>
                </a:lnTo>
                <a:lnTo>
                  <a:pt x="266970" y="800216"/>
                </a:lnTo>
                <a:lnTo>
                  <a:pt x="283813" y="776072"/>
                </a:lnTo>
                <a:lnTo>
                  <a:pt x="314883" y="727822"/>
                </a:lnTo>
                <a:lnTo>
                  <a:pt x="342236" y="692324"/>
                </a:lnTo>
                <a:lnTo>
                  <a:pt x="355585" y="673187"/>
                </a:lnTo>
                <a:lnTo>
                  <a:pt x="372360" y="653227"/>
                </a:lnTo>
                <a:lnTo>
                  <a:pt x="403336" y="613025"/>
                </a:lnTo>
                <a:lnTo>
                  <a:pt x="438238" y="574838"/>
                </a:lnTo>
                <a:lnTo>
                  <a:pt x="455009" y="554882"/>
                </a:lnTo>
                <a:lnTo>
                  <a:pt x="471068" y="538919"/>
                </a:lnTo>
                <a:lnTo>
                  <a:pt x="500972" y="506200"/>
                </a:lnTo>
                <a:lnTo>
                  <a:pt x="544295" y="466127"/>
                </a:lnTo>
                <a:lnTo>
                  <a:pt x="564532" y="446010"/>
                </a:lnTo>
                <a:lnTo>
                  <a:pt x="579286" y="433761"/>
                </a:lnTo>
                <a:lnTo>
                  <a:pt x="607207" y="407933"/>
                </a:lnTo>
                <a:lnTo>
                  <a:pt x="659921" y="366813"/>
                </a:lnTo>
                <a:lnTo>
                  <a:pt x="683442" y="347283"/>
                </a:lnTo>
                <a:lnTo>
                  <a:pt x="696358" y="338388"/>
                </a:lnTo>
                <a:lnTo>
                  <a:pt x="721457" y="318809"/>
                </a:lnTo>
                <a:lnTo>
                  <a:pt x="784800" y="277477"/>
                </a:lnTo>
                <a:lnTo>
                  <a:pt x="811027" y="259414"/>
                </a:lnTo>
                <a:lnTo>
                  <a:pt x="821625" y="253449"/>
                </a:lnTo>
                <a:lnTo>
                  <a:pt x="843135" y="239414"/>
                </a:lnTo>
                <a:lnTo>
                  <a:pt x="919033" y="198616"/>
                </a:lnTo>
                <a:lnTo>
                  <a:pt x="946577" y="183112"/>
                </a:lnTo>
                <a:lnTo>
                  <a:pt x="954420" y="179595"/>
                </a:lnTo>
                <a:lnTo>
                  <a:pt x="971655" y="170331"/>
                </a:lnTo>
                <a:lnTo>
                  <a:pt x="1063997" y="130469"/>
                </a:lnTo>
                <a:lnTo>
                  <a:pt x="1089381" y="119088"/>
                </a:lnTo>
                <a:lnTo>
                  <a:pt x="1094076" y="117484"/>
                </a:lnTo>
                <a:lnTo>
                  <a:pt x="1106431" y="112150"/>
                </a:lnTo>
                <a:lnTo>
                  <a:pt x="1226798" y="72132"/>
                </a:lnTo>
                <a:lnTo>
                  <a:pt x="1238727" y="68054"/>
                </a:lnTo>
                <a:lnTo>
                  <a:pt x="1239925" y="67765"/>
                </a:lnTo>
                <a:lnTo>
                  <a:pt x="1246879" y="65454"/>
                </a:lnTo>
                <a:cubicBezTo>
                  <a:pt x="1342272" y="38282"/>
                  <a:pt x="1441055" y="19156"/>
                  <a:pt x="1542447" y="8859"/>
                </a:cubicBezTo>
                <a:lnTo>
                  <a:pt x="1549163" y="8521"/>
                </a:lnTo>
                <a:lnTo>
                  <a:pt x="1554203" y="7799"/>
                </a:lnTo>
                <a:lnTo>
                  <a:pt x="1637273" y="3866"/>
                </a:lnTo>
                <a:lnTo>
                  <a:pt x="1637273" y="1"/>
                </a:lnTo>
                <a:lnTo>
                  <a:pt x="1717865" y="1"/>
                </a:lnTo>
                <a:close/>
              </a:path>
            </a:pathLst>
          </a:custGeom>
        </p:spPr>
        <p:txBody>
          <a:bodyPr wrap="square">
            <a:noAutofit/>
          </a:bodyPr>
          <a:lstStyle/>
          <a:p>
            <a:endParaRPr lang="en-US"/>
          </a:p>
        </p:txBody>
      </p:sp>
      <p:sp>
        <p:nvSpPr>
          <p:cNvPr id="12" name="Picture Placeholder 11">
            <a:extLst>
              <a:ext uri="{FF2B5EF4-FFF2-40B4-BE49-F238E27FC236}">
                <a16:creationId xmlns:a16="http://schemas.microsoft.com/office/drawing/2014/main" id="{C947E5EA-7CD1-4AB9-8BF8-88EC6942AE9E}"/>
              </a:ext>
            </a:extLst>
          </p:cNvPr>
          <p:cNvSpPr>
            <a:spLocks noGrp="1"/>
          </p:cNvSpPr>
          <p:nvPr>
            <p:ph type="pic" sz="quarter" idx="10"/>
          </p:nvPr>
        </p:nvSpPr>
        <p:spPr>
          <a:xfrm>
            <a:off x="3524250" y="264796"/>
            <a:ext cx="3203851" cy="6328408"/>
          </a:xfrm>
          <a:custGeom>
            <a:avLst/>
            <a:gdLst>
              <a:gd name="connsiteX0" fmla="*/ 1601915 w 3203851"/>
              <a:gd name="connsiteY0" fmla="*/ 0 h 6328408"/>
              <a:gd name="connsiteX1" fmla="*/ 1601931 w 3203851"/>
              <a:gd name="connsiteY1" fmla="*/ 1 h 6328408"/>
              <a:gd name="connsiteX2" fmla="*/ 1677083 w 3203851"/>
              <a:gd name="connsiteY2" fmla="*/ 1 h 6328408"/>
              <a:gd name="connsiteX3" fmla="*/ 1677083 w 3203851"/>
              <a:gd name="connsiteY3" fmla="*/ 3604 h 6328408"/>
              <a:gd name="connsiteX4" fmla="*/ 1754548 w 3203851"/>
              <a:gd name="connsiteY4" fmla="*/ 7273 h 6328408"/>
              <a:gd name="connsiteX5" fmla="*/ 1759248 w 3203851"/>
              <a:gd name="connsiteY5" fmla="*/ 7945 h 6328408"/>
              <a:gd name="connsiteX6" fmla="*/ 1765508 w 3203851"/>
              <a:gd name="connsiteY6" fmla="*/ 8260 h 6328408"/>
              <a:gd name="connsiteX7" fmla="*/ 2041128 w 3203851"/>
              <a:gd name="connsiteY7" fmla="*/ 61036 h 6328408"/>
              <a:gd name="connsiteX8" fmla="*/ 2047613 w 3203851"/>
              <a:gd name="connsiteY8" fmla="*/ 63191 h 6328408"/>
              <a:gd name="connsiteX9" fmla="*/ 2048730 w 3203851"/>
              <a:gd name="connsiteY9" fmla="*/ 63461 h 6328408"/>
              <a:gd name="connsiteX10" fmla="*/ 2059855 w 3203851"/>
              <a:gd name="connsiteY10" fmla="*/ 67262 h 6328408"/>
              <a:gd name="connsiteX11" fmla="*/ 2172097 w 3203851"/>
              <a:gd name="connsiteY11" fmla="*/ 104580 h 6328408"/>
              <a:gd name="connsiteX12" fmla="*/ 2183618 w 3203851"/>
              <a:gd name="connsiteY12" fmla="*/ 109554 h 6328408"/>
              <a:gd name="connsiteX13" fmla="*/ 2187996 w 3203851"/>
              <a:gd name="connsiteY13" fmla="*/ 111050 h 6328408"/>
              <a:gd name="connsiteX14" fmla="*/ 2211667 w 3203851"/>
              <a:gd name="connsiteY14" fmla="*/ 121663 h 6328408"/>
              <a:gd name="connsiteX15" fmla="*/ 2297777 w 3203851"/>
              <a:gd name="connsiteY15" fmla="*/ 158835 h 6328408"/>
              <a:gd name="connsiteX16" fmla="*/ 2313848 w 3203851"/>
              <a:gd name="connsiteY16" fmla="*/ 167473 h 6328408"/>
              <a:gd name="connsiteX17" fmla="*/ 2321162 w 3203851"/>
              <a:gd name="connsiteY17" fmla="*/ 170752 h 6328408"/>
              <a:gd name="connsiteX18" fmla="*/ 2346847 w 3203851"/>
              <a:gd name="connsiteY18" fmla="*/ 185211 h 6328408"/>
              <a:gd name="connsiteX19" fmla="*/ 2417622 w 3203851"/>
              <a:gd name="connsiteY19" fmla="*/ 223254 h 6328408"/>
              <a:gd name="connsiteX20" fmla="*/ 2437680 w 3203851"/>
              <a:gd name="connsiteY20" fmla="*/ 236343 h 6328408"/>
              <a:gd name="connsiteX21" fmla="*/ 2447564 w 3203851"/>
              <a:gd name="connsiteY21" fmla="*/ 241904 h 6328408"/>
              <a:gd name="connsiteX22" fmla="*/ 2472020 w 3203851"/>
              <a:gd name="connsiteY22" fmla="*/ 258749 h 6328408"/>
              <a:gd name="connsiteX23" fmla="*/ 2531088 w 3203851"/>
              <a:gd name="connsiteY23" fmla="*/ 297291 h 6328408"/>
              <a:gd name="connsiteX24" fmla="*/ 2554492 w 3203851"/>
              <a:gd name="connsiteY24" fmla="*/ 315549 h 6328408"/>
              <a:gd name="connsiteX25" fmla="*/ 2566538 w 3203851"/>
              <a:gd name="connsiteY25" fmla="*/ 323843 h 6328408"/>
              <a:gd name="connsiteX26" fmla="*/ 2588470 w 3203851"/>
              <a:gd name="connsiteY26" fmla="*/ 342054 h 6328408"/>
              <a:gd name="connsiteX27" fmla="*/ 2637626 w 3203851"/>
              <a:gd name="connsiteY27" fmla="*/ 380401 h 6328408"/>
              <a:gd name="connsiteX28" fmla="*/ 2663663 w 3203851"/>
              <a:gd name="connsiteY28" fmla="*/ 404485 h 6328408"/>
              <a:gd name="connsiteX29" fmla="*/ 2677421 w 3203851"/>
              <a:gd name="connsiteY29" fmla="*/ 415907 h 6328408"/>
              <a:gd name="connsiteX30" fmla="*/ 2696292 w 3203851"/>
              <a:gd name="connsiteY30" fmla="*/ 434665 h 6328408"/>
              <a:gd name="connsiteX31" fmla="*/ 2736691 w 3203851"/>
              <a:gd name="connsiteY31" fmla="*/ 472035 h 6328408"/>
              <a:gd name="connsiteX32" fmla="*/ 2764577 w 3203851"/>
              <a:gd name="connsiteY32" fmla="*/ 502545 h 6328408"/>
              <a:gd name="connsiteX33" fmla="*/ 2779552 w 3203851"/>
              <a:gd name="connsiteY33" fmla="*/ 517430 h 6328408"/>
              <a:gd name="connsiteX34" fmla="*/ 2795191 w 3203851"/>
              <a:gd name="connsiteY34" fmla="*/ 536039 h 6328408"/>
              <a:gd name="connsiteX35" fmla="*/ 2827738 w 3203851"/>
              <a:gd name="connsiteY35" fmla="*/ 571650 h 6328408"/>
              <a:gd name="connsiteX36" fmla="*/ 2856623 w 3203851"/>
              <a:gd name="connsiteY36" fmla="*/ 609138 h 6328408"/>
              <a:gd name="connsiteX37" fmla="*/ 2872266 w 3203851"/>
              <a:gd name="connsiteY37" fmla="*/ 627750 h 6328408"/>
              <a:gd name="connsiteX38" fmla="*/ 2884714 w 3203851"/>
              <a:gd name="connsiteY38" fmla="*/ 645596 h 6328408"/>
              <a:gd name="connsiteX39" fmla="*/ 2910220 w 3203851"/>
              <a:gd name="connsiteY39" fmla="*/ 678698 h 6328408"/>
              <a:gd name="connsiteX40" fmla="*/ 2939193 w 3203851"/>
              <a:gd name="connsiteY40" fmla="*/ 723692 h 6328408"/>
              <a:gd name="connsiteX41" fmla="*/ 2954901 w 3203851"/>
              <a:gd name="connsiteY41" fmla="*/ 746206 h 6328408"/>
              <a:gd name="connsiteX42" fmla="*/ 2964338 w 3203851"/>
              <a:gd name="connsiteY42" fmla="*/ 762736 h 6328408"/>
              <a:gd name="connsiteX43" fmla="*/ 2983591 w 3203851"/>
              <a:gd name="connsiteY43" fmla="*/ 792635 h 6328408"/>
              <a:gd name="connsiteX44" fmla="*/ 3011687 w 3203851"/>
              <a:gd name="connsiteY44" fmla="*/ 845676 h 6328408"/>
              <a:gd name="connsiteX45" fmla="*/ 3026792 w 3203851"/>
              <a:gd name="connsiteY45" fmla="*/ 872133 h 6328408"/>
              <a:gd name="connsiteX46" fmla="*/ 3033499 w 3203851"/>
              <a:gd name="connsiteY46" fmla="*/ 886851 h 6328408"/>
              <a:gd name="connsiteX47" fmla="*/ 3047305 w 3203851"/>
              <a:gd name="connsiteY47" fmla="*/ 912913 h 6328408"/>
              <a:gd name="connsiteX48" fmla="*/ 3073509 w 3203851"/>
              <a:gd name="connsiteY48" fmla="*/ 974652 h 6328408"/>
              <a:gd name="connsiteX49" fmla="*/ 3087279 w 3203851"/>
              <a:gd name="connsiteY49" fmla="*/ 1004869 h 6328408"/>
              <a:gd name="connsiteX50" fmla="*/ 3091621 w 3203851"/>
              <a:gd name="connsiteY50" fmla="*/ 1017323 h 6328408"/>
              <a:gd name="connsiteX51" fmla="*/ 3100816 w 3203851"/>
              <a:gd name="connsiteY51" fmla="*/ 1038987 h 6328408"/>
              <a:gd name="connsiteX52" fmla="*/ 3124063 w 3203851"/>
              <a:gd name="connsiteY52" fmla="*/ 1110377 h 6328408"/>
              <a:gd name="connsiteX53" fmla="*/ 3135696 w 3203851"/>
              <a:gd name="connsiteY53" fmla="*/ 1143748 h 6328408"/>
              <a:gd name="connsiteX54" fmla="*/ 3138116 w 3203851"/>
              <a:gd name="connsiteY54" fmla="*/ 1153536 h 6328408"/>
              <a:gd name="connsiteX55" fmla="*/ 3143578 w 3203851"/>
              <a:gd name="connsiteY55" fmla="*/ 1170312 h 6328408"/>
              <a:gd name="connsiteX56" fmla="*/ 3162759 w 3203851"/>
              <a:gd name="connsiteY56" fmla="*/ 1253229 h 6328408"/>
              <a:gd name="connsiteX57" fmla="*/ 3171382 w 3203851"/>
              <a:gd name="connsiteY57" fmla="*/ 1288110 h 6328408"/>
              <a:gd name="connsiteX58" fmla="*/ 3172391 w 3203851"/>
              <a:gd name="connsiteY58" fmla="*/ 1294867 h 6328408"/>
              <a:gd name="connsiteX59" fmla="*/ 3175045 w 3203851"/>
              <a:gd name="connsiteY59" fmla="*/ 1306339 h 6328408"/>
              <a:gd name="connsiteX60" fmla="*/ 3189010 w 3203851"/>
              <a:gd name="connsiteY60" fmla="*/ 1406089 h 6328408"/>
              <a:gd name="connsiteX61" fmla="*/ 3193673 w 3203851"/>
              <a:gd name="connsiteY61" fmla="*/ 1437290 h 6328408"/>
              <a:gd name="connsiteX62" fmla="*/ 3193839 w 3203851"/>
              <a:gd name="connsiteY62" fmla="*/ 1440576 h 6328408"/>
              <a:gd name="connsiteX63" fmla="*/ 3194671 w 3203851"/>
              <a:gd name="connsiteY63" fmla="*/ 1446524 h 6328408"/>
              <a:gd name="connsiteX64" fmla="*/ 3197947 w 3203851"/>
              <a:gd name="connsiteY64" fmla="*/ 1515708 h 6328408"/>
              <a:gd name="connsiteX65" fmla="*/ 3201939 w 3203851"/>
              <a:gd name="connsiteY65" fmla="*/ 1515708 h 6328408"/>
              <a:gd name="connsiteX66" fmla="*/ 3201939 w 3203851"/>
              <a:gd name="connsiteY66" fmla="*/ 1579492 h 6328408"/>
              <a:gd name="connsiteX67" fmla="*/ 3201939 w 3203851"/>
              <a:gd name="connsiteY67" fmla="*/ 1600023 h 6328408"/>
              <a:gd name="connsiteX68" fmla="*/ 3201939 w 3203851"/>
              <a:gd name="connsiteY68" fmla="*/ 1600501 h 6328408"/>
              <a:gd name="connsiteX69" fmla="*/ 3201939 w 3203851"/>
              <a:gd name="connsiteY69" fmla="*/ 1600502 h 6328408"/>
              <a:gd name="connsiteX70" fmla="*/ 3203851 w 3203851"/>
              <a:gd name="connsiteY70" fmla="*/ 1600502 h 6328408"/>
              <a:gd name="connsiteX71" fmla="*/ 3203851 w 3203851"/>
              <a:gd name="connsiteY71" fmla="*/ 1809199 h 6328408"/>
              <a:gd name="connsiteX72" fmla="*/ 3203851 w 3203851"/>
              <a:gd name="connsiteY72" fmla="*/ 1906957 h 6328408"/>
              <a:gd name="connsiteX73" fmla="*/ 3203851 w 3203851"/>
              <a:gd name="connsiteY73" fmla="*/ 2080742 h 6328408"/>
              <a:gd name="connsiteX74" fmla="*/ 3203851 w 3203851"/>
              <a:gd name="connsiteY74" fmla="*/ 2104943 h 6328408"/>
              <a:gd name="connsiteX75" fmla="*/ 3203851 w 3203851"/>
              <a:gd name="connsiteY75" fmla="*/ 2189738 h 6328408"/>
              <a:gd name="connsiteX76" fmla="*/ 3201959 w 3203851"/>
              <a:gd name="connsiteY76" fmla="*/ 2189738 h 6328408"/>
              <a:gd name="connsiteX77" fmla="*/ 3201959 w 3203851"/>
              <a:gd name="connsiteY77" fmla="*/ 2222055 h 6328408"/>
              <a:gd name="connsiteX78" fmla="*/ 1784816 w 3203851"/>
              <a:gd name="connsiteY78" fmla="*/ 2222055 h 6328408"/>
              <a:gd name="connsiteX79" fmla="*/ 2041128 w 3203851"/>
              <a:gd name="connsiteY79" fmla="*/ 2271133 h 6328408"/>
              <a:gd name="connsiteX80" fmla="*/ 2047613 w 3203851"/>
              <a:gd name="connsiteY80" fmla="*/ 2273288 h 6328408"/>
              <a:gd name="connsiteX81" fmla="*/ 2048730 w 3203851"/>
              <a:gd name="connsiteY81" fmla="*/ 2273558 h 6328408"/>
              <a:gd name="connsiteX82" fmla="*/ 2059854 w 3203851"/>
              <a:gd name="connsiteY82" fmla="*/ 2277361 h 6328408"/>
              <a:gd name="connsiteX83" fmla="*/ 2172097 w 3203851"/>
              <a:gd name="connsiteY83" fmla="*/ 2314678 h 6328408"/>
              <a:gd name="connsiteX84" fmla="*/ 2183618 w 3203851"/>
              <a:gd name="connsiteY84" fmla="*/ 2319652 h 6328408"/>
              <a:gd name="connsiteX85" fmla="*/ 2187996 w 3203851"/>
              <a:gd name="connsiteY85" fmla="*/ 2321147 h 6328408"/>
              <a:gd name="connsiteX86" fmla="*/ 2211667 w 3203851"/>
              <a:gd name="connsiteY86" fmla="*/ 2331760 h 6328408"/>
              <a:gd name="connsiteX87" fmla="*/ 2297776 w 3203851"/>
              <a:gd name="connsiteY87" fmla="*/ 2368932 h 6328408"/>
              <a:gd name="connsiteX88" fmla="*/ 2313848 w 3203851"/>
              <a:gd name="connsiteY88" fmla="*/ 2377571 h 6328408"/>
              <a:gd name="connsiteX89" fmla="*/ 2321162 w 3203851"/>
              <a:gd name="connsiteY89" fmla="*/ 2380850 h 6328408"/>
              <a:gd name="connsiteX90" fmla="*/ 2346847 w 3203851"/>
              <a:gd name="connsiteY90" fmla="*/ 2395308 h 6328408"/>
              <a:gd name="connsiteX91" fmla="*/ 2417622 w 3203851"/>
              <a:gd name="connsiteY91" fmla="*/ 2433352 h 6328408"/>
              <a:gd name="connsiteX92" fmla="*/ 2437680 w 3203851"/>
              <a:gd name="connsiteY92" fmla="*/ 2446440 h 6328408"/>
              <a:gd name="connsiteX93" fmla="*/ 2447563 w 3203851"/>
              <a:gd name="connsiteY93" fmla="*/ 2452002 h 6328408"/>
              <a:gd name="connsiteX94" fmla="*/ 2472020 w 3203851"/>
              <a:gd name="connsiteY94" fmla="*/ 2468846 h 6328408"/>
              <a:gd name="connsiteX95" fmla="*/ 2531088 w 3203851"/>
              <a:gd name="connsiteY95" fmla="*/ 2507389 h 6328408"/>
              <a:gd name="connsiteX96" fmla="*/ 2554493 w 3203851"/>
              <a:gd name="connsiteY96" fmla="*/ 2525646 h 6328408"/>
              <a:gd name="connsiteX97" fmla="*/ 2566537 w 3203851"/>
              <a:gd name="connsiteY97" fmla="*/ 2533941 h 6328408"/>
              <a:gd name="connsiteX98" fmla="*/ 2588470 w 3203851"/>
              <a:gd name="connsiteY98" fmla="*/ 2552153 h 6328408"/>
              <a:gd name="connsiteX99" fmla="*/ 2637626 w 3203851"/>
              <a:gd name="connsiteY99" fmla="*/ 2590497 h 6328408"/>
              <a:gd name="connsiteX100" fmla="*/ 2663663 w 3203851"/>
              <a:gd name="connsiteY100" fmla="*/ 2614582 h 6328408"/>
              <a:gd name="connsiteX101" fmla="*/ 2677421 w 3203851"/>
              <a:gd name="connsiteY101" fmla="*/ 2626004 h 6328408"/>
              <a:gd name="connsiteX102" fmla="*/ 2696292 w 3203851"/>
              <a:gd name="connsiteY102" fmla="*/ 2644763 h 6328408"/>
              <a:gd name="connsiteX103" fmla="*/ 2736691 w 3203851"/>
              <a:gd name="connsiteY103" fmla="*/ 2682132 h 6328408"/>
              <a:gd name="connsiteX104" fmla="*/ 2764577 w 3203851"/>
              <a:gd name="connsiteY104" fmla="*/ 2712642 h 6328408"/>
              <a:gd name="connsiteX105" fmla="*/ 2779552 w 3203851"/>
              <a:gd name="connsiteY105" fmla="*/ 2727528 h 6328408"/>
              <a:gd name="connsiteX106" fmla="*/ 2795191 w 3203851"/>
              <a:gd name="connsiteY106" fmla="*/ 2746137 h 6328408"/>
              <a:gd name="connsiteX107" fmla="*/ 2827737 w 3203851"/>
              <a:gd name="connsiteY107" fmla="*/ 2781747 h 6328408"/>
              <a:gd name="connsiteX108" fmla="*/ 2856623 w 3203851"/>
              <a:gd name="connsiteY108" fmla="*/ 2819235 h 6328408"/>
              <a:gd name="connsiteX109" fmla="*/ 2872266 w 3203851"/>
              <a:gd name="connsiteY109" fmla="*/ 2837848 h 6328408"/>
              <a:gd name="connsiteX110" fmla="*/ 2884714 w 3203851"/>
              <a:gd name="connsiteY110" fmla="*/ 2855694 h 6328408"/>
              <a:gd name="connsiteX111" fmla="*/ 2910220 w 3203851"/>
              <a:gd name="connsiteY111" fmla="*/ 2888796 h 6328408"/>
              <a:gd name="connsiteX112" fmla="*/ 2939193 w 3203851"/>
              <a:gd name="connsiteY112" fmla="*/ 2933789 h 6328408"/>
              <a:gd name="connsiteX113" fmla="*/ 2954900 w 3203851"/>
              <a:gd name="connsiteY113" fmla="*/ 2956304 h 6328408"/>
              <a:gd name="connsiteX114" fmla="*/ 2964337 w 3203851"/>
              <a:gd name="connsiteY114" fmla="*/ 2972833 h 6328408"/>
              <a:gd name="connsiteX115" fmla="*/ 2983591 w 3203851"/>
              <a:gd name="connsiteY115" fmla="*/ 3002732 h 6328408"/>
              <a:gd name="connsiteX116" fmla="*/ 3011686 w 3203851"/>
              <a:gd name="connsiteY116" fmla="*/ 3055774 h 6328408"/>
              <a:gd name="connsiteX117" fmla="*/ 3026792 w 3203851"/>
              <a:gd name="connsiteY117" fmla="*/ 3082230 h 6328408"/>
              <a:gd name="connsiteX118" fmla="*/ 3033499 w 3203851"/>
              <a:gd name="connsiteY118" fmla="*/ 3096949 h 6328408"/>
              <a:gd name="connsiteX119" fmla="*/ 3047304 w 3203851"/>
              <a:gd name="connsiteY119" fmla="*/ 3123010 h 6328408"/>
              <a:gd name="connsiteX120" fmla="*/ 3073509 w 3203851"/>
              <a:gd name="connsiteY120" fmla="*/ 3184749 h 6328408"/>
              <a:gd name="connsiteX121" fmla="*/ 3087278 w 3203851"/>
              <a:gd name="connsiteY121" fmla="*/ 3214966 h 6328408"/>
              <a:gd name="connsiteX122" fmla="*/ 3091621 w 3203851"/>
              <a:gd name="connsiteY122" fmla="*/ 3227421 h 6328408"/>
              <a:gd name="connsiteX123" fmla="*/ 3100816 w 3203851"/>
              <a:gd name="connsiteY123" fmla="*/ 3249084 h 6328408"/>
              <a:gd name="connsiteX124" fmla="*/ 3124062 w 3203851"/>
              <a:gd name="connsiteY124" fmla="*/ 3320475 h 6328408"/>
              <a:gd name="connsiteX125" fmla="*/ 3135696 w 3203851"/>
              <a:gd name="connsiteY125" fmla="*/ 3353845 h 6328408"/>
              <a:gd name="connsiteX126" fmla="*/ 3138116 w 3203851"/>
              <a:gd name="connsiteY126" fmla="*/ 3363634 h 6328408"/>
              <a:gd name="connsiteX127" fmla="*/ 3143578 w 3203851"/>
              <a:gd name="connsiteY127" fmla="*/ 3380408 h 6328408"/>
              <a:gd name="connsiteX128" fmla="*/ 3162759 w 3203851"/>
              <a:gd name="connsiteY128" fmla="*/ 3463326 h 6328408"/>
              <a:gd name="connsiteX129" fmla="*/ 3171382 w 3203851"/>
              <a:gd name="connsiteY129" fmla="*/ 3498207 h 6328408"/>
              <a:gd name="connsiteX130" fmla="*/ 3172391 w 3203851"/>
              <a:gd name="connsiteY130" fmla="*/ 3504964 h 6328408"/>
              <a:gd name="connsiteX131" fmla="*/ 3175045 w 3203851"/>
              <a:gd name="connsiteY131" fmla="*/ 3516437 h 6328408"/>
              <a:gd name="connsiteX132" fmla="*/ 3189010 w 3203851"/>
              <a:gd name="connsiteY132" fmla="*/ 3616186 h 6328408"/>
              <a:gd name="connsiteX133" fmla="*/ 3193672 w 3203851"/>
              <a:gd name="connsiteY133" fmla="*/ 3647388 h 6328408"/>
              <a:gd name="connsiteX134" fmla="*/ 3193838 w 3203851"/>
              <a:gd name="connsiteY134" fmla="*/ 3650673 h 6328408"/>
              <a:gd name="connsiteX135" fmla="*/ 3194671 w 3203851"/>
              <a:gd name="connsiteY135" fmla="*/ 3656622 h 6328408"/>
              <a:gd name="connsiteX136" fmla="*/ 3197946 w 3203851"/>
              <a:gd name="connsiteY136" fmla="*/ 3725805 h 6328408"/>
              <a:gd name="connsiteX137" fmla="*/ 3201939 w 3203851"/>
              <a:gd name="connsiteY137" fmla="*/ 3725805 h 6328408"/>
              <a:gd name="connsiteX138" fmla="*/ 3201939 w 3203851"/>
              <a:gd name="connsiteY138" fmla="*/ 3789588 h 6328408"/>
              <a:gd name="connsiteX139" fmla="*/ 3201939 w 3203851"/>
              <a:gd name="connsiteY139" fmla="*/ 3810120 h 6328408"/>
              <a:gd name="connsiteX140" fmla="*/ 3201939 w 3203851"/>
              <a:gd name="connsiteY140" fmla="*/ 3810600 h 6328408"/>
              <a:gd name="connsiteX141" fmla="*/ 3203851 w 3203851"/>
              <a:gd name="connsiteY141" fmla="*/ 3810600 h 6328408"/>
              <a:gd name="connsiteX142" fmla="*/ 3203851 w 3203851"/>
              <a:gd name="connsiteY142" fmla="*/ 3834801 h 6328408"/>
              <a:gd name="connsiteX143" fmla="*/ 3203851 w 3203851"/>
              <a:gd name="connsiteY143" fmla="*/ 4008586 h 6328408"/>
              <a:gd name="connsiteX144" fmla="*/ 3203851 w 3203851"/>
              <a:gd name="connsiteY144" fmla="*/ 4106344 h 6328408"/>
              <a:gd name="connsiteX145" fmla="*/ 3203851 w 3203851"/>
              <a:gd name="connsiteY145" fmla="*/ 4223465 h 6328408"/>
              <a:gd name="connsiteX146" fmla="*/ 3203851 w 3203851"/>
              <a:gd name="connsiteY146" fmla="*/ 4247666 h 6328408"/>
              <a:gd name="connsiteX147" fmla="*/ 3203851 w 3203851"/>
              <a:gd name="connsiteY147" fmla="*/ 4315042 h 6328408"/>
              <a:gd name="connsiteX148" fmla="*/ 3203851 w 3203851"/>
              <a:gd name="connsiteY148" fmla="*/ 4399835 h 6328408"/>
              <a:gd name="connsiteX149" fmla="*/ 3203851 w 3203851"/>
              <a:gd name="connsiteY149" fmla="*/ 4421451 h 6328408"/>
              <a:gd name="connsiteX150" fmla="*/ 3203851 w 3203851"/>
              <a:gd name="connsiteY150" fmla="*/ 4519209 h 6328408"/>
              <a:gd name="connsiteX151" fmla="*/ 3203851 w 3203851"/>
              <a:gd name="connsiteY151" fmla="*/ 4727907 h 6328408"/>
              <a:gd name="connsiteX152" fmla="*/ 3203851 w 3203851"/>
              <a:gd name="connsiteY152" fmla="*/ 4812700 h 6328408"/>
              <a:gd name="connsiteX153" fmla="*/ 3201958 w 3203851"/>
              <a:gd name="connsiteY153" fmla="*/ 4812700 h 6328408"/>
              <a:gd name="connsiteX154" fmla="*/ 3201958 w 3203851"/>
              <a:gd name="connsiteY154" fmla="*/ 5915542 h 6328408"/>
              <a:gd name="connsiteX155" fmla="*/ 3201958 w 3203851"/>
              <a:gd name="connsiteY155" fmla="*/ 6328407 h 6328408"/>
              <a:gd name="connsiteX156" fmla="*/ 1602893 w 3203851"/>
              <a:gd name="connsiteY156" fmla="*/ 6328407 h 6328408"/>
              <a:gd name="connsiteX157" fmla="*/ 1601950 w 3203851"/>
              <a:gd name="connsiteY157" fmla="*/ 6328407 h 6328408"/>
              <a:gd name="connsiteX158" fmla="*/ 1601936 w 3203851"/>
              <a:gd name="connsiteY158" fmla="*/ 6328408 h 6328408"/>
              <a:gd name="connsiteX159" fmla="*/ 1601920 w 3203851"/>
              <a:gd name="connsiteY159" fmla="*/ 6328407 h 6328408"/>
              <a:gd name="connsiteX160" fmla="*/ 1526767 w 3203851"/>
              <a:gd name="connsiteY160" fmla="*/ 6328407 h 6328408"/>
              <a:gd name="connsiteX161" fmla="*/ 1526767 w 3203851"/>
              <a:gd name="connsiteY161" fmla="*/ 6324804 h 6328408"/>
              <a:gd name="connsiteX162" fmla="*/ 1449303 w 3203851"/>
              <a:gd name="connsiteY162" fmla="*/ 6321135 h 6328408"/>
              <a:gd name="connsiteX163" fmla="*/ 1444603 w 3203851"/>
              <a:gd name="connsiteY163" fmla="*/ 6320463 h 6328408"/>
              <a:gd name="connsiteX164" fmla="*/ 1438342 w 3203851"/>
              <a:gd name="connsiteY164" fmla="*/ 6320148 h 6328408"/>
              <a:gd name="connsiteX165" fmla="*/ 1162722 w 3203851"/>
              <a:gd name="connsiteY165" fmla="*/ 6267372 h 6328408"/>
              <a:gd name="connsiteX166" fmla="*/ 1156238 w 3203851"/>
              <a:gd name="connsiteY166" fmla="*/ 6265217 h 6328408"/>
              <a:gd name="connsiteX167" fmla="*/ 1155121 w 3203851"/>
              <a:gd name="connsiteY167" fmla="*/ 6264947 h 6328408"/>
              <a:gd name="connsiteX168" fmla="*/ 1143996 w 3203851"/>
              <a:gd name="connsiteY168" fmla="*/ 6261146 h 6328408"/>
              <a:gd name="connsiteX169" fmla="*/ 1031754 w 3203851"/>
              <a:gd name="connsiteY169" fmla="*/ 6223828 h 6328408"/>
              <a:gd name="connsiteX170" fmla="*/ 1020233 w 3203851"/>
              <a:gd name="connsiteY170" fmla="*/ 6218854 h 6328408"/>
              <a:gd name="connsiteX171" fmla="*/ 1015855 w 3203851"/>
              <a:gd name="connsiteY171" fmla="*/ 6217358 h 6328408"/>
              <a:gd name="connsiteX172" fmla="*/ 992184 w 3203851"/>
              <a:gd name="connsiteY172" fmla="*/ 6206745 h 6328408"/>
              <a:gd name="connsiteX173" fmla="*/ 906073 w 3203851"/>
              <a:gd name="connsiteY173" fmla="*/ 6169573 h 6328408"/>
              <a:gd name="connsiteX174" fmla="*/ 890003 w 3203851"/>
              <a:gd name="connsiteY174" fmla="*/ 6160935 h 6328408"/>
              <a:gd name="connsiteX175" fmla="*/ 882689 w 3203851"/>
              <a:gd name="connsiteY175" fmla="*/ 6157656 h 6328408"/>
              <a:gd name="connsiteX176" fmla="*/ 857004 w 3203851"/>
              <a:gd name="connsiteY176" fmla="*/ 6143197 h 6328408"/>
              <a:gd name="connsiteX177" fmla="*/ 786229 w 3203851"/>
              <a:gd name="connsiteY177" fmla="*/ 6105154 h 6328408"/>
              <a:gd name="connsiteX178" fmla="*/ 766170 w 3203851"/>
              <a:gd name="connsiteY178" fmla="*/ 6092065 h 6328408"/>
              <a:gd name="connsiteX179" fmla="*/ 756287 w 3203851"/>
              <a:gd name="connsiteY179" fmla="*/ 6086504 h 6328408"/>
              <a:gd name="connsiteX180" fmla="*/ 731831 w 3203851"/>
              <a:gd name="connsiteY180" fmla="*/ 6069659 h 6328408"/>
              <a:gd name="connsiteX181" fmla="*/ 672763 w 3203851"/>
              <a:gd name="connsiteY181" fmla="*/ 6031117 h 6328408"/>
              <a:gd name="connsiteX182" fmla="*/ 649359 w 3203851"/>
              <a:gd name="connsiteY182" fmla="*/ 6012859 h 6328408"/>
              <a:gd name="connsiteX183" fmla="*/ 637313 w 3203851"/>
              <a:gd name="connsiteY183" fmla="*/ 6004565 h 6328408"/>
              <a:gd name="connsiteX184" fmla="*/ 615380 w 3203851"/>
              <a:gd name="connsiteY184" fmla="*/ 5986354 h 6328408"/>
              <a:gd name="connsiteX185" fmla="*/ 566225 w 3203851"/>
              <a:gd name="connsiteY185" fmla="*/ 5948007 h 6328408"/>
              <a:gd name="connsiteX186" fmla="*/ 540188 w 3203851"/>
              <a:gd name="connsiteY186" fmla="*/ 5923923 h 6328408"/>
              <a:gd name="connsiteX187" fmla="*/ 526430 w 3203851"/>
              <a:gd name="connsiteY187" fmla="*/ 5912501 h 6328408"/>
              <a:gd name="connsiteX188" fmla="*/ 507558 w 3203851"/>
              <a:gd name="connsiteY188" fmla="*/ 5893743 h 6328408"/>
              <a:gd name="connsiteX189" fmla="*/ 467159 w 3203851"/>
              <a:gd name="connsiteY189" fmla="*/ 5856373 h 6328408"/>
              <a:gd name="connsiteX190" fmla="*/ 439274 w 3203851"/>
              <a:gd name="connsiteY190" fmla="*/ 5825863 h 6328408"/>
              <a:gd name="connsiteX191" fmla="*/ 424299 w 3203851"/>
              <a:gd name="connsiteY191" fmla="*/ 5810978 h 6328408"/>
              <a:gd name="connsiteX192" fmla="*/ 408660 w 3203851"/>
              <a:gd name="connsiteY192" fmla="*/ 5792369 h 6328408"/>
              <a:gd name="connsiteX193" fmla="*/ 376113 w 3203851"/>
              <a:gd name="connsiteY193" fmla="*/ 5756758 h 6328408"/>
              <a:gd name="connsiteX194" fmla="*/ 347228 w 3203851"/>
              <a:gd name="connsiteY194" fmla="*/ 5719270 h 6328408"/>
              <a:gd name="connsiteX195" fmla="*/ 331585 w 3203851"/>
              <a:gd name="connsiteY195" fmla="*/ 5700658 h 6328408"/>
              <a:gd name="connsiteX196" fmla="*/ 319137 w 3203851"/>
              <a:gd name="connsiteY196" fmla="*/ 5682812 h 6328408"/>
              <a:gd name="connsiteX197" fmla="*/ 293630 w 3203851"/>
              <a:gd name="connsiteY197" fmla="*/ 5649710 h 6328408"/>
              <a:gd name="connsiteX198" fmla="*/ 264657 w 3203851"/>
              <a:gd name="connsiteY198" fmla="*/ 5604716 h 6328408"/>
              <a:gd name="connsiteX199" fmla="*/ 248950 w 3203851"/>
              <a:gd name="connsiteY199" fmla="*/ 5582202 h 6328408"/>
              <a:gd name="connsiteX200" fmla="*/ 239513 w 3203851"/>
              <a:gd name="connsiteY200" fmla="*/ 5565672 h 6328408"/>
              <a:gd name="connsiteX201" fmla="*/ 220260 w 3203851"/>
              <a:gd name="connsiteY201" fmla="*/ 5535773 h 6328408"/>
              <a:gd name="connsiteX202" fmla="*/ 192164 w 3203851"/>
              <a:gd name="connsiteY202" fmla="*/ 5482732 h 6328408"/>
              <a:gd name="connsiteX203" fmla="*/ 177059 w 3203851"/>
              <a:gd name="connsiteY203" fmla="*/ 5456275 h 6328408"/>
              <a:gd name="connsiteX204" fmla="*/ 170352 w 3203851"/>
              <a:gd name="connsiteY204" fmla="*/ 5441557 h 6328408"/>
              <a:gd name="connsiteX205" fmla="*/ 156546 w 3203851"/>
              <a:gd name="connsiteY205" fmla="*/ 5415495 h 6328408"/>
              <a:gd name="connsiteX206" fmla="*/ 130342 w 3203851"/>
              <a:gd name="connsiteY206" fmla="*/ 5353756 h 6328408"/>
              <a:gd name="connsiteX207" fmla="*/ 116572 w 3203851"/>
              <a:gd name="connsiteY207" fmla="*/ 5323539 h 6328408"/>
              <a:gd name="connsiteX208" fmla="*/ 112230 w 3203851"/>
              <a:gd name="connsiteY208" fmla="*/ 5311085 h 6328408"/>
              <a:gd name="connsiteX209" fmla="*/ 103034 w 3203851"/>
              <a:gd name="connsiteY209" fmla="*/ 5289421 h 6328408"/>
              <a:gd name="connsiteX210" fmla="*/ 79788 w 3203851"/>
              <a:gd name="connsiteY210" fmla="*/ 5218031 h 6328408"/>
              <a:gd name="connsiteX211" fmla="*/ 68155 w 3203851"/>
              <a:gd name="connsiteY211" fmla="*/ 5184660 h 6328408"/>
              <a:gd name="connsiteX212" fmla="*/ 65735 w 3203851"/>
              <a:gd name="connsiteY212" fmla="*/ 5174872 h 6328408"/>
              <a:gd name="connsiteX213" fmla="*/ 60272 w 3203851"/>
              <a:gd name="connsiteY213" fmla="*/ 5158096 h 6328408"/>
              <a:gd name="connsiteX214" fmla="*/ 41092 w 3203851"/>
              <a:gd name="connsiteY214" fmla="*/ 5075179 h 6328408"/>
              <a:gd name="connsiteX215" fmla="*/ 32469 w 3203851"/>
              <a:gd name="connsiteY215" fmla="*/ 5040298 h 6328408"/>
              <a:gd name="connsiteX216" fmla="*/ 31460 w 3203851"/>
              <a:gd name="connsiteY216" fmla="*/ 5033541 h 6328408"/>
              <a:gd name="connsiteX217" fmla="*/ 28806 w 3203851"/>
              <a:gd name="connsiteY217" fmla="*/ 5022069 h 6328408"/>
              <a:gd name="connsiteX218" fmla="*/ 14841 w 3203851"/>
              <a:gd name="connsiteY218" fmla="*/ 4922319 h 6328408"/>
              <a:gd name="connsiteX219" fmla="*/ 10178 w 3203851"/>
              <a:gd name="connsiteY219" fmla="*/ 4891118 h 6328408"/>
              <a:gd name="connsiteX220" fmla="*/ 10012 w 3203851"/>
              <a:gd name="connsiteY220" fmla="*/ 4887832 h 6328408"/>
              <a:gd name="connsiteX221" fmla="*/ 9179 w 3203851"/>
              <a:gd name="connsiteY221" fmla="*/ 4881884 h 6328408"/>
              <a:gd name="connsiteX222" fmla="*/ 5904 w 3203851"/>
              <a:gd name="connsiteY222" fmla="*/ 4812700 h 6328408"/>
              <a:gd name="connsiteX223" fmla="*/ 1912 w 3203851"/>
              <a:gd name="connsiteY223" fmla="*/ 4812700 h 6328408"/>
              <a:gd name="connsiteX224" fmla="*/ 1912 w 3203851"/>
              <a:gd name="connsiteY224" fmla="*/ 4748916 h 6328408"/>
              <a:gd name="connsiteX225" fmla="*/ 1912 w 3203851"/>
              <a:gd name="connsiteY225" fmla="*/ 4728385 h 6328408"/>
              <a:gd name="connsiteX226" fmla="*/ 1912 w 3203851"/>
              <a:gd name="connsiteY226" fmla="*/ 4727907 h 6328408"/>
              <a:gd name="connsiteX227" fmla="*/ 1912 w 3203851"/>
              <a:gd name="connsiteY227" fmla="*/ 4727906 h 6328408"/>
              <a:gd name="connsiteX228" fmla="*/ 0 w 3203851"/>
              <a:gd name="connsiteY228" fmla="*/ 4727906 h 6328408"/>
              <a:gd name="connsiteX229" fmla="*/ 0 w 3203851"/>
              <a:gd name="connsiteY229" fmla="*/ 4519209 h 6328408"/>
              <a:gd name="connsiteX230" fmla="*/ 0 w 3203851"/>
              <a:gd name="connsiteY230" fmla="*/ 4421451 h 6328408"/>
              <a:gd name="connsiteX231" fmla="*/ 0 w 3203851"/>
              <a:gd name="connsiteY231" fmla="*/ 4315041 h 6328408"/>
              <a:gd name="connsiteX232" fmla="*/ 0 w 3203851"/>
              <a:gd name="connsiteY232" fmla="*/ 4247666 h 6328408"/>
              <a:gd name="connsiteX233" fmla="*/ 0 w 3203851"/>
              <a:gd name="connsiteY233" fmla="*/ 4223465 h 6328408"/>
              <a:gd name="connsiteX234" fmla="*/ 0 w 3203851"/>
              <a:gd name="connsiteY234" fmla="*/ 4138670 h 6328408"/>
              <a:gd name="connsiteX235" fmla="*/ 0 w 3203851"/>
              <a:gd name="connsiteY235" fmla="*/ 4106344 h 6328408"/>
              <a:gd name="connsiteX236" fmla="*/ 0 w 3203851"/>
              <a:gd name="connsiteY236" fmla="*/ 4008586 h 6328408"/>
              <a:gd name="connsiteX237" fmla="*/ 0 w 3203851"/>
              <a:gd name="connsiteY237" fmla="*/ 3834801 h 6328408"/>
              <a:gd name="connsiteX238" fmla="*/ 0 w 3203851"/>
              <a:gd name="connsiteY238" fmla="*/ 3810600 h 6328408"/>
              <a:gd name="connsiteX239" fmla="*/ 0 w 3203851"/>
              <a:gd name="connsiteY239" fmla="*/ 3725805 h 6328408"/>
              <a:gd name="connsiteX240" fmla="*/ 1892 w 3203851"/>
              <a:gd name="connsiteY240" fmla="*/ 3725805 h 6328408"/>
              <a:gd name="connsiteX241" fmla="*/ 1892 w 3203851"/>
              <a:gd name="connsiteY241" fmla="*/ 2622963 h 6328408"/>
              <a:gd name="connsiteX242" fmla="*/ 1892 w 3203851"/>
              <a:gd name="connsiteY242" fmla="*/ 2210098 h 6328408"/>
              <a:gd name="connsiteX243" fmla="*/ 6868 w 3203851"/>
              <a:gd name="connsiteY243" fmla="*/ 2210098 h 6328408"/>
              <a:gd name="connsiteX244" fmla="*/ 5904 w 3203851"/>
              <a:gd name="connsiteY244" fmla="*/ 2189738 h 6328408"/>
              <a:gd name="connsiteX245" fmla="*/ 1911 w 3203851"/>
              <a:gd name="connsiteY245" fmla="*/ 2189738 h 6328408"/>
              <a:gd name="connsiteX246" fmla="*/ 1911 w 3203851"/>
              <a:gd name="connsiteY246" fmla="*/ 2125955 h 6328408"/>
              <a:gd name="connsiteX247" fmla="*/ 1911 w 3203851"/>
              <a:gd name="connsiteY247" fmla="*/ 2105423 h 6328408"/>
              <a:gd name="connsiteX248" fmla="*/ 1911 w 3203851"/>
              <a:gd name="connsiteY248" fmla="*/ 2104943 h 6328408"/>
              <a:gd name="connsiteX249" fmla="*/ 0 w 3203851"/>
              <a:gd name="connsiteY249" fmla="*/ 2104943 h 6328408"/>
              <a:gd name="connsiteX250" fmla="*/ 0 w 3203851"/>
              <a:gd name="connsiteY250" fmla="*/ 2080742 h 6328408"/>
              <a:gd name="connsiteX251" fmla="*/ 0 w 3203851"/>
              <a:gd name="connsiteY251" fmla="*/ 1906957 h 6328408"/>
              <a:gd name="connsiteX252" fmla="*/ 0 w 3203851"/>
              <a:gd name="connsiteY252" fmla="*/ 1809199 h 6328408"/>
              <a:gd name="connsiteX253" fmla="*/ 0 w 3203851"/>
              <a:gd name="connsiteY253" fmla="*/ 1600501 h 6328408"/>
              <a:gd name="connsiteX254" fmla="*/ 0 w 3203851"/>
              <a:gd name="connsiteY254" fmla="*/ 1515708 h 6328408"/>
              <a:gd name="connsiteX255" fmla="*/ 1893 w 3203851"/>
              <a:gd name="connsiteY255" fmla="*/ 1515708 h 6328408"/>
              <a:gd name="connsiteX256" fmla="*/ 1893 w 3203851"/>
              <a:gd name="connsiteY256" fmla="*/ 1 h 6328408"/>
              <a:gd name="connsiteX257" fmla="*/ 1600957 w 3203851"/>
              <a:gd name="connsiteY257" fmla="*/ 1 h 6328408"/>
              <a:gd name="connsiteX258" fmla="*/ 1601900 w 3203851"/>
              <a:gd name="connsiteY258" fmla="*/ 1 h 6328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Lst>
            <a:rect l="l" t="t" r="r" b="b"/>
            <a:pathLst>
              <a:path w="3203851" h="6328408">
                <a:moveTo>
                  <a:pt x="1601915" y="0"/>
                </a:moveTo>
                <a:lnTo>
                  <a:pt x="1601931" y="1"/>
                </a:lnTo>
                <a:lnTo>
                  <a:pt x="1677083" y="1"/>
                </a:lnTo>
                <a:lnTo>
                  <a:pt x="1677083" y="3604"/>
                </a:lnTo>
                <a:lnTo>
                  <a:pt x="1754548" y="7273"/>
                </a:lnTo>
                <a:lnTo>
                  <a:pt x="1759248" y="7945"/>
                </a:lnTo>
                <a:lnTo>
                  <a:pt x="1765508" y="8260"/>
                </a:lnTo>
                <a:cubicBezTo>
                  <a:pt x="1860058" y="17863"/>
                  <a:pt x="1952173" y="35697"/>
                  <a:pt x="2041128" y="61036"/>
                </a:cubicBezTo>
                <a:lnTo>
                  <a:pt x="2047613" y="63191"/>
                </a:lnTo>
                <a:lnTo>
                  <a:pt x="2048730" y="63461"/>
                </a:lnTo>
                <a:lnTo>
                  <a:pt x="2059855" y="67262"/>
                </a:lnTo>
                <a:lnTo>
                  <a:pt x="2172097" y="104580"/>
                </a:lnTo>
                <a:lnTo>
                  <a:pt x="2183618" y="109554"/>
                </a:lnTo>
                <a:lnTo>
                  <a:pt x="2187996" y="111050"/>
                </a:lnTo>
                <a:lnTo>
                  <a:pt x="2211667" y="121663"/>
                </a:lnTo>
                <a:lnTo>
                  <a:pt x="2297777" y="158835"/>
                </a:lnTo>
                <a:lnTo>
                  <a:pt x="2313848" y="167473"/>
                </a:lnTo>
                <a:lnTo>
                  <a:pt x="2321162" y="170752"/>
                </a:lnTo>
                <a:lnTo>
                  <a:pt x="2346847" y="185211"/>
                </a:lnTo>
                <a:lnTo>
                  <a:pt x="2417622" y="223254"/>
                </a:lnTo>
                <a:lnTo>
                  <a:pt x="2437680" y="236343"/>
                </a:lnTo>
                <a:lnTo>
                  <a:pt x="2447564" y="241904"/>
                </a:lnTo>
                <a:lnTo>
                  <a:pt x="2472020" y="258749"/>
                </a:lnTo>
                <a:lnTo>
                  <a:pt x="2531088" y="297291"/>
                </a:lnTo>
                <a:lnTo>
                  <a:pt x="2554492" y="315549"/>
                </a:lnTo>
                <a:lnTo>
                  <a:pt x="2566538" y="323843"/>
                </a:lnTo>
                <a:lnTo>
                  <a:pt x="2588470" y="342054"/>
                </a:lnTo>
                <a:lnTo>
                  <a:pt x="2637626" y="380401"/>
                </a:lnTo>
                <a:lnTo>
                  <a:pt x="2663663" y="404485"/>
                </a:lnTo>
                <a:lnTo>
                  <a:pt x="2677421" y="415907"/>
                </a:lnTo>
                <a:lnTo>
                  <a:pt x="2696292" y="434665"/>
                </a:lnTo>
                <a:lnTo>
                  <a:pt x="2736691" y="472035"/>
                </a:lnTo>
                <a:lnTo>
                  <a:pt x="2764577" y="502545"/>
                </a:lnTo>
                <a:lnTo>
                  <a:pt x="2779552" y="517430"/>
                </a:lnTo>
                <a:lnTo>
                  <a:pt x="2795191" y="536039"/>
                </a:lnTo>
                <a:lnTo>
                  <a:pt x="2827738" y="571650"/>
                </a:lnTo>
                <a:lnTo>
                  <a:pt x="2856623" y="609138"/>
                </a:lnTo>
                <a:lnTo>
                  <a:pt x="2872266" y="627750"/>
                </a:lnTo>
                <a:lnTo>
                  <a:pt x="2884714" y="645596"/>
                </a:lnTo>
                <a:lnTo>
                  <a:pt x="2910220" y="678698"/>
                </a:lnTo>
                <a:lnTo>
                  <a:pt x="2939193" y="723692"/>
                </a:lnTo>
                <a:lnTo>
                  <a:pt x="2954901" y="746206"/>
                </a:lnTo>
                <a:lnTo>
                  <a:pt x="2964338" y="762736"/>
                </a:lnTo>
                <a:lnTo>
                  <a:pt x="2983591" y="792635"/>
                </a:lnTo>
                <a:lnTo>
                  <a:pt x="3011687" y="845676"/>
                </a:lnTo>
                <a:lnTo>
                  <a:pt x="3026792" y="872133"/>
                </a:lnTo>
                <a:lnTo>
                  <a:pt x="3033499" y="886851"/>
                </a:lnTo>
                <a:lnTo>
                  <a:pt x="3047305" y="912913"/>
                </a:lnTo>
                <a:lnTo>
                  <a:pt x="3073509" y="974652"/>
                </a:lnTo>
                <a:lnTo>
                  <a:pt x="3087279" y="1004869"/>
                </a:lnTo>
                <a:lnTo>
                  <a:pt x="3091621" y="1017323"/>
                </a:lnTo>
                <a:lnTo>
                  <a:pt x="3100816" y="1038987"/>
                </a:lnTo>
                <a:lnTo>
                  <a:pt x="3124063" y="1110377"/>
                </a:lnTo>
                <a:lnTo>
                  <a:pt x="3135696" y="1143748"/>
                </a:lnTo>
                <a:lnTo>
                  <a:pt x="3138116" y="1153536"/>
                </a:lnTo>
                <a:lnTo>
                  <a:pt x="3143578" y="1170312"/>
                </a:lnTo>
                <a:lnTo>
                  <a:pt x="3162759" y="1253229"/>
                </a:lnTo>
                <a:lnTo>
                  <a:pt x="3171382" y="1288110"/>
                </a:lnTo>
                <a:lnTo>
                  <a:pt x="3172391" y="1294867"/>
                </a:lnTo>
                <a:lnTo>
                  <a:pt x="3175045" y="1306339"/>
                </a:lnTo>
                <a:lnTo>
                  <a:pt x="3189010" y="1406089"/>
                </a:lnTo>
                <a:lnTo>
                  <a:pt x="3193673" y="1437290"/>
                </a:lnTo>
                <a:lnTo>
                  <a:pt x="3193839" y="1440576"/>
                </a:lnTo>
                <a:lnTo>
                  <a:pt x="3194671" y="1446524"/>
                </a:lnTo>
                <a:lnTo>
                  <a:pt x="3197947" y="1515708"/>
                </a:lnTo>
                <a:lnTo>
                  <a:pt x="3201939" y="1515708"/>
                </a:lnTo>
                <a:lnTo>
                  <a:pt x="3201939" y="1579492"/>
                </a:lnTo>
                <a:lnTo>
                  <a:pt x="3201939" y="1600023"/>
                </a:lnTo>
                <a:lnTo>
                  <a:pt x="3201939" y="1600501"/>
                </a:lnTo>
                <a:lnTo>
                  <a:pt x="3201939" y="1600502"/>
                </a:lnTo>
                <a:lnTo>
                  <a:pt x="3203851" y="1600502"/>
                </a:lnTo>
                <a:lnTo>
                  <a:pt x="3203851" y="1809199"/>
                </a:lnTo>
                <a:lnTo>
                  <a:pt x="3203851" y="1906957"/>
                </a:lnTo>
                <a:lnTo>
                  <a:pt x="3203851" y="2080742"/>
                </a:lnTo>
                <a:lnTo>
                  <a:pt x="3203851" y="2104943"/>
                </a:lnTo>
                <a:lnTo>
                  <a:pt x="3203851" y="2189738"/>
                </a:lnTo>
                <a:lnTo>
                  <a:pt x="3201959" y="2189738"/>
                </a:lnTo>
                <a:lnTo>
                  <a:pt x="3201959" y="2222055"/>
                </a:lnTo>
                <a:lnTo>
                  <a:pt x="1784816" y="2222055"/>
                </a:lnTo>
                <a:lnTo>
                  <a:pt x="2041128" y="2271133"/>
                </a:lnTo>
                <a:lnTo>
                  <a:pt x="2047613" y="2273288"/>
                </a:lnTo>
                <a:lnTo>
                  <a:pt x="2048730" y="2273558"/>
                </a:lnTo>
                <a:lnTo>
                  <a:pt x="2059854" y="2277361"/>
                </a:lnTo>
                <a:lnTo>
                  <a:pt x="2172097" y="2314678"/>
                </a:lnTo>
                <a:lnTo>
                  <a:pt x="2183618" y="2319652"/>
                </a:lnTo>
                <a:lnTo>
                  <a:pt x="2187996" y="2321147"/>
                </a:lnTo>
                <a:lnTo>
                  <a:pt x="2211667" y="2331760"/>
                </a:lnTo>
                <a:lnTo>
                  <a:pt x="2297776" y="2368932"/>
                </a:lnTo>
                <a:lnTo>
                  <a:pt x="2313848" y="2377571"/>
                </a:lnTo>
                <a:lnTo>
                  <a:pt x="2321162" y="2380850"/>
                </a:lnTo>
                <a:lnTo>
                  <a:pt x="2346847" y="2395308"/>
                </a:lnTo>
                <a:lnTo>
                  <a:pt x="2417622" y="2433352"/>
                </a:lnTo>
                <a:lnTo>
                  <a:pt x="2437680" y="2446440"/>
                </a:lnTo>
                <a:lnTo>
                  <a:pt x="2447563" y="2452002"/>
                </a:lnTo>
                <a:lnTo>
                  <a:pt x="2472020" y="2468846"/>
                </a:lnTo>
                <a:lnTo>
                  <a:pt x="2531088" y="2507389"/>
                </a:lnTo>
                <a:lnTo>
                  <a:pt x="2554493" y="2525646"/>
                </a:lnTo>
                <a:lnTo>
                  <a:pt x="2566537" y="2533941"/>
                </a:lnTo>
                <a:lnTo>
                  <a:pt x="2588470" y="2552153"/>
                </a:lnTo>
                <a:lnTo>
                  <a:pt x="2637626" y="2590497"/>
                </a:lnTo>
                <a:lnTo>
                  <a:pt x="2663663" y="2614582"/>
                </a:lnTo>
                <a:lnTo>
                  <a:pt x="2677421" y="2626004"/>
                </a:lnTo>
                <a:lnTo>
                  <a:pt x="2696292" y="2644763"/>
                </a:lnTo>
                <a:lnTo>
                  <a:pt x="2736691" y="2682132"/>
                </a:lnTo>
                <a:lnTo>
                  <a:pt x="2764577" y="2712642"/>
                </a:lnTo>
                <a:lnTo>
                  <a:pt x="2779552" y="2727528"/>
                </a:lnTo>
                <a:lnTo>
                  <a:pt x="2795191" y="2746137"/>
                </a:lnTo>
                <a:lnTo>
                  <a:pt x="2827737" y="2781747"/>
                </a:lnTo>
                <a:lnTo>
                  <a:pt x="2856623" y="2819235"/>
                </a:lnTo>
                <a:lnTo>
                  <a:pt x="2872266" y="2837848"/>
                </a:lnTo>
                <a:lnTo>
                  <a:pt x="2884714" y="2855694"/>
                </a:lnTo>
                <a:lnTo>
                  <a:pt x="2910220" y="2888796"/>
                </a:lnTo>
                <a:lnTo>
                  <a:pt x="2939193" y="2933789"/>
                </a:lnTo>
                <a:lnTo>
                  <a:pt x="2954900" y="2956304"/>
                </a:lnTo>
                <a:lnTo>
                  <a:pt x="2964337" y="2972833"/>
                </a:lnTo>
                <a:lnTo>
                  <a:pt x="2983591" y="3002732"/>
                </a:lnTo>
                <a:lnTo>
                  <a:pt x="3011686" y="3055774"/>
                </a:lnTo>
                <a:lnTo>
                  <a:pt x="3026792" y="3082230"/>
                </a:lnTo>
                <a:lnTo>
                  <a:pt x="3033499" y="3096949"/>
                </a:lnTo>
                <a:lnTo>
                  <a:pt x="3047304" y="3123010"/>
                </a:lnTo>
                <a:lnTo>
                  <a:pt x="3073509" y="3184749"/>
                </a:lnTo>
                <a:lnTo>
                  <a:pt x="3087278" y="3214966"/>
                </a:lnTo>
                <a:lnTo>
                  <a:pt x="3091621" y="3227421"/>
                </a:lnTo>
                <a:lnTo>
                  <a:pt x="3100816" y="3249084"/>
                </a:lnTo>
                <a:lnTo>
                  <a:pt x="3124062" y="3320475"/>
                </a:lnTo>
                <a:lnTo>
                  <a:pt x="3135696" y="3353845"/>
                </a:lnTo>
                <a:lnTo>
                  <a:pt x="3138116" y="3363634"/>
                </a:lnTo>
                <a:lnTo>
                  <a:pt x="3143578" y="3380408"/>
                </a:lnTo>
                <a:lnTo>
                  <a:pt x="3162759" y="3463326"/>
                </a:lnTo>
                <a:lnTo>
                  <a:pt x="3171382" y="3498207"/>
                </a:lnTo>
                <a:lnTo>
                  <a:pt x="3172391" y="3504964"/>
                </a:lnTo>
                <a:lnTo>
                  <a:pt x="3175045" y="3516437"/>
                </a:lnTo>
                <a:lnTo>
                  <a:pt x="3189010" y="3616186"/>
                </a:lnTo>
                <a:lnTo>
                  <a:pt x="3193672" y="3647388"/>
                </a:lnTo>
                <a:lnTo>
                  <a:pt x="3193838" y="3650673"/>
                </a:lnTo>
                <a:lnTo>
                  <a:pt x="3194671" y="3656622"/>
                </a:lnTo>
                <a:lnTo>
                  <a:pt x="3197946" y="3725805"/>
                </a:lnTo>
                <a:lnTo>
                  <a:pt x="3201939" y="3725805"/>
                </a:lnTo>
                <a:lnTo>
                  <a:pt x="3201939" y="3789588"/>
                </a:lnTo>
                <a:lnTo>
                  <a:pt x="3201939" y="3810120"/>
                </a:lnTo>
                <a:lnTo>
                  <a:pt x="3201939" y="3810600"/>
                </a:lnTo>
                <a:lnTo>
                  <a:pt x="3203851" y="3810600"/>
                </a:lnTo>
                <a:lnTo>
                  <a:pt x="3203851" y="3834801"/>
                </a:lnTo>
                <a:lnTo>
                  <a:pt x="3203851" y="4008586"/>
                </a:lnTo>
                <a:lnTo>
                  <a:pt x="3203851" y="4106344"/>
                </a:lnTo>
                <a:lnTo>
                  <a:pt x="3203851" y="4223465"/>
                </a:lnTo>
                <a:lnTo>
                  <a:pt x="3203851" y="4247666"/>
                </a:lnTo>
                <a:lnTo>
                  <a:pt x="3203851" y="4315042"/>
                </a:lnTo>
                <a:lnTo>
                  <a:pt x="3203851" y="4399835"/>
                </a:lnTo>
                <a:lnTo>
                  <a:pt x="3203851" y="4421451"/>
                </a:lnTo>
                <a:lnTo>
                  <a:pt x="3203851" y="4519209"/>
                </a:lnTo>
                <a:lnTo>
                  <a:pt x="3203851" y="4727907"/>
                </a:lnTo>
                <a:lnTo>
                  <a:pt x="3203851" y="4812700"/>
                </a:lnTo>
                <a:lnTo>
                  <a:pt x="3201958" y="4812700"/>
                </a:lnTo>
                <a:lnTo>
                  <a:pt x="3201958" y="5915542"/>
                </a:lnTo>
                <a:lnTo>
                  <a:pt x="3201958" y="6328407"/>
                </a:lnTo>
                <a:lnTo>
                  <a:pt x="1602893" y="6328407"/>
                </a:lnTo>
                <a:lnTo>
                  <a:pt x="1601950" y="6328407"/>
                </a:lnTo>
                <a:lnTo>
                  <a:pt x="1601936" y="6328408"/>
                </a:lnTo>
                <a:lnTo>
                  <a:pt x="1601920" y="6328407"/>
                </a:lnTo>
                <a:lnTo>
                  <a:pt x="1526767" y="6328407"/>
                </a:lnTo>
                <a:lnTo>
                  <a:pt x="1526767" y="6324804"/>
                </a:lnTo>
                <a:lnTo>
                  <a:pt x="1449303" y="6321135"/>
                </a:lnTo>
                <a:lnTo>
                  <a:pt x="1444603" y="6320463"/>
                </a:lnTo>
                <a:lnTo>
                  <a:pt x="1438342" y="6320148"/>
                </a:lnTo>
                <a:cubicBezTo>
                  <a:pt x="1343793" y="6310545"/>
                  <a:pt x="1251678" y="6292711"/>
                  <a:pt x="1162722" y="6267372"/>
                </a:cubicBezTo>
                <a:lnTo>
                  <a:pt x="1156238" y="6265217"/>
                </a:lnTo>
                <a:lnTo>
                  <a:pt x="1155121" y="6264947"/>
                </a:lnTo>
                <a:lnTo>
                  <a:pt x="1143996" y="6261146"/>
                </a:lnTo>
                <a:lnTo>
                  <a:pt x="1031754" y="6223828"/>
                </a:lnTo>
                <a:lnTo>
                  <a:pt x="1020233" y="6218854"/>
                </a:lnTo>
                <a:lnTo>
                  <a:pt x="1015855" y="6217358"/>
                </a:lnTo>
                <a:lnTo>
                  <a:pt x="992184" y="6206745"/>
                </a:lnTo>
                <a:lnTo>
                  <a:pt x="906073" y="6169573"/>
                </a:lnTo>
                <a:lnTo>
                  <a:pt x="890003" y="6160935"/>
                </a:lnTo>
                <a:lnTo>
                  <a:pt x="882689" y="6157656"/>
                </a:lnTo>
                <a:lnTo>
                  <a:pt x="857004" y="6143197"/>
                </a:lnTo>
                <a:lnTo>
                  <a:pt x="786229" y="6105154"/>
                </a:lnTo>
                <a:lnTo>
                  <a:pt x="766170" y="6092065"/>
                </a:lnTo>
                <a:lnTo>
                  <a:pt x="756287" y="6086504"/>
                </a:lnTo>
                <a:lnTo>
                  <a:pt x="731831" y="6069659"/>
                </a:lnTo>
                <a:lnTo>
                  <a:pt x="672763" y="6031117"/>
                </a:lnTo>
                <a:lnTo>
                  <a:pt x="649359" y="6012859"/>
                </a:lnTo>
                <a:lnTo>
                  <a:pt x="637313" y="6004565"/>
                </a:lnTo>
                <a:lnTo>
                  <a:pt x="615380" y="5986354"/>
                </a:lnTo>
                <a:lnTo>
                  <a:pt x="566225" y="5948007"/>
                </a:lnTo>
                <a:lnTo>
                  <a:pt x="540188" y="5923923"/>
                </a:lnTo>
                <a:lnTo>
                  <a:pt x="526430" y="5912501"/>
                </a:lnTo>
                <a:lnTo>
                  <a:pt x="507558" y="5893743"/>
                </a:lnTo>
                <a:lnTo>
                  <a:pt x="467159" y="5856373"/>
                </a:lnTo>
                <a:lnTo>
                  <a:pt x="439274" y="5825863"/>
                </a:lnTo>
                <a:lnTo>
                  <a:pt x="424299" y="5810978"/>
                </a:lnTo>
                <a:lnTo>
                  <a:pt x="408660" y="5792369"/>
                </a:lnTo>
                <a:lnTo>
                  <a:pt x="376113" y="5756758"/>
                </a:lnTo>
                <a:lnTo>
                  <a:pt x="347228" y="5719270"/>
                </a:lnTo>
                <a:lnTo>
                  <a:pt x="331585" y="5700658"/>
                </a:lnTo>
                <a:lnTo>
                  <a:pt x="319137" y="5682812"/>
                </a:lnTo>
                <a:lnTo>
                  <a:pt x="293630" y="5649710"/>
                </a:lnTo>
                <a:lnTo>
                  <a:pt x="264657" y="5604716"/>
                </a:lnTo>
                <a:lnTo>
                  <a:pt x="248950" y="5582202"/>
                </a:lnTo>
                <a:lnTo>
                  <a:pt x="239513" y="5565672"/>
                </a:lnTo>
                <a:lnTo>
                  <a:pt x="220260" y="5535773"/>
                </a:lnTo>
                <a:lnTo>
                  <a:pt x="192164" y="5482732"/>
                </a:lnTo>
                <a:lnTo>
                  <a:pt x="177059" y="5456275"/>
                </a:lnTo>
                <a:lnTo>
                  <a:pt x="170352" y="5441557"/>
                </a:lnTo>
                <a:lnTo>
                  <a:pt x="156546" y="5415495"/>
                </a:lnTo>
                <a:lnTo>
                  <a:pt x="130342" y="5353756"/>
                </a:lnTo>
                <a:lnTo>
                  <a:pt x="116572" y="5323539"/>
                </a:lnTo>
                <a:lnTo>
                  <a:pt x="112230" y="5311085"/>
                </a:lnTo>
                <a:lnTo>
                  <a:pt x="103034" y="5289421"/>
                </a:lnTo>
                <a:lnTo>
                  <a:pt x="79788" y="5218031"/>
                </a:lnTo>
                <a:lnTo>
                  <a:pt x="68155" y="5184660"/>
                </a:lnTo>
                <a:lnTo>
                  <a:pt x="65735" y="5174872"/>
                </a:lnTo>
                <a:lnTo>
                  <a:pt x="60272" y="5158096"/>
                </a:lnTo>
                <a:lnTo>
                  <a:pt x="41092" y="5075179"/>
                </a:lnTo>
                <a:lnTo>
                  <a:pt x="32469" y="5040298"/>
                </a:lnTo>
                <a:lnTo>
                  <a:pt x="31460" y="5033541"/>
                </a:lnTo>
                <a:lnTo>
                  <a:pt x="28806" y="5022069"/>
                </a:lnTo>
                <a:lnTo>
                  <a:pt x="14841" y="4922319"/>
                </a:lnTo>
                <a:lnTo>
                  <a:pt x="10178" y="4891118"/>
                </a:lnTo>
                <a:lnTo>
                  <a:pt x="10012" y="4887832"/>
                </a:lnTo>
                <a:lnTo>
                  <a:pt x="9179" y="4881884"/>
                </a:lnTo>
                <a:lnTo>
                  <a:pt x="5904" y="4812700"/>
                </a:lnTo>
                <a:lnTo>
                  <a:pt x="1912" y="4812700"/>
                </a:lnTo>
                <a:lnTo>
                  <a:pt x="1912" y="4748916"/>
                </a:lnTo>
                <a:lnTo>
                  <a:pt x="1912" y="4728385"/>
                </a:lnTo>
                <a:lnTo>
                  <a:pt x="1912" y="4727907"/>
                </a:lnTo>
                <a:lnTo>
                  <a:pt x="1912" y="4727906"/>
                </a:lnTo>
                <a:lnTo>
                  <a:pt x="0" y="4727906"/>
                </a:lnTo>
                <a:lnTo>
                  <a:pt x="0" y="4519209"/>
                </a:lnTo>
                <a:lnTo>
                  <a:pt x="0" y="4421451"/>
                </a:lnTo>
                <a:lnTo>
                  <a:pt x="0" y="4315041"/>
                </a:lnTo>
                <a:lnTo>
                  <a:pt x="0" y="4247666"/>
                </a:lnTo>
                <a:lnTo>
                  <a:pt x="0" y="4223465"/>
                </a:lnTo>
                <a:lnTo>
                  <a:pt x="0" y="4138670"/>
                </a:lnTo>
                <a:lnTo>
                  <a:pt x="0" y="4106344"/>
                </a:lnTo>
                <a:lnTo>
                  <a:pt x="0" y="4008586"/>
                </a:lnTo>
                <a:lnTo>
                  <a:pt x="0" y="3834801"/>
                </a:lnTo>
                <a:lnTo>
                  <a:pt x="0" y="3810600"/>
                </a:lnTo>
                <a:lnTo>
                  <a:pt x="0" y="3725805"/>
                </a:lnTo>
                <a:lnTo>
                  <a:pt x="1892" y="3725805"/>
                </a:lnTo>
                <a:lnTo>
                  <a:pt x="1892" y="2622963"/>
                </a:lnTo>
                <a:lnTo>
                  <a:pt x="1892" y="2210098"/>
                </a:lnTo>
                <a:lnTo>
                  <a:pt x="6868" y="2210098"/>
                </a:lnTo>
                <a:lnTo>
                  <a:pt x="5904" y="2189738"/>
                </a:lnTo>
                <a:lnTo>
                  <a:pt x="1911" y="2189738"/>
                </a:lnTo>
                <a:lnTo>
                  <a:pt x="1911" y="2125955"/>
                </a:lnTo>
                <a:lnTo>
                  <a:pt x="1911" y="2105423"/>
                </a:lnTo>
                <a:lnTo>
                  <a:pt x="1911" y="2104943"/>
                </a:lnTo>
                <a:lnTo>
                  <a:pt x="0" y="2104943"/>
                </a:lnTo>
                <a:lnTo>
                  <a:pt x="0" y="2080742"/>
                </a:lnTo>
                <a:lnTo>
                  <a:pt x="0" y="1906957"/>
                </a:lnTo>
                <a:lnTo>
                  <a:pt x="0" y="1809199"/>
                </a:lnTo>
                <a:lnTo>
                  <a:pt x="0" y="1600501"/>
                </a:lnTo>
                <a:lnTo>
                  <a:pt x="0" y="1515708"/>
                </a:lnTo>
                <a:lnTo>
                  <a:pt x="1893" y="1515708"/>
                </a:lnTo>
                <a:lnTo>
                  <a:pt x="1893" y="1"/>
                </a:lnTo>
                <a:lnTo>
                  <a:pt x="1600957" y="1"/>
                </a:lnTo>
                <a:lnTo>
                  <a:pt x="1601900" y="1"/>
                </a:lnTo>
                <a:close/>
              </a:path>
            </a:pathLst>
          </a:custGeom>
        </p:spPr>
        <p:txBody>
          <a:bodyPr wrap="square">
            <a:noAutofit/>
          </a:bodyPr>
          <a:lstStyle/>
          <a:p>
            <a:endParaRPr lang="en-US"/>
          </a:p>
        </p:txBody>
      </p:sp>
    </p:spTree>
    <p:extLst>
      <p:ext uri="{BB962C8B-B14F-4D97-AF65-F5344CB8AC3E}">
        <p14:creationId xmlns:p14="http://schemas.microsoft.com/office/powerpoint/2010/main" val="285191729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CF148A77-634B-4BCB-AB09-F77C7AE22C7B}"/>
              </a:ext>
            </a:extLst>
          </p:cNvPr>
          <p:cNvSpPr>
            <a:spLocks noGrp="1"/>
          </p:cNvSpPr>
          <p:nvPr>
            <p:ph type="pic" sz="quarter" idx="11"/>
          </p:nvPr>
        </p:nvSpPr>
        <p:spPr>
          <a:xfrm>
            <a:off x="5764009" y="3697260"/>
            <a:ext cx="6064842" cy="2824212"/>
          </a:xfrm>
          <a:custGeom>
            <a:avLst/>
            <a:gdLst>
              <a:gd name="connsiteX0" fmla="*/ 0 w 6064842"/>
              <a:gd name="connsiteY0" fmla="*/ 0 h 2824212"/>
              <a:gd name="connsiteX1" fmla="*/ 670946 w 6064842"/>
              <a:gd name="connsiteY1" fmla="*/ 0 h 2824212"/>
              <a:gd name="connsiteX2" fmla="*/ 708481 w 6064842"/>
              <a:gd name="connsiteY2" fmla="*/ 0 h 2824212"/>
              <a:gd name="connsiteX3" fmla="*/ 1747470 w 6064842"/>
              <a:gd name="connsiteY3" fmla="*/ 0 h 2824212"/>
              <a:gd name="connsiteX4" fmla="*/ 1885136 w 6064842"/>
              <a:gd name="connsiteY4" fmla="*/ 0 h 2824212"/>
              <a:gd name="connsiteX5" fmla="*/ 2189625 w 6064842"/>
              <a:gd name="connsiteY5" fmla="*/ 0 h 2824212"/>
              <a:gd name="connsiteX6" fmla="*/ 2418416 w 6064842"/>
              <a:gd name="connsiteY6" fmla="*/ 0 h 2824212"/>
              <a:gd name="connsiteX7" fmla="*/ 2455951 w 6064842"/>
              <a:gd name="connsiteY7" fmla="*/ 0 h 2824212"/>
              <a:gd name="connsiteX8" fmla="*/ 3304400 w 6064842"/>
              <a:gd name="connsiteY8" fmla="*/ 0 h 2824212"/>
              <a:gd name="connsiteX9" fmla="*/ 3608890 w 6064842"/>
              <a:gd name="connsiteY9" fmla="*/ 0 h 2824212"/>
              <a:gd name="connsiteX10" fmla="*/ 3632605 w 6064842"/>
              <a:gd name="connsiteY10" fmla="*/ 0 h 2824212"/>
              <a:gd name="connsiteX11" fmla="*/ 3937095 w 6064842"/>
              <a:gd name="connsiteY11" fmla="*/ 0 h 2824212"/>
              <a:gd name="connsiteX12" fmla="*/ 5051870 w 6064842"/>
              <a:gd name="connsiteY12" fmla="*/ 0 h 2824212"/>
              <a:gd name="connsiteX13" fmla="*/ 5356360 w 6064842"/>
              <a:gd name="connsiteY13" fmla="*/ 0 h 2824212"/>
              <a:gd name="connsiteX14" fmla="*/ 5356360 w 6064842"/>
              <a:gd name="connsiteY14" fmla="*/ 930 h 2824212"/>
              <a:gd name="connsiteX15" fmla="*/ 5356361 w 6064842"/>
              <a:gd name="connsiteY15" fmla="*/ 930 h 2824212"/>
              <a:gd name="connsiteX16" fmla="*/ 5356573 w 6064842"/>
              <a:gd name="connsiteY16" fmla="*/ 930 h 2824212"/>
              <a:gd name="connsiteX17" fmla="*/ 5365661 w 6064842"/>
              <a:gd name="connsiteY17" fmla="*/ 930 h 2824212"/>
              <a:gd name="connsiteX18" fmla="*/ 5393896 w 6064842"/>
              <a:gd name="connsiteY18" fmla="*/ 930 h 2824212"/>
              <a:gd name="connsiteX19" fmla="*/ 5393896 w 6064842"/>
              <a:gd name="connsiteY19" fmla="*/ 2870 h 2824212"/>
              <a:gd name="connsiteX20" fmla="*/ 5424521 w 6064842"/>
              <a:gd name="connsiteY20" fmla="*/ 4461 h 2824212"/>
              <a:gd name="connsiteX21" fmla="*/ 5427155 w 6064842"/>
              <a:gd name="connsiteY21" fmla="*/ 4866 h 2824212"/>
              <a:gd name="connsiteX22" fmla="*/ 5428608 w 6064842"/>
              <a:gd name="connsiteY22" fmla="*/ 4946 h 2824212"/>
              <a:gd name="connsiteX23" fmla="*/ 5442420 w 6064842"/>
              <a:gd name="connsiteY23" fmla="*/ 7212 h 2824212"/>
              <a:gd name="connsiteX24" fmla="*/ 5486575 w 6064842"/>
              <a:gd name="connsiteY24" fmla="*/ 13997 h 2824212"/>
              <a:gd name="connsiteX25" fmla="*/ 5491653 w 6064842"/>
              <a:gd name="connsiteY25" fmla="*/ 15287 h 2824212"/>
              <a:gd name="connsiteX26" fmla="*/ 5494644 w 6064842"/>
              <a:gd name="connsiteY26" fmla="*/ 15777 h 2824212"/>
              <a:gd name="connsiteX27" fmla="*/ 5510085 w 6064842"/>
              <a:gd name="connsiteY27" fmla="*/ 19968 h 2824212"/>
              <a:gd name="connsiteX28" fmla="*/ 5546790 w 6064842"/>
              <a:gd name="connsiteY28" fmla="*/ 29287 h 2824212"/>
              <a:gd name="connsiteX29" fmla="*/ 5554216 w 6064842"/>
              <a:gd name="connsiteY29" fmla="*/ 31942 h 2824212"/>
              <a:gd name="connsiteX30" fmla="*/ 5558548 w 6064842"/>
              <a:gd name="connsiteY30" fmla="*/ 33117 h 2824212"/>
              <a:gd name="connsiteX31" fmla="*/ 5573320 w 6064842"/>
              <a:gd name="connsiteY31" fmla="*/ 38769 h 2824212"/>
              <a:gd name="connsiteX32" fmla="*/ 5604922 w 6064842"/>
              <a:gd name="connsiteY32" fmla="*/ 50066 h 2824212"/>
              <a:gd name="connsiteX33" fmla="*/ 5614512 w 6064842"/>
              <a:gd name="connsiteY33" fmla="*/ 54533 h 2824212"/>
              <a:gd name="connsiteX34" fmla="*/ 5620025 w 6064842"/>
              <a:gd name="connsiteY34" fmla="*/ 56644 h 2824212"/>
              <a:gd name="connsiteX35" fmla="*/ 5633401 w 6064842"/>
              <a:gd name="connsiteY35" fmla="*/ 63334 h 2824212"/>
              <a:gd name="connsiteX36" fmla="*/ 5660731 w 6064842"/>
              <a:gd name="connsiteY36" fmla="*/ 76066 h 2824212"/>
              <a:gd name="connsiteX37" fmla="*/ 5672267 w 6064842"/>
              <a:gd name="connsiteY37" fmla="*/ 82775 h 2824212"/>
              <a:gd name="connsiteX38" fmla="*/ 5678782 w 6064842"/>
              <a:gd name="connsiteY38" fmla="*/ 86034 h 2824212"/>
              <a:gd name="connsiteX39" fmla="*/ 5690493 w 6064842"/>
              <a:gd name="connsiteY39" fmla="*/ 93373 h 2824212"/>
              <a:gd name="connsiteX40" fmla="*/ 5713973 w 6064842"/>
              <a:gd name="connsiteY40" fmla="*/ 107025 h 2824212"/>
              <a:gd name="connsiteX41" fmla="*/ 5727208 w 6064842"/>
              <a:gd name="connsiteY41" fmla="*/ 116381 h 2824212"/>
              <a:gd name="connsiteX42" fmla="*/ 5734525 w 6064842"/>
              <a:gd name="connsiteY42" fmla="*/ 120966 h 2824212"/>
              <a:gd name="connsiteX43" fmla="*/ 5744491 w 6064842"/>
              <a:gd name="connsiteY43" fmla="*/ 128598 h 2824212"/>
              <a:gd name="connsiteX44" fmla="*/ 5764408 w 6064842"/>
              <a:gd name="connsiteY44" fmla="*/ 142676 h 2824212"/>
              <a:gd name="connsiteX45" fmla="*/ 5779061 w 6064842"/>
              <a:gd name="connsiteY45" fmla="*/ 155070 h 2824212"/>
              <a:gd name="connsiteX46" fmla="*/ 5786961 w 6064842"/>
              <a:gd name="connsiteY46" fmla="*/ 161118 h 2824212"/>
              <a:gd name="connsiteX47" fmla="*/ 5795200 w 6064842"/>
              <a:gd name="connsiteY47" fmla="*/ 168719 h 2824212"/>
              <a:gd name="connsiteX48" fmla="*/ 5811795 w 6064842"/>
              <a:gd name="connsiteY48" fmla="*/ 182754 h 2824212"/>
              <a:gd name="connsiteX49" fmla="*/ 5827557 w 6064842"/>
              <a:gd name="connsiteY49" fmla="*/ 198569 h 2824212"/>
              <a:gd name="connsiteX50" fmla="*/ 5835795 w 6064842"/>
              <a:gd name="connsiteY50" fmla="*/ 206168 h 2824212"/>
              <a:gd name="connsiteX51" fmla="*/ 5842384 w 6064842"/>
              <a:gd name="connsiteY51" fmla="*/ 213444 h 2824212"/>
              <a:gd name="connsiteX52" fmla="*/ 5855890 w 6064842"/>
              <a:gd name="connsiteY52" fmla="*/ 226994 h 2824212"/>
              <a:gd name="connsiteX53" fmla="*/ 5872433 w 6064842"/>
              <a:gd name="connsiteY53" fmla="*/ 246624 h 2824212"/>
              <a:gd name="connsiteX54" fmla="*/ 5880736 w 6064842"/>
              <a:gd name="connsiteY54" fmla="*/ 255793 h 2824212"/>
              <a:gd name="connsiteX55" fmla="*/ 5885792 w 6064842"/>
              <a:gd name="connsiteY55" fmla="*/ 262478 h 2824212"/>
              <a:gd name="connsiteX56" fmla="*/ 5896454 w 6064842"/>
              <a:gd name="connsiteY56" fmla="*/ 275129 h 2824212"/>
              <a:gd name="connsiteX57" fmla="*/ 5913427 w 6064842"/>
              <a:gd name="connsiteY57" fmla="*/ 299015 h 2824212"/>
              <a:gd name="connsiteX58" fmla="*/ 5921489 w 6064842"/>
              <a:gd name="connsiteY58" fmla="*/ 309671 h 2824212"/>
              <a:gd name="connsiteX59" fmla="*/ 5925161 w 6064842"/>
              <a:gd name="connsiteY59" fmla="*/ 315524 h 2824212"/>
              <a:gd name="connsiteX60" fmla="*/ 5933243 w 6064842"/>
              <a:gd name="connsiteY60" fmla="*/ 326896 h 2824212"/>
              <a:gd name="connsiteX61" fmla="*/ 5950304 w 6064842"/>
              <a:gd name="connsiteY61" fmla="*/ 355597 h 2824212"/>
              <a:gd name="connsiteX62" fmla="*/ 5957761 w 6064842"/>
              <a:gd name="connsiteY62" fmla="*/ 367482 h 2824212"/>
              <a:gd name="connsiteX63" fmla="*/ 5960223 w 6064842"/>
              <a:gd name="connsiteY63" fmla="*/ 372282 h 2824212"/>
              <a:gd name="connsiteX64" fmla="*/ 5966016 w 6064842"/>
              <a:gd name="connsiteY64" fmla="*/ 382028 h 2824212"/>
              <a:gd name="connsiteX65" fmla="*/ 5982857 w 6064842"/>
              <a:gd name="connsiteY65" fmla="*/ 416419 h 2824212"/>
              <a:gd name="connsiteX66" fmla="*/ 5989257 w 6064842"/>
              <a:gd name="connsiteY66" fmla="*/ 428899 h 2824212"/>
              <a:gd name="connsiteX67" fmla="*/ 5990707 w 6064842"/>
              <a:gd name="connsiteY67" fmla="*/ 432453 h 2824212"/>
              <a:gd name="connsiteX68" fmla="*/ 5994531 w 6064842"/>
              <a:gd name="connsiteY68" fmla="*/ 440261 h 2824212"/>
              <a:gd name="connsiteX69" fmla="*/ 6010987 w 6064842"/>
              <a:gd name="connsiteY69" fmla="*/ 482102 h 2824212"/>
              <a:gd name="connsiteX70" fmla="*/ 6015685 w 6064842"/>
              <a:gd name="connsiteY70" fmla="*/ 493604 h 2824212"/>
              <a:gd name="connsiteX71" fmla="*/ 6016347 w 6064842"/>
              <a:gd name="connsiteY71" fmla="*/ 495732 h 2824212"/>
              <a:gd name="connsiteX72" fmla="*/ 6018549 w 6064842"/>
              <a:gd name="connsiteY72" fmla="*/ 501331 h 2824212"/>
              <a:gd name="connsiteX73" fmla="*/ 6035067 w 6064842"/>
              <a:gd name="connsiteY73" fmla="*/ 555868 h 2824212"/>
              <a:gd name="connsiteX74" fmla="*/ 6036751 w 6064842"/>
              <a:gd name="connsiteY74" fmla="*/ 561273 h 2824212"/>
              <a:gd name="connsiteX75" fmla="*/ 6036869 w 6064842"/>
              <a:gd name="connsiteY75" fmla="*/ 561817 h 2824212"/>
              <a:gd name="connsiteX76" fmla="*/ 6037825 w 6064842"/>
              <a:gd name="connsiteY76" fmla="*/ 564967 h 2824212"/>
              <a:gd name="connsiteX77" fmla="*/ 6061185 w 6064842"/>
              <a:gd name="connsiteY77" fmla="*/ 698891 h 2824212"/>
              <a:gd name="connsiteX78" fmla="*/ 6061325 w 6064842"/>
              <a:gd name="connsiteY78" fmla="*/ 701933 h 2824212"/>
              <a:gd name="connsiteX79" fmla="*/ 6061623 w 6064842"/>
              <a:gd name="connsiteY79" fmla="*/ 704217 h 2824212"/>
              <a:gd name="connsiteX80" fmla="*/ 6063246 w 6064842"/>
              <a:gd name="connsiteY80" fmla="*/ 741856 h 2824212"/>
              <a:gd name="connsiteX81" fmla="*/ 6064842 w 6064842"/>
              <a:gd name="connsiteY81" fmla="*/ 741856 h 2824212"/>
              <a:gd name="connsiteX82" fmla="*/ 6064842 w 6064842"/>
              <a:gd name="connsiteY82" fmla="*/ 778373 h 2824212"/>
              <a:gd name="connsiteX83" fmla="*/ 6064842 w 6064842"/>
              <a:gd name="connsiteY83" fmla="*/ 778380 h 2824212"/>
              <a:gd name="connsiteX84" fmla="*/ 6064842 w 6064842"/>
              <a:gd name="connsiteY84" fmla="*/ 778388 h 2824212"/>
              <a:gd name="connsiteX85" fmla="*/ 6064842 w 6064842"/>
              <a:gd name="connsiteY85" fmla="*/ 778846 h 2824212"/>
              <a:gd name="connsiteX86" fmla="*/ 6064842 w 6064842"/>
              <a:gd name="connsiteY86" fmla="*/ 786226 h 2824212"/>
              <a:gd name="connsiteX87" fmla="*/ 6064842 w 6064842"/>
              <a:gd name="connsiteY87" fmla="*/ 1259616 h 2824212"/>
              <a:gd name="connsiteX88" fmla="*/ 6064842 w 6064842"/>
              <a:gd name="connsiteY88" fmla="*/ 1564605 h 2824212"/>
              <a:gd name="connsiteX89" fmla="*/ 6064842 w 6064842"/>
              <a:gd name="connsiteY89" fmla="*/ 2045841 h 2824212"/>
              <a:gd name="connsiteX90" fmla="*/ 6064842 w 6064842"/>
              <a:gd name="connsiteY90" fmla="*/ 2824212 h 2824212"/>
              <a:gd name="connsiteX91" fmla="*/ 5393896 w 6064842"/>
              <a:gd name="connsiteY91" fmla="*/ 2824212 h 2824212"/>
              <a:gd name="connsiteX92" fmla="*/ 5356361 w 6064842"/>
              <a:gd name="connsiteY92" fmla="*/ 2824212 h 2824212"/>
              <a:gd name="connsiteX93" fmla="*/ 4645577 w 6064842"/>
              <a:gd name="connsiteY93" fmla="*/ 2824212 h 2824212"/>
              <a:gd name="connsiteX94" fmla="*/ 4317372 w 6064842"/>
              <a:gd name="connsiteY94" fmla="*/ 2824212 h 2824212"/>
              <a:gd name="connsiteX95" fmla="*/ 4179707 w 6064842"/>
              <a:gd name="connsiteY95" fmla="*/ 2824212 h 2824212"/>
              <a:gd name="connsiteX96" fmla="*/ 3974631 w 6064842"/>
              <a:gd name="connsiteY96" fmla="*/ 2824212 h 2824212"/>
              <a:gd name="connsiteX97" fmla="*/ 3937096 w 6064842"/>
              <a:gd name="connsiteY97" fmla="*/ 2824212 h 2824212"/>
              <a:gd name="connsiteX98" fmla="*/ 3875217 w 6064842"/>
              <a:gd name="connsiteY98" fmla="*/ 2824212 h 2824212"/>
              <a:gd name="connsiteX99" fmla="*/ 3646426 w 6064842"/>
              <a:gd name="connsiteY99" fmla="*/ 2824212 h 2824212"/>
              <a:gd name="connsiteX100" fmla="*/ 3608891 w 6064842"/>
              <a:gd name="connsiteY100" fmla="*/ 2824212 h 2824212"/>
              <a:gd name="connsiteX101" fmla="*/ 2898107 w 6064842"/>
              <a:gd name="connsiteY101" fmla="*/ 2824212 h 2824212"/>
              <a:gd name="connsiteX102" fmla="*/ 2760442 w 6064842"/>
              <a:gd name="connsiteY102" fmla="*/ 2824212 h 2824212"/>
              <a:gd name="connsiteX103" fmla="*/ 2455952 w 6064842"/>
              <a:gd name="connsiteY103" fmla="*/ 2824212 h 2824212"/>
              <a:gd name="connsiteX104" fmla="*/ 2432237 w 6064842"/>
              <a:gd name="connsiteY104" fmla="*/ 2824212 h 2824212"/>
              <a:gd name="connsiteX105" fmla="*/ 2227161 w 6064842"/>
              <a:gd name="connsiteY105" fmla="*/ 2824212 h 2824212"/>
              <a:gd name="connsiteX106" fmla="*/ 2189626 w 6064842"/>
              <a:gd name="connsiteY106" fmla="*/ 2824212 h 2824212"/>
              <a:gd name="connsiteX107" fmla="*/ 2127747 w 6064842"/>
              <a:gd name="connsiteY107" fmla="*/ 2824212 h 2824212"/>
              <a:gd name="connsiteX108" fmla="*/ 1012971 w 6064842"/>
              <a:gd name="connsiteY108" fmla="*/ 2824212 h 2824212"/>
              <a:gd name="connsiteX109" fmla="*/ 708482 w 6064842"/>
              <a:gd name="connsiteY109" fmla="*/ 2824212 h 2824212"/>
              <a:gd name="connsiteX110" fmla="*/ 708482 w 6064842"/>
              <a:gd name="connsiteY110" fmla="*/ 2823282 h 2824212"/>
              <a:gd name="connsiteX111" fmla="*/ 708481 w 6064842"/>
              <a:gd name="connsiteY111" fmla="*/ 2823282 h 2824212"/>
              <a:gd name="connsiteX112" fmla="*/ 708269 w 6064842"/>
              <a:gd name="connsiteY112" fmla="*/ 2823282 h 2824212"/>
              <a:gd name="connsiteX113" fmla="*/ 699181 w 6064842"/>
              <a:gd name="connsiteY113" fmla="*/ 2823282 h 2824212"/>
              <a:gd name="connsiteX114" fmla="*/ 670946 w 6064842"/>
              <a:gd name="connsiteY114" fmla="*/ 2823282 h 2824212"/>
              <a:gd name="connsiteX115" fmla="*/ 670946 w 6064842"/>
              <a:gd name="connsiteY115" fmla="*/ 2821342 h 2824212"/>
              <a:gd name="connsiteX116" fmla="*/ 640321 w 6064842"/>
              <a:gd name="connsiteY116" fmla="*/ 2819751 h 2824212"/>
              <a:gd name="connsiteX117" fmla="*/ 637688 w 6064842"/>
              <a:gd name="connsiteY117" fmla="*/ 2819346 h 2824212"/>
              <a:gd name="connsiteX118" fmla="*/ 636234 w 6064842"/>
              <a:gd name="connsiteY118" fmla="*/ 2819266 h 2824212"/>
              <a:gd name="connsiteX119" fmla="*/ 622422 w 6064842"/>
              <a:gd name="connsiteY119" fmla="*/ 2817000 h 2824212"/>
              <a:gd name="connsiteX120" fmla="*/ 578267 w 6064842"/>
              <a:gd name="connsiteY120" fmla="*/ 2810215 h 2824212"/>
              <a:gd name="connsiteX121" fmla="*/ 573188 w 6064842"/>
              <a:gd name="connsiteY121" fmla="*/ 2808925 h 2824212"/>
              <a:gd name="connsiteX122" fmla="*/ 570198 w 6064842"/>
              <a:gd name="connsiteY122" fmla="*/ 2808435 h 2824212"/>
              <a:gd name="connsiteX123" fmla="*/ 554757 w 6064842"/>
              <a:gd name="connsiteY123" fmla="*/ 2804244 h 2824212"/>
              <a:gd name="connsiteX124" fmla="*/ 518052 w 6064842"/>
              <a:gd name="connsiteY124" fmla="*/ 2794925 h 2824212"/>
              <a:gd name="connsiteX125" fmla="*/ 510626 w 6064842"/>
              <a:gd name="connsiteY125" fmla="*/ 2792270 h 2824212"/>
              <a:gd name="connsiteX126" fmla="*/ 506294 w 6064842"/>
              <a:gd name="connsiteY126" fmla="*/ 2791095 h 2824212"/>
              <a:gd name="connsiteX127" fmla="*/ 491522 w 6064842"/>
              <a:gd name="connsiteY127" fmla="*/ 2785443 h 2824212"/>
              <a:gd name="connsiteX128" fmla="*/ 459920 w 6064842"/>
              <a:gd name="connsiteY128" fmla="*/ 2774146 h 2824212"/>
              <a:gd name="connsiteX129" fmla="*/ 450331 w 6064842"/>
              <a:gd name="connsiteY129" fmla="*/ 2769679 h 2824212"/>
              <a:gd name="connsiteX130" fmla="*/ 444817 w 6064842"/>
              <a:gd name="connsiteY130" fmla="*/ 2767568 h 2824212"/>
              <a:gd name="connsiteX131" fmla="*/ 431441 w 6064842"/>
              <a:gd name="connsiteY131" fmla="*/ 2760878 h 2824212"/>
              <a:gd name="connsiteX132" fmla="*/ 404112 w 6064842"/>
              <a:gd name="connsiteY132" fmla="*/ 2748146 h 2824212"/>
              <a:gd name="connsiteX133" fmla="*/ 392575 w 6064842"/>
              <a:gd name="connsiteY133" fmla="*/ 2741437 h 2824212"/>
              <a:gd name="connsiteX134" fmla="*/ 386060 w 6064842"/>
              <a:gd name="connsiteY134" fmla="*/ 2738178 h 2824212"/>
              <a:gd name="connsiteX135" fmla="*/ 374349 w 6064842"/>
              <a:gd name="connsiteY135" fmla="*/ 2730839 h 2824212"/>
              <a:gd name="connsiteX136" fmla="*/ 350870 w 6064842"/>
              <a:gd name="connsiteY136" fmla="*/ 2717187 h 2824212"/>
              <a:gd name="connsiteX137" fmla="*/ 337634 w 6064842"/>
              <a:gd name="connsiteY137" fmla="*/ 2707831 h 2824212"/>
              <a:gd name="connsiteX138" fmla="*/ 330317 w 6064842"/>
              <a:gd name="connsiteY138" fmla="*/ 2703246 h 2824212"/>
              <a:gd name="connsiteX139" fmla="*/ 320351 w 6064842"/>
              <a:gd name="connsiteY139" fmla="*/ 2695614 h 2824212"/>
              <a:gd name="connsiteX140" fmla="*/ 300434 w 6064842"/>
              <a:gd name="connsiteY140" fmla="*/ 2681536 h 2824212"/>
              <a:gd name="connsiteX141" fmla="*/ 285780 w 6064842"/>
              <a:gd name="connsiteY141" fmla="*/ 2669142 h 2824212"/>
              <a:gd name="connsiteX142" fmla="*/ 277881 w 6064842"/>
              <a:gd name="connsiteY142" fmla="*/ 2663094 h 2824212"/>
              <a:gd name="connsiteX143" fmla="*/ 269642 w 6064842"/>
              <a:gd name="connsiteY143" fmla="*/ 2655493 h 2824212"/>
              <a:gd name="connsiteX144" fmla="*/ 253047 w 6064842"/>
              <a:gd name="connsiteY144" fmla="*/ 2641458 h 2824212"/>
              <a:gd name="connsiteX145" fmla="*/ 237284 w 6064842"/>
              <a:gd name="connsiteY145" fmla="*/ 2625643 h 2824212"/>
              <a:gd name="connsiteX146" fmla="*/ 229047 w 6064842"/>
              <a:gd name="connsiteY146" fmla="*/ 2618044 h 2824212"/>
              <a:gd name="connsiteX147" fmla="*/ 222457 w 6064842"/>
              <a:gd name="connsiteY147" fmla="*/ 2610768 h 2824212"/>
              <a:gd name="connsiteX148" fmla="*/ 208952 w 6064842"/>
              <a:gd name="connsiteY148" fmla="*/ 2597218 h 2824212"/>
              <a:gd name="connsiteX149" fmla="*/ 192410 w 6064842"/>
              <a:gd name="connsiteY149" fmla="*/ 2577589 h 2824212"/>
              <a:gd name="connsiteX150" fmla="*/ 184106 w 6064842"/>
              <a:gd name="connsiteY150" fmla="*/ 2568419 h 2824212"/>
              <a:gd name="connsiteX151" fmla="*/ 179049 w 6064842"/>
              <a:gd name="connsiteY151" fmla="*/ 2561734 h 2824212"/>
              <a:gd name="connsiteX152" fmla="*/ 168389 w 6064842"/>
              <a:gd name="connsiteY152" fmla="*/ 2549083 h 2824212"/>
              <a:gd name="connsiteX153" fmla="*/ 151415 w 6064842"/>
              <a:gd name="connsiteY153" fmla="*/ 2525197 h 2824212"/>
              <a:gd name="connsiteX154" fmla="*/ 143353 w 6064842"/>
              <a:gd name="connsiteY154" fmla="*/ 2514541 h 2824212"/>
              <a:gd name="connsiteX155" fmla="*/ 139681 w 6064842"/>
              <a:gd name="connsiteY155" fmla="*/ 2508687 h 2824212"/>
              <a:gd name="connsiteX156" fmla="*/ 131599 w 6064842"/>
              <a:gd name="connsiteY156" fmla="*/ 2497316 h 2824212"/>
              <a:gd name="connsiteX157" fmla="*/ 114539 w 6064842"/>
              <a:gd name="connsiteY157" fmla="*/ 2468615 h 2824212"/>
              <a:gd name="connsiteX158" fmla="*/ 107082 w 6064842"/>
              <a:gd name="connsiteY158" fmla="*/ 2456730 h 2824212"/>
              <a:gd name="connsiteX159" fmla="*/ 104620 w 6064842"/>
              <a:gd name="connsiteY159" fmla="*/ 2451929 h 2824212"/>
              <a:gd name="connsiteX160" fmla="*/ 98826 w 6064842"/>
              <a:gd name="connsiteY160" fmla="*/ 2442184 h 2824212"/>
              <a:gd name="connsiteX161" fmla="*/ 81986 w 6064842"/>
              <a:gd name="connsiteY161" fmla="*/ 2407793 h 2824212"/>
              <a:gd name="connsiteX162" fmla="*/ 75586 w 6064842"/>
              <a:gd name="connsiteY162" fmla="*/ 2395313 h 2824212"/>
              <a:gd name="connsiteX163" fmla="*/ 74134 w 6064842"/>
              <a:gd name="connsiteY163" fmla="*/ 2391759 h 2824212"/>
              <a:gd name="connsiteX164" fmla="*/ 70310 w 6064842"/>
              <a:gd name="connsiteY164" fmla="*/ 2383951 h 2824212"/>
              <a:gd name="connsiteX165" fmla="*/ 53855 w 6064842"/>
              <a:gd name="connsiteY165" fmla="*/ 2342110 h 2824212"/>
              <a:gd name="connsiteX166" fmla="*/ 49158 w 6064842"/>
              <a:gd name="connsiteY166" fmla="*/ 2330608 h 2824212"/>
              <a:gd name="connsiteX167" fmla="*/ 48496 w 6064842"/>
              <a:gd name="connsiteY167" fmla="*/ 2328480 h 2824212"/>
              <a:gd name="connsiteX168" fmla="*/ 46294 w 6064842"/>
              <a:gd name="connsiteY168" fmla="*/ 2322881 h 2824212"/>
              <a:gd name="connsiteX169" fmla="*/ 29774 w 6064842"/>
              <a:gd name="connsiteY169" fmla="*/ 2268344 h 2824212"/>
              <a:gd name="connsiteX170" fmla="*/ 28091 w 6064842"/>
              <a:gd name="connsiteY170" fmla="*/ 2262939 h 2824212"/>
              <a:gd name="connsiteX171" fmla="*/ 27973 w 6064842"/>
              <a:gd name="connsiteY171" fmla="*/ 2262395 h 2824212"/>
              <a:gd name="connsiteX172" fmla="*/ 27018 w 6064842"/>
              <a:gd name="connsiteY172" fmla="*/ 2259244 h 2824212"/>
              <a:gd name="connsiteX173" fmla="*/ 3657 w 6064842"/>
              <a:gd name="connsiteY173" fmla="*/ 2125321 h 2824212"/>
              <a:gd name="connsiteX174" fmla="*/ 3517 w 6064842"/>
              <a:gd name="connsiteY174" fmla="*/ 2122278 h 2824212"/>
              <a:gd name="connsiteX175" fmla="*/ 3219 w 6064842"/>
              <a:gd name="connsiteY175" fmla="*/ 2119995 h 2824212"/>
              <a:gd name="connsiteX176" fmla="*/ 1596 w 6064842"/>
              <a:gd name="connsiteY176" fmla="*/ 2082356 h 2824212"/>
              <a:gd name="connsiteX177" fmla="*/ 1 w 6064842"/>
              <a:gd name="connsiteY177" fmla="*/ 2082356 h 2824212"/>
              <a:gd name="connsiteX178" fmla="*/ 1 w 6064842"/>
              <a:gd name="connsiteY178" fmla="*/ 2045838 h 2824212"/>
              <a:gd name="connsiteX179" fmla="*/ 0 w 6064842"/>
              <a:gd name="connsiteY179" fmla="*/ 2045832 h 2824212"/>
              <a:gd name="connsiteX180" fmla="*/ 1 w 6064842"/>
              <a:gd name="connsiteY180" fmla="*/ 2045824 h 2824212"/>
              <a:gd name="connsiteX181" fmla="*/ 1 w 6064842"/>
              <a:gd name="connsiteY181" fmla="*/ 2045366 h 2824212"/>
              <a:gd name="connsiteX182" fmla="*/ 1 w 6064842"/>
              <a:gd name="connsiteY182" fmla="*/ 2037986 h 2824212"/>
              <a:gd name="connsiteX183" fmla="*/ 0 w 6064842"/>
              <a:gd name="connsiteY183" fmla="*/ 2037986 h 2824212"/>
              <a:gd name="connsiteX184" fmla="*/ 0 w 6064842"/>
              <a:gd name="connsiteY184" fmla="*/ 1564597 h 2824212"/>
              <a:gd name="connsiteX185" fmla="*/ 0 w 6064842"/>
              <a:gd name="connsiteY185" fmla="*/ 1564596 h 2824212"/>
              <a:gd name="connsiteX186" fmla="*/ 0 w 6064842"/>
              <a:gd name="connsiteY186" fmla="*/ 1564595 h 2824212"/>
              <a:gd name="connsiteX187" fmla="*/ 0 w 6064842"/>
              <a:gd name="connsiteY187" fmla="*/ 1259607 h 2824212"/>
              <a:gd name="connsiteX188" fmla="*/ 0 w 6064842"/>
              <a:gd name="connsiteY188" fmla="*/ 778372 h 2824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6064842" h="2824212">
                <a:moveTo>
                  <a:pt x="0" y="0"/>
                </a:moveTo>
                <a:lnTo>
                  <a:pt x="670946" y="0"/>
                </a:lnTo>
                <a:lnTo>
                  <a:pt x="708481" y="0"/>
                </a:lnTo>
                <a:lnTo>
                  <a:pt x="1747470" y="0"/>
                </a:lnTo>
                <a:lnTo>
                  <a:pt x="1885136" y="0"/>
                </a:lnTo>
                <a:lnTo>
                  <a:pt x="2189625" y="0"/>
                </a:lnTo>
                <a:lnTo>
                  <a:pt x="2418416" y="0"/>
                </a:lnTo>
                <a:lnTo>
                  <a:pt x="2455951" y="0"/>
                </a:lnTo>
                <a:lnTo>
                  <a:pt x="3304400" y="0"/>
                </a:lnTo>
                <a:lnTo>
                  <a:pt x="3608890" y="0"/>
                </a:lnTo>
                <a:lnTo>
                  <a:pt x="3632605" y="0"/>
                </a:lnTo>
                <a:lnTo>
                  <a:pt x="3937095" y="0"/>
                </a:lnTo>
                <a:lnTo>
                  <a:pt x="5051870" y="0"/>
                </a:lnTo>
                <a:lnTo>
                  <a:pt x="5356360" y="0"/>
                </a:lnTo>
                <a:lnTo>
                  <a:pt x="5356360" y="930"/>
                </a:lnTo>
                <a:lnTo>
                  <a:pt x="5356361" y="930"/>
                </a:lnTo>
                <a:lnTo>
                  <a:pt x="5356573" y="930"/>
                </a:lnTo>
                <a:lnTo>
                  <a:pt x="5365661" y="930"/>
                </a:lnTo>
                <a:lnTo>
                  <a:pt x="5393896" y="930"/>
                </a:lnTo>
                <a:lnTo>
                  <a:pt x="5393896" y="2870"/>
                </a:lnTo>
                <a:lnTo>
                  <a:pt x="5424521" y="4461"/>
                </a:lnTo>
                <a:lnTo>
                  <a:pt x="5427155" y="4866"/>
                </a:lnTo>
                <a:lnTo>
                  <a:pt x="5428608" y="4946"/>
                </a:lnTo>
                <a:lnTo>
                  <a:pt x="5442420" y="7212"/>
                </a:lnTo>
                <a:lnTo>
                  <a:pt x="5486575" y="13997"/>
                </a:lnTo>
                <a:lnTo>
                  <a:pt x="5491653" y="15287"/>
                </a:lnTo>
                <a:lnTo>
                  <a:pt x="5494644" y="15777"/>
                </a:lnTo>
                <a:lnTo>
                  <a:pt x="5510085" y="19968"/>
                </a:lnTo>
                <a:lnTo>
                  <a:pt x="5546790" y="29287"/>
                </a:lnTo>
                <a:lnTo>
                  <a:pt x="5554216" y="31942"/>
                </a:lnTo>
                <a:lnTo>
                  <a:pt x="5558548" y="33117"/>
                </a:lnTo>
                <a:lnTo>
                  <a:pt x="5573320" y="38769"/>
                </a:lnTo>
                <a:lnTo>
                  <a:pt x="5604922" y="50066"/>
                </a:lnTo>
                <a:lnTo>
                  <a:pt x="5614512" y="54533"/>
                </a:lnTo>
                <a:lnTo>
                  <a:pt x="5620025" y="56644"/>
                </a:lnTo>
                <a:lnTo>
                  <a:pt x="5633401" y="63334"/>
                </a:lnTo>
                <a:lnTo>
                  <a:pt x="5660731" y="76066"/>
                </a:lnTo>
                <a:lnTo>
                  <a:pt x="5672267" y="82775"/>
                </a:lnTo>
                <a:lnTo>
                  <a:pt x="5678782" y="86034"/>
                </a:lnTo>
                <a:lnTo>
                  <a:pt x="5690493" y="93373"/>
                </a:lnTo>
                <a:lnTo>
                  <a:pt x="5713973" y="107025"/>
                </a:lnTo>
                <a:lnTo>
                  <a:pt x="5727208" y="116381"/>
                </a:lnTo>
                <a:lnTo>
                  <a:pt x="5734525" y="120966"/>
                </a:lnTo>
                <a:lnTo>
                  <a:pt x="5744491" y="128598"/>
                </a:lnTo>
                <a:lnTo>
                  <a:pt x="5764408" y="142676"/>
                </a:lnTo>
                <a:lnTo>
                  <a:pt x="5779061" y="155070"/>
                </a:lnTo>
                <a:lnTo>
                  <a:pt x="5786961" y="161118"/>
                </a:lnTo>
                <a:lnTo>
                  <a:pt x="5795200" y="168719"/>
                </a:lnTo>
                <a:lnTo>
                  <a:pt x="5811795" y="182754"/>
                </a:lnTo>
                <a:lnTo>
                  <a:pt x="5827557" y="198569"/>
                </a:lnTo>
                <a:lnTo>
                  <a:pt x="5835795" y="206168"/>
                </a:lnTo>
                <a:lnTo>
                  <a:pt x="5842384" y="213444"/>
                </a:lnTo>
                <a:lnTo>
                  <a:pt x="5855890" y="226994"/>
                </a:lnTo>
                <a:lnTo>
                  <a:pt x="5872433" y="246624"/>
                </a:lnTo>
                <a:lnTo>
                  <a:pt x="5880736" y="255793"/>
                </a:lnTo>
                <a:lnTo>
                  <a:pt x="5885792" y="262478"/>
                </a:lnTo>
                <a:lnTo>
                  <a:pt x="5896454" y="275129"/>
                </a:lnTo>
                <a:lnTo>
                  <a:pt x="5913427" y="299015"/>
                </a:lnTo>
                <a:lnTo>
                  <a:pt x="5921489" y="309671"/>
                </a:lnTo>
                <a:lnTo>
                  <a:pt x="5925161" y="315524"/>
                </a:lnTo>
                <a:lnTo>
                  <a:pt x="5933243" y="326896"/>
                </a:lnTo>
                <a:lnTo>
                  <a:pt x="5950304" y="355597"/>
                </a:lnTo>
                <a:lnTo>
                  <a:pt x="5957761" y="367482"/>
                </a:lnTo>
                <a:lnTo>
                  <a:pt x="5960223" y="372282"/>
                </a:lnTo>
                <a:lnTo>
                  <a:pt x="5966016" y="382028"/>
                </a:lnTo>
                <a:lnTo>
                  <a:pt x="5982857" y="416419"/>
                </a:lnTo>
                <a:lnTo>
                  <a:pt x="5989257" y="428899"/>
                </a:lnTo>
                <a:lnTo>
                  <a:pt x="5990707" y="432453"/>
                </a:lnTo>
                <a:lnTo>
                  <a:pt x="5994531" y="440261"/>
                </a:lnTo>
                <a:lnTo>
                  <a:pt x="6010987" y="482102"/>
                </a:lnTo>
                <a:lnTo>
                  <a:pt x="6015685" y="493604"/>
                </a:lnTo>
                <a:lnTo>
                  <a:pt x="6016347" y="495732"/>
                </a:lnTo>
                <a:lnTo>
                  <a:pt x="6018549" y="501331"/>
                </a:lnTo>
                <a:lnTo>
                  <a:pt x="6035067" y="555868"/>
                </a:lnTo>
                <a:lnTo>
                  <a:pt x="6036751" y="561273"/>
                </a:lnTo>
                <a:lnTo>
                  <a:pt x="6036869" y="561817"/>
                </a:lnTo>
                <a:lnTo>
                  <a:pt x="6037825" y="564967"/>
                </a:lnTo>
                <a:cubicBezTo>
                  <a:pt x="6049041" y="608191"/>
                  <a:pt x="6056935" y="652950"/>
                  <a:pt x="6061185" y="698891"/>
                </a:cubicBezTo>
                <a:lnTo>
                  <a:pt x="6061325" y="701933"/>
                </a:lnTo>
                <a:lnTo>
                  <a:pt x="6061623" y="704217"/>
                </a:lnTo>
                <a:lnTo>
                  <a:pt x="6063246" y="741856"/>
                </a:lnTo>
                <a:lnTo>
                  <a:pt x="6064842" y="741856"/>
                </a:lnTo>
                <a:lnTo>
                  <a:pt x="6064842" y="778373"/>
                </a:lnTo>
                <a:lnTo>
                  <a:pt x="6064842" y="778380"/>
                </a:lnTo>
                <a:lnTo>
                  <a:pt x="6064842" y="778388"/>
                </a:lnTo>
                <a:lnTo>
                  <a:pt x="6064842" y="778846"/>
                </a:lnTo>
                <a:lnTo>
                  <a:pt x="6064842" y="786226"/>
                </a:lnTo>
                <a:lnTo>
                  <a:pt x="6064842" y="1259616"/>
                </a:lnTo>
                <a:lnTo>
                  <a:pt x="6064842" y="1564605"/>
                </a:lnTo>
                <a:lnTo>
                  <a:pt x="6064842" y="2045841"/>
                </a:lnTo>
                <a:lnTo>
                  <a:pt x="6064842" y="2824212"/>
                </a:lnTo>
                <a:lnTo>
                  <a:pt x="5393896" y="2824212"/>
                </a:lnTo>
                <a:lnTo>
                  <a:pt x="5356361" y="2824212"/>
                </a:lnTo>
                <a:lnTo>
                  <a:pt x="4645577" y="2824212"/>
                </a:lnTo>
                <a:lnTo>
                  <a:pt x="4317372" y="2824212"/>
                </a:lnTo>
                <a:lnTo>
                  <a:pt x="4179707" y="2824212"/>
                </a:lnTo>
                <a:lnTo>
                  <a:pt x="3974631" y="2824212"/>
                </a:lnTo>
                <a:lnTo>
                  <a:pt x="3937096" y="2824212"/>
                </a:lnTo>
                <a:lnTo>
                  <a:pt x="3875217" y="2824212"/>
                </a:lnTo>
                <a:lnTo>
                  <a:pt x="3646426" y="2824212"/>
                </a:lnTo>
                <a:lnTo>
                  <a:pt x="3608891" y="2824212"/>
                </a:lnTo>
                <a:lnTo>
                  <a:pt x="2898107" y="2824212"/>
                </a:lnTo>
                <a:lnTo>
                  <a:pt x="2760442" y="2824212"/>
                </a:lnTo>
                <a:lnTo>
                  <a:pt x="2455952" y="2824212"/>
                </a:lnTo>
                <a:lnTo>
                  <a:pt x="2432237" y="2824212"/>
                </a:lnTo>
                <a:lnTo>
                  <a:pt x="2227161" y="2824212"/>
                </a:lnTo>
                <a:lnTo>
                  <a:pt x="2189626" y="2824212"/>
                </a:lnTo>
                <a:lnTo>
                  <a:pt x="2127747" y="2824212"/>
                </a:lnTo>
                <a:lnTo>
                  <a:pt x="1012971" y="2824212"/>
                </a:lnTo>
                <a:lnTo>
                  <a:pt x="708482" y="2824212"/>
                </a:lnTo>
                <a:lnTo>
                  <a:pt x="708482" y="2823282"/>
                </a:lnTo>
                <a:lnTo>
                  <a:pt x="708481" y="2823282"/>
                </a:lnTo>
                <a:lnTo>
                  <a:pt x="708269" y="2823282"/>
                </a:lnTo>
                <a:lnTo>
                  <a:pt x="699181" y="2823282"/>
                </a:lnTo>
                <a:lnTo>
                  <a:pt x="670946" y="2823282"/>
                </a:lnTo>
                <a:lnTo>
                  <a:pt x="670946" y="2821342"/>
                </a:lnTo>
                <a:lnTo>
                  <a:pt x="640321" y="2819751"/>
                </a:lnTo>
                <a:lnTo>
                  <a:pt x="637688" y="2819346"/>
                </a:lnTo>
                <a:lnTo>
                  <a:pt x="636234" y="2819266"/>
                </a:lnTo>
                <a:lnTo>
                  <a:pt x="622422" y="2817000"/>
                </a:lnTo>
                <a:lnTo>
                  <a:pt x="578267" y="2810215"/>
                </a:lnTo>
                <a:lnTo>
                  <a:pt x="573188" y="2808925"/>
                </a:lnTo>
                <a:lnTo>
                  <a:pt x="570198" y="2808435"/>
                </a:lnTo>
                <a:lnTo>
                  <a:pt x="554757" y="2804244"/>
                </a:lnTo>
                <a:lnTo>
                  <a:pt x="518052" y="2794925"/>
                </a:lnTo>
                <a:lnTo>
                  <a:pt x="510626" y="2792270"/>
                </a:lnTo>
                <a:lnTo>
                  <a:pt x="506294" y="2791095"/>
                </a:lnTo>
                <a:lnTo>
                  <a:pt x="491522" y="2785443"/>
                </a:lnTo>
                <a:lnTo>
                  <a:pt x="459920" y="2774146"/>
                </a:lnTo>
                <a:lnTo>
                  <a:pt x="450331" y="2769679"/>
                </a:lnTo>
                <a:lnTo>
                  <a:pt x="444817" y="2767568"/>
                </a:lnTo>
                <a:lnTo>
                  <a:pt x="431441" y="2760878"/>
                </a:lnTo>
                <a:lnTo>
                  <a:pt x="404112" y="2748146"/>
                </a:lnTo>
                <a:lnTo>
                  <a:pt x="392575" y="2741437"/>
                </a:lnTo>
                <a:lnTo>
                  <a:pt x="386060" y="2738178"/>
                </a:lnTo>
                <a:lnTo>
                  <a:pt x="374349" y="2730839"/>
                </a:lnTo>
                <a:lnTo>
                  <a:pt x="350870" y="2717187"/>
                </a:lnTo>
                <a:lnTo>
                  <a:pt x="337634" y="2707831"/>
                </a:lnTo>
                <a:lnTo>
                  <a:pt x="330317" y="2703246"/>
                </a:lnTo>
                <a:lnTo>
                  <a:pt x="320351" y="2695614"/>
                </a:lnTo>
                <a:lnTo>
                  <a:pt x="300434" y="2681536"/>
                </a:lnTo>
                <a:lnTo>
                  <a:pt x="285780" y="2669142"/>
                </a:lnTo>
                <a:lnTo>
                  <a:pt x="277881" y="2663094"/>
                </a:lnTo>
                <a:lnTo>
                  <a:pt x="269642" y="2655493"/>
                </a:lnTo>
                <a:lnTo>
                  <a:pt x="253047" y="2641458"/>
                </a:lnTo>
                <a:lnTo>
                  <a:pt x="237284" y="2625643"/>
                </a:lnTo>
                <a:lnTo>
                  <a:pt x="229047" y="2618044"/>
                </a:lnTo>
                <a:lnTo>
                  <a:pt x="222457" y="2610768"/>
                </a:lnTo>
                <a:lnTo>
                  <a:pt x="208952" y="2597218"/>
                </a:lnTo>
                <a:lnTo>
                  <a:pt x="192410" y="2577589"/>
                </a:lnTo>
                <a:lnTo>
                  <a:pt x="184106" y="2568419"/>
                </a:lnTo>
                <a:lnTo>
                  <a:pt x="179049" y="2561734"/>
                </a:lnTo>
                <a:lnTo>
                  <a:pt x="168389" y="2549083"/>
                </a:lnTo>
                <a:lnTo>
                  <a:pt x="151415" y="2525197"/>
                </a:lnTo>
                <a:lnTo>
                  <a:pt x="143353" y="2514541"/>
                </a:lnTo>
                <a:lnTo>
                  <a:pt x="139681" y="2508687"/>
                </a:lnTo>
                <a:lnTo>
                  <a:pt x="131599" y="2497316"/>
                </a:lnTo>
                <a:lnTo>
                  <a:pt x="114539" y="2468615"/>
                </a:lnTo>
                <a:lnTo>
                  <a:pt x="107082" y="2456730"/>
                </a:lnTo>
                <a:lnTo>
                  <a:pt x="104620" y="2451929"/>
                </a:lnTo>
                <a:lnTo>
                  <a:pt x="98826" y="2442184"/>
                </a:lnTo>
                <a:lnTo>
                  <a:pt x="81986" y="2407793"/>
                </a:lnTo>
                <a:lnTo>
                  <a:pt x="75586" y="2395313"/>
                </a:lnTo>
                <a:lnTo>
                  <a:pt x="74134" y="2391759"/>
                </a:lnTo>
                <a:lnTo>
                  <a:pt x="70310" y="2383951"/>
                </a:lnTo>
                <a:lnTo>
                  <a:pt x="53855" y="2342110"/>
                </a:lnTo>
                <a:lnTo>
                  <a:pt x="49158" y="2330608"/>
                </a:lnTo>
                <a:lnTo>
                  <a:pt x="48496" y="2328480"/>
                </a:lnTo>
                <a:lnTo>
                  <a:pt x="46294" y="2322881"/>
                </a:lnTo>
                <a:lnTo>
                  <a:pt x="29774" y="2268344"/>
                </a:lnTo>
                <a:lnTo>
                  <a:pt x="28091" y="2262939"/>
                </a:lnTo>
                <a:lnTo>
                  <a:pt x="27973" y="2262395"/>
                </a:lnTo>
                <a:lnTo>
                  <a:pt x="27018" y="2259244"/>
                </a:lnTo>
                <a:cubicBezTo>
                  <a:pt x="15802" y="2216021"/>
                  <a:pt x="7907" y="2171262"/>
                  <a:pt x="3657" y="2125321"/>
                </a:cubicBezTo>
                <a:lnTo>
                  <a:pt x="3517" y="2122278"/>
                </a:lnTo>
                <a:lnTo>
                  <a:pt x="3219" y="2119995"/>
                </a:lnTo>
                <a:lnTo>
                  <a:pt x="1596" y="2082356"/>
                </a:lnTo>
                <a:lnTo>
                  <a:pt x="1" y="2082356"/>
                </a:lnTo>
                <a:lnTo>
                  <a:pt x="1" y="2045838"/>
                </a:lnTo>
                <a:lnTo>
                  <a:pt x="0" y="2045832"/>
                </a:lnTo>
                <a:lnTo>
                  <a:pt x="1" y="2045824"/>
                </a:lnTo>
                <a:lnTo>
                  <a:pt x="1" y="2045366"/>
                </a:lnTo>
                <a:lnTo>
                  <a:pt x="1" y="2037986"/>
                </a:lnTo>
                <a:lnTo>
                  <a:pt x="0" y="2037986"/>
                </a:lnTo>
                <a:lnTo>
                  <a:pt x="0" y="1564597"/>
                </a:lnTo>
                <a:lnTo>
                  <a:pt x="0" y="1564596"/>
                </a:lnTo>
                <a:lnTo>
                  <a:pt x="0" y="1564595"/>
                </a:lnTo>
                <a:lnTo>
                  <a:pt x="0" y="1259607"/>
                </a:lnTo>
                <a:lnTo>
                  <a:pt x="0" y="778372"/>
                </a:lnTo>
                <a:close/>
              </a:path>
            </a:pathLst>
          </a:custGeom>
        </p:spPr>
        <p:txBody>
          <a:bodyPr wrap="square">
            <a:noAutofit/>
          </a:bodyPr>
          <a:lstStyle/>
          <a:p>
            <a:endParaRPr lang="en-US"/>
          </a:p>
        </p:txBody>
      </p:sp>
      <p:sp>
        <p:nvSpPr>
          <p:cNvPr id="8" name="Picture Placeholder 7">
            <a:extLst>
              <a:ext uri="{FF2B5EF4-FFF2-40B4-BE49-F238E27FC236}">
                <a16:creationId xmlns:a16="http://schemas.microsoft.com/office/drawing/2014/main" id="{DA510A09-F8B7-4CA9-87E5-01FC06B89F02}"/>
              </a:ext>
            </a:extLst>
          </p:cNvPr>
          <p:cNvSpPr>
            <a:spLocks noGrp="1"/>
          </p:cNvSpPr>
          <p:nvPr>
            <p:ph type="pic" sz="quarter" idx="10"/>
          </p:nvPr>
        </p:nvSpPr>
        <p:spPr>
          <a:xfrm>
            <a:off x="373749" y="351563"/>
            <a:ext cx="5058243" cy="3308853"/>
          </a:xfrm>
          <a:custGeom>
            <a:avLst/>
            <a:gdLst>
              <a:gd name="connsiteX0" fmla="*/ 0 w 5058243"/>
              <a:gd name="connsiteY0" fmla="*/ 0 h 3308853"/>
              <a:gd name="connsiteX1" fmla="*/ 786082 w 5058243"/>
              <a:gd name="connsiteY1" fmla="*/ 0 h 3308853"/>
              <a:gd name="connsiteX2" fmla="*/ 830058 w 5058243"/>
              <a:gd name="connsiteY2" fmla="*/ 0 h 3308853"/>
              <a:gd name="connsiteX3" fmla="*/ 2208629 w 5058243"/>
              <a:gd name="connsiteY3" fmla="*/ 0 h 3308853"/>
              <a:gd name="connsiteX4" fmla="*/ 2565370 w 5058243"/>
              <a:gd name="connsiteY4" fmla="*/ 0 h 3308853"/>
              <a:gd name="connsiteX5" fmla="*/ 3871443 w 5058243"/>
              <a:gd name="connsiteY5" fmla="*/ 0 h 3308853"/>
              <a:gd name="connsiteX6" fmla="*/ 4228184 w 5058243"/>
              <a:gd name="connsiteY6" fmla="*/ 0 h 3308853"/>
              <a:gd name="connsiteX7" fmla="*/ 4228184 w 5058243"/>
              <a:gd name="connsiteY7" fmla="*/ 1089 h 3308853"/>
              <a:gd name="connsiteX8" fmla="*/ 4228185 w 5058243"/>
              <a:gd name="connsiteY8" fmla="*/ 1089 h 3308853"/>
              <a:gd name="connsiteX9" fmla="*/ 4228433 w 5058243"/>
              <a:gd name="connsiteY9" fmla="*/ 1089 h 3308853"/>
              <a:gd name="connsiteX10" fmla="*/ 4239081 w 5058243"/>
              <a:gd name="connsiteY10" fmla="*/ 1089 h 3308853"/>
              <a:gd name="connsiteX11" fmla="*/ 4272161 w 5058243"/>
              <a:gd name="connsiteY11" fmla="*/ 1089 h 3308853"/>
              <a:gd name="connsiteX12" fmla="*/ 4272161 w 5058243"/>
              <a:gd name="connsiteY12" fmla="*/ 3362 h 3308853"/>
              <a:gd name="connsiteX13" fmla="*/ 4308041 w 5058243"/>
              <a:gd name="connsiteY13" fmla="*/ 5226 h 3308853"/>
              <a:gd name="connsiteX14" fmla="*/ 4311127 w 5058243"/>
              <a:gd name="connsiteY14" fmla="*/ 5701 h 3308853"/>
              <a:gd name="connsiteX15" fmla="*/ 4312830 w 5058243"/>
              <a:gd name="connsiteY15" fmla="*/ 5795 h 3308853"/>
              <a:gd name="connsiteX16" fmla="*/ 4329012 w 5058243"/>
              <a:gd name="connsiteY16" fmla="*/ 8449 h 3308853"/>
              <a:gd name="connsiteX17" fmla="*/ 4380744 w 5058243"/>
              <a:gd name="connsiteY17" fmla="*/ 16399 h 3308853"/>
              <a:gd name="connsiteX18" fmla="*/ 4386694 w 5058243"/>
              <a:gd name="connsiteY18" fmla="*/ 17910 h 3308853"/>
              <a:gd name="connsiteX19" fmla="*/ 4390198 w 5058243"/>
              <a:gd name="connsiteY19" fmla="*/ 18484 h 3308853"/>
              <a:gd name="connsiteX20" fmla="*/ 4408289 w 5058243"/>
              <a:gd name="connsiteY20" fmla="*/ 23394 h 3308853"/>
              <a:gd name="connsiteX21" fmla="*/ 4451292 w 5058243"/>
              <a:gd name="connsiteY21" fmla="*/ 34313 h 3308853"/>
              <a:gd name="connsiteX22" fmla="*/ 4459992 w 5058243"/>
              <a:gd name="connsiteY22" fmla="*/ 37423 h 3308853"/>
              <a:gd name="connsiteX23" fmla="*/ 4465068 w 5058243"/>
              <a:gd name="connsiteY23" fmla="*/ 38800 h 3308853"/>
              <a:gd name="connsiteX24" fmla="*/ 4482375 w 5058243"/>
              <a:gd name="connsiteY24" fmla="*/ 45422 h 3308853"/>
              <a:gd name="connsiteX25" fmla="*/ 4519400 w 5058243"/>
              <a:gd name="connsiteY25" fmla="*/ 58657 h 3308853"/>
              <a:gd name="connsiteX26" fmla="*/ 4530635 w 5058243"/>
              <a:gd name="connsiteY26" fmla="*/ 63891 h 3308853"/>
              <a:gd name="connsiteX27" fmla="*/ 4537095 w 5058243"/>
              <a:gd name="connsiteY27" fmla="*/ 66364 h 3308853"/>
              <a:gd name="connsiteX28" fmla="*/ 4552766 w 5058243"/>
              <a:gd name="connsiteY28" fmla="*/ 74202 h 3308853"/>
              <a:gd name="connsiteX29" fmla="*/ 4584785 w 5058243"/>
              <a:gd name="connsiteY29" fmla="*/ 89119 h 3308853"/>
              <a:gd name="connsiteX30" fmla="*/ 4598301 w 5058243"/>
              <a:gd name="connsiteY30" fmla="*/ 96979 h 3308853"/>
              <a:gd name="connsiteX31" fmla="*/ 4605934 w 5058243"/>
              <a:gd name="connsiteY31" fmla="*/ 100797 h 3308853"/>
              <a:gd name="connsiteX32" fmla="*/ 4619655 w 5058243"/>
              <a:gd name="connsiteY32" fmla="*/ 109396 h 3308853"/>
              <a:gd name="connsiteX33" fmla="*/ 4647164 w 5058243"/>
              <a:gd name="connsiteY33" fmla="*/ 125391 h 3308853"/>
              <a:gd name="connsiteX34" fmla="*/ 4662670 w 5058243"/>
              <a:gd name="connsiteY34" fmla="*/ 136352 h 3308853"/>
              <a:gd name="connsiteX35" fmla="*/ 4671243 w 5058243"/>
              <a:gd name="connsiteY35" fmla="*/ 141724 h 3308853"/>
              <a:gd name="connsiteX36" fmla="*/ 4682919 w 5058243"/>
              <a:gd name="connsiteY36" fmla="*/ 150665 h 3308853"/>
              <a:gd name="connsiteX37" fmla="*/ 4706254 w 5058243"/>
              <a:gd name="connsiteY37" fmla="*/ 167159 h 3308853"/>
              <a:gd name="connsiteX38" fmla="*/ 4723422 w 5058243"/>
              <a:gd name="connsiteY38" fmla="*/ 181680 h 3308853"/>
              <a:gd name="connsiteX39" fmla="*/ 4732677 w 5058243"/>
              <a:gd name="connsiteY39" fmla="*/ 188766 h 3308853"/>
              <a:gd name="connsiteX40" fmla="*/ 4742330 w 5058243"/>
              <a:gd name="connsiteY40" fmla="*/ 197671 h 3308853"/>
              <a:gd name="connsiteX41" fmla="*/ 4761772 w 5058243"/>
              <a:gd name="connsiteY41" fmla="*/ 214115 h 3308853"/>
              <a:gd name="connsiteX42" fmla="*/ 4780240 w 5058243"/>
              <a:gd name="connsiteY42" fmla="*/ 232644 h 3308853"/>
              <a:gd name="connsiteX43" fmla="*/ 4789891 w 5058243"/>
              <a:gd name="connsiteY43" fmla="*/ 241547 h 3308853"/>
              <a:gd name="connsiteX44" fmla="*/ 4797611 w 5058243"/>
              <a:gd name="connsiteY44" fmla="*/ 250071 h 3308853"/>
              <a:gd name="connsiteX45" fmla="*/ 4813434 w 5058243"/>
              <a:gd name="connsiteY45" fmla="*/ 265946 h 3308853"/>
              <a:gd name="connsiteX46" fmla="*/ 4832816 w 5058243"/>
              <a:gd name="connsiteY46" fmla="*/ 288945 h 3308853"/>
              <a:gd name="connsiteX47" fmla="*/ 4842544 w 5058243"/>
              <a:gd name="connsiteY47" fmla="*/ 299687 h 3308853"/>
              <a:gd name="connsiteX48" fmla="*/ 4848468 w 5058243"/>
              <a:gd name="connsiteY48" fmla="*/ 307520 h 3308853"/>
              <a:gd name="connsiteX49" fmla="*/ 4860959 w 5058243"/>
              <a:gd name="connsiteY49" fmla="*/ 322342 h 3308853"/>
              <a:gd name="connsiteX50" fmla="*/ 4880845 w 5058243"/>
              <a:gd name="connsiteY50" fmla="*/ 350326 h 3308853"/>
              <a:gd name="connsiteX51" fmla="*/ 4890290 w 5058243"/>
              <a:gd name="connsiteY51" fmla="*/ 362811 h 3308853"/>
              <a:gd name="connsiteX52" fmla="*/ 4894592 w 5058243"/>
              <a:gd name="connsiteY52" fmla="*/ 369669 h 3308853"/>
              <a:gd name="connsiteX53" fmla="*/ 4904061 w 5058243"/>
              <a:gd name="connsiteY53" fmla="*/ 382992 h 3308853"/>
              <a:gd name="connsiteX54" fmla="*/ 4924050 w 5058243"/>
              <a:gd name="connsiteY54" fmla="*/ 416618 h 3308853"/>
              <a:gd name="connsiteX55" fmla="*/ 4932786 w 5058243"/>
              <a:gd name="connsiteY55" fmla="*/ 430542 h 3308853"/>
              <a:gd name="connsiteX56" fmla="*/ 4935671 w 5058243"/>
              <a:gd name="connsiteY56" fmla="*/ 436166 h 3308853"/>
              <a:gd name="connsiteX57" fmla="*/ 4942458 w 5058243"/>
              <a:gd name="connsiteY57" fmla="*/ 447585 h 3308853"/>
              <a:gd name="connsiteX58" fmla="*/ 4962189 w 5058243"/>
              <a:gd name="connsiteY58" fmla="*/ 487877 h 3308853"/>
              <a:gd name="connsiteX59" fmla="*/ 4969687 w 5058243"/>
              <a:gd name="connsiteY59" fmla="*/ 502499 h 3308853"/>
              <a:gd name="connsiteX60" fmla="*/ 4971387 w 5058243"/>
              <a:gd name="connsiteY60" fmla="*/ 506663 h 3308853"/>
              <a:gd name="connsiteX61" fmla="*/ 4975867 w 5058243"/>
              <a:gd name="connsiteY61" fmla="*/ 515811 h 3308853"/>
              <a:gd name="connsiteX62" fmla="*/ 4995146 w 5058243"/>
              <a:gd name="connsiteY62" fmla="*/ 564832 h 3308853"/>
              <a:gd name="connsiteX63" fmla="*/ 5000650 w 5058243"/>
              <a:gd name="connsiteY63" fmla="*/ 578307 h 3308853"/>
              <a:gd name="connsiteX64" fmla="*/ 5001426 w 5058243"/>
              <a:gd name="connsiteY64" fmla="*/ 580801 h 3308853"/>
              <a:gd name="connsiteX65" fmla="*/ 5004006 w 5058243"/>
              <a:gd name="connsiteY65" fmla="*/ 587360 h 3308853"/>
              <a:gd name="connsiteX66" fmla="*/ 5023359 w 5058243"/>
              <a:gd name="connsiteY66" fmla="*/ 651256 h 3308853"/>
              <a:gd name="connsiteX67" fmla="*/ 5025331 w 5058243"/>
              <a:gd name="connsiteY67" fmla="*/ 657589 h 3308853"/>
              <a:gd name="connsiteX68" fmla="*/ 5025470 w 5058243"/>
              <a:gd name="connsiteY68" fmla="*/ 658226 h 3308853"/>
              <a:gd name="connsiteX69" fmla="*/ 5026589 w 5058243"/>
              <a:gd name="connsiteY69" fmla="*/ 661917 h 3308853"/>
              <a:gd name="connsiteX70" fmla="*/ 5053959 w 5058243"/>
              <a:gd name="connsiteY70" fmla="*/ 818822 h 3308853"/>
              <a:gd name="connsiteX71" fmla="*/ 5054122 w 5058243"/>
              <a:gd name="connsiteY71" fmla="*/ 822386 h 3308853"/>
              <a:gd name="connsiteX72" fmla="*/ 5054471 w 5058243"/>
              <a:gd name="connsiteY72" fmla="*/ 825062 h 3308853"/>
              <a:gd name="connsiteX73" fmla="*/ 5056373 w 5058243"/>
              <a:gd name="connsiteY73" fmla="*/ 869160 h 3308853"/>
              <a:gd name="connsiteX74" fmla="*/ 5058243 w 5058243"/>
              <a:gd name="connsiteY74" fmla="*/ 869160 h 3308853"/>
              <a:gd name="connsiteX75" fmla="*/ 5058243 w 5058243"/>
              <a:gd name="connsiteY75" fmla="*/ 911943 h 3308853"/>
              <a:gd name="connsiteX76" fmla="*/ 5058243 w 5058243"/>
              <a:gd name="connsiteY76" fmla="*/ 911952 h 3308853"/>
              <a:gd name="connsiteX77" fmla="*/ 5058243 w 5058243"/>
              <a:gd name="connsiteY77" fmla="*/ 911961 h 3308853"/>
              <a:gd name="connsiteX78" fmla="*/ 5058243 w 5058243"/>
              <a:gd name="connsiteY78" fmla="*/ 912498 h 3308853"/>
              <a:gd name="connsiteX79" fmla="*/ 5058243 w 5058243"/>
              <a:gd name="connsiteY79" fmla="*/ 921144 h 3308853"/>
              <a:gd name="connsiteX80" fmla="*/ 5058243 w 5058243"/>
              <a:gd name="connsiteY80" fmla="*/ 1475769 h 3308853"/>
              <a:gd name="connsiteX81" fmla="*/ 5058243 w 5058243"/>
              <a:gd name="connsiteY81" fmla="*/ 1833094 h 3308853"/>
              <a:gd name="connsiteX82" fmla="*/ 5058243 w 5058243"/>
              <a:gd name="connsiteY82" fmla="*/ 2396911 h 3308853"/>
              <a:gd name="connsiteX83" fmla="*/ 5058243 w 5058243"/>
              <a:gd name="connsiteY83" fmla="*/ 3308853 h 3308853"/>
              <a:gd name="connsiteX84" fmla="*/ 4272161 w 5058243"/>
              <a:gd name="connsiteY84" fmla="*/ 3308853 h 3308853"/>
              <a:gd name="connsiteX85" fmla="*/ 4228185 w 5058243"/>
              <a:gd name="connsiteY85" fmla="*/ 3308853 h 3308853"/>
              <a:gd name="connsiteX86" fmla="*/ 3395429 w 5058243"/>
              <a:gd name="connsiteY86" fmla="*/ 3308853 h 3308853"/>
              <a:gd name="connsiteX87" fmla="*/ 2849614 w 5058243"/>
              <a:gd name="connsiteY87" fmla="*/ 3308853 h 3308853"/>
              <a:gd name="connsiteX88" fmla="*/ 2609347 w 5058243"/>
              <a:gd name="connsiteY88" fmla="*/ 3308853 h 3308853"/>
              <a:gd name="connsiteX89" fmla="*/ 2565371 w 5058243"/>
              <a:gd name="connsiteY89" fmla="*/ 3308853 h 3308853"/>
              <a:gd name="connsiteX90" fmla="*/ 2492873 w 5058243"/>
              <a:gd name="connsiteY90" fmla="*/ 3308853 h 3308853"/>
              <a:gd name="connsiteX91" fmla="*/ 1186800 w 5058243"/>
              <a:gd name="connsiteY91" fmla="*/ 3308853 h 3308853"/>
              <a:gd name="connsiteX92" fmla="*/ 830059 w 5058243"/>
              <a:gd name="connsiteY92" fmla="*/ 3308853 h 3308853"/>
              <a:gd name="connsiteX93" fmla="*/ 830059 w 5058243"/>
              <a:gd name="connsiteY93" fmla="*/ 3307764 h 3308853"/>
              <a:gd name="connsiteX94" fmla="*/ 830058 w 5058243"/>
              <a:gd name="connsiteY94" fmla="*/ 3307764 h 3308853"/>
              <a:gd name="connsiteX95" fmla="*/ 829810 w 5058243"/>
              <a:gd name="connsiteY95" fmla="*/ 3307764 h 3308853"/>
              <a:gd name="connsiteX96" fmla="*/ 819162 w 5058243"/>
              <a:gd name="connsiteY96" fmla="*/ 3307764 h 3308853"/>
              <a:gd name="connsiteX97" fmla="*/ 786082 w 5058243"/>
              <a:gd name="connsiteY97" fmla="*/ 3307764 h 3308853"/>
              <a:gd name="connsiteX98" fmla="*/ 786082 w 5058243"/>
              <a:gd name="connsiteY98" fmla="*/ 3305491 h 3308853"/>
              <a:gd name="connsiteX99" fmla="*/ 750202 w 5058243"/>
              <a:gd name="connsiteY99" fmla="*/ 3303627 h 3308853"/>
              <a:gd name="connsiteX100" fmla="*/ 747117 w 5058243"/>
              <a:gd name="connsiteY100" fmla="*/ 3303152 h 3308853"/>
              <a:gd name="connsiteX101" fmla="*/ 745413 w 5058243"/>
              <a:gd name="connsiteY101" fmla="*/ 3303058 h 3308853"/>
              <a:gd name="connsiteX102" fmla="*/ 729231 w 5058243"/>
              <a:gd name="connsiteY102" fmla="*/ 3300404 h 3308853"/>
              <a:gd name="connsiteX103" fmla="*/ 677499 w 5058243"/>
              <a:gd name="connsiteY103" fmla="*/ 3292454 h 3308853"/>
              <a:gd name="connsiteX104" fmla="*/ 671549 w 5058243"/>
              <a:gd name="connsiteY104" fmla="*/ 3290943 h 3308853"/>
              <a:gd name="connsiteX105" fmla="*/ 668045 w 5058243"/>
              <a:gd name="connsiteY105" fmla="*/ 3290369 h 3308853"/>
              <a:gd name="connsiteX106" fmla="*/ 649955 w 5058243"/>
              <a:gd name="connsiteY106" fmla="*/ 3285459 h 3308853"/>
              <a:gd name="connsiteX107" fmla="*/ 606951 w 5058243"/>
              <a:gd name="connsiteY107" fmla="*/ 3274540 h 3308853"/>
              <a:gd name="connsiteX108" fmla="*/ 598251 w 5058243"/>
              <a:gd name="connsiteY108" fmla="*/ 3271430 h 3308853"/>
              <a:gd name="connsiteX109" fmla="*/ 593175 w 5058243"/>
              <a:gd name="connsiteY109" fmla="*/ 3270053 h 3308853"/>
              <a:gd name="connsiteX110" fmla="*/ 575868 w 5058243"/>
              <a:gd name="connsiteY110" fmla="*/ 3263431 h 3308853"/>
              <a:gd name="connsiteX111" fmla="*/ 538844 w 5058243"/>
              <a:gd name="connsiteY111" fmla="*/ 3250196 h 3308853"/>
              <a:gd name="connsiteX112" fmla="*/ 527609 w 5058243"/>
              <a:gd name="connsiteY112" fmla="*/ 3244962 h 3308853"/>
              <a:gd name="connsiteX113" fmla="*/ 521149 w 5058243"/>
              <a:gd name="connsiteY113" fmla="*/ 3242489 h 3308853"/>
              <a:gd name="connsiteX114" fmla="*/ 505478 w 5058243"/>
              <a:gd name="connsiteY114" fmla="*/ 3234651 h 3308853"/>
              <a:gd name="connsiteX115" fmla="*/ 473459 w 5058243"/>
              <a:gd name="connsiteY115" fmla="*/ 3219734 h 3308853"/>
              <a:gd name="connsiteX116" fmla="*/ 459942 w 5058243"/>
              <a:gd name="connsiteY116" fmla="*/ 3211874 h 3308853"/>
              <a:gd name="connsiteX117" fmla="*/ 452309 w 5058243"/>
              <a:gd name="connsiteY117" fmla="*/ 3208056 h 3308853"/>
              <a:gd name="connsiteX118" fmla="*/ 438588 w 5058243"/>
              <a:gd name="connsiteY118" fmla="*/ 3199457 h 3308853"/>
              <a:gd name="connsiteX119" fmla="*/ 411080 w 5058243"/>
              <a:gd name="connsiteY119" fmla="*/ 3183462 h 3308853"/>
              <a:gd name="connsiteX120" fmla="*/ 395573 w 5058243"/>
              <a:gd name="connsiteY120" fmla="*/ 3172501 h 3308853"/>
              <a:gd name="connsiteX121" fmla="*/ 387001 w 5058243"/>
              <a:gd name="connsiteY121" fmla="*/ 3167129 h 3308853"/>
              <a:gd name="connsiteX122" fmla="*/ 375324 w 5058243"/>
              <a:gd name="connsiteY122" fmla="*/ 3158188 h 3308853"/>
              <a:gd name="connsiteX123" fmla="*/ 351989 w 5058243"/>
              <a:gd name="connsiteY123" fmla="*/ 3141694 h 3308853"/>
              <a:gd name="connsiteX124" fmla="*/ 334821 w 5058243"/>
              <a:gd name="connsiteY124" fmla="*/ 3127173 h 3308853"/>
              <a:gd name="connsiteX125" fmla="*/ 325566 w 5058243"/>
              <a:gd name="connsiteY125" fmla="*/ 3120087 h 3308853"/>
              <a:gd name="connsiteX126" fmla="*/ 315914 w 5058243"/>
              <a:gd name="connsiteY126" fmla="*/ 3111182 h 3308853"/>
              <a:gd name="connsiteX127" fmla="*/ 296471 w 5058243"/>
              <a:gd name="connsiteY127" fmla="*/ 3094738 h 3308853"/>
              <a:gd name="connsiteX128" fmla="*/ 278003 w 5058243"/>
              <a:gd name="connsiteY128" fmla="*/ 3076209 h 3308853"/>
              <a:gd name="connsiteX129" fmla="*/ 268352 w 5058243"/>
              <a:gd name="connsiteY129" fmla="*/ 3067306 h 3308853"/>
              <a:gd name="connsiteX130" fmla="*/ 260632 w 5058243"/>
              <a:gd name="connsiteY130" fmla="*/ 3058782 h 3308853"/>
              <a:gd name="connsiteX131" fmla="*/ 244809 w 5058243"/>
              <a:gd name="connsiteY131" fmla="*/ 3042907 h 3308853"/>
              <a:gd name="connsiteX132" fmla="*/ 225428 w 5058243"/>
              <a:gd name="connsiteY132" fmla="*/ 3019909 h 3308853"/>
              <a:gd name="connsiteX133" fmla="*/ 215699 w 5058243"/>
              <a:gd name="connsiteY133" fmla="*/ 3009166 h 3308853"/>
              <a:gd name="connsiteX134" fmla="*/ 209775 w 5058243"/>
              <a:gd name="connsiteY134" fmla="*/ 3001333 h 3308853"/>
              <a:gd name="connsiteX135" fmla="*/ 197285 w 5058243"/>
              <a:gd name="connsiteY135" fmla="*/ 2986511 h 3308853"/>
              <a:gd name="connsiteX136" fmla="*/ 177398 w 5058243"/>
              <a:gd name="connsiteY136" fmla="*/ 2958527 h 3308853"/>
              <a:gd name="connsiteX137" fmla="*/ 167953 w 5058243"/>
              <a:gd name="connsiteY137" fmla="*/ 2946042 h 3308853"/>
              <a:gd name="connsiteX138" fmla="*/ 163651 w 5058243"/>
              <a:gd name="connsiteY138" fmla="*/ 2939184 h 3308853"/>
              <a:gd name="connsiteX139" fmla="*/ 154182 w 5058243"/>
              <a:gd name="connsiteY139" fmla="*/ 2925861 h 3308853"/>
              <a:gd name="connsiteX140" fmla="*/ 134194 w 5058243"/>
              <a:gd name="connsiteY140" fmla="*/ 2892235 h 3308853"/>
              <a:gd name="connsiteX141" fmla="*/ 125458 w 5058243"/>
              <a:gd name="connsiteY141" fmla="*/ 2878311 h 3308853"/>
              <a:gd name="connsiteX142" fmla="*/ 122573 w 5058243"/>
              <a:gd name="connsiteY142" fmla="*/ 2872686 h 3308853"/>
              <a:gd name="connsiteX143" fmla="*/ 115785 w 5058243"/>
              <a:gd name="connsiteY143" fmla="*/ 2861268 h 3308853"/>
              <a:gd name="connsiteX144" fmla="*/ 96055 w 5058243"/>
              <a:gd name="connsiteY144" fmla="*/ 2820976 h 3308853"/>
              <a:gd name="connsiteX145" fmla="*/ 88557 w 5058243"/>
              <a:gd name="connsiteY145" fmla="*/ 2806354 h 3308853"/>
              <a:gd name="connsiteX146" fmla="*/ 86856 w 5058243"/>
              <a:gd name="connsiteY146" fmla="*/ 2802190 h 3308853"/>
              <a:gd name="connsiteX147" fmla="*/ 82376 w 5058243"/>
              <a:gd name="connsiteY147" fmla="*/ 2793042 h 3308853"/>
              <a:gd name="connsiteX148" fmla="*/ 63097 w 5058243"/>
              <a:gd name="connsiteY148" fmla="*/ 2744021 h 3308853"/>
              <a:gd name="connsiteX149" fmla="*/ 57594 w 5058243"/>
              <a:gd name="connsiteY149" fmla="*/ 2730546 h 3308853"/>
              <a:gd name="connsiteX150" fmla="*/ 56818 w 5058243"/>
              <a:gd name="connsiteY150" fmla="*/ 2728052 h 3308853"/>
              <a:gd name="connsiteX151" fmla="*/ 54238 w 5058243"/>
              <a:gd name="connsiteY151" fmla="*/ 2721493 h 3308853"/>
              <a:gd name="connsiteX152" fmla="*/ 34884 w 5058243"/>
              <a:gd name="connsiteY152" fmla="*/ 2657597 h 3308853"/>
              <a:gd name="connsiteX153" fmla="*/ 32912 w 5058243"/>
              <a:gd name="connsiteY153" fmla="*/ 2651264 h 3308853"/>
              <a:gd name="connsiteX154" fmla="*/ 32773 w 5058243"/>
              <a:gd name="connsiteY154" fmla="*/ 2650627 h 3308853"/>
              <a:gd name="connsiteX155" fmla="*/ 31655 w 5058243"/>
              <a:gd name="connsiteY155" fmla="*/ 2646936 h 3308853"/>
              <a:gd name="connsiteX156" fmla="*/ 4285 w 5058243"/>
              <a:gd name="connsiteY156" fmla="*/ 2490031 h 3308853"/>
              <a:gd name="connsiteX157" fmla="*/ 4121 w 5058243"/>
              <a:gd name="connsiteY157" fmla="*/ 2486466 h 3308853"/>
              <a:gd name="connsiteX158" fmla="*/ 3772 w 5058243"/>
              <a:gd name="connsiteY158" fmla="*/ 2483791 h 3308853"/>
              <a:gd name="connsiteX159" fmla="*/ 1870 w 5058243"/>
              <a:gd name="connsiteY159" fmla="*/ 2439693 h 3308853"/>
              <a:gd name="connsiteX160" fmla="*/ 1 w 5058243"/>
              <a:gd name="connsiteY160" fmla="*/ 2439693 h 3308853"/>
              <a:gd name="connsiteX161" fmla="*/ 1 w 5058243"/>
              <a:gd name="connsiteY161" fmla="*/ 2396909 h 3308853"/>
              <a:gd name="connsiteX162" fmla="*/ 0 w 5058243"/>
              <a:gd name="connsiteY162" fmla="*/ 2396901 h 3308853"/>
              <a:gd name="connsiteX163" fmla="*/ 1 w 5058243"/>
              <a:gd name="connsiteY163" fmla="*/ 2396892 h 3308853"/>
              <a:gd name="connsiteX164" fmla="*/ 1 w 5058243"/>
              <a:gd name="connsiteY164" fmla="*/ 2396355 h 3308853"/>
              <a:gd name="connsiteX165" fmla="*/ 1 w 5058243"/>
              <a:gd name="connsiteY165" fmla="*/ 2387709 h 3308853"/>
              <a:gd name="connsiteX166" fmla="*/ 0 w 5058243"/>
              <a:gd name="connsiteY166" fmla="*/ 2387709 h 3308853"/>
              <a:gd name="connsiteX167" fmla="*/ 0 w 5058243"/>
              <a:gd name="connsiteY167" fmla="*/ 1833085 h 3308853"/>
              <a:gd name="connsiteX168" fmla="*/ 0 w 5058243"/>
              <a:gd name="connsiteY168" fmla="*/ 1833084 h 3308853"/>
              <a:gd name="connsiteX169" fmla="*/ 0 w 5058243"/>
              <a:gd name="connsiteY169" fmla="*/ 1833083 h 3308853"/>
              <a:gd name="connsiteX170" fmla="*/ 0 w 5058243"/>
              <a:gd name="connsiteY170" fmla="*/ 1475758 h 3308853"/>
              <a:gd name="connsiteX171" fmla="*/ 0 w 5058243"/>
              <a:gd name="connsiteY171" fmla="*/ 911942 h 3308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5058243" h="3308853">
                <a:moveTo>
                  <a:pt x="0" y="0"/>
                </a:moveTo>
                <a:lnTo>
                  <a:pt x="786082" y="0"/>
                </a:lnTo>
                <a:lnTo>
                  <a:pt x="830058" y="0"/>
                </a:lnTo>
                <a:lnTo>
                  <a:pt x="2208629" y="0"/>
                </a:lnTo>
                <a:lnTo>
                  <a:pt x="2565370" y="0"/>
                </a:lnTo>
                <a:lnTo>
                  <a:pt x="3871443" y="0"/>
                </a:lnTo>
                <a:lnTo>
                  <a:pt x="4228184" y="0"/>
                </a:lnTo>
                <a:lnTo>
                  <a:pt x="4228184" y="1089"/>
                </a:lnTo>
                <a:lnTo>
                  <a:pt x="4228185" y="1089"/>
                </a:lnTo>
                <a:lnTo>
                  <a:pt x="4228433" y="1089"/>
                </a:lnTo>
                <a:lnTo>
                  <a:pt x="4239081" y="1089"/>
                </a:lnTo>
                <a:lnTo>
                  <a:pt x="4272161" y="1089"/>
                </a:lnTo>
                <a:lnTo>
                  <a:pt x="4272161" y="3362"/>
                </a:lnTo>
                <a:lnTo>
                  <a:pt x="4308041" y="5226"/>
                </a:lnTo>
                <a:lnTo>
                  <a:pt x="4311127" y="5701"/>
                </a:lnTo>
                <a:lnTo>
                  <a:pt x="4312830" y="5795"/>
                </a:lnTo>
                <a:lnTo>
                  <a:pt x="4329012" y="8449"/>
                </a:lnTo>
                <a:lnTo>
                  <a:pt x="4380744" y="16399"/>
                </a:lnTo>
                <a:lnTo>
                  <a:pt x="4386694" y="17910"/>
                </a:lnTo>
                <a:lnTo>
                  <a:pt x="4390198" y="18484"/>
                </a:lnTo>
                <a:lnTo>
                  <a:pt x="4408289" y="23394"/>
                </a:lnTo>
                <a:lnTo>
                  <a:pt x="4451292" y="34313"/>
                </a:lnTo>
                <a:lnTo>
                  <a:pt x="4459992" y="37423"/>
                </a:lnTo>
                <a:lnTo>
                  <a:pt x="4465068" y="38800"/>
                </a:lnTo>
                <a:lnTo>
                  <a:pt x="4482375" y="45422"/>
                </a:lnTo>
                <a:lnTo>
                  <a:pt x="4519400" y="58657"/>
                </a:lnTo>
                <a:lnTo>
                  <a:pt x="4530635" y="63891"/>
                </a:lnTo>
                <a:lnTo>
                  <a:pt x="4537095" y="66364"/>
                </a:lnTo>
                <a:lnTo>
                  <a:pt x="4552766" y="74202"/>
                </a:lnTo>
                <a:lnTo>
                  <a:pt x="4584785" y="89119"/>
                </a:lnTo>
                <a:lnTo>
                  <a:pt x="4598301" y="96979"/>
                </a:lnTo>
                <a:lnTo>
                  <a:pt x="4605934" y="100797"/>
                </a:lnTo>
                <a:lnTo>
                  <a:pt x="4619655" y="109396"/>
                </a:lnTo>
                <a:lnTo>
                  <a:pt x="4647164" y="125391"/>
                </a:lnTo>
                <a:lnTo>
                  <a:pt x="4662670" y="136352"/>
                </a:lnTo>
                <a:lnTo>
                  <a:pt x="4671243" y="141724"/>
                </a:lnTo>
                <a:lnTo>
                  <a:pt x="4682919" y="150665"/>
                </a:lnTo>
                <a:lnTo>
                  <a:pt x="4706254" y="167159"/>
                </a:lnTo>
                <a:lnTo>
                  <a:pt x="4723422" y="181680"/>
                </a:lnTo>
                <a:lnTo>
                  <a:pt x="4732677" y="188766"/>
                </a:lnTo>
                <a:lnTo>
                  <a:pt x="4742330" y="197671"/>
                </a:lnTo>
                <a:lnTo>
                  <a:pt x="4761772" y="214115"/>
                </a:lnTo>
                <a:lnTo>
                  <a:pt x="4780240" y="232644"/>
                </a:lnTo>
                <a:lnTo>
                  <a:pt x="4789891" y="241547"/>
                </a:lnTo>
                <a:lnTo>
                  <a:pt x="4797611" y="250071"/>
                </a:lnTo>
                <a:lnTo>
                  <a:pt x="4813434" y="265946"/>
                </a:lnTo>
                <a:lnTo>
                  <a:pt x="4832816" y="288945"/>
                </a:lnTo>
                <a:lnTo>
                  <a:pt x="4842544" y="299687"/>
                </a:lnTo>
                <a:lnTo>
                  <a:pt x="4848468" y="307520"/>
                </a:lnTo>
                <a:lnTo>
                  <a:pt x="4860959" y="322342"/>
                </a:lnTo>
                <a:lnTo>
                  <a:pt x="4880845" y="350326"/>
                </a:lnTo>
                <a:lnTo>
                  <a:pt x="4890290" y="362811"/>
                </a:lnTo>
                <a:lnTo>
                  <a:pt x="4894592" y="369669"/>
                </a:lnTo>
                <a:lnTo>
                  <a:pt x="4904061" y="382992"/>
                </a:lnTo>
                <a:lnTo>
                  <a:pt x="4924050" y="416618"/>
                </a:lnTo>
                <a:lnTo>
                  <a:pt x="4932786" y="430542"/>
                </a:lnTo>
                <a:lnTo>
                  <a:pt x="4935671" y="436166"/>
                </a:lnTo>
                <a:lnTo>
                  <a:pt x="4942458" y="447585"/>
                </a:lnTo>
                <a:lnTo>
                  <a:pt x="4962189" y="487877"/>
                </a:lnTo>
                <a:lnTo>
                  <a:pt x="4969687" y="502499"/>
                </a:lnTo>
                <a:lnTo>
                  <a:pt x="4971387" y="506663"/>
                </a:lnTo>
                <a:lnTo>
                  <a:pt x="4975867" y="515811"/>
                </a:lnTo>
                <a:lnTo>
                  <a:pt x="4995146" y="564832"/>
                </a:lnTo>
                <a:lnTo>
                  <a:pt x="5000650" y="578307"/>
                </a:lnTo>
                <a:lnTo>
                  <a:pt x="5001426" y="580801"/>
                </a:lnTo>
                <a:lnTo>
                  <a:pt x="5004006" y="587360"/>
                </a:lnTo>
                <a:lnTo>
                  <a:pt x="5023359" y="651256"/>
                </a:lnTo>
                <a:lnTo>
                  <a:pt x="5025331" y="657589"/>
                </a:lnTo>
                <a:lnTo>
                  <a:pt x="5025470" y="658226"/>
                </a:lnTo>
                <a:lnTo>
                  <a:pt x="5026589" y="661917"/>
                </a:lnTo>
                <a:cubicBezTo>
                  <a:pt x="5039730" y="712558"/>
                  <a:pt x="5048979" y="764997"/>
                  <a:pt x="5053959" y="818822"/>
                </a:cubicBezTo>
                <a:lnTo>
                  <a:pt x="5054122" y="822386"/>
                </a:lnTo>
                <a:lnTo>
                  <a:pt x="5054471" y="825062"/>
                </a:lnTo>
                <a:lnTo>
                  <a:pt x="5056373" y="869160"/>
                </a:lnTo>
                <a:lnTo>
                  <a:pt x="5058243" y="869160"/>
                </a:lnTo>
                <a:lnTo>
                  <a:pt x="5058243" y="911943"/>
                </a:lnTo>
                <a:lnTo>
                  <a:pt x="5058243" y="911952"/>
                </a:lnTo>
                <a:lnTo>
                  <a:pt x="5058243" y="911961"/>
                </a:lnTo>
                <a:lnTo>
                  <a:pt x="5058243" y="912498"/>
                </a:lnTo>
                <a:lnTo>
                  <a:pt x="5058243" y="921144"/>
                </a:lnTo>
                <a:lnTo>
                  <a:pt x="5058243" y="1475769"/>
                </a:lnTo>
                <a:lnTo>
                  <a:pt x="5058243" y="1833094"/>
                </a:lnTo>
                <a:lnTo>
                  <a:pt x="5058243" y="2396911"/>
                </a:lnTo>
                <a:lnTo>
                  <a:pt x="5058243" y="3308853"/>
                </a:lnTo>
                <a:lnTo>
                  <a:pt x="4272161" y="3308853"/>
                </a:lnTo>
                <a:lnTo>
                  <a:pt x="4228185" y="3308853"/>
                </a:lnTo>
                <a:lnTo>
                  <a:pt x="3395429" y="3308853"/>
                </a:lnTo>
                <a:lnTo>
                  <a:pt x="2849614" y="3308853"/>
                </a:lnTo>
                <a:lnTo>
                  <a:pt x="2609347" y="3308853"/>
                </a:lnTo>
                <a:lnTo>
                  <a:pt x="2565371" y="3308853"/>
                </a:lnTo>
                <a:lnTo>
                  <a:pt x="2492873" y="3308853"/>
                </a:lnTo>
                <a:lnTo>
                  <a:pt x="1186800" y="3308853"/>
                </a:lnTo>
                <a:lnTo>
                  <a:pt x="830059" y="3308853"/>
                </a:lnTo>
                <a:lnTo>
                  <a:pt x="830059" y="3307764"/>
                </a:lnTo>
                <a:lnTo>
                  <a:pt x="830058" y="3307764"/>
                </a:lnTo>
                <a:lnTo>
                  <a:pt x="829810" y="3307764"/>
                </a:lnTo>
                <a:lnTo>
                  <a:pt x="819162" y="3307764"/>
                </a:lnTo>
                <a:lnTo>
                  <a:pt x="786082" y="3307764"/>
                </a:lnTo>
                <a:lnTo>
                  <a:pt x="786082" y="3305491"/>
                </a:lnTo>
                <a:lnTo>
                  <a:pt x="750202" y="3303627"/>
                </a:lnTo>
                <a:lnTo>
                  <a:pt x="747117" y="3303152"/>
                </a:lnTo>
                <a:lnTo>
                  <a:pt x="745413" y="3303058"/>
                </a:lnTo>
                <a:lnTo>
                  <a:pt x="729231" y="3300404"/>
                </a:lnTo>
                <a:lnTo>
                  <a:pt x="677499" y="3292454"/>
                </a:lnTo>
                <a:lnTo>
                  <a:pt x="671549" y="3290943"/>
                </a:lnTo>
                <a:lnTo>
                  <a:pt x="668045" y="3290369"/>
                </a:lnTo>
                <a:lnTo>
                  <a:pt x="649955" y="3285459"/>
                </a:lnTo>
                <a:lnTo>
                  <a:pt x="606951" y="3274540"/>
                </a:lnTo>
                <a:lnTo>
                  <a:pt x="598251" y="3271430"/>
                </a:lnTo>
                <a:lnTo>
                  <a:pt x="593175" y="3270053"/>
                </a:lnTo>
                <a:lnTo>
                  <a:pt x="575868" y="3263431"/>
                </a:lnTo>
                <a:lnTo>
                  <a:pt x="538844" y="3250196"/>
                </a:lnTo>
                <a:lnTo>
                  <a:pt x="527609" y="3244962"/>
                </a:lnTo>
                <a:lnTo>
                  <a:pt x="521149" y="3242489"/>
                </a:lnTo>
                <a:lnTo>
                  <a:pt x="505478" y="3234651"/>
                </a:lnTo>
                <a:lnTo>
                  <a:pt x="473459" y="3219734"/>
                </a:lnTo>
                <a:lnTo>
                  <a:pt x="459942" y="3211874"/>
                </a:lnTo>
                <a:lnTo>
                  <a:pt x="452309" y="3208056"/>
                </a:lnTo>
                <a:lnTo>
                  <a:pt x="438588" y="3199457"/>
                </a:lnTo>
                <a:lnTo>
                  <a:pt x="411080" y="3183462"/>
                </a:lnTo>
                <a:lnTo>
                  <a:pt x="395573" y="3172501"/>
                </a:lnTo>
                <a:lnTo>
                  <a:pt x="387001" y="3167129"/>
                </a:lnTo>
                <a:lnTo>
                  <a:pt x="375324" y="3158188"/>
                </a:lnTo>
                <a:lnTo>
                  <a:pt x="351989" y="3141694"/>
                </a:lnTo>
                <a:lnTo>
                  <a:pt x="334821" y="3127173"/>
                </a:lnTo>
                <a:lnTo>
                  <a:pt x="325566" y="3120087"/>
                </a:lnTo>
                <a:lnTo>
                  <a:pt x="315914" y="3111182"/>
                </a:lnTo>
                <a:lnTo>
                  <a:pt x="296471" y="3094738"/>
                </a:lnTo>
                <a:lnTo>
                  <a:pt x="278003" y="3076209"/>
                </a:lnTo>
                <a:lnTo>
                  <a:pt x="268352" y="3067306"/>
                </a:lnTo>
                <a:lnTo>
                  <a:pt x="260632" y="3058782"/>
                </a:lnTo>
                <a:lnTo>
                  <a:pt x="244809" y="3042907"/>
                </a:lnTo>
                <a:lnTo>
                  <a:pt x="225428" y="3019909"/>
                </a:lnTo>
                <a:lnTo>
                  <a:pt x="215699" y="3009166"/>
                </a:lnTo>
                <a:lnTo>
                  <a:pt x="209775" y="3001333"/>
                </a:lnTo>
                <a:lnTo>
                  <a:pt x="197285" y="2986511"/>
                </a:lnTo>
                <a:lnTo>
                  <a:pt x="177398" y="2958527"/>
                </a:lnTo>
                <a:lnTo>
                  <a:pt x="167953" y="2946042"/>
                </a:lnTo>
                <a:lnTo>
                  <a:pt x="163651" y="2939184"/>
                </a:lnTo>
                <a:lnTo>
                  <a:pt x="154182" y="2925861"/>
                </a:lnTo>
                <a:lnTo>
                  <a:pt x="134194" y="2892235"/>
                </a:lnTo>
                <a:lnTo>
                  <a:pt x="125458" y="2878311"/>
                </a:lnTo>
                <a:lnTo>
                  <a:pt x="122573" y="2872686"/>
                </a:lnTo>
                <a:lnTo>
                  <a:pt x="115785" y="2861268"/>
                </a:lnTo>
                <a:lnTo>
                  <a:pt x="96055" y="2820976"/>
                </a:lnTo>
                <a:lnTo>
                  <a:pt x="88557" y="2806354"/>
                </a:lnTo>
                <a:lnTo>
                  <a:pt x="86856" y="2802190"/>
                </a:lnTo>
                <a:lnTo>
                  <a:pt x="82376" y="2793042"/>
                </a:lnTo>
                <a:lnTo>
                  <a:pt x="63097" y="2744021"/>
                </a:lnTo>
                <a:lnTo>
                  <a:pt x="57594" y="2730546"/>
                </a:lnTo>
                <a:lnTo>
                  <a:pt x="56818" y="2728052"/>
                </a:lnTo>
                <a:lnTo>
                  <a:pt x="54238" y="2721493"/>
                </a:lnTo>
                <a:lnTo>
                  <a:pt x="34884" y="2657597"/>
                </a:lnTo>
                <a:lnTo>
                  <a:pt x="32912" y="2651264"/>
                </a:lnTo>
                <a:lnTo>
                  <a:pt x="32773" y="2650627"/>
                </a:lnTo>
                <a:lnTo>
                  <a:pt x="31655" y="2646936"/>
                </a:lnTo>
                <a:cubicBezTo>
                  <a:pt x="18514" y="2596295"/>
                  <a:pt x="9264" y="2543856"/>
                  <a:pt x="4285" y="2490031"/>
                </a:cubicBezTo>
                <a:lnTo>
                  <a:pt x="4121" y="2486466"/>
                </a:lnTo>
                <a:lnTo>
                  <a:pt x="3772" y="2483791"/>
                </a:lnTo>
                <a:lnTo>
                  <a:pt x="1870" y="2439693"/>
                </a:lnTo>
                <a:lnTo>
                  <a:pt x="1" y="2439693"/>
                </a:lnTo>
                <a:lnTo>
                  <a:pt x="1" y="2396909"/>
                </a:lnTo>
                <a:lnTo>
                  <a:pt x="0" y="2396901"/>
                </a:lnTo>
                <a:lnTo>
                  <a:pt x="1" y="2396892"/>
                </a:lnTo>
                <a:lnTo>
                  <a:pt x="1" y="2396355"/>
                </a:lnTo>
                <a:lnTo>
                  <a:pt x="1" y="2387709"/>
                </a:lnTo>
                <a:lnTo>
                  <a:pt x="0" y="2387709"/>
                </a:lnTo>
                <a:lnTo>
                  <a:pt x="0" y="1833085"/>
                </a:lnTo>
                <a:lnTo>
                  <a:pt x="0" y="1833084"/>
                </a:lnTo>
                <a:lnTo>
                  <a:pt x="0" y="1833083"/>
                </a:lnTo>
                <a:lnTo>
                  <a:pt x="0" y="1475758"/>
                </a:lnTo>
                <a:lnTo>
                  <a:pt x="0" y="911942"/>
                </a:lnTo>
                <a:close/>
              </a:path>
            </a:pathLst>
          </a:custGeom>
        </p:spPr>
        <p:txBody>
          <a:bodyPr wrap="square">
            <a:noAutofit/>
          </a:bodyPr>
          <a:lstStyle/>
          <a:p>
            <a:endParaRPr lang="en-US"/>
          </a:p>
        </p:txBody>
      </p:sp>
    </p:spTree>
    <p:extLst>
      <p:ext uri="{BB962C8B-B14F-4D97-AF65-F5344CB8AC3E}">
        <p14:creationId xmlns:p14="http://schemas.microsoft.com/office/powerpoint/2010/main" val="342187666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45D3C7B6-CC75-401E-9787-A9ACE4C59D0A}"/>
              </a:ext>
            </a:extLst>
          </p:cNvPr>
          <p:cNvSpPr>
            <a:spLocks noGrp="1"/>
          </p:cNvSpPr>
          <p:nvPr>
            <p:ph type="pic" sz="quarter" idx="11"/>
          </p:nvPr>
        </p:nvSpPr>
        <p:spPr>
          <a:xfrm>
            <a:off x="9277350" y="0"/>
            <a:ext cx="2933700" cy="2463507"/>
          </a:xfrm>
          <a:custGeom>
            <a:avLst/>
            <a:gdLst>
              <a:gd name="connsiteX0" fmla="*/ 677230 w 2933700"/>
              <a:gd name="connsiteY0" fmla="*/ 0 h 2463507"/>
              <a:gd name="connsiteX1" fmla="*/ 910198 w 2933700"/>
              <a:gd name="connsiteY1" fmla="*/ 0 h 2463507"/>
              <a:gd name="connsiteX2" fmla="*/ 938962 w 2933700"/>
              <a:gd name="connsiteY2" fmla="*/ 0 h 2463507"/>
              <a:gd name="connsiteX3" fmla="*/ 956411 w 2933700"/>
              <a:gd name="connsiteY3" fmla="*/ 0 h 2463507"/>
              <a:gd name="connsiteX4" fmla="*/ 1051743 w 2933700"/>
              <a:gd name="connsiteY4" fmla="*/ 0 h 2463507"/>
              <a:gd name="connsiteX5" fmla="*/ 1062768 w 2933700"/>
              <a:gd name="connsiteY5" fmla="*/ 0 h 2463507"/>
              <a:gd name="connsiteX6" fmla="*/ 1204313 w 2933700"/>
              <a:gd name="connsiteY6" fmla="*/ 0 h 2463507"/>
              <a:gd name="connsiteX7" fmla="*/ 1268308 w 2933700"/>
              <a:gd name="connsiteY7" fmla="*/ 0 h 2463507"/>
              <a:gd name="connsiteX8" fmla="*/ 1598724 w 2933700"/>
              <a:gd name="connsiteY8" fmla="*/ 0 h 2463507"/>
              <a:gd name="connsiteX9" fmla="*/ 1616172 w 2933700"/>
              <a:gd name="connsiteY9" fmla="*/ 0 h 2463507"/>
              <a:gd name="connsiteX10" fmla="*/ 1722529 w 2933700"/>
              <a:gd name="connsiteY10" fmla="*/ 0 h 2463507"/>
              <a:gd name="connsiteX11" fmla="*/ 1751294 w 2933700"/>
              <a:gd name="connsiteY11" fmla="*/ 0 h 2463507"/>
              <a:gd name="connsiteX12" fmla="*/ 1768742 w 2933700"/>
              <a:gd name="connsiteY12" fmla="*/ 0 h 2463507"/>
              <a:gd name="connsiteX13" fmla="*/ 1864074 w 2933700"/>
              <a:gd name="connsiteY13" fmla="*/ 0 h 2463507"/>
              <a:gd name="connsiteX14" fmla="*/ 1928069 w 2933700"/>
              <a:gd name="connsiteY14" fmla="*/ 0 h 2463507"/>
              <a:gd name="connsiteX15" fmla="*/ 2080639 w 2933700"/>
              <a:gd name="connsiteY15" fmla="*/ 0 h 2463507"/>
              <a:gd name="connsiteX16" fmla="*/ 2256470 w 2933700"/>
              <a:gd name="connsiteY16" fmla="*/ 0 h 2463507"/>
              <a:gd name="connsiteX17" fmla="*/ 2256470 w 2933700"/>
              <a:gd name="connsiteY17" fmla="*/ 1 h 2463507"/>
              <a:gd name="connsiteX18" fmla="*/ 2323152 w 2933700"/>
              <a:gd name="connsiteY18" fmla="*/ 1 h 2463507"/>
              <a:gd name="connsiteX19" fmla="*/ 2355498 w 2933700"/>
              <a:gd name="connsiteY19" fmla="*/ 1 h 2463507"/>
              <a:gd name="connsiteX20" fmla="*/ 2933700 w 2933700"/>
              <a:gd name="connsiteY20" fmla="*/ 1 h 2463507"/>
              <a:gd name="connsiteX21" fmla="*/ 2933700 w 2933700"/>
              <a:gd name="connsiteY21" fmla="*/ 678959 h 2463507"/>
              <a:gd name="connsiteX22" fmla="*/ 2933700 w 2933700"/>
              <a:gd name="connsiteY22" fmla="*/ 1098732 h 2463507"/>
              <a:gd name="connsiteX23" fmla="*/ 2933700 w 2933700"/>
              <a:gd name="connsiteY23" fmla="*/ 1364768 h 2463507"/>
              <a:gd name="connsiteX24" fmla="*/ 2933700 w 2933700"/>
              <a:gd name="connsiteY24" fmla="*/ 1777698 h 2463507"/>
              <a:gd name="connsiteX25" fmla="*/ 2933700 w 2933700"/>
              <a:gd name="connsiteY25" fmla="*/ 1784134 h 2463507"/>
              <a:gd name="connsiteX26" fmla="*/ 2933700 w 2933700"/>
              <a:gd name="connsiteY26" fmla="*/ 1784534 h 2463507"/>
              <a:gd name="connsiteX27" fmla="*/ 2933700 w 2933700"/>
              <a:gd name="connsiteY27" fmla="*/ 1784541 h 2463507"/>
              <a:gd name="connsiteX28" fmla="*/ 2933700 w 2933700"/>
              <a:gd name="connsiteY28" fmla="*/ 1784547 h 2463507"/>
              <a:gd name="connsiteX29" fmla="*/ 2933700 w 2933700"/>
              <a:gd name="connsiteY29" fmla="*/ 1816401 h 2463507"/>
              <a:gd name="connsiteX30" fmla="*/ 2932325 w 2933700"/>
              <a:gd name="connsiteY30" fmla="*/ 1816401 h 2463507"/>
              <a:gd name="connsiteX31" fmla="*/ 2930926 w 2933700"/>
              <a:gd name="connsiteY31" fmla="*/ 1849232 h 2463507"/>
              <a:gd name="connsiteX32" fmla="*/ 2930669 w 2933700"/>
              <a:gd name="connsiteY32" fmla="*/ 1851224 h 2463507"/>
              <a:gd name="connsiteX33" fmla="*/ 2930549 w 2933700"/>
              <a:gd name="connsiteY33" fmla="*/ 1853877 h 2463507"/>
              <a:gd name="connsiteX34" fmla="*/ 2910418 w 2933700"/>
              <a:gd name="connsiteY34" fmla="*/ 1970697 h 2463507"/>
              <a:gd name="connsiteX35" fmla="*/ 2909594 w 2933700"/>
              <a:gd name="connsiteY35" fmla="*/ 1973444 h 2463507"/>
              <a:gd name="connsiteX36" fmla="*/ 2909492 w 2933700"/>
              <a:gd name="connsiteY36" fmla="*/ 1973919 h 2463507"/>
              <a:gd name="connsiteX37" fmla="*/ 2908041 w 2933700"/>
              <a:gd name="connsiteY37" fmla="*/ 1978634 h 2463507"/>
              <a:gd name="connsiteX38" fmla="*/ 2893806 w 2933700"/>
              <a:gd name="connsiteY38" fmla="*/ 2026206 h 2463507"/>
              <a:gd name="connsiteX39" fmla="*/ 2891908 w 2933700"/>
              <a:gd name="connsiteY39" fmla="*/ 2031089 h 2463507"/>
              <a:gd name="connsiteX40" fmla="*/ 2891338 w 2933700"/>
              <a:gd name="connsiteY40" fmla="*/ 2032946 h 2463507"/>
              <a:gd name="connsiteX41" fmla="*/ 2887290 w 2933700"/>
              <a:gd name="connsiteY41" fmla="*/ 2042979 h 2463507"/>
              <a:gd name="connsiteX42" fmla="*/ 2873108 w 2933700"/>
              <a:gd name="connsiteY42" fmla="*/ 2079476 h 2463507"/>
              <a:gd name="connsiteX43" fmla="*/ 2869812 w 2933700"/>
              <a:gd name="connsiteY43" fmla="*/ 2086287 h 2463507"/>
              <a:gd name="connsiteX44" fmla="*/ 2868564 w 2933700"/>
              <a:gd name="connsiteY44" fmla="*/ 2089386 h 2463507"/>
              <a:gd name="connsiteX45" fmla="*/ 2863048 w 2933700"/>
              <a:gd name="connsiteY45" fmla="*/ 2100273 h 2463507"/>
              <a:gd name="connsiteX46" fmla="*/ 2848535 w 2933700"/>
              <a:gd name="connsiteY46" fmla="*/ 2130271 h 2463507"/>
              <a:gd name="connsiteX47" fmla="*/ 2843543 w 2933700"/>
              <a:gd name="connsiteY47" fmla="*/ 2138772 h 2463507"/>
              <a:gd name="connsiteX48" fmla="*/ 2841421 w 2933700"/>
              <a:gd name="connsiteY48" fmla="*/ 2142959 h 2463507"/>
              <a:gd name="connsiteX49" fmla="*/ 2834995 w 2933700"/>
              <a:gd name="connsiteY49" fmla="*/ 2153326 h 2463507"/>
              <a:gd name="connsiteX50" fmla="*/ 2820292 w 2933700"/>
              <a:gd name="connsiteY50" fmla="*/ 2178362 h 2463507"/>
              <a:gd name="connsiteX51" fmla="*/ 2813327 w 2933700"/>
              <a:gd name="connsiteY51" fmla="*/ 2188281 h 2463507"/>
              <a:gd name="connsiteX52" fmla="*/ 2810163 w 2933700"/>
              <a:gd name="connsiteY52" fmla="*/ 2193387 h 2463507"/>
              <a:gd name="connsiteX53" fmla="*/ 2803216 w 2933700"/>
              <a:gd name="connsiteY53" fmla="*/ 2202682 h 2463507"/>
              <a:gd name="connsiteX54" fmla="*/ 2788588 w 2933700"/>
              <a:gd name="connsiteY54" fmla="*/ 2223518 h 2463507"/>
              <a:gd name="connsiteX55" fmla="*/ 2779400 w 2933700"/>
              <a:gd name="connsiteY55" fmla="*/ 2234553 h 2463507"/>
              <a:gd name="connsiteX56" fmla="*/ 2775043 w 2933700"/>
              <a:gd name="connsiteY56" fmla="*/ 2240384 h 2463507"/>
              <a:gd name="connsiteX57" fmla="*/ 2767888 w 2933700"/>
              <a:gd name="connsiteY57" fmla="*/ 2248382 h 2463507"/>
              <a:gd name="connsiteX58" fmla="*/ 2753631 w 2933700"/>
              <a:gd name="connsiteY58" fmla="*/ 2265505 h 2463507"/>
              <a:gd name="connsiteX59" fmla="*/ 2741992 w 2933700"/>
              <a:gd name="connsiteY59" fmla="*/ 2277323 h 2463507"/>
              <a:gd name="connsiteX60" fmla="*/ 2736314 w 2933700"/>
              <a:gd name="connsiteY60" fmla="*/ 2283671 h 2463507"/>
              <a:gd name="connsiteX61" fmla="*/ 2729216 w 2933700"/>
              <a:gd name="connsiteY61" fmla="*/ 2290299 h 2463507"/>
              <a:gd name="connsiteX62" fmla="*/ 2715632 w 2933700"/>
              <a:gd name="connsiteY62" fmla="*/ 2304095 h 2463507"/>
              <a:gd name="connsiteX63" fmla="*/ 2701330 w 2933700"/>
              <a:gd name="connsiteY63" fmla="*/ 2316337 h 2463507"/>
              <a:gd name="connsiteX64" fmla="*/ 2694230 w 2933700"/>
              <a:gd name="connsiteY64" fmla="*/ 2322966 h 2463507"/>
              <a:gd name="connsiteX65" fmla="*/ 2687423 w 2933700"/>
              <a:gd name="connsiteY65" fmla="*/ 2328243 h 2463507"/>
              <a:gd name="connsiteX66" fmla="*/ 2674795 w 2933700"/>
              <a:gd name="connsiteY66" fmla="*/ 2339053 h 2463507"/>
              <a:gd name="connsiteX67" fmla="*/ 2657631 w 2933700"/>
              <a:gd name="connsiteY67" fmla="*/ 2351333 h 2463507"/>
              <a:gd name="connsiteX68" fmla="*/ 2649042 w 2933700"/>
              <a:gd name="connsiteY68" fmla="*/ 2357991 h 2463507"/>
              <a:gd name="connsiteX69" fmla="*/ 2642737 w 2933700"/>
              <a:gd name="connsiteY69" fmla="*/ 2361990 h 2463507"/>
              <a:gd name="connsiteX70" fmla="*/ 2631332 w 2933700"/>
              <a:gd name="connsiteY70" fmla="*/ 2370151 h 2463507"/>
              <a:gd name="connsiteX71" fmla="*/ 2611097 w 2933700"/>
              <a:gd name="connsiteY71" fmla="*/ 2382059 h 2463507"/>
              <a:gd name="connsiteX72" fmla="*/ 2601006 w 2933700"/>
              <a:gd name="connsiteY72" fmla="*/ 2388462 h 2463507"/>
              <a:gd name="connsiteX73" fmla="*/ 2595390 w 2933700"/>
              <a:gd name="connsiteY73" fmla="*/ 2391304 h 2463507"/>
              <a:gd name="connsiteX74" fmla="*/ 2585449 w 2933700"/>
              <a:gd name="connsiteY74" fmla="*/ 2397156 h 2463507"/>
              <a:gd name="connsiteX75" fmla="*/ 2561897 w 2933700"/>
              <a:gd name="connsiteY75" fmla="*/ 2408262 h 2463507"/>
              <a:gd name="connsiteX76" fmla="*/ 2550370 w 2933700"/>
              <a:gd name="connsiteY76" fmla="*/ 2414098 h 2463507"/>
              <a:gd name="connsiteX77" fmla="*/ 2545618 w 2933700"/>
              <a:gd name="connsiteY77" fmla="*/ 2415939 h 2463507"/>
              <a:gd name="connsiteX78" fmla="*/ 2537355 w 2933700"/>
              <a:gd name="connsiteY78" fmla="*/ 2419835 h 2463507"/>
              <a:gd name="connsiteX79" fmla="*/ 2510121 w 2933700"/>
              <a:gd name="connsiteY79" fmla="*/ 2429690 h 2463507"/>
              <a:gd name="connsiteX80" fmla="*/ 2497390 w 2933700"/>
              <a:gd name="connsiteY80" fmla="*/ 2434620 h 2463507"/>
              <a:gd name="connsiteX81" fmla="*/ 2493658 w 2933700"/>
              <a:gd name="connsiteY81" fmla="*/ 2435645 h 2463507"/>
              <a:gd name="connsiteX82" fmla="*/ 2487258 w 2933700"/>
              <a:gd name="connsiteY82" fmla="*/ 2437960 h 2463507"/>
              <a:gd name="connsiteX83" fmla="*/ 2455627 w 2933700"/>
              <a:gd name="connsiteY83" fmla="*/ 2446089 h 2463507"/>
              <a:gd name="connsiteX84" fmla="*/ 2442320 w 2933700"/>
              <a:gd name="connsiteY84" fmla="*/ 2449745 h 2463507"/>
              <a:gd name="connsiteX85" fmla="*/ 2439743 w 2933700"/>
              <a:gd name="connsiteY85" fmla="*/ 2450173 h 2463507"/>
              <a:gd name="connsiteX86" fmla="*/ 2435367 w 2933700"/>
              <a:gd name="connsiteY86" fmla="*/ 2451298 h 2463507"/>
              <a:gd name="connsiteX87" fmla="*/ 2397316 w 2933700"/>
              <a:gd name="connsiteY87" fmla="*/ 2457216 h 2463507"/>
              <a:gd name="connsiteX88" fmla="*/ 2385413 w 2933700"/>
              <a:gd name="connsiteY88" fmla="*/ 2459193 h 2463507"/>
              <a:gd name="connsiteX89" fmla="*/ 2384160 w 2933700"/>
              <a:gd name="connsiteY89" fmla="*/ 2459263 h 2463507"/>
              <a:gd name="connsiteX90" fmla="*/ 2381890 w 2933700"/>
              <a:gd name="connsiteY90" fmla="*/ 2459615 h 2463507"/>
              <a:gd name="connsiteX91" fmla="*/ 2355498 w 2933700"/>
              <a:gd name="connsiteY91" fmla="*/ 2461003 h 2463507"/>
              <a:gd name="connsiteX92" fmla="*/ 2355498 w 2933700"/>
              <a:gd name="connsiteY92" fmla="*/ 2462696 h 2463507"/>
              <a:gd name="connsiteX93" fmla="*/ 2331166 w 2933700"/>
              <a:gd name="connsiteY93" fmla="*/ 2462696 h 2463507"/>
              <a:gd name="connsiteX94" fmla="*/ 2323335 w 2933700"/>
              <a:gd name="connsiteY94" fmla="*/ 2462696 h 2463507"/>
              <a:gd name="connsiteX95" fmla="*/ 2323152 w 2933700"/>
              <a:gd name="connsiteY95" fmla="*/ 2462696 h 2463507"/>
              <a:gd name="connsiteX96" fmla="*/ 2323151 w 2933700"/>
              <a:gd name="connsiteY96" fmla="*/ 2462696 h 2463507"/>
              <a:gd name="connsiteX97" fmla="*/ 2323151 w 2933700"/>
              <a:gd name="connsiteY97" fmla="*/ 2463507 h 2463507"/>
              <a:gd name="connsiteX98" fmla="*/ 2060750 w 2933700"/>
              <a:gd name="connsiteY98" fmla="*/ 2463507 h 2463507"/>
              <a:gd name="connsiteX99" fmla="*/ 2036578 w 2933700"/>
              <a:gd name="connsiteY99" fmla="*/ 2463507 h 2463507"/>
              <a:gd name="connsiteX100" fmla="*/ 2036578 w 2933700"/>
              <a:gd name="connsiteY100" fmla="*/ 2463506 h 2463507"/>
              <a:gd name="connsiteX101" fmla="*/ 1751294 w 2933700"/>
              <a:gd name="connsiteY101" fmla="*/ 2463506 h 2463507"/>
              <a:gd name="connsiteX102" fmla="*/ 1609747 w 2933700"/>
              <a:gd name="connsiteY102" fmla="*/ 2463506 h 2463507"/>
              <a:gd name="connsiteX103" fmla="*/ 1598723 w 2933700"/>
              <a:gd name="connsiteY103" fmla="*/ 2463506 h 2463507"/>
              <a:gd name="connsiteX104" fmla="*/ 1457178 w 2933700"/>
              <a:gd name="connsiteY104" fmla="*/ 2463506 h 2463507"/>
              <a:gd name="connsiteX105" fmla="*/ 1401748 w 2933700"/>
              <a:gd name="connsiteY105" fmla="*/ 2463506 h 2463507"/>
              <a:gd name="connsiteX106" fmla="*/ 1401748 w 2933700"/>
              <a:gd name="connsiteY106" fmla="*/ 2463507 h 2463507"/>
              <a:gd name="connsiteX107" fmla="*/ 610548 w 2933700"/>
              <a:gd name="connsiteY107" fmla="*/ 2463507 h 2463507"/>
              <a:gd name="connsiteX108" fmla="*/ 578200 w 2933700"/>
              <a:gd name="connsiteY108" fmla="*/ 2463507 h 2463507"/>
              <a:gd name="connsiteX109" fmla="*/ 0 w 2933700"/>
              <a:gd name="connsiteY109" fmla="*/ 2463507 h 2463507"/>
              <a:gd name="connsiteX110" fmla="*/ 0 w 2933700"/>
              <a:gd name="connsiteY110" fmla="*/ 1784548 h 2463507"/>
              <a:gd name="connsiteX111" fmla="*/ 0 w 2933700"/>
              <a:gd name="connsiteY111" fmla="*/ 1364777 h 2463507"/>
              <a:gd name="connsiteX112" fmla="*/ 0 w 2933700"/>
              <a:gd name="connsiteY112" fmla="*/ 1098741 h 2463507"/>
              <a:gd name="connsiteX113" fmla="*/ 0 w 2933700"/>
              <a:gd name="connsiteY113" fmla="*/ 1098740 h 2463507"/>
              <a:gd name="connsiteX114" fmla="*/ 0 w 2933700"/>
              <a:gd name="connsiteY114" fmla="*/ 1098739 h 2463507"/>
              <a:gd name="connsiteX115" fmla="*/ 0 w 2933700"/>
              <a:gd name="connsiteY115" fmla="*/ 685811 h 2463507"/>
              <a:gd name="connsiteX116" fmla="*/ 0 w 2933700"/>
              <a:gd name="connsiteY116" fmla="*/ 679373 h 2463507"/>
              <a:gd name="connsiteX117" fmla="*/ 0 w 2933700"/>
              <a:gd name="connsiteY117" fmla="*/ 678974 h 2463507"/>
              <a:gd name="connsiteX118" fmla="*/ 0 w 2933700"/>
              <a:gd name="connsiteY118" fmla="*/ 678967 h 2463507"/>
              <a:gd name="connsiteX119" fmla="*/ 0 w 2933700"/>
              <a:gd name="connsiteY119" fmla="*/ 678962 h 2463507"/>
              <a:gd name="connsiteX120" fmla="*/ 0 w 2933700"/>
              <a:gd name="connsiteY120" fmla="*/ 647108 h 2463507"/>
              <a:gd name="connsiteX121" fmla="*/ 1375 w 2933700"/>
              <a:gd name="connsiteY121" fmla="*/ 647108 h 2463507"/>
              <a:gd name="connsiteX122" fmla="*/ 2774 w 2933700"/>
              <a:gd name="connsiteY122" fmla="*/ 614276 h 2463507"/>
              <a:gd name="connsiteX123" fmla="*/ 3031 w 2933700"/>
              <a:gd name="connsiteY123" fmla="*/ 612285 h 2463507"/>
              <a:gd name="connsiteX124" fmla="*/ 3151 w 2933700"/>
              <a:gd name="connsiteY124" fmla="*/ 609630 h 2463507"/>
              <a:gd name="connsiteX125" fmla="*/ 23283 w 2933700"/>
              <a:gd name="connsiteY125" fmla="*/ 492812 h 2463507"/>
              <a:gd name="connsiteX126" fmla="*/ 24106 w 2933700"/>
              <a:gd name="connsiteY126" fmla="*/ 490063 h 2463507"/>
              <a:gd name="connsiteX127" fmla="*/ 24208 w 2933700"/>
              <a:gd name="connsiteY127" fmla="*/ 489589 h 2463507"/>
              <a:gd name="connsiteX128" fmla="*/ 25658 w 2933700"/>
              <a:gd name="connsiteY128" fmla="*/ 484874 h 2463507"/>
              <a:gd name="connsiteX129" fmla="*/ 39895 w 2933700"/>
              <a:gd name="connsiteY129" fmla="*/ 437302 h 2463507"/>
              <a:gd name="connsiteX130" fmla="*/ 41793 w 2933700"/>
              <a:gd name="connsiteY130" fmla="*/ 432419 h 2463507"/>
              <a:gd name="connsiteX131" fmla="*/ 42363 w 2933700"/>
              <a:gd name="connsiteY131" fmla="*/ 430563 h 2463507"/>
              <a:gd name="connsiteX132" fmla="*/ 46410 w 2933700"/>
              <a:gd name="connsiteY132" fmla="*/ 420529 h 2463507"/>
              <a:gd name="connsiteX133" fmla="*/ 60591 w 2933700"/>
              <a:gd name="connsiteY133" fmla="*/ 384033 h 2463507"/>
              <a:gd name="connsiteX134" fmla="*/ 63886 w 2933700"/>
              <a:gd name="connsiteY134" fmla="*/ 377222 h 2463507"/>
              <a:gd name="connsiteX135" fmla="*/ 65138 w 2933700"/>
              <a:gd name="connsiteY135" fmla="*/ 374121 h 2463507"/>
              <a:gd name="connsiteX136" fmla="*/ 70652 w 2933700"/>
              <a:gd name="connsiteY136" fmla="*/ 363236 h 2463507"/>
              <a:gd name="connsiteX137" fmla="*/ 85165 w 2933700"/>
              <a:gd name="connsiteY137" fmla="*/ 333237 h 2463507"/>
              <a:gd name="connsiteX138" fmla="*/ 90158 w 2933700"/>
              <a:gd name="connsiteY138" fmla="*/ 324736 h 2463507"/>
              <a:gd name="connsiteX139" fmla="*/ 92280 w 2933700"/>
              <a:gd name="connsiteY139" fmla="*/ 320549 h 2463507"/>
              <a:gd name="connsiteX140" fmla="*/ 98706 w 2933700"/>
              <a:gd name="connsiteY140" fmla="*/ 310181 h 2463507"/>
              <a:gd name="connsiteX141" fmla="*/ 113408 w 2933700"/>
              <a:gd name="connsiteY141" fmla="*/ 285147 h 2463507"/>
              <a:gd name="connsiteX142" fmla="*/ 120373 w 2933700"/>
              <a:gd name="connsiteY142" fmla="*/ 275227 h 2463507"/>
              <a:gd name="connsiteX143" fmla="*/ 123537 w 2933700"/>
              <a:gd name="connsiteY143" fmla="*/ 270121 h 2463507"/>
              <a:gd name="connsiteX144" fmla="*/ 130484 w 2933700"/>
              <a:gd name="connsiteY144" fmla="*/ 260827 h 2463507"/>
              <a:gd name="connsiteX145" fmla="*/ 145113 w 2933700"/>
              <a:gd name="connsiteY145" fmla="*/ 239991 h 2463507"/>
              <a:gd name="connsiteX146" fmla="*/ 154299 w 2933700"/>
              <a:gd name="connsiteY146" fmla="*/ 228956 h 2463507"/>
              <a:gd name="connsiteX147" fmla="*/ 158657 w 2933700"/>
              <a:gd name="connsiteY147" fmla="*/ 223124 h 2463507"/>
              <a:gd name="connsiteX148" fmla="*/ 165813 w 2933700"/>
              <a:gd name="connsiteY148" fmla="*/ 215125 h 2463507"/>
              <a:gd name="connsiteX149" fmla="*/ 180069 w 2933700"/>
              <a:gd name="connsiteY149" fmla="*/ 198003 h 2463507"/>
              <a:gd name="connsiteX150" fmla="*/ 191707 w 2933700"/>
              <a:gd name="connsiteY150" fmla="*/ 186184 h 2463507"/>
              <a:gd name="connsiteX151" fmla="*/ 197386 w 2933700"/>
              <a:gd name="connsiteY151" fmla="*/ 179838 h 2463507"/>
              <a:gd name="connsiteX152" fmla="*/ 204483 w 2933700"/>
              <a:gd name="connsiteY152" fmla="*/ 173209 h 2463507"/>
              <a:gd name="connsiteX153" fmla="*/ 218069 w 2933700"/>
              <a:gd name="connsiteY153" fmla="*/ 159414 h 2463507"/>
              <a:gd name="connsiteX154" fmla="*/ 232369 w 2933700"/>
              <a:gd name="connsiteY154" fmla="*/ 147172 h 2463507"/>
              <a:gd name="connsiteX155" fmla="*/ 239470 w 2933700"/>
              <a:gd name="connsiteY155" fmla="*/ 140541 h 2463507"/>
              <a:gd name="connsiteX156" fmla="*/ 246276 w 2933700"/>
              <a:gd name="connsiteY156" fmla="*/ 135266 h 2463507"/>
              <a:gd name="connsiteX157" fmla="*/ 258905 w 2933700"/>
              <a:gd name="connsiteY157" fmla="*/ 124455 h 2463507"/>
              <a:gd name="connsiteX158" fmla="*/ 276069 w 2933700"/>
              <a:gd name="connsiteY158" fmla="*/ 112174 h 2463507"/>
              <a:gd name="connsiteX159" fmla="*/ 284657 w 2933700"/>
              <a:gd name="connsiteY159" fmla="*/ 105518 h 2463507"/>
              <a:gd name="connsiteX160" fmla="*/ 290963 w 2933700"/>
              <a:gd name="connsiteY160" fmla="*/ 101518 h 2463507"/>
              <a:gd name="connsiteX161" fmla="*/ 302368 w 2933700"/>
              <a:gd name="connsiteY161" fmla="*/ 93357 h 2463507"/>
              <a:gd name="connsiteX162" fmla="*/ 322603 w 2933700"/>
              <a:gd name="connsiteY162" fmla="*/ 81449 h 2463507"/>
              <a:gd name="connsiteX163" fmla="*/ 332694 w 2933700"/>
              <a:gd name="connsiteY163" fmla="*/ 75047 h 2463507"/>
              <a:gd name="connsiteX164" fmla="*/ 338309 w 2933700"/>
              <a:gd name="connsiteY164" fmla="*/ 72205 h 2463507"/>
              <a:gd name="connsiteX165" fmla="*/ 348251 w 2933700"/>
              <a:gd name="connsiteY165" fmla="*/ 66352 h 2463507"/>
              <a:gd name="connsiteX166" fmla="*/ 371803 w 2933700"/>
              <a:gd name="connsiteY166" fmla="*/ 55247 h 2463507"/>
              <a:gd name="connsiteX167" fmla="*/ 383330 w 2933700"/>
              <a:gd name="connsiteY167" fmla="*/ 49411 h 2463507"/>
              <a:gd name="connsiteX168" fmla="*/ 388082 w 2933700"/>
              <a:gd name="connsiteY168" fmla="*/ 47570 h 2463507"/>
              <a:gd name="connsiteX169" fmla="*/ 396345 w 2933700"/>
              <a:gd name="connsiteY169" fmla="*/ 43673 h 2463507"/>
              <a:gd name="connsiteX170" fmla="*/ 423579 w 2933700"/>
              <a:gd name="connsiteY170" fmla="*/ 33819 h 2463507"/>
              <a:gd name="connsiteX171" fmla="*/ 436308 w 2933700"/>
              <a:gd name="connsiteY171" fmla="*/ 28889 h 2463507"/>
              <a:gd name="connsiteX172" fmla="*/ 440042 w 2933700"/>
              <a:gd name="connsiteY172" fmla="*/ 27863 h 2463507"/>
              <a:gd name="connsiteX173" fmla="*/ 446442 w 2933700"/>
              <a:gd name="connsiteY173" fmla="*/ 25548 h 2463507"/>
              <a:gd name="connsiteX174" fmla="*/ 478073 w 2933700"/>
              <a:gd name="connsiteY174" fmla="*/ 17419 h 2463507"/>
              <a:gd name="connsiteX175" fmla="*/ 491380 w 2933700"/>
              <a:gd name="connsiteY175" fmla="*/ 13763 h 2463507"/>
              <a:gd name="connsiteX176" fmla="*/ 493956 w 2933700"/>
              <a:gd name="connsiteY176" fmla="*/ 13335 h 2463507"/>
              <a:gd name="connsiteX177" fmla="*/ 498333 w 2933700"/>
              <a:gd name="connsiteY177" fmla="*/ 12211 h 2463507"/>
              <a:gd name="connsiteX178" fmla="*/ 536385 w 2933700"/>
              <a:gd name="connsiteY178" fmla="*/ 6291 h 2463507"/>
              <a:gd name="connsiteX179" fmla="*/ 548287 w 2933700"/>
              <a:gd name="connsiteY179" fmla="*/ 4316 h 2463507"/>
              <a:gd name="connsiteX180" fmla="*/ 549541 w 2933700"/>
              <a:gd name="connsiteY180" fmla="*/ 4245 h 2463507"/>
              <a:gd name="connsiteX181" fmla="*/ 551810 w 2933700"/>
              <a:gd name="connsiteY181" fmla="*/ 3892 h 2463507"/>
              <a:gd name="connsiteX182" fmla="*/ 578200 w 2933700"/>
              <a:gd name="connsiteY182" fmla="*/ 2505 h 2463507"/>
              <a:gd name="connsiteX183" fmla="*/ 578200 w 2933700"/>
              <a:gd name="connsiteY183" fmla="*/ 812 h 2463507"/>
              <a:gd name="connsiteX184" fmla="*/ 602533 w 2933700"/>
              <a:gd name="connsiteY184" fmla="*/ 812 h 2463507"/>
              <a:gd name="connsiteX185" fmla="*/ 610365 w 2933700"/>
              <a:gd name="connsiteY185" fmla="*/ 812 h 2463507"/>
              <a:gd name="connsiteX186" fmla="*/ 610548 w 2933700"/>
              <a:gd name="connsiteY186" fmla="*/ 812 h 2463507"/>
              <a:gd name="connsiteX187" fmla="*/ 610548 w 2933700"/>
              <a:gd name="connsiteY187" fmla="*/ 1 h 2463507"/>
              <a:gd name="connsiteX188" fmla="*/ 677230 w 2933700"/>
              <a:gd name="connsiteY188" fmla="*/ 1 h 2463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2933700" h="2463507">
                <a:moveTo>
                  <a:pt x="677230" y="0"/>
                </a:moveTo>
                <a:lnTo>
                  <a:pt x="910198" y="0"/>
                </a:lnTo>
                <a:lnTo>
                  <a:pt x="938962" y="0"/>
                </a:lnTo>
                <a:lnTo>
                  <a:pt x="956411" y="0"/>
                </a:lnTo>
                <a:lnTo>
                  <a:pt x="1051743" y="0"/>
                </a:lnTo>
                <a:lnTo>
                  <a:pt x="1062768" y="0"/>
                </a:lnTo>
                <a:lnTo>
                  <a:pt x="1204313" y="0"/>
                </a:lnTo>
                <a:lnTo>
                  <a:pt x="1268308" y="0"/>
                </a:lnTo>
                <a:lnTo>
                  <a:pt x="1598724" y="0"/>
                </a:lnTo>
                <a:lnTo>
                  <a:pt x="1616172" y="0"/>
                </a:lnTo>
                <a:lnTo>
                  <a:pt x="1722529" y="0"/>
                </a:lnTo>
                <a:lnTo>
                  <a:pt x="1751294" y="0"/>
                </a:lnTo>
                <a:lnTo>
                  <a:pt x="1768742" y="0"/>
                </a:lnTo>
                <a:lnTo>
                  <a:pt x="1864074" y="0"/>
                </a:lnTo>
                <a:lnTo>
                  <a:pt x="1928069" y="0"/>
                </a:lnTo>
                <a:lnTo>
                  <a:pt x="2080639" y="0"/>
                </a:lnTo>
                <a:lnTo>
                  <a:pt x="2256470" y="0"/>
                </a:lnTo>
                <a:lnTo>
                  <a:pt x="2256470" y="1"/>
                </a:lnTo>
                <a:lnTo>
                  <a:pt x="2323152" y="1"/>
                </a:lnTo>
                <a:lnTo>
                  <a:pt x="2355498" y="1"/>
                </a:lnTo>
                <a:lnTo>
                  <a:pt x="2933700" y="1"/>
                </a:lnTo>
                <a:lnTo>
                  <a:pt x="2933700" y="678959"/>
                </a:lnTo>
                <a:lnTo>
                  <a:pt x="2933700" y="1098732"/>
                </a:lnTo>
                <a:lnTo>
                  <a:pt x="2933700" y="1364768"/>
                </a:lnTo>
                <a:lnTo>
                  <a:pt x="2933700" y="1777698"/>
                </a:lnTo>
                <a:lnTo>
                  <a:pt x="2933700" y="1784134"/>
                </a:lnTo>
                <a:lnTo>
                  <a:pt x="2933700" y="1784534"/>
                </a:lnTo>
                <a:lnTo>
                  <a:pt x="2933700" y="1784541"/>
                </a:lnTo>
                <a:lnTo>
                  <a:pt x="2933700" y="1784547"/>
                </a:lnTo>
                <a:lnTo>
                  <a:pt x="2933700" y="1816401"/>
                </a:lnTo>
                <a:lnTo>
                  <a:pt x="2932325" y="1816401"/>
                </a:lnTo>
                <a:lnTo>
                  <a:pt x="2930926" y="1849232"/>
                </a:lnTo>
                <a:lnTo>
                  <a:pt x="2930669" y="1851224"/>
                </a:lnTo>
                <a:lnTo>
                  <a:pt x="2930549" y="1853877"/>
                </a:lnTo>
                <a:cubicBezTo>
                  <a:pt x="2926886" y="1893951"/>
                  <a:pt x="2920084" y="1932994"/>
                  <a:pt x="2910418" y="1970697"/>
                </a:cubicBezTo>
                <a:lnTo>
                  <a:pt x="2909594" y="1973444"/>
                </a:lnTo>
                <a:lnTo>
                  <a:pt x="2909492" y="1973919"/>
                </a:lnTo>
                <a:lnTo>
                  <a:pt x="2908041" y="1978634"/>
                </a:lnTo>
                <a:lnTo>
                  <a:pt x="2893806" y="2026206"/>
                </a:lnTo>
                <a:lnTo>
                  <a:pt x="2891908" y="2031089"/>
                </a:lnTo>
                <a:lnTo>
                  <a:pt x="2891338" y="2032946"/>
                </a:lnTo>
                <a:lnTo>
                  <a:pt x="2887290" y="2042979"/>
                </a:lnTo>
                <a:lnTo>
                  <a:pt x="2873108" y="2079476"/>
                </a:lnTo>
                <a:lnTo>
                  <a:pt x="2869812" y="2086287"/>
                </a:lnTo>
                <a:lnTo>
                  <a:pt x="2868564" y="2089386"/>
                </a:lnTo>
                <a:lnTo>
                  <a:pt x="2863048" y="2100273"/>
                </a:lnTo>
                <a:lnTo>
                  <a:pt x="2848535" y="2130271"/>
                </a:lnTo>
                <a:lnTo>
                  <a:pt x="2843543" y="2138772"/>
                </a:lnTo>
                <a:lnTo>
                  <a:pt x="2841421" y="2142959"/>
                </a:lnTo>
                <a:lnTo>
                  <a:pt x="2834995" y="2153326"/>
                </a:lnTo>
                <a:lnTo>
                  <a:pt x="2820292" y="2178362"/>
                </a:lnTo>
                <a:lnTo>
                  <a:pt x="2813327" y="2188281"/>
                </a:lnTo>
                <a:lnTo>
                  <a:pt x="2810163" y="2193387"/>
                </a:lnTo>
                <a:lnTo>
                  <a:pt x="2803216" y="2202682"/>
                </a:lnTo>
                <a:lnTo>
                  <a:pt x="2788588" y="2223518"/>
                </a:lnTo>
                <a:lnTo>
                  <a:pt x="2779400" y="2234553"/>
                </a:lnTo>
                <a:lnTo>
                  <a:pt x="2775043" y="2240384"/>
                </a:lnTo>
                <a:lnTo>
                  <a:pt x="2767888" y="2248382"/>
                </a:lnTo>
                <a:lnTo>
                  <a:pt x="2753631" y="2265505"/>
                </a:lnTo>
                <a:lnTo>
                  <a:pt x="2741992" y="2277323"/>
                </a:lnTo>
                <a:lnTo>
                  <a:pt x="2736314" y="2283671"/>
                </a:lnTo>
                <a:lnTo>
                  <a:pt x="2729216" y="2290299"/>
                </a:lnTo>
                <a:lnTo>
                  <a:pt x="2715632" y="2304095"/>
                </a:lnTo>
                <a:lnTo>
                  <a:pt x="2701330" y="2316337"/>
                </a:lnTo>
                <a:lnTo>
                  <a:pt x="2694230" y="2322966"/>
                </a:lnTo>
                <a:lnTo>
                  <a:pt x="2687423" y="2328243"/>
                </a:lnTo>
                <a:lnTo>
                  <a:pt x="2674795" y="2339053"/>
                </a:lnTo>
                <a:lnTo>
                  <a:pt x="2657631" y="2351333"/>
                </a:lnTo>
                <a:lnTo>
                  <a:pt x="2649042" y="2357991"/>
                </a:lnTo>
                <a:lnTo>
                  <a:pt x="2642737" y="2361990"/>
                </a:lnTo>
                <a:lnTo>
                  <a:pt x="2631332" y="2370151"/>
                </a:lnTo>
                <a:lnTo>
                  <a:pt x="2611097" y="2382059"/>
                </a:lnTo>
                <a:lnTo>
                  <a:pt x="2601006" y="2388462"/>
                </a:lnTo>
                <a:lnTo>
                  <a:pt x="2595390" y="2391304"/>
                </a:lnTo>
                <a:lnTo>
                  <a:pt x="2585449" y="2397156"/>
                </a:lnTo>
                <a:lnTo>
                  <a:pt x="2561897" y="2408262"/>
                </a:lnTo>
                <a:lnTo>
                  <a:pt x="2550370" y="2414098"/>
                </a:lnTo>
                <a:lnTo>
                  <a:pt x="2545618" y="2415939"/>
                </a:lnTo>
                <a:lnTo>
                  <a:pt x="2537355" y="2419835"/>
                </a:lnTo>
                <a:lnTo>
                  <a:pt x="2510121" y="2429690"/>
                </a:lnTo>
                <a:lnTo>
                  <a:pt x="2497390" y="2434620"/>
                </a:lnTo>
                <a:lnTo>
                  <a:pt x="2493658" y="2435645"/>
                </a:lnTo>
                <a:lnTo>
                  <a:pt x="2487258" y="2437960"/>
                </a:lnTo>
                <a:lnTo>
                  <a:pt x="2455627" y="2446089"/>
                </a:lnTo>
                <a:lnTo>
                  <a:pt x="2442320" y="2449745"/>
                </a:lnTo>
                <a:lnTo>
                  <a:pt x="2439743" y="2450173"/>
                </a:lnTo>
                <a:lnTo>
                  <a:pt x="2435367" y="2451298"/>
                </a:lnTo>
                <a:lnTo>
                  <a:pt x="2397316" y="2457216"/>
                </a:lnTo>
                <a:lnTo>
                  <a:pt x="2385413" y="2459193"/>
                </a:lnTo>
                <a:lnTo>
                  <a:pt x="2384160" y="2459263"/>
                </a:lnTo>
                <a:lnTo>
                  <a:pt x="2381890" y="2459615"/>
                </a:lnTo>
                <a:lnTo>
                  <a:pt x="2355498" y="2461003"/>
                </a:lnTo>
                <a:lnTo>
                  <a:pt x="2355498" y="2462696"/>
                </a:lnTo>
                <a:lnTo>
                  <a:pt x="2331166" y="2462696"/>
                </a:lnTo>
                <a:lnTo>
                  <a:pt x="2323335" y="2462696"/>
                </a:lnTo>
                <a:lnTo>
                  <a:pt x="2323152" y="2462696"/>
                </a:lnTo>
                <a:lnTo>
                  <a:pt x="2323151" y="2462696"/>
                </a:lnTo>
                <a:lnTo>
                  <a:pt x="2323151" y="2463507"/>
                </a:lnTo>
                <a:lnTo>
                  <a:pt x="2060750" y="2463507"/>
                </a:lnTo>
                <a:lnTo>
                  <a:pt x="2036578" y="2463507"/>
                </a:lnTo>
                <a:lnTo>
                  <a:pt x="2036578" y="2463506"/>
                </a:lnTo>
                <a:lnTo>
                  <a:pt x="1751294" y="2463506"/>
                </a:lnTo>
                <a:lnTo>
                  <a:pt x="1609747" y="2463506"/>
                </a:lnTo>
                <a:lnTo>
                  <a:pt x="1598723" y="2463506"/>
                </a:lnTo>
                <a:lnTo>
                  <a:pt x="1457178" y="2463506"/>
                </a:lnTo>
                <a:lnTo>
                  <a:pt x="1401748" y="2463506"/>
                </a:lnTo>
                <a:lnTo>
                  <a:pt x="1401748" y="2463507"/>
                </a:lnTo>
                <a:lnTo>
                  <a:pt x="610548" y="2463507"/>
                </a:lnTo>
                <a:lnTo>
                  <a:pt x="578200" y="2463507"/>
                </a:lnTo>
                <a:lnTo>
                  <a:pt x="0" y="2463507"/>
                </a:lnTo>
                <a:lnTo>
                  <a:pt x="0" y="1784548"/>
                </a:lnTo>
                <a:lnTo>
                  <a:pt x="0" y="1364777"/>
                </a:lnTo>
                <a:lnTo>
                  <a:pt x="0" y="1098741"/>
                </a:lnTo>
                <a:lnTo>
                  <a:pt x="0" y="1098740"/>
                </a:lnTo>
                <a:lnTo>
                  <a:pt x="0" y="1098739"/>
                </a:lnTo>
                <a:lnTo>
                  <a:pt x="0" y="685811"/>
                </a:lnTo>
                <a:lnTo>
                  <a:pt x="0" y="679373"/>
                </a:lnTo>
                <a:lnTo>
                  <a:pt x="0" y="678974"/>
                </a:lnTo>
                <a:lnTo>
                  <a:pt x="0" y="678967"/>
                </a:lnTo>
                <a:lnTo>
                  <a:pt x="0" y="678962"/>
                </a:lnTo>
                <a:lnTo>
                  <a:pt x="0" y="647108"/>
                </a:lnTo>
                <a:lnTo>
                  <a:pt x="1375" y="647108"/>
                </a:lnTo>
                <a:lnTo>
                  <a:pt x="2774" y="614276"/>
                </a:lnTo>
                <a:lnTo>
                  <a:pt x="3031" y="612285"/>
                </a:lnTo>
                <a:lnTo>
                  <a:pt x="3151" y="609630"/>
                </a:lnTo>
                <a:cubicBezTo>
                  <a:pt x="6813" y="569557"/>
                  <a:pt x="13618" y="530515"/>
                  <a:pt x="23283" y="492812"/>
                </a:cubicBezTo>
                <a:lnTo>
                  <a:pt x="24106" y="490063"/>
                </a:lnTo>
                <a:lnTo>
                  <a:pt x="24208" y="489589"/>
                </a:lnTo>
                <a:lnTo>
                  <a:pt x="25658" y="484874"/>
                </a:lnTo>
                <a:lnTo>
                  <a:pt x="39895" y="437302"/>
                </a:lnTo>
                <a:lnTo>
                  <a:pt x="41793" y="432419"/>
                </a:lnTo>
                <a:lnTo>
                  <a:pt x="42363" y="430563"/>
                </a:lnTo>
                <a:lnTo>
                  <a:pt x="46410" y="420529"/>
                </a:lnTo>
                <a:lnTo>
                  <a:pt x="60591" y="384033"/>
                </a:lnTo>
                <a:lnTo>
                  <a:pt x="63886" y="377222"/>
                </a:lnTo>
                <a:lnTo>
                  <a:pt x="65138" y="374121"/>
                </a:lnTo>
                <a:lnTo>
                  <a:pt x="70652" y="363236"/>
                </a:lnTo>
                <a:lnTo>
                  <a:pt x="85165" y="333237"/>
                </a:lnTo>
                <a:lnTo>
                  <a:pt x="90158" y="324736"/>
                </a:lnTo>
                <a:lnTo>
                  <a:pt x="92280" y="320549"/>
                </a:lnTo>
                <a:lnTo>
                  <a:pt x="98706" y="310181"/>
                </a:lnTo>
                <a:lnTo>
                  <a:pt x="113408" y="285147"/>
                </a:lnTo>
                <a:lnTo>
                  <a:pt x="120373" y="275227"/>
                </a:lnTo>
                <a:lnTo>
                  <a:pt x="123537" y="270121"/>
                </a:lnTo>
                <a:lnTo>
                  <a:pt x="130484" y="260827"/>
                </a:lnTo>
                <a:lnTo>
                  <a:pt x="145113" y="239991"/>
                </a:lnTo>
                <a:lnTo>
                  <a:pt x="154299" y="228956"/>
                </a:lnTo>
                <a:lnTo>
                  <a:pt x="158657" y="223124"/>
                </a:lnTo>
                <a:lnTo>
                  <a:pt x="165813" y="215125"/>
                </a:lnTo>
                <a:lnTo>
                  <a:pt x="180069" y="198003"/>
                </a:lnTo>
                <a:lnTo>
                  <a:pt x="191707" y="186184"/>
                </a:lnTo>
                <a:lnTo>
                  <a:pt x="197386" y="179838"/>
                </a:lnTo>
                <a:lnTo>
                  <a:pt x="204483" y="173209"/>
                </a:lnTo>
                <a:lnTo>
                  <a:pt x="218069" y="159414"/>
                </a:lnTo>
                <a:lnTo>
                  <a:pt x="232369" y="147172"/>
                </a:lnTo>
                <a:lnTo>
                  <a:pt x="239470" y="140541"/>
                </a:lnTo>
                <a:lnTo>
                  <a:pt x="246276" y="135266"/>
                </a:lnTo>
                <a:lnTo>
                  <a:pt x="258905" y="124455"/>
                </a:lnTo>
                <a:lnTo>
                  <a:pt x="276069" y="112174"/>
                </a:lnTo>
                <a:lnTo>
                  <a:pt x="284657" y="105518"/>
                </a:lnTo>
                <a:lnTo>
                  <a:pt x="290963" y="101518"/>
                </a:lnTo>
                <a:lnTo>
                  <a:pt x="302368" y="93357"/>
                </a:lnTo>
                <a:lnTo>
                  <a:pt x="322603" y="81449"/>
                </a:lnTo>
                <a:lnTo>
                  <a:pt x="332694" y="75047"/>
                </a:lnTo>
                <a:lnTo>
                  <a:pt x="338309" y="72205"/>
                </a:lnTo>
                <a:lnTo>
                  <a:pt x="348251" y="66352"/>
                </a:lnTo>
                <a:lnTo>
                  <a:pt x="371803" y="55247"/>
                </a:lnTo>
                <a:lnTo>
                  <a:pt x="383330" y="49411"/>
                </a:lnTo>
                <a:lnTo>
                  <a:pt x="388082" y="47570"/>
                </a:lnTo>
                <a:lnTo>
                  <a:pt x="396345" y="43673"/>
                </a:lnTo>
                <a:lnTo>
                  <a:pt x="423579" y="33819"/>
                </a:lnTo>
                <a:lnTo>
                  <a:pt x="436308" y="28889"/>
                </a:lnTo>
                <a:lnTo>
                  <a:pt x="440042" y="27863"/>
                </a:lnTo>
                <a:lnTo>
                  <a:pt x="446442" y="25548"/>
                </a:lnTo>
                <a:lnTo>
                  <a:pt x="478073" y="17419"/>
                </a:lnTo>
                <a:lnTo>
                  <a:pt x="491380" y="13763"/>
                </a:lnTo>
                <a:lnTo>
                  <a:pt x="493956" y="13335"/>
                </a:lnTo>
                <a:lnTo>
                  <a:pt x="498333" y="12211"/>
                </a:lnTo>
                <a:lnTo>
                  <a:pt x="536385" y="6291"/>
                </a:lnTo>
                <a:lnTo>
                  <a:pt x="548287" y="4316"/>
                </a:lnTo>
                <a:lnTo>
                  <a:pt x="549541" y="4245"/>
                </a:lnTo>
                <a:lnTo>
                  <a:pt x="551810" y="3892"/>
                </a:lnTo>
                <a:lnTo>
                  <a:pt x="578200" y="2505"/>
                </a:lnTo>
                <a:lnTo>
                  <a:pt x="578200" y="812"/>
                </a:lnTo>
                <a:lnTo>
                  <a:pt x="602533" y="812"/>
                </a:lnTo>
                <a:lnTo>
                  <a:pt x="610365" y="812"/>
                </a:lnTo>
                <a:lnTo>
                  <a:pt x="610548" y="812"/>
                </a:lnTo>
                <a:lnTo>
                  <a:pt x="610548" y="1"/>
                </a:lnTo>
                <a:lnTo>
                  <a:pt x="677230" y="1"/>
                </a:lnTo>
                <a:close/>
              </a:path>
            </a:pathLst>
          </a:custGeom>
        </p:spPr>
        <p:txBody>
          <a:bodyPr wrap="square">
            <a:noAutofit/>
          </a:bodyPr>
          <a:lstStyle/>
          <a:p>
            <a:endParaRPr lang="en-US"/>
          </a:p>
        </p:txBody>
      </p:sp>
      <p:sp>
        <p:nvSpPr>
          <p:cNvPr id="9" name="Picture Placeholder 8">
            <a:extLst>
              <a:ext uri="{FF2B5EF4-FFF2-40B4-BE49-F238E27FC236}">
                <a16:creationId xmlns:a16="http://schemas.microsoft.com/office/drawing/2014/main" id="{23D31FDA-CDE4-41E7-8D86-84A05496507C}"/>
              </a:ext>
            </a:extLst>
          </p:cNvPr>
          <p:cNvSpPr>
            <a:spLocks noGrp="1"/>
          </p:cNvSpPr>
          <p:nvPr>
            <p:ph type="pic" sz="quarter" idx="10"/>
          </p:nvPr>
        </p:nvSpPr>
        <p:spPr>
          <a:xfrm>
            <a:off x="4622457" y="353390"/>
            <a:ext cx="4443789" cy="2984238"/>
          </a:xfrm>
          <a:custGeom>
            <a:avLst/>
            <a:gdLst>
              <a:gd name="connsiteX0" fmla="*/ 0 w 4443789"/>
              <a:gd name="connsiteY0" fmla="*/ 0 h 2984238"/>
              <a:gd name="connsiteX1" fmla="*/ 600036 w 4443789"/>
              <a:gd name="connsiteY1" fmla="*/ 0 h 2984238"/>
              <a:gd name="connsiteX2" fmla="*/ 633604 w 4443789"/>
              <a:gd name="connsiteY2" fmla="*/ 0 h 2984238"/>
              <a:gd name="connsiteX3" fmla="*/ 1454682 w 4443789"/>
              <a:gd name="connsiteY3" fmla="*/ 0 h 2984238"/>
              <a:gd name="connsiteX4" fmla="*/ 2203288 w 4443789"/>
              <a:gd name="connsiteY4" fmla="*/ 0 h 2984238"/>
              <a:gd name="connsiteX5" fmla="*/ 2475597 w 4443789"/>
              <a:gd name="connsiteY5" fmla="*/ 0 h 2984238"/>
              <a:gd name="connsiteX6" fmla="*/ 2496805 w 4443789"/>
              <a:gd name="connsiteY6" fmla="*/ 0 h 2984238"/>
              <a:gd name="connsiteX7" fmla="*/ 2769115 w 4443789"/>
              <a:gd name="connsiteY7" fmla="*/ 0 h 2984238"/>
              <a:gd name="connsiteX8" fmla="*/ 3512790 w 4443789"/>
              <a:gd name="connsiteY8" fmla="*/ 0 h 2984238"/>
              <a:gd name="connsiteX9" fmla="*/ 3537876 w 4443789"/>
              <a:gd name="connsiteY9" fmla="*/ 0 h 2984238"/>
              <a:gd name="connsiteX10" fmla="*/ 3740986 w 4443789"/>
              <a:gd name="connsiteY10" fmla="*/ 0 h 2984238"/>
              <a:gd name="connsiteX11" fmla="*/ 3810185 w 4443789"/>
              <a:gd name="connsiteY11" fmla="*/ 0 h 2984238"/>
              <a:gd name="connsiteX12" fmla="*/ 3810185 w 4443789"/>
              <a:gd name="connsiteY12" fmla="*/ 832 h 2984238"/>
              <a:gd name="connsiteX13" fmla="*/ 3810186 w 4443789"/>
              <a:gd name="connsiteY13" fmla="*/ 832 h 2984238"/>
              <a:gd name="connsiteX14" fmla="*/ 3810375 w 4443789"/>
              <a:gd name="connsiteY14" fmla="*/ 832 h 2984238"/>
              <a:gd name="connsiteX15" fmla="*/ 3818503 w 4443789"/>
              <a:gd name="connsiteY15" fmla="*/ 832 h 2984238"/>
              <a:gd name="connsiteX16" fmla="*/ 3843754 w 4443789"/>
              <a:gd name="connsiteY16" fmla="*/ 832 h 2984238"/>
              <a:gd name="connsiteX17" fmla="*/ 3843754 w 4443789"/>
              <a:gd name="connsiteY17" fmla="*/ 2567 h 2984238"/>
              <a:gd name="connsiteX18" fmla="*/ 3871142 w 4443789"/>
              <a:gd name="connsiteY18" fmla="*/ 3990 h 2984238"/>
              <a:gd name="connsiteX19" fmla="*/ 3873498 w 4443789"/>
              <a:gd name="connsiteY19" fmla="*/ 4352 h 2984238"/>
              <a:gd name="connsiteX20" fmla="*/ 3874797 w 4443789"/>
              <a:gd name="connsiteY20" fmla="*/ 4423 h 2984238"/>
              <a:gd name="connsiteX21" fmla="*/ 3887149 w 4443789"/>
              <a:gd name="connsiteY21" fmla="*/ 6450 h 2984238"/>
              <a:gd name="connsiteX22" fmla="*/ 3926638 w 4443789"/>
              <a:gd name="connsiteY22" fmla="*/ 12518 h 2984238"/>
              <a:gd name="connsiteX23" fmla="*/ 3931179 w 4443789"/>
              <a:gd name="connsiteY23" fmla="*/ 13671 h 2984238"/>
              <a:gd name="connsiteX24" fmla="*/ 3933854 w 4443789"/>
              <a:gd name="connsiteY24" fmla="*/ 14110 h 2984238"/>
              <a:gd name="connsiteX25" fmla="*/ 3947663 w 4443789"/>
              <a:gd name="connsiteY25" fmla="*/ 17858 h 2984238"/>
              <a:gd name="connsiteX26" fmla="*/ 3980488 w 4443789"/>
              <a:gd name="connsiteY26" fmla="*/ 26192 h 2984238"/>
              <a:gd name="connsiteX27" fmla="*/ 3987130 w 4443789"/>
              <a:gd name="connsiteY27" fmla="*/ 28566 h 2984238"/>
              <a:gd name="connsiteX28" fmla="*/ 3991004 w 4443789"/>
              <a:gd name="connsiteY28" fmla="*/ 29617 h 2984238"/>
              <a:gd name="connsiteX29" fmla="*/ 4004215 w 4443789"/>
              <a:gd name="connsiteY29" fmla="*/ 34672 h 2984238"/>
              <a:gd name="connsiteX30" fmla="*/ 4032477 w 4443789"/>
              <a:gd name="connsiteY30" fmla="*/ 44775 h 2984238"/>
              <a:gd name="connsiteX31" fmla="*/ 4041053 w 4443789"/>
              <a:gd name="connsiteY31" fmla="*/ 48770 h 2984238"/>
              <a:gd name="connsiteX32" fmla="*/ 4045984 w 4443789"/>
              <a:gd name="connsiteY32" fmla="*/ 50657 h 2984238"/>
              <a:gd name="connsiteX33" fmla="*/ 4057946 w 4443789"/>
              <a:gd name="connsiteY33" fmla="*/ 56640 h 2984238"/>
              <a:gd name="connsiteX34" fmla="*/ 4082388 w 4443789"/>
              <a:gd name="connsiteY34" fmla="*/ 68027 h 2984238"/>
              <a:gd name="connsiteX35" fmla="*/ 4092704 w 4443789"/>
              <a:gd name="connsiteY35" fmla="*/ 74027 h 2984238"/>
              <a:gd name="connsiteX36" fmla="*/ 4098531 w 4443789"/>
              <a:gd name="connsiteY36" fmla="*/ 76941 h 2984238"/>
              <a:gd name="connsiteX37" fmla="*/ 4109004 w 4443789"/>
              <a:gd name="connsiteY37" fmla="*/ 83505 h 2984238"/>
              <a:gd name="connsiteX38" fmla="*/ 4130002 w 4443789"/>
              <a:gd name="connsiteY38" fmla="*/ 95714 h 2984238"/>
              <a:gd name="connsiteX39" fmla="*/ 4141839 w 4443789"/>
              <a:gd name="connsiteY39" fmla="*/ 104081 h 2984238"/>
              <a:gd name="connsiteX40" fmla="*/ 4148382 w 4443789"/>
              <a:gd name="connsiteY40" fmla="*/ 108181 h 2984238"/>
              <a:gd name="connsiteX41" fmla="*/ 4157295 w 4443789"/>
              <a:gd name="connsiteY41" fmla="*/ 115007 h 2984238"/>
              <a:gd name="connsiteX42" fmla="*/ 4175107 w 4443789"/>
              <a:gd name="connsiteY42" fmla="*/ 127597 h 2984238"/>
              <a:gd name="connsiteX43" fmla="*/ 4188212 w 4443789"/>
              <a:gd name="connsiteY43" fmla="*/ 138681 h 2984238"/>
              <a:gd name="connsiteX44" fmla="*/ 4195276 w 4443789"/>
              <a:gd name="connsiteY44" fmla="*/ 144090 h 2984238"/>
              <a:gd name="connsiteX45" fmla="*/ 4202645 w 4443789"/>
              <a:gd name="connsiteY45" fmla="*/ 150888 h 2984238"/>
              <a:gd name="connsiteX46" fmla="*/ 4217486 w 4443789"/>
              <a:gd name="connsiteY46" fmla="*/ 163439 h 2984238"/>
              <a:gd name="connsiteX47" fmla="*/ 4231582 w 4443789"/>
              <a:gd name="connsiteY47" fmla="*/ 177583 h 2984238"/>
              <a:gd name="connsiteX48" fmla="*/ 4238950 w 4443789"/>
              <a:gd name="connsiteY48" fmla="*/ 184379 h 2984238"/>
              <a:gd name="connsiteX49" fmla="*/ 4244842 w 4443789"/>
              <a:gd name="connsiteY49" fmla="*/ 190886 h 2984238"/>
              <a:gd name="connsiteX50" fmla="*/ 4256920 w 4443789"/>
              <a:gd name="connsiteY50" fmla="*/ 203004 h 2984238"/>
              <a:gd name="connsiteX51" fmla="*/ 4271715 w 4443789"/>
              <a:gd name="connsiteY51" fmla="*/ 220559 h 2984238"/>
              <a:gd name="connsiteX52" fmla="*/ 4279140 w 4443789"/>
              <a:gd name="connsiteY52" fmla="*/ 228759 h 2984238"/>
              <a:gd name="connsiteX53" fmla="*/ 4283662 w 4443789"/>
              <a:gd name="connsiteY53" fmla="*/ 234737 h 2984238"/>
              <a:gd name="connsiteX54" fmla="*/ 4293198 w 4443789"/>
              <a:gd name="connsiteY54" fmla="*/ 246051 h 2984238"/>
              <a:gd name="connsiteX55" fmla="*/ 4308376 w 4443789"/>
              <a:gd name="connsiteY55" fmla="*/ 267413 h 2984238"/>
              <a:gd name="connsiteX56" fmla="*/ 4315586 w 4443789"/>
              <a:gd name="connsiteY56" fmla="*/ 276943 h 2984238"/>
              <a:gd name="connsiteX57" fmla="*/ 4318870 w 4443789"/>
              <a:gd name="connsiteY57" fmla="*/ 282177 h 2984238"/>
              <a:gd name="connsiteX58" fmla="*/ 4326098 w 4443789"/>
              <a:gd name="connsiteY58" fmla="*/ 292347 h 2984238"/>
              <a:gd name="connsiteX59" fmla="*/ 4341356 w 4443789"/>
              <a:gd name="connsiteY59" fmla="*/ 318015 h 2984238"/>
              <a:gd name="connsiteX60" fmla="*/ 4348025 w 4443789"/>
              <a:gd name="connsiteY60" fmla="*/ 328644 h 2984238"/>
              <a:gd name="connsiteX61" fmla="*/ 4350227 w 4443789"/>
              <a:gd name="connsiteY61" fmla="*/ 332936 h 2984238"/>
              <a:gd name="connsiteX62" fmla="*/ 4355408 w 4443789"/>
              <a:gd name="connsiteY62" fmla="*/ 341652 h 2984238"/>
              <a:gd name="connsiteX63" fmla="*/ 4370469 w 4443789"/>
              <a:gd name="connsiteY63" fmla="*/ 372409 h 2984238"/>
              <a:gd name="connsiteX64" fmla="*/ 4376192 w 4443789"/>
              <a:gd name="connsiteY64" fmla="*/ 383570 h 2984238"/>
              <a:gd name="connsiteX65" fmla="*/ 4377489 w 4443789"/>
              <a:gd name="connsiteY65" fmla="*/ 386748 h 2984238"/>
              <a:gd name="connsiteX66" fmla="*/ 4380909 w 4443789"/>
              <a:gd name="connsiteY66" fmla="*/ 393731 h 2984238"/>
              <a:gd name="connsiteX67" fmla="*/ 4395626 w 4443789"/>
              <a:gd name="connsiteY67" fmla="*/ 431150 h 2984238"/>
              <a:gd name="connsiteX68" fmla="*/ 4399828 w 4443789"/>
              <a:gd name="connsiteY68" fmla="*/ 441436 h 2984238"/>
              <a:gd name="connsiteX69" fmla="*/ 4400420 w 4443789"/>
              <a:gd name="connsiteY69" fmla="*/ 443339 h 2984238"/>
              <a:gd name="connsiteX70" fmla="*/ 4402388 w 4443789"/>
              <a:gd name="connsiteY70" fmla="*/ 448347 h 2984238"/>
              <a:gd name="connsiteX71" fmla="*/ 4417161 w 4443789"/>
              <a:gd name="connsiteY71" fmla="*/ 497120 h 2984238"/>
              <a:gd name="connsiteX72" fmla="*/ 4418667 w 4443789"/>
              <a:gd name="connsiteY72" fmla="*/ 501954 h 2984238"/>
              <a:gd name="connsiteX73" fmla="*/ 4418772 w 4443789"/>
              <a:gd name="connsiteY73" fmla="*/ 502440 h 2984238"/>
              <a:gd name="connsiteX74" fmla="*/ 4419628 w 4443789"/>
              <a:gd name="connsiteY74" fmla="*/ 505257 h 2984238"/>
              <a:gd name="connsiteX75" fmla="*/ 4440518 w 4443789"/>
              <a:gd name="connsiteY75" fmla="*/ 625027 h 2984238"/>
              <a:gd name="connsiteX76" fmla="*/ 4440644 w 4443789"/>
              <a:gd name="connsiteY76" fmla="*/ 627748 h 2984238"/>
              <a:gd name="connsiteX77" fmla="*/ 4440910 w 4443789"/>
              <a:gd name="connsiteY77" fmla="*/ 629790 h 2984238"/>
              <a:gd name="connsiteX78" fmla="*/ 4442362 w 4443789"/>
              <a:gd name="connsiteY78" fmla="*/ 663451 h 2984238"/>
              <a:gd name="connsiteX79" fmla="*/ 4443789 w 4443789"/>
              <a:gd name="connsiteY79" fmla="*/ 663451 h 2984238"/>
              <a:gd name="connsiteX80" fmla="*/ 4443789 w 4443789"/>
              <a:gd name="connsiteY80" fmla="*/ 696109 h 2984238"/>
              <a:gd name="connsiteX81" fmla="*/ 4443789 w 4443789"/>
              <a:gd name="connsiteY81" fmla="*/ 696115 h 2984238"/>
              <a:gd name="connsiteX82" fmla="*/ 4443789 w 4443789"/>
              <a:gd name="connsiteY82" fmla="*/ 696122 h 2984238"/>
              <a:gd name="connsiteX83" fmla="*/ 4443789 w 4443789"/>
              <a:gd name="connsiteY83" fmla="*/ 696532 h 2984238"/>
              <a:gd name="connsiteX84" fmla="*/ 4443789 w 4443789"/>
              <a:gd name="connsiteY84" fmla="*/ 703132 h 2984238"/>
              <a:gd name="connsiteX85" fmla="*/ 4443789 w 4443789"/>
              <a:gd name="connsiteY85" fmla="*/ 1121961 h 2984238"/>
              <a:gd name="connsiteX86" fmla="*/ 4443789 w 4443789"/>
              <a:gd name="connsiteY86" fmla="*/ 1126490 h 2984238"/>
              <a:gd name="connsiteX87" fmla="*/ 4443789 w 4443789"/>
              <a:gd name="connsiteY87" fmla="*/ 1154619 h 2984238"/>
              <a:gd name="connsiteX88" fmla="*/ 4443789 w 4443789"/>
              <a:gd name="connsiteY88" fmla="*/ 1154625 h 2984238"/>
              <a:gd name="connsiteX89" fmla="*/ 4443789 w 4443789"/>
              <a:gd name="connsiteY89" fmla="*/ 1154632 h 2984238"/>
              <a:gd name="connsiteX90" fmla="*/ 4443789 w 4443789"/>
              <a:gd name="connsiteY90" fmla="*/ 1155042 h 2984238"/>
              <a:gd name="connsiteX91" fmla="*/ 4443789 w 4443789"/>
              <a:gd name="connsiteY91" fmla="*/ 1161642 h 2984238"/>
              <a:gd name="connsiteX92" fmla="*/ 4443789 w 4443789"/>
              <a:gd name="connsiteY92" fmla="*/ 1399246 h 2984238"/>
              <a:gd name="connsiteX93" fmla="*/ 4443789 w 4443789"/>
              <a:gd name="connsiteY93" fmla="*/ 1585000 h 2984238"/>
              <a:gd name="connsiteX94" fmla="*/ 4443789 w 4443789"/>
              <a:gd name="connsiteY94" fmla="*/ 1829621 h 2984238"/>
              <a:gd name="connsiteX95" fmla="*/ 4443789 w 4443789"/>
              <a:gd name="connsiteY95" fmla="*/ 1857756 h 2984238"/>
              <a:gd name="connsiteX96" fmla="*/ 4443789 w 4443789"/>
              <a:gd name="connsiteY96" fmla="*/ 2288131 h 2984238"/>
              <a:gd name="connsiteX97" fmla="*/ 4443789 w 4443789"/>
              <a:gd name="connsiteY97" fmla="*/ 2525728 h 2984238"/>
              <a:gd name="connsiteX98" fmla="*/ 4443789 w 4443789"/>
              <a:gd name="connsiteY98" fmla="*/ 2984238 h 2984238"/>
              <a:gd name="connsiteX99" fmla="*/ 3843754 w 4443789"/>
              <a:gd name="connsiteY99" fmla="*/ 2984238 h 2984238"/>
              <a:gd name="connsiteX100" fmla="*/ 3810186 w 4443789"/>
              <a:gd name="connsiteY100" fmla="*/ 2984238 h 2984238"/>
              <a:gd name="connsiteX101" fmla="*/ 3740986 w 4443789"/>
              <a:gd name="connsiteY101" fmla="*/ 2984238 h 2984238"/>
              <a:gd name="connsiteX102" fmla="*/ 3512790 w 4443789"/>
              <a:gd name="connsiteY102" fmla="*/ 2984238 h 2984238"/>
              <a:gd name="connsiteX103" fmla="*/ 3402719 w 4443789"/>
              <a:gd name="connsiteY103" fmla="*/ 2984238 h 2984238"/>
              <a:gd name="connsiteX104" fmla="*/ 3109201 w 4443789"/>
              <a:gd name="connsiteY104" fmla="*/ 2984238 h 2984238"/>
              <a:gd name="connsiteX105" fmla="*/ 2986086 w 4443789"/>
              <a:gd name="connsiteY105" fmla="*/ 2984238 h 2984238"/>
              <a:gd name="connsiteX106" fmla="*/ 2802684 w 4443789"/>
              <a:gd name="connsiteY106" fmla="*/ 2984238 h 2984238"/>
              <a:gd name="connsiteX107" fmla="*/ 2769116 w 4443789"/>
              <a:gd name="connsiteY107" fmla="*/ 2984238 h 2984238"/>
              <a:gd name="connsiteX108" fmla="*/ 2713776 w 4443789"/>
              <a:gd name="connsiteY108" fmla="*/ 2984238 h 2984238"/>
              <a:gd name="connsiteX109" fmla="*/ 2509166 w 4443789"/>
              <a:gd name="connsiteY109" fmla="*/ 2984238 h 2984238"/>
              <a:gd name="connsiteX110" fmla="*/ 2475598 w 4443789"/>
              <a:gd name="connsiteY110" fmla="*/ 2984238 h 2984238"/>
              <a:gd name="connsiteX111" fmla="*/ 1839935 w 4443789"/>
              <a:gd name="connsiteY111" fmla="*/ 2984238 h 2984238"/>
              <a:gd name="connsiteX112" fmla="*/ 1716819 w 4443789"/>
              <a:gd name="connsiteY112" fmla="*/ 2984238 h 2984238"/>
              <a:gd name="connsiteX113" fmla="*/ 1454682 w 4443789"/>
              <a:gd name="connsiteY113" fmla="*/ 2984238 h 2984238"/>
              <a:gd name="connsiteX114" fmla="*/ 1444510 w 4443789"/>
              <a:gd name="connsiteY114" fmla="*/ 2984238 h 2984238"/>
              <a:gd name="connsiteX115" fmla="*/ 1423301 w 4443789"/>
              <a:gd name="connsiteY115" fmla="*/ 2984238 h 2984238"/>
              <a:gd name="connsiteX116" fmla="*/ 1239899 w 4443789"/>
              <a:gd name="connsiteY116" fmla="*/ 2984238 h 2984238"/>
              <a:gd name="connsiteX117" fmla="*/ 1206331 w 4443789"/>
              <a:gd name="connsiteY117" fmla="*/ 2984238 h 2984238"/>
              <a:gd name="connsiteX118" fmla="*/ 1150992 w 4443789"/>
              <a:gd name="connsiteY118" fmla="*/ 2984238 h 2984238"/>
              <a:gd name="connsiteX119" fmla="*/ 905913 w 4443789"/>
              <a:gd name="connsiteY119" fmla="*/ 2984238 h 2984238"/>
              <a:gd name="connsiteX120" fmla="*/ 702803 w 4443789"/>
              <a:gd name="connsiteY120" fmla="*/ 2984238 h 2984238"/>
              <a:gd name="connsiteX121" fmla="*/ 633605 w 4443789"/>
              <a:gd name="connsiteY121" fmla="*/ 2984238 h 2984238"/>
              <a:gd name="connsiteX122" fmla="*/ 633605 w 4443789"/>
              <a:gd name="connsiteY122" fmla="*/ 2983406 h 2984238"/>
              <a:gd name="connsiteX123" fmla="*/ 633604 w 4443789"/>
              <a:gd name="connsiteY123" fmla="*/ 2983406 h 2984238"/>
              <a:gd name="connsiteX124" fmla="*/ 633414 w 4443789"/>
              <a:gd name="connsiteY124" fmla="*/ 2983406 h 2984238"/>
              <a:gd name="connsiteX125" fmla="*/ 625287 w 4443789"/>
              <a:gd name="connsiteY125" fmla="*/ 2983406 h 2984238"/>
              <a:gd name="connsiteX126" fmla="*/ 600036 w 4443789"/>
              <a:gd name="connsiteY126" fmla="*/ 2983406 h 2984238"/>
              <a:gd name="connsiteX127" fmla="*/ 600036 w 4443789"/>
              <a:gd name="connsiteY127" fmla="*/ 2981671 h 2984238"/>
              <a:gd name="connsiteX128" fmla="*/ 572647 w 4443789"/>
              <a:gd name="connsiteY128" fmla="*/ 2980249 h 2984238"/>
              <a:gd name="connsiteX129" fmla="*/ 570293 w 4443789"/>
              <a:gd name="connsiteY129" fmla="*/ 2979886 h 2984238"/>
              <a:gd name="connsiteX130" fmla="*/ 568992 w 4443789"/>
              <a:gd name="connsiteY130" fmla="*/ 2979815 h 2984238"/>
              <a:gd name="connsiteX131" fmla="*/ 556640 w 4443789"/>
              <a:gd name="connsiteY131" fmla="*/ 2977788 h 2984238"/>
              <a:gd name="connsiteX132" fmla="*/ 517152 w 4443789"/>
              <a:gd name="connsiteY132" fmla="*/ 2971720 h 2984238"/>
              <a:gd name="connsiteX133" fmla="*/ 512609 w 4443789"/>
              <a:gd name="connsiteY133" fmla="*/ 2970567 h 2984238"/>
              <a:gd name="connsiteX134" fmla="*/ 509935 w 4443789"/>
              <a:gd name="connsiteY134" fmla="*/ 2970129 h 2984238"/>
              <a:gd name="connsiteX135" fmla="*/ 496126 w 4443789"/>
              <a:gd name="connsiteY135" fmla="*/ 2966380 h 2984238"/>
              <a:gd name="connsiteX136" fmla="*/ 463301 w 4443789"/>
              <a:gd name="connsiteY136" fmla="*/ 2958046 h 2984238"/>
              <a:gd name="connsiteX137" fmla="*/ 456659 w 4443789"/>
              <a:gd name="connsiteY137" fmla="*/ 2955672 h 2984238"/>
              <a:gd name="connsiteX138" fmla="*/ 452785 w 4443789"/>
              <a:gd name="connsiteY138" fmla="*/ 2954621 h 2984238"/>
              <a:gd name="connsiteX139" fmla="*/ 439575 w 4443789"/>
              <a:gd name="connsiteY139" fmla="*/ 2949567 h 2984238"/>
              <a:gd name="connsiteX140" fmla="*/ 411312 w 4443789"/>
              <a:gd name="connsiteY140" fmla="*/ 2939463 h 2984238"/>
              <a:gd name="connsiteX141" fmla="*/ 402737 w 4443789"/>
              <a:gd name="connsiteY141" fmla="*/ 2935469 h 2984238"/>
              <a:gd name="connsiteX142" fmla="*/ 397806 w 4443789"/>
              <a:gd name="connsiteY142" fmla="*/ 2933581 h 2984238"/>
              <a:gd name="connsiteX143" fmla="*/ 385843 w 4443789"/>
              <a:gd name="connsiteY143" fmla="*/ 2927598 h 2984238"/>
              <a:gd name="connsiteX144" fmla="*/ 361403 w 4443789"/>
              <a:gd name="connsiteY144" fmla="*/ 2916211 h 2984238"/>
              <a:gd name="connsiteX145" fmla="*/ 351085 w 4443789"/>
              <a:gd name="connsiteY145" fmla="*/ 2910211 h 2984238"/>
              <a:gd name="connsiteX146" fmla="*/ 345259 w 4443789"/>
              <a:gd name="connsiteY146" fmla="*/ 2907297 h 2984238"/>
              <a:gd name="connsiteX147" fmla="*/ 334785 w 4443789"/>
              <a:gd name="connsiteY147" fmla="*/ 2900733 h 2984238"/>
              <a:gd name="connsiteX148" fmla="*/ 313788 w 4443789"/>
              <a:gd name="connsiteY148" fmla="*/ 2888524 h 2984238"/>
              <a:gd name="connsiteX149" fmla="*/ 301951 w 4443789"/>
              <a:gd name="connsiteY149" fmla="*/ 2880157 h 2984238"/>
              <a:gd name="connsiteX150" fmla="*/ 295407 w 4443789"/>
              <a:gd name="connsiteY150" fmla="*/ 2876057 h 2984238"/>
              <a:gd name="connsiteX151" fmla="*/ 286494 w 4443789"/>
              <a:gd name="connsiteY151" fmla="*/ 2869231 h 2984238"/>
              <a:gd name="connsiteX152" fmla="*/ 268682 w 4443789"/>
              <a:gd name="connsiteY152" fmla="*/ 2856641 h 2984238"/>
              <a:gd name="connsiteX153" fmla="*/ 255577 w 4443789"/>
              <a:gd name="connsiteY153" fmla="*/ 2845557 h 2984238"/>
              <a:gd name="connsiteX154" fmla="*/ 248513 w 4443789"/>
              <a:gd name="connsiteY154" fmla="*/ 2840148 h 2984238"/>
              <a:gd name="connsiteX155" fmla="*/ 241144 w 4443789"/>
              <a:gd name="connsiteY155" fmla="*/ 2833351 h 2984238"/>
              <a:gd name="connsiteX156" fmla="*/ 226303 w 4443789"/>
              <a:gd name="connsiteY156" fmla="*/ 2820799 h 2984238"/>
              <a:gd name="connsiteX157" fmla="*/ 212206 w 4443789"/>
              <a:gd name="connsiteY157" fmla="*/ 2806655 h 2984238"/>
              <a:gd name="connsiteX158" fmla="*/ 204840 w 4443789"/>
              <a:gd name="connsiteY158" fmla="*/ 2799860 h 2984238"/>
              <a:gd name="connsiteX159" fmla="*/ 198946 w 4443789"/>
              <a:gd name="connsiteY159" fmla="*/ 2793352 h 2984238"/>
              <a:gd name="connsiteX160" fmla="*/ 186869 w 4443789"/>
              <a:gd name="connsiteY160" fmla="*/ 2781235 h 2984238"/>
              <a:gd name="connsiteX161" fmla="*/ 172075 w 4443789"/>
              <a:gd name="connsiteY161" fmla="*/ 2763680 h 2984238"/>
              <a:gd name="connsiteX162" fmla="*/ 164649 w 4443789"/>
              <a:gd name="connsiteY162" fmla="*/ 2755479 h 2984238"/>
              <a:gd name="connsiteX163" fmla="*/ 160126 w 4443789"/>
              <a:gd name="connsiteY163" fmla="*/ 2749501 h 2984238"/>
              <a:gd name="connsiteX164" fmla="*/ 150593 w 4443789"/>
              <a:gd name="connsiteY164" fmla="*/ 2738187 h 2984238"/>
              <a:gd name="connsiteX165" fmla="*/ 135413 w 4443789"/>
              <a:gd name="connsiteY165" fmla="*/ 2716825 h 2984238"/>
              <a:gd name="connsiteX166" fmla="*/ 128203 w 4443789"/>
              <a:gd name="connsiteY166" fmla="*/ 2707295 h 2984238"/>
              <a:gd name="connsiteX167" fmla="*/ 124919 w 4443789"/>
              <a:gd name="connsiteY167" fmla="*/ 2702060 h 2984238"/>
              <a:gd name="connsiteX168" fmla="*/ 117691 w 4443789"/>
              <a:gd name="connsiteY168" fmla="*/ 2691891 h 2984238"/>
              <a:gd name="connsiteX169" fmla="*/ 102434 w 4443789"/>
              <a:gd name="connsiteY169" fmla="*/ 2666223 h 2984238"/>
              <a:gd name="connsiteX170" fmla="*/ 95765 w 4443789"/>
              <a:gd name="connsiteY170" fmla="*/ 2655594 h 2984238"/>
              <a:gd name="connsiteX171" fmla="*/ 93563 w 4443789"/>
              <a:gd name="connsiteY171" fmla="*/ 2651301 h 2984238"/>
              <a:gd name="connsiteX172" fmla="*/ 88382 w 4443789"/>
              <a:gd name="connsiteY172" fmla="*/ 2642586 h 2984238"/>
              <a:gd name="connsiteX173" fmla="*/ 73321 w 4443789"/>
              <a:gd name="connsiteY173" fmla="*/ 2611829 h 2984238"/>
              <a:gd name="connsiteX174" fmla="*/ 67598 w 4443789"/>
              <a:gd name="connsiteY174" fmla="*/ 2600668 h 2984238"/>
              <a:gd name="connsiteX175" fmla="*/ 66299 w 4443789"/>
              <a:gd name="connsiteY175" fmla="*/ 2597490 h 2984238"/>
              <a:gd name="connsiteX176" fmla="*/ 62879 w 4443789"/>
              <a:gd name="connsiteY176" fmla="*/ 2590507 h 2984238"/>
              <a:gd name="connsiteX177" fmla="*/ 48163 w 4443789"/>
              <a:gd name="connsiteY177" fmla="*/ 2553088 h 2984238"/>
              <a:gd name="connsiteX178" fmla="*/ 43963 w 4443789"/>
              <a:gd name="connsiteY178" fmla="*/ 2542802 h 2984238"/>
              <a:gd name="connsiteX179" fmla="*/ 43371 w 4443789"/>
              <a:gd name="connsiteY179" fmla="*/ 2540899 h 2984238"/>
              <a:gd name="connsiteX180" fmla="*/ 41402 w 4443789"/>
              <a:gd name="connsiteY180" fmla="*/ 2535892 h 2984238"/>
              <a:gd name="connsiteX181" fmla="*/ 26628 w 4443789"/>
              <a:gd name="connsiteY181" fmla="*/ 2487119 h 2984238"/>
              <a:gd name="connsiteX182" fmla="*/ 25122 w 4443789"/>
              <a:gd name="connsiteY182" fmla="*/ 2482285 h 2984238"/>
              <a:gd name="connsiteX183" fmla="*/ 25017 w 4443789"/>
              <a:gd name="connsiteY183" fmla="*/ 2481798 h 2984238"/>
              <a:gd name="connsiteX184" fmla="*/ 24163 w 4443789"/>
              <a:gd name="connsiteY184" fmla="*/ 2478980 h 2984238"/>
              <a:gd name="connsiteX185" fmla="*/ 3271 w 4443789"/>
              <a:gd name="connsiteY185" fmla="*/ 2359211 h 2984238"/>
              <a:gd name="connsiteX186" fmla="*/ 3146 w 4443789"/>
              <a:gd name="connsiteY186" fmla="*/ 2356490 h 2984238"/>
              <a:gd name="connsiteX187" fmla="*/ 2879 w 4443789"/>
              <a:gd name="connsiteY187" fmla="*/ 2354448 h 2984238"/>
              <a:gd name="connsiteX188" fmla="*/ 1428 w 4443789"/>
              <a:gd name="connsiteY188" fmla="*/ 2320787 h 2984238"/>
              <a:gd name="connsiteX189" fmla="*/ 1 w 4443789"/>
              <a:gd name="connsiteY189" fmla="*/ 2320787 h 2984238"/>
              <a:gd name="connsiteX190" fmla="*/ 1 w 4443789"/>
              <a:gd name="connsiteY190" fmla="*/ 2288129 h 2984238"/>
              <a:gd name="connsiteX191" fmla="*/ 0 w 4443789"/>
              <a:gd name="connsiteY191" fmla="*/ 2288123 h 2984238"/>
              <a:gd name="connsiteX192" fmla="*/ 1 w 4443789"/>
              <a:gd name="connsiteY192" fmla="*/ 2288116 h 2984238"/>
              <a:gd name="connsiteX193" fmla="*/ 1 w 4443789"/>
              <a:gd name="connsiteY193" fmla="*/ 2287707 h 2984238"/>
              <a:gd name="connsiteX194" fmla="*/ 1 w 4443789"/>
              <a:gd name="connsiteY194" fmla="*/ 2281106 h 2984238"/>
              <a:gd name="connsiteX195" fmla="*/ 0 w 4443789"/>
              <a:gd name="connsiteY195" fmla="*/ 2281106 h 2984238"/>
              <a:gd name="connsiteX196" fmla="*/ 0 w 4443789"/>
              <a:gd name="connsiteY196" fmla="*/ 1857749 h 2984238"/>
              <a:gd name="connsiteX197" fmla="*/ 0 w 4443789"/>
              <a:gd name="connsiteY197" fmla="*/ 1857748 h 2984238"/>
              <a:gd name="connsiteX198" fmla="*/ 0 w 4443789"/>
              <a:gd name="connsiteY198" fmla="*/ 1857747 h 2984238"/>
              <a:gd name="connsiteX199" fmla="*/ 0 w 4443789"/>
              <a:gd name="connsiteY199" fmla="*/ 1829613 h 2984238"/>
              <a:gd name="connsiteX200" fmla="*/ 0 w 4443789"/>
              <a:gd name="connsiteY200" fmla="*/ 1822596 h 2984238"/>
              <a:gd name="connsiteX201" fmla="*/ 0 w 4443789"/>
              <a:gd name="connsiteY201" fmla="*/ 1584992 h 2984238"/>
              <a:gd name="connsiteX202" fmla="*/ 0 w 4443789"/>
              <a:gd name="connsiteY202" fmla="*/ 1399239 h 2984238"/>
              <a:gd name="connsiteX203" fmla="*/ 0 w 4443789"/>
              <a:gd name="connsiteY203" fmla="*/ 1399238 h 2984238"/>
              <a:gd name="connsiteX204" fmla="*/ 0 w 4443789"/>
              <a:gd name="connsiteY204" fmla="*/ 1399237 h 2984238"/>
              <a:gd name="connsiteX205" fmla="*/ 0 w 4443789"/>
              <a:gd name="connsiteY205" fmla="*/ 1154618 h 2984238"/>
              <a:gd name="connsiteX206" fmla="*/ 0 w 4443789"/>
              <a:gd name="connsiteY206" fmla="*/ 1126482 h 2984238"/>
              <a:gd name="connsiteX207" fmla="*/ 0 w 4443789"/>
              <a:gd name="connsiteY207" fmla="*/ 696108 h 2984238"/>
              <a:gd name="connsiteX208" fmla="*/ 0 w 4443789"/>
              <a:gd name="connsiteY208" fmla="*/ 458510 h 2984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4443789" h="2984238">
                <a:moveTo>
                  <a:pt x="0" y="0"/>
                </a:moveTo>
                <a:lnTo>
                  <a:pt x="600036" y="0"/>
                </a:lnTo>
                <a:lnTo>
                  <a:pt x="633604" y="0"/>
                </a:lnTo>
                <a:lnTo>
                  <a:pt x="1454682" y="0"/>
                </a:lnTo>
                <a:lnTo>
                  <a:pt x="2203288" y="0"/>
                </a:lnTo>
                <a:lnTo>
                  <a:pt x="2475597" y="0"/>
                </a:lnTo>
                <a:lnTo>
                  <a:pt x="2496805" y="0"/>
                </a:lnTo>
                <a:lnTo>
                  <a:pt x="2769115" y="0"/>
                </a:lnTo>
                <a:lnTo>
                  <a:pt x="3512790" y="0"/>
                </a:lnTo>
                <a:lnTo>
                  <a:pt x="3537876" y="0"/>
                </a:lnTo>
                <a:lnTo>
                  <a:pt x="3740986" y="0"/>
                </a:lnTo>
                <a:lnTo>
                  <a:pt x="3810185" y="0"/>
                </a:lnTo>
                <a:lnTo>
                  <a:pt x="3810185" y="832"/>
                </a:lnTo>
                <a:lnTo>
                  <a:pt x="3810186" y="832"/>
                </a:lnTo>
                <a:lnTo>
                  <a:pt x="3810375" y="832"/>
                </a:lnTo>
                <a:lnTo>
                  <a:pt x="3818503" y="832"/>
                </a:lnTo>
                <a:lnTo>
                  <a:pt x="3843754" y="832"/>
                </a:lnTo>
                <a:lnTo>
                  <a:pt x="3843754" y="2567"/>
                </a:lnTo>
                <a:lnTo>
                  <a:pt x="3871142" y="3990"/>
                </a:lnTo>
                <a:lnTo>
                  <a:pt x="3873498" y="4352"/>
                </a:lnTo>
                <a:lnTo>
                  <a:pt x="3874797" y="4423"/>
                </a:lnTo>
                <a:lnTo>
                  <a:pt x="3887149" y="6450"/>
                </a:lnTo>
                <a:lnTo>
                  <a:pt x="3926638" y="12518"/>
                </a:lnTo>
                <a:lnTo>
                  <a:pt x="3931179" y="13671"/>
                </a:lnTo>
                <a:lnTo>
                  <a:pt x="3933854" y="14110"/>
                </a:lnTo>
                <a:lnTo>
                  <a:pt x="3947663" y="17858"/>
                </a:lnTo>
                <a:lnTo>
                  <a:pt x="3980488" y="26192"/>
                </a:lnTo>
                <a:lnTo>
                  <a:pt x="3987130" y="28566"/>
                </a:lnTo>
                <a:lnTo>
                  <a:pt x="3991004" y="29617"/>
                </a:lnTo>
                <a:lnTo>
                  <a:pt x="4004215" y="34672"/>
                </a:lnTo>
                <a:lnTo>
                  <a:pt x="4032477" y="44775"/>
                </a:lnTo>
                <a:lnTo>
                  <a:pt x="4041053" y="48770"/>
                </a:lnTo>
                <a:lnTo>
                  <a:pt x="4045984" y="50657"/>
                </a:lnTo>
                <a:lnTo>
                  <a:pt x="4057946" y="56640"/>
                </a:lnTo>
                <a:lnTo>
                  <a:pt x="4082388" y="68027"/>
                </a:lnTo>
                <a:lnTo>
                  <a:pt x="4092704" y="74027"/>
                </a:lnTo>
                <a:lnTo>
                  <a:pt x="4098531" y="76941"/>
                </a:lnTo>
                <a:lnTo>
                  <a:pt x="4109004" y="83505"/>
                </a:lnTo>
                <a:lnTo>
                  <a:pt x="4130002" y="95714"/>
                </a:lnTo>
                <a:lnTo>
                  <a:pt x="4141839" y="104081"/>
                </a:lnTo>
                <a:lnTo>
                  <a:pt x="4148382" y="108181"/>
                </a:lnTo>
                <a:lnTo>
                  <a:pt x="4157295" y="115007"/>
                </a:lnTo>
                <a:lnTo>
                  <a:pt x="4175107" y="127597"/>
                </a:lnTo>
                <a:lnTo>
                  <a:pt x="4188212" y="138681"/>
                </a:lnTo>
                <a:lnTo>
                  <a:pt x="4195276" y="144090"/>
                </a:lnTo>
                <a:lnTo>
                  <a:pt x="4202645" y="150888"/>
                </a:lnTo>
                <a:lnTo>
                  <a:pt x="4217486" y="163439"/>
                </a:lnTo>
                <a:lnTo>
                  <a:pt x="4231582" y="177583"/>
                </a:lnTo>
                <a:lnTo>
                  <a:pt x="4238950" y="184379"/>
                </a:lnTo>
                <a:lnTo>
                  <a:pt x="4244842" y="190886"/>
                </a:lnTo>
                <a:lnTo>
                  <a:pt x="4256920" y="203004"/>
                </a:lnTo>
                <a:lnTo>
                  <a:pt x="4271715" y="220559"/>
                </a:lnTo>
                <a:lnTo>
                  <a:pt x="4279140" y="228759"/>
                </a:lnTo>
                <a:lnTo>
                  <a:pt x="4283662" y="234737"/>
                </a:lnTo>
                <a:lnTo>
                  <a:pt x="4293198" y="246051"/>
                </a:lnTo>
                <a:lnTo>
                  <a:pt x="4308376" y="267413"/>
                </a:lnTo>
                <a:lnTo>
                  <a:pt x="4315586" y="276943"/>
                </a:lnTo>
                <a:lnTo>
                  <a:pt x="4318870" y="282177"/>
                </a:lnTo>
                <a:lnTo>
                  <a:pt x="4326098" y="292347"/>
                </a:lnTo>
                <a:lnTo>
                  <a:pt x="4341356" y="318015"/>
                </a:lnTo>
                <a:lnTo>
                  <a:pt x="4348025" y="328644"/>
                </a:lnTo>
                <a:lnTo>
                  <a:pt x="4350227" y="332936"/>
                </a:lnTo>
                <a:lnTo>
                  <a:pt x="4355408" y="341652"/>
                </a:lnTo>
                <a:lnTo>
                  <a:pt x="4370469" y="372409"/>
                </a:lnTo>
                <a:lnTo>
                  <a:pt x="4376192" y="383570"/>
                </a:lnTo>
                <a:lnTo>
                  <a:pt x="4377489" y="386748"/>
                </a:lnTo>
                <a:lnTo>
                  <a:pt x="4380909" y="393731"/>
                </a:lnTo>
                <a:lnTo>
                  <a:pt x="4395626" y="431150"/>
                </a:lnTo>
                <a:lnTo>
                  <a:pt x="4399828" y="441436"/>
                </a:lnTo>
                <a:lnTo>
                  <a:pt x="4400420" y="443339"/>
                </a:lnTo>
                <a:lnTo>
                  <a:pt x="4402388" y="448347"/>
                </a:lnTo>
                <a:lnTo>
                  <a:pt x="4417161" y="497120"/>
                </a:lnTo>
                <a:lnTo>
                  <a:pt x="4418667" y="501954"/>
                </a:lnTo>
                <a:lnTo>
                  <a:pt x="4418772" y="502440"/>
                </a:lnTo>
                <a:lnTo>
                  <a:pt x="4419628" y="505257"/>
                </a:lnTo>
                <a:cubicBezTo>
                  <a:pt x="4429658" y="543913"/>
                  <a:pt x="4436718" y="583941"/>
                  <a:pt x="4440518" y="625027"/>
                </a:cubicBezTo>
                <a:lnTo>
                  <a:pt x="4440644" y="627748"/>
                </a:lnTo>
                <a:lnTo>
                  <a:pt x="4440910" y="629790"/>
                </a:lnTo>
                <a:lnTo>
                  <a:pt x="4442362" y="663451"/>
                </a:lnTo>
                <a:lnTo>
                  <a:pt x="4443789" y="663451"/>
                </a:lnTo>
                <a:lnTo>
                  <a:pt x="4443789" y="696109"/>
                </a:lnTo>
                <a:lnTo>
                  <a:pt x="4443789" y="696115"/>
                </a:lnTo>
                <a:lnTo>
                  <a:pt x="4443789" y="696122"/>
                </a:lnTo>
                <a:lnTo>
                  <a:pt x="4443789" y="696532"/>
                </a:lnTo>
                <a:lnTo>
                  <a:pt x="4443789" y="703132"/>
                </a:lnTo>
                <a:lnTo>
                  <a:pt x="4443789" y="1121961"/>
                </a:lnTo>
                <a:lnTo>
                  <a:pt x="4443789" y="1126490"/>
                </a:lnTo>
                <a:lnTo>
                  <a:pt x="4443789" y="1154619"/>
                </a:lnTo>
                <a:lnTo>
                  <a:pt x="4443789" y="1154625"/>
                </a:lnTo>
                <a:lnTo>
                  <a:pt x="4443789" y="1154632"/>
                </a:lnTo>
                <a:lnTo>
                  <a:pt x="4443789" y="1155042"/>
                </a:lnTo>
                <a:lnTo>
                  <a:pt x="4443789" y="1161642"/>
                </a:lnTo>
                <a:lnTo>
                  <a:pt x="4443789" y="1399246"/>
                </a:lnTo>
                <a:lnTo>
                  <a:pt x="4443789" y="1585000"/>
                </a:lnTo>
                <a:lnTo>
                  <a:pt x="4443789" y="1829621"/>
                </a:lnTo>
                <a:lnTo>
                  <a:pt x="4443789" y="1857756"/>
                </a:lnTo>
                <a:lnTo>
                  <a:pt x="4443789" y="2288131"/>
                </a:lnTo>
                <a:lnTo>
                  <a:pt x="4443789" y="2525728"/>
                </a:lnTo>
                <a:lnTo>
                  <a:pt x="4443789" y="2984238"/>
                </a:lnTo>
                <a:lnTo>
                  <a:pt x="3843754" y="2984238"/>
                </a:lnTo>
                <a:lnTo>
                  <a:pt x="3810186" y="2984238"/>
                </a:lnTo>
                <a:lnTo>
                  <a:pt x="3740986" y="2984238"/>
                </a:lnTo>
                <a:lnTo>
                  <a:pt x="3512790" y="2984238"/>
                </a:lnTo>
                <a:lnTo>
                  <a:pt x="3402719" y="2984238"/>
                </a:lnTo>
                <a:lnTo>
                  <a:pt x="3109201" y="2984238"/>
                </a:lnTo>
                <a:lnTo>
                  <a:pt x="2986086" y="2984238"/>
                </a:lnTo>
                <a:lnTo>
                  <a:pt x="2802684" y="2984238"/>
                </a:lnTo>
                <a:lnTo>
                  <a:pt x="2769116" y="2984238"/>
                </a:lnTo>
                <a:lnTo>
                  <a:pt x="2713776" y="2984238"/>
                </a:lnTo>
                <a:lnTo>
                  <a:pt x="2509166" y="2984238"/>
                </a:lnTo>
                <a:lnTo>
                  <a:pt x="2475598" y="2984238"/>
                </a:lnTo>
                <a:lnTo>
                  <a:pt x="1839935" y="2984238"/>
                </a:lnTo>
                <a:lnTo>
                  <a:pt x="1716819" y="2984238"/>
                </a:lnTo>
                <a:lnTo>
                  <a:pt x="1454682" y="2984238"/>
                </a:lnTo>
                <a:lnTo>
                  <a:pt x="1444510" y="2984238"/>
                </a:lnTo>
                <a:lnTo>
                  <a:pt x="1423301" y="2984238"/>
                </a:lnTo>
                <a:lnTo>
                  <a:pt x="1239899" y="2984238"/>
                </a:lnTo>
                <a:lnTo>
                  <a:pt x="1206331" y="2984238"/>
                </a:lnTo>
                <a:lnTo>
                  <a:pt x="1150992" y="2984238"/>
                </a:lnTo>
                <a:lnTo>
                  <a:pt x="905913" y="2984238"/>
                </a:lnTo>
                <a:lnTo>
                  <a:pt x="702803" y="2984238"/>
                </a:lnTo>
                <a:lnTo>
                  <a:pt x="633605" y="2984238"/>
                </a:lnTo>
                <a:lnTo>
                  <a:pt x="633605" y="2983406"/>
                </a:lnTo>
                <a:lnTo>
                  <a:pt x="633604" y="2983406"/>
                </a:lnTo>
                <a:lnTo>
                  <a:pt x="633414" y="2983406"/>
                </a:lnTo>
                <a:lnTo>
                  <a:pt x="625287" y="2983406"/>
                </a:lnTo>
                <a:lnTo>
                  <a:pt x="600036" y="2983406"/>
                </a:lnTo>
                <a:lnTo>
                  <a:pt x="600036" y="2981671"/>
                </a:lnTo>
                <a:lnTo>
                  <a:pt x="572647" y="2980249"/>
                </a:lnTo>
                <a:lnTo>
                  <a:pt x="570293" y="2979886"/>
                </a:lnTo>
                <a:lnTo>
                  <a:pt x="568992" y="2979815"/>
                </a:lnTo>
                <a:lnTo>
                  <a:pt x="556640" y="2977788"/>
                </a:lnTo>
                <a:lnTo>
                  <a:pt x="517152" y="2971720"/>
                </a:lnTo>
                <a:lnTo>
                  <a:pt x="512609" y="2970567"/>
                </a:lnTo>
                <a:lnTo>
                  <a:pt x="509935" y="2970129"/>
                </a:lnTo>
                <a:lnTo>
                  <a:pt x="496126" y="2966380"/>
                </a:lnTo>
                <a:lnTo>
                  <a:pt x="463301" y="2958046"/>
                </a:lnTo>
                <a:lnTo>
                  <a:pt x="456659" y="2955672"/>
                </a:lnTo>
                <a:lnTo>
                  <a:pt x="452785" y="2954621"/>
                </a:lnTo>
                <a:lnTo>
                  <a:pt x="439575" y="2949567"/>
                </a:lnTo>
                <a:lnTo>
                  <a:pt x="411312" y="2939463"/>
                </a:lnTo>
                <a:lnTo>
                  <a:pt x="402737" y="2935469"/>
                </a:lnTo>
                <a:lnTo>
                  <a:pt x="397806" y="2933581"/>
                </a:lnTo>
                <a:lnTo>
                  <a:pt x="385843" y="2927598"/>
                </a:lnTo>
                <a:lnTo>
                  <a:pt x="361403" y="2916211"/>
                </a:lnTo>
                <a:lnTo>
                  <a:pt x="351085" y="2910211"/>
                </a:lnTo>
                <a:lnTo>
                  <a:pt x="345259" y="2907297"/>
                </a:lnTo>
                <a:lnTo>
                  <a:pt x="334785" y="2900733"/>
                </a:lnTo>
                <a:lnTo>
                  <a:pt x="313788" y="2888524"/>
                </a:lnTo>
                <a:lnTo>
                  <a:pt x="301951" y="2880157"/>
                </a:lnTo>
                <a:lnTo>
                  <a:pt x="295407" y="2876057"/>
                </a:lnTo>
                <a:lnTo>
                  <a:pt x="286494" y="2869231"/>
                </a:lnTo>
                <a:lnTo>
                  <a:pt x="268682" y="2856641"/>
                </a:lnTo>
                <a:lnTo>
                  <a:pt x="255577" y="2845557"/>
                </a:lnTo>
                <a:lnTo>
                  <a:pt x="248513" y="2840148"/>
                </a:lnTo>
                <a:lnTo>
                  <a:pt x="241144" y="2833351"/>
                </a:lnTo>
                <a:lnTo>
                  <a:pt x="226303" y="2820799"/>
                </a:lnTo>
                <a:lnTo>
                  <a:pt x="212206" y="2806655"/>
                </a:lnTo>
                <a:lnTo>
                  <a:pt x="204840" y="2799860"/>
                </a:lnTo>
                <a:lnTo>
                  <a:pt x="198946" y="2793352"/>
                </a:lnTo>
                <a:lnTo>
                  <a:pt x="186869" y="2781235"/>
                </a:lnTo>
                <a:lnTo>
                  <a:pt x="172075" y="2763680"/>
                </a:lnTo>
                <a:lnTo>
                  <a:pt x="164649" y="2755479"/>
                </a:lnTo>
                <a:lnTo>
                  <a:pt x="160126" y="2749501"/>
                </a:lnTo>
                <a:lnTo>
                  <a:pt x="150593" y="2738187"/>
                </a:lnTo>
                <a:lnTo>
                  <a:pt x="135413" y="2716825"/>
                </a:lnTo>
                <a:lnTo>
                  <a:pt x="128203" y="2707295"/>
                </a:lnTo>
                <a:lnTo>
                  <a:pt x="124919" y="2702060"/>
                </a:lnTo>
                <a:lnTo>
                  <a:pt x="117691" y="2691891"/>
                </a:lnTo>
                <a:lnTo>
                  <a:pt x="102434" y="2666223"/>
                </a:lnTo>
                <a:lnTo>
                  <a:pt x="95765" y="2655594"/>
                </a:lnTo>
                <a:lnTo>
                  <a:pt x="93563" y="2651301"/>
                </a:lnTo>
                <a:lnTo>
                  <a:pt x="88382" y="2642586"/>
                </a:lnTo>
                <a:lnTo>
                  <a:pt x="73321" y="2611829"/>
                </a:lnTo>
                <a:lnTo>
                  <a:pt x="67598" y="2600668"/>
                </a:lnTo>
                <a:lnTo>
                  <a:pt x="66299" y="2597490"/>
                </a:lnTo>
                <a:lnTo>
                  <a:pt x="62879" y="2590507"/>
                </a:lnTo>
                <a:lnTo>
                  <a:pt x="48163" y="2553088"/>
                </a:lnTo>
                <a:lnTo>
                  <a:pt x="43963" y="2542802"/>
                </a:lnTo>
                <a:lnTo>
                  <a:pt x="43371" y="2540899"/>
                </a:lnTo>
                <a:lnTo>
                  <a:pt x="41402" y="2535892"/>
                </a:lnTo>
                <a:lnTo>
                  <a:pt x="26628" y="2487119"/>
                </a:lnTo>
                <a:lnTo>
                  <a:pt x="25122" y="2482285"/>
                </a:lnTo>
                <a:lnTo>
                  <a:pt x="25017" y="2481798"/>
                </a:lnTo>
                <a:lnTo>
                  <a:pt x="24163" y="2478980"/>
                </a:lnTo>
                <a:cubicBezTo>
                  <a:pt x="14132" y="2440325"/>
                  <a:pt x="7072" y="2400297"/>
                  <a:pt x="3271" y="2359211"/>
                </a:cubicBezTo>
                <a:lnTo>
                  <a:pt x="3146" y="2356490"/>
                </a:lnTo>
                <a:lnTo>
                  <a:pt x="2879" y="2354448"/>
                </a:lnTo>
                <a:lnTo>
                  <a:pt x="1428" y="2320787"/>
                </a:lnTo>
                <a:lnTo>
                  <a:pt x="1" y="2320787"/>
                </a:lnTo>
                <a:lnTo>
                  <a:pt x="1" y="2288129"/>
                </a:lnTo>
                <a:lnTo>
                  <a:pt x="0" y="2288123"/>
                </a:lnTo>
                <a:lnTo>
                  <a:pt x="1" y="2288116"/>
                </a:lnTo>
                <a:lnTo>
                  <a:pt x="1" y="2287707"/>
                </a:lnTo>
                <a:lnTo>
                  <a:pt x="1" y="2281106"/>
                </a:lnTo>
                <a:lnTo>
                  <a:pt x="0" y="2281106"/>
                </a:lnTo>
                <a:lnTo>
                  <a:pt x="0" y="1857749"/>
                </a:lnTo>
                <a:lnTo>
                  <a:pt x="0" y="1857748"/>
                </a:lnTo>
                <a:lnTo>
                  <a:pt x="0" y="1857747"/>
                </a:lnTo>
                <a:lnTo>
                  <a:pt x="0" y="1829613"/>
                </a:lnTo>
                <a:lnTo>
                  <a:pt x="0" y="1822596"/>
                </a:lnTo>
                <a:lnTo>
                  <a:pt x="0" y="1584992"/>
                </a:lnTo>
                <a:lnTo>
                  <a:pt x="0" y="1399239"/>
                </a:lnTo>
                <a:lnTo>
                  <a:pt x="0" y="1399238"/>
                </a:lnTo>
                <a:lnTo>
                  <a:pt x="0" y="1399237"/>
                </a:lnTo>
                <a:lnTo>
                  <a:pt x="0" y="1154618"/>
                </a:lnTo>
                <a:lnTo>
                  <a:pt x="0" y="1126482"/>
                </a:lnTo>
                <a:lnTo>
                  <a:pt x="0" y="696108"/>
                </a:lnTo>
                <a:lnTo>
                  <a:pt x="0" y="458510"/>
                </a:lnTo>
                <a:close/>
              </a:path>
            </a:pathLst>
          </a:custGeom>
        </p:spPr>
        <p:txBody>
          <a:bodyPr wrap="square">
            <a:noAutofit/>
          </a:bodyPr>
          <a:lstStyle/>
          <a:p>
            <a:endParaRPr lang="en-US"/>
          </a:p>
        </p:txBody>
      </p:sp>
    </p:spTree>
    <p:extLst>
      <p:ext uri="{BB962C8B-B14F-4D97-AF65-F5344CB8AC3E}">
        <p14:creationId xmlns:p14="http://schemas.microsoft.com/office/powerpoint/2010/main" val="193309622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BC4832D-2254-4A9F-8429-7952279A15B2}"/>
              </a:ext>
            </a:extLst>
          </p:cNvPr>
          <p:cNvSpPr>
            <a:spLocks noGrp="1"/>
          </p:cNvSpPr>
          <p:nvPr>
            <p:ph type="pic" sz="quarter" idx="10"/>
          </p:nvPr>
        </p:nvSpPr>
        <p:spPr>
          <a:xfrm>
            <a:off x="6742718" y="490698"/>
            <a:ext cx="4891380" cy="5751788"/>
          </a:xfrm>
          <a:custGeom>
            <a:avLst/>
            <a:gdLst>
              <a:gd name="connsiteX0" fmla="*/ 0 w 4891380"/>
              <a:gd name="connsiteY0" fmla="*/ 0 h 5751788"/>
              <a:gd name="connsiteX1" fmla="*/ 1471669 w 4891380"/>
              <a:gd name="connsiteY1" fmla="*/ 0 h 5751788"/>
              <a:gd name="connsiteX2" fmla="*/ 1960808 w 4891380"/>
              <a:gd name="connsiteY2" fmla="*/ 0 h 5751788"/>
              <a:gd name="connsiteX3" fmla="*/ 2930558 w 4891380"/>
              <a:gd name="connsiteY3" fmla="*/ 0 h 5751788"/>
              <a:gd name="connsiteX4" fmla="*/ 3419696 w 4891380"/>
              <a:gd name="connsiteY4" fmla="*/ 0 h 5751788"/>
              <a:gd name="connsiteX5" fmla="*/ 3458648 w 4891380"/>
              <a:gd name="connsiteY5" fmla="*/ 0 h 5751788"/>
              <a:gd name="connsiteX6" fmla="*/ 3458648 w 4891380"/>
              <a:gd name="connsiteY6" fmla="*/ 1 h 5751788"/>
              <a:gd name="connsiteX7" fmla="*/ 3488752 w 4891380"/>
              <a:gd name="connsiteY7" fmla="*/ 1 h 5751788"/>
              <a:gd name="connsiteX8" fmla="*/ 3488752 w 4891380"/>
              <a:gd name="connsiteY8" fmla="*/ 3335 h 5751788"/>
              <a:gd name="connsiteX9" fmla="*/ 3559916 w 4891380"/>
              <a:gd name="connsiteY9" fmla="*/ 6728 h 5751788"/>
              <a:gd name="connsiteX10" fmla="*/ 3564234 w 4891380"/>
              <a:gd name="connsiteY10" fmla="*/ 7350 h 5751788"/>
              <a:gd name="connsiteX11" fmla="*/ 3569987 w 4891380"/>
              <a:gd name="connsiteY11" fmla="*/ 7641 h 5751788"/>
              <a:gd name="connsiteX12" fmla="*/ 3823196 w 4891380"/>
              <a:gd name="connsiteY12" fmla="*/ 56454 h 5751788"/>
              <a:gd name="connsiteX13" fmla="*/ 3829154 w 4891380"/>
              <a:gd name="connsiteY13" fmla="*/ 58447 h 5751788"/>
              <a:gd name="connsiteX14" fmla="*/ 3830180 w 4891380"/>
              <a:gd name="connsiteY14" fmla="*/ 58696 h 5751788"/>
              <a:gd name="connsiteX15" fmla="*/ 3840400 w 4891380"/>
              <a:gd name="connsiteY15" fmla="*/ 62213 h 5751788"/>
              <a:gd name="connsiteX16" fmla="*/ 3943517 w 4891380"/>
              <a:gd name="connsiteY16" fmla="*/ 96729 h 5751788"/>
              <a:gd name="connsiteX17" fmla="*/ 3954101 w 4891380"/>
              <a:gd name="connsiteY17" fmla="*/ 101328 h 5751788"/>
              <a:gd name="connsiteX18" fmla="*/ 3958123 w 4891380"/>
              <a:gd name="connsiteY18" fmla="*/ 102713 h 5751788"/>
              <a:gd name="connsiteX19" fmla="*/ 3979869 w 4891380"/>
              <a:gd name="connsiteY19" fmla="*/ 112529 h 5751788"/>
              <a:gd name="connsiteX20" fmla="*/ 4058977 w 4891380"/>
              <a:gd name="connsiteY20" fmla="*/ 146909 h 5751788"/>
              <a:gd name="connsiteX21" fmla="*/ 4073742 w 4891380"/>
              <a:gd name="connsiteY21" fmla="*/ 154899 h 5751788"/>
              <a:gd name="connsiteX22" fmla="*/ 4080462 w 4891380"/>
              <a:gd name="connsiteY22" fmla="*/ 157932 h 5751788"/>
              <a:gd name="connsiteX23" fmla="*/ 4104058 w 4891380"/>
              <a:gd name="connsiteY23" fmla="*/ 171305 h 5751788"/>
              <a:gd name="connsiteX24" fmla="*/ 4169078 w 4891380"/>
              <a:gd name="connsiteY24" fmla="*/ 206492 h 5751788"/>
              <a:gd name="connsiteX25" fmla="*/ 4187505 w 4891380"/>
              <a:gd name="connsiteY25" fmla="*/ 218597 h 5751788"/>
              <a:gd name="connsiteX26" fmla="*/ 4196586 w 4891380"/>
              <a:gd name="connsiteY26" fmla="*/ 223742 h 5751788"/>
              <a:gd name="connsiteX27" fmla="*/ 4219053 w 4891380"/>
              <a:gd name="connsiteY27" fmla="*/ 239321 h 5751788"/>
              <a:gd name="connsiteX28" fmla="*/ 4273318 w 4891380"/>
              <a:gd name="connsiteY28" fmla="*/ 274969 h 5751788"/>
              <a:gd name="connsiteX29" fmla="*/ 4294820 w 4891380"/>
              <a:gd name="connsiteY29" fmla="*/ 291856 h 5751788"/>
              <a:gd name="connsiteX30" fmla="*/ 4305886 w 4891380"/>
              <a:gd name="connsiteY30" fmla="*/ 299528 h 5751788"/>
              <a:gd name="connsiteX31" fmla="*/ 4326035 w 4891380"/>
              <a:gd name="connsiteY31" fmla="*/ 316371 h 5751788"/>
              <a:gd name="connsiteX32" fmla="*/ 4371194 w 4891380"/>
              <a:gd name="connsiteY32" fmla="*/ 351838 h 5751788"/>
              <a:gd name="connsiteX33" fmla="*/ 4395115 w 4891380"/>
              <a:gd name="connsiteY33" fmla="*/ 374115 h 5751788"/>
              <a:gd name="connsiteX34" fmla="*/ 4407752 w 4891380"/>
              <a:gd name="connsiteY34" fmla="*/ 384678 h 5751788"/>
              <a:gd name="connsiteX35" fmla="*/ 4425090 w 4891380"/>
              <a:gd name="connsiteY35" fmla="*/ 402029 h 5751788"/>
              <a:gd name="connsiteX36" fmla="*/ 4462206 w 4891380"/>
              <a:gd name="connsiteY36" fmla="*/ 436592 h 5751788"/>
              <a:gd name="connsiteX37" fmla="*/ 4487824 w 4891380"/>
              <a:gd name="connsiteY37" fmla="*/ 464813 h 5751788"/>
              <a:gd name="connsiteX38" fmla="*/ 4501580 w 4891380"/>
              <a:gd name="connsiteY38" fmla="*/ 478579 h 5751788"/>
              <a:gd name="connsiteX39" fmla="*/ 4515948 w 4891380"/>
              <a:gd name="connsiteY39" fmla="*/ 495792 h 5751788"/>
              <a:gd name="connsiteX40" fmla="*/ 4545848 w 4891380"/>
              <a:gd name="connsiteY40" fmla="*/ 528727 h 5751788"/>
              <a:gd name="connsiteX41" fmla="*/ 4572386 w 4891380"/>
              <a:gd name="connsiteY41" fmla="*/ 563402 h 5751788"/>
              <a:gd name="connsiteX42" fmla="*/ 4586756 w 4891380"/>
              <a:gd name="connsiteY42" fmla="*/ 580617 h 5751788"/>
              <a:gd name="connsiteX43" fmla="*/ 4598192 w 4891380"/>
              <a:gd name="connsiteY43" fmla="*/ 597122 h 5751788"/>
              <a:gd name="connsiteX44" fmla="*/ 4621624 w 4891380"/>
              <a:gd name="connsiteY44" fmla="*/ 627739 h 5751788"/>
              <a:gd name="connsiteX45" fmla="*/ 4648242 w 4891380"/>
              <a:gd name="connsiteY45" fmla="*/ 669353 h 5751788"/>
              <a:gd name="connsiteX46" fmla="*/ 4662670 w 4891380"/>
              <a:gd name="connsiteY46" fmla="*/ 690177 h 5751788"/>
              <a:gd name="connsiteX47" fmla="*/ 4671340 w 4891380"/>
              <a:gd name="connsiteY47" fmla="*/ 705466 h 5751788"/>
              <a:gd name="connsiteX48" fmla="*/ 4689030 w 4891380"/>
              <a:gd name="connsiteY48" fmla="*/ 733120 h 5751788"/>
              <a:gd name="connsiteX49" fmla="*/ 4714840 w 4891380"/>
              <a:gd name="connsiteY49" fmla="*/ 782179 h 5751788"/>
              <a:gd name="connsiteX50" fmla="*/ 4728718 w 4891380"/>
              <a:gd name="connsiteY50" fmla="*/ 806649 h 5751788"/>
              <a:gd name="connsiteX51" fmla="*/ 4734878 w 4891380"/>
              <a:gd name="connsiteY51" fmla="*/ 820262 h 5751788"/>
              <a:gd name="connsiteX52" fmla="*/ 4747562 w 4891380"/>
              <a:gd name="connsiteY52" fmla="*/ 844366 h 5751788"/>
              <a:gd name="connsiteX53" fmla="*/ 4771636 w 4891380"/>
              <a:gd name="connsiteY53" fmla="*/ 901470 h 5751788"/>
              <a:gd name="connsiteX54" fmla="*/ 4784286 w 4891380"/>
              <a:gd name="connsiteY54" fmla="*/ 929419 h 5751788"/>
              <a:gd name="connsiteX55" fmla="*/ 4788276 w 4891380"/>
              <a:gd name="connsiteY55" fmla="*/ 940938 h 5751788"/>
              <a:gd name="connsiteX56" fmla="*/ 4796723 w 4891380"/>
              <a:gd name="connsiteY56" fmla="*/ 960976 h 5751788"/>
              <a:gd name="connsiteX57" fmla="*/ 4818080 w 4891380"/>
              <a:gd name="connsiteY57" fmla="*/ 1027005 h 5751788"/>
              <a:gd name="connsiteX58" fmla="*/ 4828768 w 4891380"/>
              <a:gd name="connsiteY58" fmla="*/ 1057869 h 5751788"/>
              <a:gd name="connsiteX59" fmla="*/ 4830991 w 4891380"/>
              <a:gd name="connsiteY59" fmla="*/ 1066923 h 5751788"/>
              <a:gd name="connsiteX60" fmla="*/ 4836008 w 4891380"/>
              <a:gd name="connsiteY60" fmla="*/ 1082438 h 5751788"/>
              <a:gd name="connsiteX61" fmla="*/ 4853630 w 4891380"/>
              <a:gd name="connsiteY61" fmla="*/ 1159131 h 5751788"/>
              <a:gd name="connsiteX62" fmla="*/ 4861552 w 4891380"/>
              <a:gd name="connsiteY62" fmla="*/ 1191393 h 5751788"/>
              <a:gd name="connsiteX63" fmla="*/ 4862478 w 4891380"/>
              <a:gd name="connsiteY63" fmla="*/ 1197643 h 5751788"/>
              <a:gd name="connsiteX64" fmla="*/ 4864917 w 4891380"/>
              <a:gd name="connsiteY64" fmla="*/ 1208252 h 5751788"/>
              <a:gd name="connsiteX65" fmla="*/ 4877746 w 4891380"/>
              <a:gd name="connsiteY65" fmla="*/ 1300513 h 5751788"/>
              <a:gd name="connsiteX66" fmla="*/ 4882030 w 4891380"/>
              <a:gd name="connsiteY66" fmla="*/ 1329371 h 5751788"/>
              <a:gd name="connsiteX67" fmla="*/ 4882182 w 4891380"/>
              <a:gd name="connsiteY67" fmla="*/ 1332410 h 5751788"/>
              <a:gd name="connsiteX68" fmla="*/ 4882946 w 4891380"/>
              <a:gd name="connsiteY68" fmla="*/ 1337912 h 5751788"/>
              <a:gd name="connsiteX69" fmla="*/ 4885957 w 4891380"/>
              <a:gd name="connsiteY69" fmla="*/ 1401901 h 5751788"/>
              <a:gd name="connsiteX70" fmla="*/ 4889624 w 4891380"/>
              <a:gd name="connsiteY70" fmla="*/ 1401901 h 5751788"/>
              <a:gd name="connsiteX71" fmla="*/ 4889624 w 4891380"/>
              <a:gd name="connsiteY71" fmla="*/ 1460895 h 5751788"/>
              <a:gd name="connsiteX72" fmla="*/ 4889624 w 4891380"/>
              <a:gd name="connsiteY72" fmla="*/ 1479885 h 5751788"/>
              <a:gd name="connsiteX73" fmla="*/ 4889624 w 4891380"/>
              <a:gd name="connsiteY73" fmla="*/ 1480329 h 5751788"/>
              <a:gd name="connsiteX74" fmla="*/ 4891380 w 4891380"/>
              <a:gd name="connsiteY74" fmla="*/ 1480329 h 5751788"/>
              <a:gd name="connsiteX75" fmla="*/ 4891380 w 4891380"/>
              <a:gd name="connsiteY75" fmla="*/ 1630791 h 5751788"/>
              <a:gd name="connsiteX76" fmla="*/ 3458648 w 4891380"/>
              <a:gd name="connsiteY76" fmla="*/ 1630791 h 5751788"/>
              <a:gd name="connsiteX77" fmla="*/ 3458648 w 4891380"/>
              <a:gd name="connsiteY77" fmla="*/ 1630792 h 5751788"/>
              <a:gd name="connsiteX78" fmla="*/ 3488751 w 4891380"/>
              <a:gd name="connsiteY78" fmla="*/ 1630792 h 5751788"/>
              <a:gd name="connsiteX79" fmla="*/ 3488751 w 4891380"/>
              <a:gd name="connsiteY79" fmla="*/ 1634126 h 5751788"/>
              <a:gd name="connsiteX80" fmla="*/ 3559916 w 4891380"/>
              <a:gd name="connsiteY80" fmla="*/ 1637518 h 5751788"/>
              <a:gd name="connsiteX81" fmla="*/ 3564234 w 4891380"/>
              <a:gd name="connsiteY81" fmla="*/ 1638140 h 5751788"/>
              <a:gd name="connsiteX82" fmla="*/ 3569986 w 4891380"/>
              <a:gd name="connsiteY82" fmla="*/ 1638433 h 5751788"/>
              <a:gd name="connsiteX83" fmla="*/ 3823196 w 4891380"/>
              <a:gd name="connsiteY83" fmla="*/ 1687245 h 5751788"/>
              <a:gd name="connsiteX84" fmla="*/ 3829153 w 4891380"/>
              <a:gd name="connsiteY84" fmla="*/ 1689237 h 5751788"/>
              <a:gd name="connsiteX85" fmla="*/ 3830180 w 4891380"/>
              <a:gd name="connsiteY85" fmla="*/ 1689487 h 5751788"/>
              <a:gd name="connsiteX86" fmla="*/ 3840400 w 4891380"/>
              <a:gd name="connsiteY86" fmla="*/ 1693004 h 5751788"/>
              <a:gd name="connsiteX87" fmla="*/ 3943516 w 4891380"/>
              <a:gd name="connsiteY87" fmla="*/ 1727519 h 5751788"/>
              <a:gd name="connsiteX88" fmla="*/ 3954100 w 4891380"/>
              <a:gd name="connsiteY88" fmla="*/ 1732119 h 5751788"/>
              <a:gd name="connsiteX89" fmla="*/ 3958122 w 4891380"/>
              <a:gd name="connsiteY89" fmla="*/ 1733503 h 5751788"/>
              <a:gd name="connsiteX90" fmla="*/ 3979868 w 4891380"/>
              <a:gd name="connsiteY90" fmla="*/ 1743320 h 5751788"/>
              <a:gd name="connsiteX91" fmla="*/ 4058976 w 4891380"/>
              <a:gd name="connsiteY91" fmla="*/ 1777700 h 5751788"/>
              <a:gd name="connsiteX92" fmla="*/ 4073741 w 4891380"/>
              <a:gd name="connsiteY92" fmla="*/ 1785690 h 5751788"/>
              <a:gd name="connsiteX93" fmla="*/ 4080461 w 4891380"/>
              <a:gd name="connsiteY93" fmla="*/ 1788723 h 5751788"/>
              <a:gd name="connsiteX94" fmla="*/ 4104057 w 4891380"/>
              <a:gd name="connsiteY94" fmla="*/ 1802096 h 5751788"/>
              <a:gd name="connsiteX95" fmla="*/ 4169078 w 4891380"/>
              <a:gd name="connsiteY95" fmla="*/ 1837283 h 5751788"/>
              <a:gd name="connsiteX96" fmla="*/ 4187505 w 4891380"/>
              <a:gd name="connsiteY96" fmla="*/ 1849388 h 5751788"/>
              <a:gd name="connsiteX97" fmla="*/ 4196584 w 4891380"/>
              <a:gd name="connsiteY97" fmla="*/ 1854532 h 5751788"/>
              <a:gd name="connsiteX98" fmla="*/ 4219053 w 4891380"/>
              <a:gd name="connsiteY98" fmla="*/ 1870112 h 5751788"/>
              <a:gd name="connsiteX99" fmla="*/ 4273316 w 4891380"/>
              <a:gd name="connsiteY99" fmla="*/ 1905760 h 5751788"/>
              <a:gd name="connsiteX100" fmla="*/ 4294820 w 4891380"/>
              <a:gd name="connsiteY100" fmla="*/ 1922647 h 5751788"/>
              <a:gd name="connsiteX101" fmla="*/ 4305884 w 4891380"/>
              <a:gd name="connsiteY101" fmla="*/ 1930319 h 5751788"/>
              <a:gd name="connsiteX102" fmla="*/ 4326034 w 4891380"/>
              <a:gd name="connsiteY102" fmla="*/ 1947163 h 5751788"/>
              <a:gd name="connsiteX103" fmla="*/ 4371194 w 4891380"/>
              <a:gd name="connsiteY103" fmla="*/ 1982629 h 5751788"/>
              <a:gd name="connsiteX104" fmla="*/ 4395114 w 4891380"/>
              <a:gd name="connsiteY104" fmla="*/ 2004906 h 5751788"/>
              <a:gd name="connsiteX105" fmla="*/ 4407752 w 4891380"/>
              <a:gd name="connsiteY105" fmla="*/ 2015469 h 5751788"/>
              <a:gd name="connsiteX106" fmla="*/ 4425088 w 4891380"/>
              <a:gd name="connsiteY106" fmla="*/ 2032820 h 5751788"/>
              <a:gd name="connsiteX107" fmla="*/ 4462204 w 4891380"/>
              <a:gd name="connsiteY107" fmla="*/ 2067383 h 5751788"/>
              <a:gd name="connsiteX108" fmla="*/ 4487823 w 4891380"/>
              <a:gd name="connsiteY108" fmla="*/ 2095602 h 5751788"/>
              <a:gd name="connsiteX109" fmla="*/ 4501580 w 4891380"/>
              <a:gd name="connsiteY109" fmla="*/ 2109370 h 5751788"/>
              <a:gd name="connsiteX110" fmla="*/ 4515948 w 4891380"/>
              <a:gd name="connsiteY110" fmla="*/ 2126583 h 5751788"/>
              <a:gd name="connsiteX111" fmla="*/ 4545846 w 4891380"/>
              <a:gd name="connsiteY111" fmla="*/ 2159517 h 5751788"/>
              <a:gd name="connsiteX112" fmla="*/ 4572383 w 4891380"/>
              <a:gd name="connsiteY112" fmla="*/ 2194191 h 5751788"/>
              <a:gd name="connsiteX113" fmla="*/ 4586756 w 4891380"/>
              <a:gd name="connsiteY113" fmla="*/ 2211408 h 5751788"/>
              <a:gd name="connsiteX114" fmla="*/ 4598190 w 4891380"/>
              <a:gd name="connsiteY114" fmla="*/ 2227912 h 5751788"/>
              <a:gd name="connsiteX115" fmla="*/ 4621623 w 4891380"/>
              <a:gd name="connsiteY115" fmla="*/ 2258530 h 5751788"/>
              <a:gd name="connsiteX116" fmla="*/ 4648242 w 4891380"/>
              <a:gd name="connsiteY116" fmla="*/ 2300144 h 5751788"/>
              <a:gd name="connsiteX117" fmla="*/ 4662670 w 4891380"/>
              <a:gd name="connsiteY117" fmla="*/ 2320968 h 5751788"/>
              <a:gd name="connsiteX118" fmla="*/ 4671340 w 4891380"/>
              <a:gd name="connsiteY118" fmla="*/ 2336257 h 5751788"/>
              <a:gd name="connsiteX119" fmla="*/ 4689028 w 4891380"/>
              <a:gd name="connsiteY119" fmla="*/ 2363911 h 5751788"/>
              <a:gd name="connsiteX120" fmla="*/ 4714840 w 4891380"/>
              <a:gd name="connsiteY120" fmla="*/ 2412970 h 5751788"/>
              <a:gd name="connsiteX121" fmla="*/ 4728716 w 4891380"/>
              <a:gd name="connsiteY121" fmla="*/ 2437439 h 5751788"/>
              <a:gd name="connsiteX122" fmla="*/ 4734877 w 4891380"/>
              <a:gd name="connsiteY122" fmla="*/ 2451053 h 5751788"/>
              <a:gd name="connsiteX123" fmla="*/ 4747562 w 4891380"/>
              <a:gd name="connsiteY123" fmla="*/ 2475157 h 5751788"/>
              <a:gd name="connsiteX124" fmla="*/ 4771636 w 4891380"/>
              <a:gd name="connsiteY124" fmla="*/ 2532261 h 5751788"/>
              <a:gd name="connsiteX125" fmla="*/ 4784286 w 4891380"/>
              <a:gd name="connsiteY125" fmla="*/ 2560208 h 5751788"/>
              <a:gd name="connsiteX126" fmla="*/ 4788274 w 4891380"/>
              <a:gd name="connsiteY126" fmla="*/ 2571729 h 5751788"/>
              <a:gd name="connsiteX127" fmla="*/ 4796723 w 4891380"/>
              <a:gd name="connsiteY127" fmla="*/ 2591766 h 5751788"/>
              <a:gd name="connsiteX128" fmla="*/ 4818078 w 4891380"/>
              <a:gd name="connsiteY128" fmla="*/ 2657796 h 5751788"/>
              <a:gd name="connsiteX129" fmla="*/ 4828766 w 4891380"/>
              <a:gd name="connsiteY129" fmla="*/ 2688660 h 5751788"/>
              <a:gd name="connsiteX130" fmla="*/ 4830988 w 4891380"/>
              <a:gd name="connsiteY130" fmla="*/ 2697714 h 5751788"/>
              <a:gd name="connsiteX131" fmla="*/ 4836008 w 4891380"/>
              <a:gd name="connsiteY131" fmla="*/ 2713229 h 5751788"/>
              <a:gd name="connsiteX132" fmla="*/ 4853629 w 4891380"/>
              <a:gd name="connsiteY132" fmla="*/ 2789921 h 5751788"/>
              <a:gd name="connsiteX133" fmla="*/ 4861550 w 4891380"/>
              <a:gd name="connsiteY133" fmla="*/ 2822183 h 5751788"/>
              <a:gd name="connsiteX134" fmla="*/ 4862477 w 4891380"/>
              <a:gd name="connsiteY134" fmla="*/ 2828433 h 5751788"/>
              <a:gd name="connsiteX135" fmla="*/ 4864917 w 4891380"/>
              <a:gd name="connsiteY135" fmla="*/ 2839043 h 5751788"/>
              <a:gd name="connsiteX136" fmla="*/ 4877746 w 4891380"/>
              <a:gd name="connsiteY136" fmla="*/ 2931303 h 5751788"/>
              <a:gd name="connsiteX137" fmla="*/ 4882029 w 4891380"/>
              <a:gd name="connsiteY137" fmla="*/ 2960161 h 5751788"/>
              <a:gd name="connsiteX138" fmla="*/ 4882180 w 4891380"/>
              <a:gd name="connsiteY138" fmla="*/ 2963200 h 5751788"/>
              <a:gd name="connsiteX139" fmla="*/ 4882946 w 4891380"/>
              <a:gd name="connsiteY139" fmla="*/ 2968703 h 5751788"/>
              <a:gd name="connsiteX140" fmla="*/ 4885956 w 4891380"/>
              <a:gd name="connsiteY140" fmla="*/ 3032692 h 5751788"/>
              <a:gd name="connsiteX141" fmla="*/ 4889624 w 4891380"/>
              <a:gd name="connsiteY141" fmla="*/ 3032692 h 5751788"/>
              <a:gd name="connsiteX142" fmla="*/ 4889624 w 4891380"/>
              <a:gd name="connsiteY142" fmla="*/ 3091686 h 5751788"/>
              <a:gd name="connsiteX143" fmla="*/ 4889624 w 4891380"/>
              <a:gd name="connsiteY143" fmla="*/ 3110675 h 5751788"/>
              <a:gd name="connsiteX144" fmla="*/ 4889624 w 4891380"/>
              <a:gd name="connsiteY144" fmla="*/ 3111118 h 5751788"/>
              <a:gd name="connsiteX145" fmla="*/ 4891379 w 4891380"/>
              <a:gd name="connsiteY145" fmla="*/ 3111118 h 5751788"/>
              <a:gd name="connsiteX146" fmla="*/ 4891379 w 4891380"/>
              <a:gd name="connsiteY146" fmla="*/ 3394564 h 5751788"/>
              <a:gd name="connsiteX147" fmla="*/ 4891379 w 4891380"/>
              <a:gd name="connsiteY147" fmla="*/ 3988016 h 5751788"/>
              <a:gd name="connsiteX148" fmla="*/ 4891379 w 4891380"/>
              <a:gd name="connsiteY148" fmla="*/ 4271461 h 5751788"/>
              <a:gd name="connsiteX149" fmla="*/ 4891379 w 4891380"/>
              <a:gd name="connsiteY149" fmla="*/ 4349890 h 5751788"/>
              <a:gd name="connsiteX150" fmla="*/ 4889640 w 4891380"/>
              <a:gd name="connsiteY150" fmla="*/ 4349890 h 5751788"/>
              <a:gd name="connsiteX151" fmla="*/ 4889640 w 4891380"/>
              <a:gd name="connsiteY151" fmla="*/ 5751787 h 5751788"/>
              <a:gd name="connsiteX152" fmla="*/ 4400501 w 4891380"/>
              <a:gd name="connsiteY152" fmla="*/ 5751787 h 5751788"/>
              <a:gd name="connsiteX153" fmla="*/ 3430753 w 4891380"/>
              <a:gd name="connsiteY153" fmla="*/ 5751787 h 5751788"/>
              <a:gd name="connsiteX154" fmla="*/ 3420593 w 4891380"/>
              <a:gd name="connsiteY154" fmla="*/ 5751787 h 5751788"/>
              <a:gd name="connsiteX155" fmla="*/ 3419727 w 4891380"/>
              <a:gd name="connsiteY155" fmla="*/ 5751787 h 5751788"/>
              <a:gd name="connsiteX156" fmla="*/ 3419712 w 4891380"/>
              <a:gd name="connsiteY156" fmla="*/ 5751788 h 5751788"/>
              <a:gd name="connsiteX157" fmla="*/ 3419699 w 4891380"/>
              <a:gd name="connsiteY157" fmla="*/ 5751787 h 5751788"/>
              <a:gd name="connsiteX158" fmla="*/ 3350656 w 4891380"/>
              <a:gd name="connsiteY158" fmla="*/ 5751787 h 5751788"/>
              <a:gd name="connsiteX159" fmla="*/ 2941613 w 4891380"/>
              <a:gd name="connsiteY159" fmla="*/ 5751787 h 5751788"/>
              <a:gd name="connsiteX160" fmla="*/ 2931453 w 4891380"/>
              <a:gd name="connsiteY160" fmla="*/ 5751787 h 5751788"/>
              <a:gd name="connsiteX161" fmla="*/ 2930587 w 4891380"/>
              <a:gd name="connsiteY161" fmla="*/ 5751787 h 5751788"/>
              <a:gd name="connsiteX162" fmla="*/ 2930574 w 4891380"/>
              <a:gd name="connsiteY162" fmla="*/ 5751788 h 5751788"/>
              <a:gd name="connsiteX163" fmla="*/ 2930558 w 4891380"/>
              <a:gd name="connsiteY163" fmla="*/ 5751787 h 5751788"/>
              <a:gd name="connsiteX164" fmla="*/ 2861517 w 4891380"/>
              <a:gd name="connsiteY164" fmla="*/ 5751787 h 5751788"/>
              <a:gd name="connsiteX165" fmla="*/ 1961706 w 4891380"/>
              <a:gd name="connsiteY165" fmla="*/ 5751787 h 5751788"/>
              <a:gd name="connsiteX166" fmla="*/ 1960839 w 4891380"/>
              <a:gd name="connsiteY166" fmla="*/ 5751787 h 5751788"/>
              <a:gd name="connsiteX167" fmla="*/ 1960824 w 4891380"/>
              <a:gd name="connsiteY167" fmla="*/ 5751788 h 5751788"/>
              <a:gd name="connsiteX168" fmla="*/ 1960810 w 4891380"/>
              <a:gd name="connsiteY168" fmla="*/ 5751787 h 5751788"/>
              <a:gd name="connsiteX169" fmla="*/ 1891768 w 4891380"/>
              <a:gd name="connsiteY169" fmla="*/ 5751787 h 5751788"/>
              <a:gd name="connsiteX170" fmla="*/ 1472566 w 4891380"/>
              <a:gd name="connsiteY170" fmla="*/ 5751787 h 5751788"/>
              <a:gd name="connsiteX171" fmla="*/ 1471699 w 4891380"/>
              <a:gd name="connsiteY171" fmla="*/ 5751787 h 5751788"/>
              <a:gd name="connsiteX172" fmla="*/ 1471686 w 4891380"/>
              <a:gd name="connsiteY172" fmla="*/ 5751788 h 5751788"/>
              <a:gd name="connsiteX173" fmla="*/ 1471671 w 4891380"/>
              <a:gd name="connsiteY173" fmla="*/ 5751787 h 5751788"/>
              <a:gd name="connsiteX174" fmla="*/ 1402630 w 4891380"/>
              <a:gd name="connsiteY174" fmla="*/ 5751787 h 5751788"/>
              <a:gd name="connsiteX175" fmla="*/ 1402630 w 4891380"/>
              <a:gd name="connsiteY175" fmla="*/ 5748454 h 5751788"/>
              <a:gd name="connsiteX176" fmla="*/ 1331464 w 4891380"/>
              <a:gd name="connsiteY176" fmla="*/ 5745061 h 5751788"/>
              <a:gd name="connsiteX177" fmla="*/ 1327146 w 4891380"/>
              <a:gd name="connsiteY177" fmla="*/ 5744440 h 5751788"/>
              <a:gd name="connsiteX178" fmla="*/ 1321394 w 4891380"/>
              <a:gd name="connsiteY178" fmla="*/ 5744149 h 5751788"/>
              <a:gd name="connsiteX179" fmla="*/ 1068185 w 4891380"/>
              <a:gd name="connsiteY179" fmla="*/ 5695337 h 5751788"/>
              <a:gd name="connsiteX180" fmla="*/ 1062227 w 4891380"/>
              <a:gd name="connsiteY180" fmla="*/ 5693342 h 5751788"/>
              <a:gd name="connsiteX181" fmla="*/ 1061200 w 4891380"/>
              <a:gd name="connsiteY181" fmla="*/ 5693093 h 5751788"/>
              <a:gd name="connsiteX182" fmla="*/ 1050981 w 4891380"/>
              <a:gd name="connsiteY182" fmla="*/ 5689577 h 5751788"/>
              <a:gd name="connsiteX183" fmla="*/ 947864 w 4891380"/>
              <a:gd name="connsiteY183" fmla="*/ 5655061 h 5751788"/>
              <a:gd name="connsiteX184" fmla="*/ 937281 w 4891380"/>
              <a:gd name="connsiteY184" fmla="*/ 5650461 h 5751788"/>
              <a:gd name="connsiteX185" fmla="*/ 933258 w 4891380"/>
              <a:gd name="connsiteY185" fmla="*/ 5649077 h 5751788"/>
              <a:gd name="connsiteX186" fmla="*/ 911512 w 4891380"/>
              <a:gd name="connsiteY186" fmla="*/ 5639261 h 5751788"/>
              <a:gd name="connsiteX187" fmla="*/ 832403 w 4891380"/>
              <a:gd name="connsiteY187" fmla="*/ 5604881 h 5751788"/>
              <a:gd name="connsiteX188" fmla="*/ 817638 w 4891380"/>
              <a:gd name="connsiteY188" fmla="*/ 5596891 h 5751788"/>
              <a:gd name="connsiteX189" fmla="*/ 810920 w 4891380"/>
              <a:gd name="connsiteY189" fmla="*/ 5593857 h 5751788"/>
              <a:gd name="connsiteX190" fmla="*/ 787324 w 4891380"/>
              <a:gd name="connsiteY190" fmla="*/ 5580484 h 5751788"/>
              <a:gd name="connsiteX191" fmla="*/ 722302 w 4891380"/>
              <a:gd name="connsiteY191" fmla="*/ 5545298 h 5751788"/>
              <a:gd name="connsiteX192" fmla="*/ 703875 w 4891380"/>
              <a:gd name="connsiteY192" fmla="*/ 5533192 h 5751788"/>
              <a:gd name="connsiteX193" fmla="*/ 694796 w 4891380"/>
              <a:gd name="connsiteY193" fmla="*/ 5528048 h 5751788"/>
              <a:gd name="connsiteX194" fmla="*/ 672327 w 4891380"/>
              <a:gd name="connsiteY194" fmla="*/ 5512468 h 5751788"/>
              <a:gd name="connsiteX195" fmla="*/ 618064 w 4891380"/>
              <a:gd name="connsiteY195" fmla="*/ 5476820 h 5751788"/>
              <a:gd name="connsiteX196" fmla="*/ 596562 w 4891380"/>
              <a:gd name="connsiteY196" fmla="*/ 5459933 h 5751788"/>
              <a:gd name="connsiteX197" fmla="*/ 585496 w 4891380"/>
              <a:gd name="connsiteY197" fmla="*/ 5452261 h 5751788"/>
              <a:gd name="connsiteX198" fmla="*/ 565345 w 4891380"/>
              <a:gd name="connsiteY198" fmla="*/ 5435418 h 5751788"/>
              <a:gd name="connsiteX199" fmla="*/ 520187 w 4891380"/>
              <a:gd name="connsiteY199" fmla="*/ 5399950 h 5751788"/>
              <a:gd name="connsiteX200" fmla="*/ 496267 w 4891380"/>
              <a:gd name="connsiteY200" fmla="*/ 5377676 h 5751788"/>
              <a:gd name="connsiteX201" fmla="*/ 483628 w 4891380"/>
              <a:gd name="connsiteY201" fmla="*/ 5367110 h 5751788"/>
              <a:gd name="connsiteX202" fmla="*/ 466291 w 4891380"/>
              <a:gd name="connsiteY202" fmla="*/ 5349761 h 5751788"/>
              <a:gd name="connsiteX203" fmla="*/ 429176 w 4891380"/>
              <a:gd name="connsiteY203" fmla="*/ 5315197 h 5751788"/>
              <a:gd name="connsiteX204" fmla="*/ 403557 w 4891380"/>
              <a:gd name="connsiteY204" fmla="*/ 5286978 h 5751788"/>
              <a:gd name="connsiteX205" fmla="*/ 389801 w 4891380"/>
              <a:gd name="connsiteY205" fmla="*/ 5273210 h 5751788"/>
              <a:gd name="connsiteX206" fmla="*/ 375432 w 4891380"/>
              <a:gd name="connsiteY206" fmla="*/ 5255998 h 5751788"/>
              <a:gd name="connsiteX207" fmla="*/ 345533 w 4891380"/>
              <a:gd name="connsiteY207" fmla="*/ 5223062 h 5751788"/>
              <a:gd name="connsiteX208" fmla="*/ 318997 w 4891380"/>
              <a:gd name="connsiteY208" fmla="*/ 5188388 h 5751788"/>
              <a:gd name="connsiteX209" fmla="*/ 304626 w 4891380"/>
              <a:gd name="connsiteY209" fmla="*/ 5171174 h 5751788"/>
              <a:gd name="connsiteX210" fmla="*/ 293189 w 4891380"/>
              <a:gd name="connsiteY210" fmla="*/ 5154668 h 5751788"/>
              <a:gd name="connsiteX211" fmla="*/ 269757 w 4891380"/>
              <a:gd name="connsiteY211" fmla="*/ 5124051 h 5751788"/>
              <a:gd name="connsiteX212" fmla="*/ 243139 w 4891380"/>
              <a:gd name="connsiteY212" fmla="*/ 5082435 h 5751788"/>
              <a:gd name="connsiteX213" fmla="*/ 228710 w 4891380"/>
              <a:gd name="connsiteY213" fmla="*/ 5061612 h 5751788"/>
              <a:gd name="connsiteX214" fmla="*/ 220040 w 4891380"/>
              <a:gd name="connsiteY214" fmla="*/ 5046323 h 5751788"/>
              <a:gd name="connsiteX215" fmla="*/ 202353 w 4891380"/>
              <a:gd name="connsiteY215" fmla="*/ 5018669 h 5751788"/>
              <a:gd name="connsiteX216" fmla="*/ 176540 w 4891380"/>
              <a:gd name="connsiteY216" fmla="*/ 4969611 h 5751788"/>
              <a:gd name="connsiteX217" fmla="*/ 162664 w 4891380"/>
              <a:gd name="connsiteY217" fmla="*/ 4945140 h 5751788"/>
              <a:gd name="connsiteX218" fmla="*/ 156502 w 4891380"/>
              <a:gd name="connsiteY218" fmla="*/ 4931527 h 5751788"/>
              <a:gd name="connsiteX219" fmla="*/ 143819 w 4891380"/>
              <a:gd name="connsiteY219" fmla="*/ 4907422 h 5751788"/>
              <a:gd name="connsiteX220" fmla="*/ 119746 w 4891380"/>
              <a:gd name="connsiteY220" fmla="*/ 4850319 h 5751788"/>
              <a:gd name="connsiteX221" fmla="*/ 107095 w 4891380"/>
              <a:gd name="connsiteY221" fmla="*/ 4822372 h 5751788"/>
              <a:gd name="connsiteX222" fmla="*/ 103107 w 4891380"/>
              <a:gd name="connsiteY222" fmla="*/ 4810852 h 5751788"/>
              <a:gd name="connsiteX223" fmla="*/ 94658 w 4891380"/>
              <a:gd name="connsiteY223" fmla="*/ 4790814 h 5751788"/>
              <a:gd name="connsiteX224" fmla="*/ 73303 w 4891380"/>
              <a:gd name="connsiteY224" fmla="*/ 4724785 h 5751788"/>
              <a:gd name="connsiteX225" fmla="*/ 62615 w 4891380"/>
              <a:gd name="connsiteY225" fmla="*/ 4693921 h 5751788"/>
              <a:gd name="connsiteX226" fmla="*/ 60392 w 4891380"/>
              <a:gd name="connsiteY226" fmla="*/ 4684865 h 5751788"/>
              <a:gd name="connsiteX227" fmla="*/ 55373 w 4891380"/>
              <a:gd name="connsiteY227" fmla="*/ 4669350 h 5751788"/>
              <a:gd name="connsiteX228" fmla="*/ 37752 w 4891380"/>
              <a:gd name="connsiteY228" fmla="*/ 4592660 h 5751788"/>
              <a:gd name="connsiteX229" fmla="*/ 29830 w 4891380"/>
              <a:gd name="connsiteY229" fmla="*/ 4560396 h 5751788"/>
              <a:gd name="connsiteX230" fmla="*/ 28902 w 4891380"/>
              <a:gd name="connsiteY230" fmla="*/ 4554148 h 5751788"/>
              <a:gd name="connsiteX231" fmla="*/ 26465 w 4891380"/>
              <a:gd name="connsiteY231" fmla="*/ 4543536 h 5751788"/>
              <a:gd name="connsiteX232" fmla="*/ 13636 w 4891380"/>
              <a:gd name="connsiteY232" fmla="*/ 4451278 h 5751788"/>
              <a:gd name="connsiteX233" fmla="*/ 9352 w 4891380"/>
              <a:gd name="connsiteY233" fmla="*/ 4422418 h 5751788"/>
              <a:gd name="connsiteX234" fmla="*/ 9200 w 4891380"/>
              <a:gd name="connsiteY234" fmla="*/ 4419380 h 5751788"/>
              <a:gd name="connsiteX235" fmla="*/ 8434 w 4891380"/>
              <a:gd name="connsiteY235" fmla="*/ 4413877 h 5751788"/>
              <a:gd name="connsiteX236" fmla="*/ 5426 w 4891380"/>
              <a:gd name="connsiteY236" fmla="*/ 4349890 h 5751788"/>
              <a:gd name="connsiteX237" fmla="*/ 1757 w 4891380"/>
              <a:gd name="connsiteY237" fmla="*/ 4349890 h 5751788"/>
              <a:gd name="connsiteX238" fmla="*/ 1757 w 4891380"/>
              <a:gd name="connsiteY238" fmla="*/ 4290894 h 5751788"/>
              <a:gd name="connsiteX239" fmla="*/ 1757 w 4891380"/>
              <a:gd name="connsiteY239" fmla="*/ 4271904 h 5751788"/>
              <a:gd name="connsiteX240" fmla="*/ 1757 w 4891380"/>
              <a:gd name="connsiteY240" fmla="*/ 4271461 h 5751788"/>
              <a:gd name="connsiteX241" fmla="*/ 0 w 4891380"/>
              <a:gd name="connsiteY241" fmla="*/ 4271461 h 5751788"/>
              <a:gd name="connsiteX242" fmla="*/ 0 w 4891380"/>
              <a:gd name="connsiteY242" fmla="*/ 3988016 h 5751788"/>
              <a:gd name="connsiteX243" fmla="*/ 0 w 4891380"/>
              <a:gd name="connsiteY243" fmla="*/ 3394564 h 5751788"/>
              <a:gd name="connsiteX244" fmla="*/ 0 w 4891380"/>
              <a:gd name="connsiteY244" fmla="*/ 3111118 h 5751788"/>
              <a:gd name="connsiteX245" fmla="*/ 0 w 4891380"/>
              <a:gd name="connsiteY245" fmla="*/ 3032692 h 5751788"/>
              <a:gd name="connsiteX246" fmla="*/ 1740 w 4891380"/>
              <a:gd name="connsiteY246" fmla="*/ 3032692 h 5751788"/>
              <a:gd name="connsiteX247" fmla="*/ 1740 w 4891380"/>
              <a:gd name="connsiteY247" fmla="*/ 3022121 h 5751788"/>
              <a:gd name="connsiteX248" fmla="*/ 0 w 4891380"/>
              <a:gd name="connsiteY248" fmla="*/ 3022121 h 575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4891380" h="5751788">
                <a:moveTo>
                  <a:pt x="0" y="0"/>
                </a:moveTo>
                <a:lnTo>
                  <a:pt x="1471669" y="0"/>
                </a:lnTo>
                <a:lnTo>
                  <a:pt x="1960808" y="0"/>
                </a:lnTo>
                <a:lnTo>
                  <a:pt x="2930558" y="0"/>
                </a:lnTo>
                <a:lnTo>
                  <a:pt x="3419696" y="0"/>
                </a:lnTo>
                <a:lnTo>
                  <a:pt x="3458648" y="0"/>
                </a:lnTo>
                <a:lnTo>
                  <a:pt x="3458648" y="1"/>
                </a:lnTo>
                <a:lnTo>
                  <a:pt x="3488752" y="1"/>
                </a:lnTo>
                <a:lnTo>
                  <a:pt x="3488752" y="3335"/>
                </a:lnTo>
                <a:lnTo>
                  <a:pt x="3559916" y="6728"/>
                </a:lnTo>
                <a:lnTo>
                  <a:pt x="3564234" y="7350"/>
                </a:lnTo>
                <a:lnTo>
                  <a:pt x="3569987" y="7641"/>
                </a:lnTo>
                <a:cubicBezTo>
                  <a:pt x="3656849" y="16522"/>
                  <a:pt x="3741475" y="33018"/>
                  <a:pt x="3823196" y="56454"/>
                </a:cubicBezTo>
                <a:lnTo>
                  <a:pt x="3829154" y="58447"/>
                </a:lnTo>
                <a:lnTo>
                  <a:pt x="3830180" y="58696"/>
                </a:lnTo>
                <a:lnTo>
                  <a:pt x="3840400" y="62213"/>
                </a:lnTo>
                <a:lnTo>
                  <a:pt x="3943517" y="96729"/>
                </a:lnTo>
                <a:lnTo>
                  <a:pt x="3954101" y="101328"/>
                </a:lnTo>
                <a:lnTo>
                  <a:pt x="3958123" y="102713"/>
                </a:lnTo>
                <a:lnTo>
                  <a:pt x="3979869" y="112529"/>
                </a:lnTo>
                <a:lnTo>
                  <a:pt x="4058977" y="146909"/>
                </a:lnTo>
                <a:lnTo>
                  <a:pt x="4073742" y="154899"/>
                </a:lnTo>
                <a:lnTo>
                  <a:pt x="4080462" y="157932"/>
                </a:lnTo>
                <a:lnTo>
                  <a:pt x="4104058" y="171305"/>
                </a:lnTo>
                <a:lnTo>
                  <a:pt x="4169078" y="206492"/>
                </a:lnTo>
                <a:lnTo>
                  <a:pt x="4187505" y="218597"/>
                </a:lnTo>
                <a:lnTo>
                  <a:pt x="4196586" y="223742"/>
                </a:lnTo>
                <a:lnTo>
                  <a:pt x="4219053" y="239321"/>
                </a:lnTo>
                <a:lnTo>
                  <a:pt x="4273318" y="274969"/>
                </a:lnTo>
                <a:lnTo>
                  <a:pt x="4294820" y="291856"/>
                </a:lnTo>
                <a:lnTo>
                  <a:pt x="4305886" y="299528"/>
                </a:lnTo>
                <a:lnTo>
                  <a:pt x="4326035" y="316371"/>
                </a:lnTo>
                <a:lnTo>
                  <a:pt x="4371194" y="351838"/>
                </a:lnTo>
                <a:lnTo>
                  <a:pt x="4395115" y="374115"/>
                </a:lnTo>
                <a:lnTo>
                  <a:pt x="4407752" y="384678"/>
                </a:lnTo>
                <a:lnTo>
                  <a:pt x="4425090" y="402029"/>
                </a:lnTo>
                <a:lnTo>
                  <a:pt x="4462206" y="436592"/>
                </a:lnTo>
                <a:lnTo>
                  <a:pt x="4487824" y="464813"/>
                </a:lnTo>
                <a:lnTo>
                  <a:pt x="4501580" y="478579"/>
                </a:lnTo>
                <a:lnTo>
                  <a:pt x="4515948" y="495792"/>
                </a:lnTo>
                <a:lnTo>
                  <a:pt x="4545848" y="528727"/>
                </a:lnTo>
                <a:lnTo>
                  <a:pt x="4572386" y="563402"/>
                </a:lnTo>
                <a:lnTo>
                  <a:pt x="4586756" y="580617"/>
                </a:lnTo>
                <a:lnTo>
                  <a:pt x="4598192" y="597122"/>
                </a:lnTo>
                <a:lnTo>
                  <a:pt x="4621624" y="627739"/>
                </a:lnTo>
                <a:lnTo>
                  <a:pt x="4648242" y="669353"/>
                </a:lnTo>
                <a:lnTo>
                  <a:pt x="4662670" y="690177"/>
                </a:lnTo>
                <a:lnTo>
                  <a:pt x="4671340" y="705466"/>
                </a:lnTo>
                <a:lnTo>
                  <a:pt x="4689030" y="733120"/>
                </a:lnTo>
                <a:lnTo>
                  <a:pt x="4714840" y="782179"/>
                </a:lnTo>
                <a:lnTo>
                  <a:pt x="4728718" y="806649"/>
                </a:lnTo>
                <a:lnTo>
                  <a:pt x="4734878" y="820262"/>
                </a:lnTo>
                <a:lnTo>
                  <a:pt x="4747562" y="844366"/>
                </a:lnTo>
                <a:lnTo>
                  <a:pt x="4771636" y="901470"/>
                </a:lnTo>
                <a:lnTo>
                  <a:pt x="4784286" y="929419"/>
                </a:lnTo>
                <a:lnTo>
                  <a:pt x="4788276" y="940938"/>
                </a:lnTo>
                <a:lnTo>
                  <a:pt x="4796723" y="960976"/>
                </a:lnTo>
                <a:lnTo>
                  <a:pt x="4818080" y="1027005"/>
                </a:lnTo>
                <a:lnTo>
                  <a:pt x="4828768" y="1057869"/>
                </a:lnTo>
                <a:lnTo>
                  <a:pt x="4830991" y="1066923"/>
                </a:lnTo>
                <a:lnTo>
                  <a:pt x="4836008" y="1082438"/>
                </a:lnTo>
                <a:lnTo>
                  <a:pt x="4853630" y="1159131"/>
                </a:lnTo>
                <a:lnTo>
                  <a:pt x="4861552" y="1191393"/>
                </a:lnTo>
                <a:lnTo>
                  <a:pt x="4862478" y="1197643"/>
                </a:lnTo>
                <a:lnTo>
                  <a:pt x="4864917" y="1208252"/>
                </a:lnTo>
                <a:lnTo>
                  <a:pt x="4877746" y="1300513"/>
                </a:lnTo>
                <a:lnTo>
                  <a:pt x="4882030" y="1329371"/>
                </a:lnTo>
                <a:lnTo>
                  <a:pt x="4882182" y="1332410"/>
                </a:lnTo>
                <a:lnTo>
                  <a:pt x="4882946" y="1337912"/>
                </a:lnTo>
                <a:lnTo>
                  <a:pt x="4885957" y="1401901"/>
                </a:lnTo>
                <a:lnTo>
                  <a:pt x="4889624" y="1401901"/>
                </a:lnTo>
                <a:lnTo>
                  <a:pt x="4889624" y="1460895"/>
                </a:lnTo>
                <a:lnTo>
                  <a:pt x="4889624" y="1479885"/>
                </a:lnTo>
                <a:lnTo>
                  <a:pt x="4889624" y="1480329"/>
                </a:lnTo>
                <a:lnTo>
                  <a:pt x="4891380" y="1480329"/>
                </a:lnTo>
                <a:lnTo>
                  <a:pt x="4891380" y="1630791"/>
                </a:lnTo>
                <a:lnTo>
                  <a:pt x="3458648" y="1630791"/>
                </a:lnTo>
                <a:lnTo>
                  <a:pt x="3458648" y="1630792"/>
                </a:lnTo>
                <a:lnTo>
                  <a:pt x="3488751" y="1630792"/>
                </a:lnTo>
                <a:lnTo>
                  <a:pt x="3488751" y="1634126"/>
                </a:lnTo>
                <a:lnTo>
                  <a:pt x="3559916" y="1637518"/>
                </a:lnTo>
                <a:lnTo>
                  <a:pt x="3564234" y="1638140"/>
                </a:lnTo>
                <a:lnTo>
                  <a:pt x="3569986" y="1638433"/>
                </a:lnTo>
                <a:cubicBezTo>
                  <a:pt x="3656848" y="1647313"/>
                  <a:pt x="3741475" y="1663807"/>
                  <a:pt x="3823196" y="1687245"/>
                </a:cubicBezTo>
                <a:lnTo>
                  <a:pt x="3829153" y="1689237"/>
                </a:lnTo>
                <a:lnTo>
                  <a:pt x="3830180" y="1689487"/>
                </a:lnTo>
                <a:lnTo>
                  <a:pt x="3840400" y="1693004"/>
                </a:lnTo>
                <a:lnTo>
                  <a:pt x="3943516" y="1727519"/>
                </a:lnTo>
                <a:lnTo>
                  <a:pt x="3954100" y="1732119"/>
                </a:lnTo>
                <a:lnTo>
                  <a:pt x="3958122" y="1733503"/>
                </a:lnTo>
                <a:lnTo>
                  <a:pt x="3979868" y="1743320"/>
                </a:lnTo>
                <a:lnTo>
                  <a:pt x="4058976" y="1777700"/>
                </a:lnTo>
                <a:lnTo>
                  <a:pt x="4073741" y="1785690"/>
                </a:lnTo>
                <a:lnTo>
                  <a:pt x="4080461" y="1788723"/>
                </a:lnTo>
                <a:lnTo>
                  <a:pt x="4104057" y="1802096"/>
                </a:lnTo>
                <a:lnTo>
                  <a:pt x="4169078" y="1837283"/>
                </a:lnTo>
                <a:lnTo>
                  <a:pt x="4187505" y="1849388"/>
                </a:lnTo>
                <a:lnTo>
                  <a:pt x="4196584" y="1854532"/>
                </a:lnTo>
                <a:lnTo>
                  <a:pt x="4219053" y="1870112"/>
                </a:lnTo>
                <a:lnTo>
                  <a:pt x="4273316" y="1905760"/>
                </a:lnTo>
                <a:lnTo>
                  <a:pt x="4294820" y="1922647"/>
                </a:lnTo>
                <a:lnTo>
                  <a:pt x="4305884" y="1930319"/>
                </a:lnTo>
                <a:lnTo>
                  <a:pt x="4326034" y="1947163"/>
                </a:lnTo>
                <a:lnTo>
                  <a:pt x="4371194" y="1982629"/>
                </a:lnTo>
                <a:lnTo>
                  <a:pt x="4395114" y="2004906"/>
                </a:lnTo>
                <a:lnTo>
                  <a:pt x="4407752" y="2015469"/>
                </a:lnTo>
                <a:lnTo>
                  <a:pt x="4425088" y="2032820"/>
                </a:lnTo>
                <a:lnTo>
                  <a:pt x="4462204" y="2067383"/>
                </a:lnTo>
                <a:lnTo>
                  <a:pt x="4487823" y="2095602"/>
                </a:lnTo>
                <a:lnTo>
                  <a:pt x="4501580" y="2109370"/>
                </a:lnTo>
                <a:lnTo>
                  <a:pt x="4515948" y="2126583"/>
                </a:lnTo>
                <a:lnTo>
                  <a:pt x="4545846" y="2159517"/>
                </a:lnTo>
                <a:lnTo>
                  <a:pt x="4572383" y="2194191"/>
                </a:lnTo>
                <a:lnTo>
                  <a:pt x="4586756" y="2211408"/>
                </a:lnTo>
                <a:lnTo>
                  <a:pt x="4598190" y="2227912"/>
                </a:lnTo>
                <a:lnTo>
                  <a:pt x="4621623" y="2258530"/>
                </a:lnTo>
                <a:lnTo>
                  <a:pt x="4648242" y="2300144"/>
                </a:lnTo>
                <a:lnTo>
                  <a:pt x="4662670" y="2320968"/>
                </a:lnTo>
                <a:lnTo>
                  <a:pt x="4671340" y="2336257"/>
                </a:lnTo>
                <a:lnTo>
                  <a:pt x="4689028" y="2363911"/>
                </a:lnTo>
                <a:lnTo>
                  <a:pt x="4714840" y="2412970"/>
                </a:lnTo>
                <a:lnTo>
                  <a:pt x="4728716" y="2437439"/>
                </a:lnTo>
                <a:lnTo>
                  <a:pt x="4734877" y="2451053"/>
                </a:lnTo>
                <a:lnTo>
                  <a:pt x="4747562" y="2475157"/>
                </a:lnTo>
                <a:lnTo>
                  <a:pt x="4771636" y="2532261"/>
                </a:lnTo>
                <a:lnTo>
                  <a:pt x="4784286" y="2560208"/>
                </a:lnTo>
                <a:lnTo>
                  <a:pt x="4788274" y="2571729"/>
                </a:lnTo>
                <a:lnTo>
                  <a:pt x="4796723" y="2591766"/>
                </a:lnTo>
                <a:lnTo>
                  <a:pt x="4818078" y="2657796"/>
                </a:lnTo>
                <a:lnTo>
                  <a:pt x="4828766" y="2688660"/>
                </a:lnTo>
                <a:lnTo>
                  <a:pt x="4830988" y="2697714"/>
                </a:lnTo>
                <a:lnTo>
                  <a:pt x="4836008" y="2713229"/>
                </a:lnTo>
                <a:lnTo>
                  <a:pt x="4853629" y="2789921"/>
                </a:lnTo>
                <a:lnTo>
                  <a:pt x="4861550" y="2822183"/>
                </a:lnTo>
                <a:lnTo>
                  <a:pt x="4862477" y="2828433"/>
                </a:lnTo>
                <a:lnTo>
                  <a:pt x="4864917" y="2839043"/>
                </a:lnTo>
                <a:lnTo>
                  <a:pt x="4877746" y="2931303"/>
                </a:lnTo>
                <a:lnTo>
                  <a:pt x="4882029" y="2960161"/>
                </a:lnTo>
                <a:lnTo>
                  <a:pt x="4882180" y="2963200"/>
                </a:lnTo>
                <a:lnTo>
                  <a:pt x="4882946" y="2968703"/>
                </a:lnTo>
                <a:lnTo>
                  <a:pt x="4885956" y="3032692"/>
                </a:lnTo>
                <a:lnTo>
                  <a:pt x="4889624" y="3032692"/>
                </a:lnTo>
                <a:lnTo>
                  <a:pt x="4889624" y="3091686"/>
                </a:lnTo>
                <a:lnTo>
                  <a:pt x="4889624" y="3110675"/>
                </a:lnTo>
                <a:lnTo>
                  <a:pt x="4889624" y="3111118"/>
                </a:lnTo>
                <a:lnTo>
                  <a:pt x="4891379" y="3111118"/>
                </a:lnTo>
                <a:lnTo>
                  <a:pt x="4891379" y="3394564"/>
                </a:lnTo>
                <a:lnTo>
                  <a:pt x="4891379" y="3988016"/>
                </a:lnTo>
                <a:lnTo>
                  <a:pt x="4891379" y="4271461"/>
                </a:lnTo>
                <a:lnTo>
                  <a:pt x="4891379" y="4349890"/>
                </a:lnTo>
                <a:lnTo>
                  <a:pt x="4889640" y="4349890"/>
                </a:lnTo>
                <a:lnTo>
                  <a:pt x="4889640" y="5751787"/>
                </a:lnTo>
                <a:lnTo>
                  <a:pt x="4400501" y="5751787"/>
                </a:lnTo>
                <a:lnTo>
                  <a:pt x="3430753" y="5751787"/>
                </a:lnTo>
                <a:lnTo>
                  <a:pt x="3420593" y="5751787"/>
                </a:lnTo>
                <a:lnTo>
                  <a:pt x="3419727" y="5751787"/>
                </a:lnTo>
                <a:lnTo>
                  <a:pt x="3419712" y="5751788"/>
                </a:lnTo>
                <a:lnTo>
                  <a:pt x="3419699" y="5751787"/>
                </a:lnTo>
                <a:lnTo>
                  <a:pt x="3350656" y="5751787"/>
                </a:lnTo>
                <a:lnTo>
                  <a:pt x="2941613" y="5751787"/>
                </a:lnTo>
                <a:lnTo>
                  <a:pt x="2931453" y="5751787"/>
                </a:lnTo>
                <a:lnTo>
                  <a:pt x="2930587" y="5751787"/>
                </a:lnTo>
                <a:lnTo>
                  <a:pt x="2930574" y="5751788"/>
                </a:lnTo>
                <a:lnTo>
                  <a:pt x="2930558" y="5751787"/>
                </a:lnTo>
                <a:lnTo>
                  <a:pt x="2861517" y="5751787"/>
                </a:lnTo>
                <a:lnTo>
                  <a:pt x="1961706" y="5751787"/>
                </a:lnTo>
                <a:lnTo>
                  <a:pt x="1960839" y="5751787"/>
                </a:lnTo>
                <a:lnTo>
                  <a:pt x="1960824" y="5751788"/>
                </a:lnTo>
                <a:lnTo>
                  <a:pt x="1960810" y="5751787"/>
                </a:lnTo>
                <a:lnTo>
                  <a:pt x="1891768" y="5751787"/>
                </a:lnTo>
                <a:lnTo>
                  <a:pt x="1472566" y="5751787"/>
                </a:lnTo>
                <a:lnTo>
                  <a:pt x="1471699" y="5751787"/>
                </a:lnTo>
                <a:lnTo>
                  <a:pt x="1471686" y="5751788"/>
                </a:lnTo>
                <a:lnTo>
                  <a:pt x="1471671" y="5751787"/>
                </a:lnTo>
                <a:lnTo>
                  <a:pt x="1402630" y="5751787"/>
                </a:lnTo>
                <a:lnTo>
                  <a:pt x="1402630" y="5748454"/>
                </a:lnTo>
                <a:lnTo>
                  <a:pt x="1331464" y="5745061"/>
                </a:lnTo>
                <a:lnTo>
                  <a:pt x="1327146" y="5744440"/>
                </a:lnTo>
                <a:lnTo>
                  <a:pt x="1321394" y="5744149"/>
                </a:lnTo>
                <a:cubicBezTo>
                  <a:pt x="1234532" y="5735266"/>
                  <a:pt x="1149908" y="5718772"/>
                  <a:pt x="1068185" y="5695337"/>
                </a:cubicBezTo>
                <a:lnTo>
                  <a:pt x="1062227" y="5693342"/>
                </a:lnTo>
                <a:lnTo>
                  <a:pt x="1061200" y="5693093"/>
                </a:lnTo>
                <a:lnTo>
                  <a:pt x="1050981" y="5689577"/>
                </a:lnTo>
                <a:lnTo>
                  <a:pt x="947864" y="5655061"/>
                </a:lnTo>
                <a:lnTo>
                  <a:pt x="937281" y="5650461"/>
                </a:lnTo>
                <a:lnTo>
                  <a:pt x="933258" y="5649077"/>
                </a:lnTo>
                <a:lnTo>
                  <a:pt x="911512" y="5639261"/>
                </a:lnTo>
                <a:lnTo>
                  <a:pt x="832403" y="5604881"/>
                </a:lnTo>
                <a:lnTo>
                  <a:pt x="817638" y="5596891"/>
                </a:lnTo>
                <a:lnTo>
                  <a:pt x="810920" y="5593857"/>
                </a:lnTo>
                <a:lnTo>
                  <a:pt x="787324" y="5580484"/>
                </a:lnTo>
                <a:lnTo>
                  <a:pt x="722302" y="5545298"/>
                </a:lnTo>
                <a:lnTo>
                  <a:pt x="703875" y="5533192"/>
                </a:lnTo>
                <a:lnTo>
                  <a:pt x="694796" y="5528048"/>
                </a:lnTo>
                <a:lnTo>
                  <a:pt x="672327" y="5512468"/>
                </a:lnTo>
                <a:lnTo>
                  <a:pt x="618064" y="5476820"/>
                </a:lnTo>
                <a:lnTo>
                  <a:pt x="596562" y="5459933"/>
                </a:lnTo>
                <a:lnTo>
                  <a:pt x="585496" y="5452261"/>
                </a:lnTo>
                <a:lnTo>
                  <a:pt x="565345" y="5435418"/>
                </a:lnTo>
                <a:lnTo>
                  <a:pt x="520187" y="5399950"/>
                </a:lnTo>
                <a:lnTo>
                  <a:pt x="496267" y="5377676"/>
                </a:lnTo>
                <a:lnTo>
                  <a:pt x="483628" y="5367110"/>
                </a:lnTo>
                <a:lnTo>
                  <a:pt x="466291" y="5349761"/>
                </a:lnTo>
                <a:lnTo>
                  <a:pt x="429176" y="5315197"/>
                </a:lnTo>
                <a:lnTo>
                  <a:pt x="403557" y="5286978"/>
                </a:lnTo>
                <a:lnTo>
                  <a:pt x="389801" y="5273210"/>
                </a:lnTo>
                <a:lnTo>
                  <a:pt x="375432" y="5255998"/>
                </a:lnTo>
                <a:lnTo>
                  <a:pt x="345533" y="5223062"/>
                </a:lnTo>
                <a:lnTo>
                  <a:pt x="318997" y="5188388"/>
                </a:lnTo>
                <a:lnTo>
                  <a:pt x="304626" y="5171174"/>
                </a:lnTo>
                <a:lnTo>
                  <a:pt x="293189" y="5154668"/>
                </a:lnTo>
                <a:lnTo>
                  <a:pt x="269757" y="5124051"/>
                </a:lnTo>
                <a:lnTo>
                  <a:pt x="243139" y="5082435"/>
                </a:lnTo>
                <a:lnTo>
                  <a:pt x="228710" y="5061612"/>
                </a:lnTo>
                <a:lnTo>
                  <a:pt x="220040" y="5046323"/>
                </a:lnTo>
                <a:lnTo>
                  <a:pt x="202353" y="5018669"/>
                </a:lnTo>
                <a:lnTo>
                  <a:pt x="176540" y="4969611"/>
                </a:lnTo>
                <a:lnTo>
                  <a:pt x="162664" y="4945140"/>
                </a:lnTo>
                <a:lnTo>
                  <a:pt x="156502" y="4931527"/>
                </a:lnTo>
                <a:lnTo>
                  <a:pt x="143819" y="4907422"/>
                </a:lnTo>
                <a:lnTo>
                  <a:pt x="119746" y="4850319"/>
                </a:lnTo>
                <a:lnTo>
                  <a:pt x="107095" y="4822372"/>
                </a:lnTo>
                <a:lnTo>
                  <a:pt x="103107" y="4810852"/>
                </a:lnTo>
                <a:lnTo>
                  <a:pt x="94658" y="4790814"/>
                </a:lnTo>
                <a:lnTo>
                  <a:pt x="73303" y="4724785"/>
                </a:lnTo>
                <a:lnTo>
                  <a:pt x="62615" y="4693921"/>
                </a:lnTo>
                <a:lnTo>
                  <a:pt x="60392" y="4684865"/>
                </a:lnTo>
                <a:lnTo>
                  <a:pt x="55373" y="4669350"/>
                </a:lnTo>
                <a:lnTo>
                  <a:pt x="37752" y="4592660"/>
                </a:lnTo>
                <a:lnTo>
                  <a:pt x="29830" y="4560396"/>
                </a:lnTo>
                <a:lnTo>
                  <a:pt x="28902" y="4554148"/>
                </a:lnTo>
                <a:lnTo>
                  <a:pt x="26465" y="4543536"/>
                </a:lnTo>
                <a:lnTo>
                  <a:pt x="13636" y="4451278"/>
                </a:lnTo>
                <a:lnTo>
                  <a:pt x="9352" y="4422418"/>
                </a:lnTo>
                <a:lnTo>
                  <a:pt x="9200" y="4419380"/>
                </a:lnTo>
                <a:lnTo>
                  <a:pt x="8434" y="4413877"/>
                </a:lnTo>
                <a:lnTo>
                  <a:pt x="5426" y="4349890"/>
                </a:lnTo>
                <a:lnTo>
                  <a:pt x="1757" y="4349890"/>
                </a:lnTo>
                <a:lnTo>
                  <a:pt x="1757" y="4290894"/>
                </a:lnTo>
                <a:lnTo>
                  <a:pt x="1757" y="4271904"/>
                </a:lnTo>
                <a:lnTo>
                  <a:pt x="1757" y="4271461"/>
                </a:lnTo>
                <a:lnTo>
                  <a:pt x="0" y="4271461"/>
                </a:lnTo>
                <a:lnTo>
                  <a:pt x="0" y="3988016"/>
                </a:lnTo>
                <a:lnTo>
                  <a:pt x="0" y="3394564"/>
                </a:lnTo>
                <a:lnTo>
                  <a:pt x="0" y="3111118"/>
                </a:lnTo>
                <a:lnTo>
                  <a:pt x="0" y="3032692"/>
                </a:lnTo>
                <a:lnTo>
                  <a:pt x="1740" y="3032692"/>
                </a:lnTo>
                <a:lnTo>
                  <a:pt x="1740" y="3022121"/>
                </a:lnTo>
                <a:lnTo>
                  <a:pt x="0" y="3022121"/>
                </a:lnTo>
                <a:close/>
              </a:path>
            </a:pathLst>
          </a:custGeom>
        </p:spPr>
        <p:txBody>
          <a:bodyPr wrap="square">
            <a:noAutofit/>
          </a:bodyPr>
          <a:lstStyle/>
          <a:p>
            <a:endParaRPr lang="en-US"/>
          </a:p>
        </p:txBody>
      </p:sp>
    </p:spTree>
    <p:extLst>
      <p:ext uri="{BB962C8B-B14F-4D97-AF65-F5344CB8AC3E}">
        <p14:creationId xmlns:p14="http://schemas.microsoft.com/office/powerpoint/2010/main" val="332222090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75BDB38-C6FF-44C2-A529-8B55DC130932}"/>
              </a:ext>
            </a:extLst>
          </p:cNvPr>
          <p:cNvSpPr>
            <a:spLocks noGrp="1"/>
          </p:cNvSpPr>
          <p:nvPr>
            <p:ph type="pic" sz="quarter" idx="10"/>
          </p:nvPr>
        </p:nvSpPr>
        <p:spPr>
          <a:xfrm>
            <a:off x="0" y="0"/>
            <a:ext cx="12192000" cy="6858000"/>
          </a:xfrm>
        </p:spPr>
        <p:txBody>
          <a:bodyPr/>
          <a:lstStyle/>
          <a:p>
            <a:endParaRPr lang="en-US"/>
          </a:p>
        </p:txBody>
      </p:sp>
      <p:sp>
        <p:nvSpPr>
          <p:cNvPr id="6" name="Picture Placeholder 5">
            <a:extLst>
              <a:ext uri="{FF2B5EF4-FFF2-40B4-BE49-F238E27FC236}">
                <a16:creationId xmlns:a16="http://schemas.microsoft.com/office/drawing/2014/main" id="{6A81D4AD-B3AA-46C8-8EE5-4753744EB462}"/>
              </a:ext>
            </a:extLst>
          </p:cNvPr>
          <p:cNvSpPr>
            <a:spLocks noGrp="1"/>
          </p:cNvSpPr>
          <p:nvPr>
            <p:ph type="pic" sz="quarter" idx="11"/>
          </p:nvPr>
        </p:nvSpPr>
        <p:spPr>
          <a:xfrm>
            <a:off x="430488" y="1686665"/>
            <a:ext cx="4920143" cy="4409314"/>
          </a:xfrm>
          <a:custGeom>
            <a:avLst/>
            <a:gdLst>
              <a:gd name="connsiteX0" fmla="*/ 1341763 w 4920143"/>
              <a:gd name="connsiteY0" fmla="*/ 1689277 h 4409314"/>
              <a:gd name="connsiteX1" fmla="*/ 1360019 w 4920143"/>
              <a:gd name="connsiteY1" fmla="*/ 1689277 h 4409314"/>
              <a:gd name="connsiteX2" fmla="*/ 2720036 w 4920143"/>
              <a:gd name="connsiteY2" fmla="*/ 1689277 h 4409314"/>
              <a:gd name="connsiteX3" fmla="*/ 2720036 w 4920143"/>
              <a:gd name="connsiteY3" fmla="*/ 3049283 h 4409314"/>
              <a:gd name="connsiteX4" fmla="*/ 2720037 w 4920143"/>
              <a:gd name="connsiteY4" fmla="*/ 3049296 h 4409314"/>
              <a:gd name="connsiteX5" fmla="*/ 2720036 w 4920143"/>
              <a:gd name="connsiteY5" fmla="*/ 3049309 h 4409314"/>
              <a:gd name="connsiteX6" fmla="*/ 2720036 w 4920143"/>
              <a:gd name="connsiteY6" fmla="*/ 3113189 h 4409314"/>
              <a:gd name="connsiteX7" fmla="*/ 2716811 w 4920143"/>
              <a:gd name="connsiteY7" fmla="*/ 3113189 h 4409314"/>
              <a:gd name="connsiteX8" fmla="*/ 2713016 w 4920143"/>
              <a:gd name="connsiteY8" fmla="*/ 3188350 h 4409314"/>
              <a:gd name="connsiteX9" fmla="*/ 1360019 w 4920143"/>
              <a:gd name="connsiteY9" fmla="*/ 4409314 h 4409314"/>
              <a:gd name="connsiteX10" fmla="*/ 0 w 4920143"/>
              <a:gd name="connsiteY10" fmla="*/ 3049296 h 4409314"/>
              <a:gd name="connsiteX11" fmla="*/ 1220965 w 4920143"/>
              <a:gd name="connsiteY11" fmla="*/ 1696299 h 4409314"/>
              <a:gd name="connsiteX12" fmla="*/ 1341763 w 4920143"/>
              <a:gd name="connsiteY12" fmla="*/ 1690199 h 4409314"/>
              <a:gd name="connsiteX13" fmla="*/ 3889525 w 4920143"/>
              <a:gd name="connsiteY13" fmla="*/ 242287 h 4409314"/>
              <a:gd name="connsiteX14" fmla="*/ 3889535 w 4920143"/>
              <a:gd name="connsiteY14" fmla="*/ 242288 h 4409314"/>
              <a:gd name="connsiteX15" fmla="*/ 3890141 w 4920143"/>
              <a:gd name="connsiteY15" fmla="*/ 242288 h 4409314"/>
              <a:gd name="connsiteX16" fmla="*/ 4918926 w 4920143"/>
              <a:gd name="connsiteY16" fmla="*/ 242288 h 4409314"/>
              <a:gd name="connsiteX17" fmla="*/ 4918926 w 4920143"/>
              <a:gd name="connsiteY17" fmla="*/ 1217442 h 4409314"/>
              <a:gd name="connsiteX18" fmla="*/ 4920143 w 4920143"/>
              <a:gd name="connsiteY18" fmla="*/ 1217442 h 4409314"/>
              <a:gd name="connsiteX19" fmla="*/ 4920143 w 4920143"/>
              <a:gd name="connsiteY19" fmla="*/ 1271995 h 4409314"/>
              <a:gd name="connsiteX20" fmla="*/ 4920143 w 4920143"/>
              <a:gd name="connsiteY20" fmla="*/ 1469159 h 4409314"/>
              <a:gd name="connsiteX21" fmla="*/ 4920143 w 4920143"/>
              <a:gd name="connsiteY21" fmla="*/ 1881961 h 4409314"/>
              <a:gd name="connsiteX22" fmla="*/ 4920143 w 4920143"/>
              <a:gd name="connsiteY22" fmla="*/ 2079124 h 4409314"/>
              <a:gd name="connsiteX23" fmla="*/ 4918913 w 4920143"/>
              <a:gd name="connsiteY23" fmla="*/ 2079124 h 4409314"/>
              <a:gd name="connsiteX24" fmla="*/ 4918913 w 4920143"/>
              <a:gd name="connsiteY24" fmla="*/ 2079125 h 4409314"/>
              <a:gd name="connsiteX25" fmla="*/ 4918913 w 4920143"/>
              <a:gd name="connsiteY25" fmla="*/ 2079432 h 4409314"/>
              <a:gd name="connsiteX26" fmla="*/ 4918913 w 4920143"/>
              <a:gd name="connsiteY26" fmla="*/ 2092642 h 4409314"/>
              <a:gd name="connsiteX27" fmla="*/ 4918913 w 4920143"/>
              <a:gd name="connsiteY27" fmla="*/ 2133678 h 4409314"/>
              <a:gd name="connsiteX28" fmla="*/ 4916345 w 4920143"/>
              <a:gd name="connsiteY28" fmla="*/ 2133678 h 4409314"/>
              <a:gd name="connsiteX29" fmla="*/ 4914238 w 4920143"/>
              <a:gd name="connsiteY29" fmla="*/ 2178188 h 4409314"/>
              <a:gd name="connsiteX30" fmla="*/ 4913701 w 4920143"/>
              <a:gd name="connsiteY30" fmla="*/ 2182015 h 4409314"/>
              <a:gd name="connsiteX31" fmla="*/ 4913595 w 4920143"/>
              <a:gd name="connsiteY31" fmla="*/ 2184129 h 4409314"/>
              <a:gd name="connsiteX32" fmla="*/ 4910595 w 4920143"/>
              <a:gd name="connsiteY32" fmla="*/ 2204203 h 4409314"/>
              <a:gd name="connsiteX33" fmla="*/ 4901610 w 4920143"/>
              <a:gd name="connsiteY33" fmla="*/ 2268379 h 4409314"/>
              <a:gd name="connsiteX34" fmla="*/ 4899903 w 4920143"/>
              <a:gd name="connsiteY34" fmla="*/ 2275759 h 4409314"/>
              <a:gd name="connsiteX35" fmla="*/ 4899254 w 4920143"/>
              <a:gd name="connsiteY35" fmla="*/ 2280107 h 4409314"/>
              <a:gd name="connsiteX36" fmla="*/ 4893706 w 4920143"/>
              <a:gd name="connsiteY36" fmla="*/ 2302548 h 4409314"/>
              <a:gd name="connsiteX37" fmla="*/ 4881366 w 4920143"/>
              <a:gd name="connsiteY37" fmla="*/ 2355894 h 4409314"/>
              <a:gd name="connsiteX38" fmla="*/ 4877851 w 4920143"/>
              <a:gd name="connsiteY38" fmla="*/ 2366687 h 4409314"/>
              <a:gd name="connsiteX39" fmla="*/ 4876295 w 4920143"/>
              <a:gd name="connsiteY39" fmla="*/ 2372985 h 4409314"/>
              <a:gd name="connsiteX40" fmla="*/ 4868810 w 4920143"/>
              <a:gd name="connsiteY40" fmla="*/ 2394454 h 4409314"/>
              <a:gd name="connsiteX41" fmla="*/ 4853854 w 4920143"/>
              <a:gd name="connsiteY41" fmla="*/ 2440384 h 4409314"/>
              <a:gd name="connsiteX42" fmla="*/ 4847938 w 4920143"/>
              <a:gd name="connsiteY42" fmla="*/ 2454322 h 4409314"/>
              <a:gd name="connsiteX43" fmla="*/ 4845145 w 4920143"/>
              <a:gd name="connsiteY43" fmla="*/ 2462335 h 4409314"/>
              <a:gd name="connsiteX44" fmla="*/ 4836286 w 4920143"/>
              <a:gd name="connsiteY44" fmla="*/ 2481775 h 4409314"/>
              <a:gd name="connsiteX45" fmla="*/ 4819427 w 4920143"/>
              <a:gd name="connsiteY45" fmla="*/ 2521496 h 4409314"/>
              <a:gd name="connsiteX46" fmla="*/ 4810544 w 4920143"/>
              <a:gd name="connsiteY46" fmla="*/ 2538263 h 4409314"/>
              <a:gd name="connsiteX47" fmla="*/ 4806229 w 4920143"/>
              <a:gd name="connsiteY47" fmla="*/ 2547733 h 4409314"/>
              <a:gd name="connsiteX48" fmla="*/ 4796511 w 4920143"/>
              <a:gd name="connsiteY48" fmla="*/ 2564754 h 4409314"/>
              <a:gd name="connsiteX49" fmla="*/ 4778435 w 4920143"/>
              <a:gd name="connsiteY49" fmla="*/ 2598879 h 4409314"/>
              <a:gd name="connsiteX50" fmla="*/ 4766048 w 4920143"/>
              <a:gd name="connsiteY50" fmla="*/ 2618115 h 4409314"/>
              <a:gd name="connsiteX51" fmla="*/ 4759977 w 4920143"/>
              <a:gd name="connsiteY51" fmla="*/ 2628749 h 4409314"/>
              <a:gd name="connsiteX52" fmla="*/ 4749872 w 4920143"/>
              <a:gd name="connsiteY52" fmla="*/ 2643234 h 4409314"/>
              <a:gd name="connsiteX53" fmla="*/ 4731231 w 4920143"/>
              <a:gd name="connsiteY53" fmla="*/ 2672182 h 4409314"/>
              <a:gd name="connsiteX54" fmla="*/ 4714821 w 4920143"/>
              <a:gd name="connsiteY54" fmla="*/ 2693479 h 4409314"/>
              <a:gd name="connsiteX55" fmla="*/ 4706813 w 4920143"/>
              <a:gd name="connsiteY55" fmla="*/ 2704960 h 4409314"/>
              <a:gd name="connsiteX56" fmla="*/ 4696748 w 4920143"/>
              <a:gd name="connsiteY56" fmla="*/ 2716934 h 4409314"/>
              <a:gd name="connsiteX57" fmla="*/ 4678165 w 4920143"/>
              <a:gd name="connsiteY57" fmla="*/ 2741053 h 4409314"/>
              <a:gd name="connsiteX58" fmla="*/ 4657225 w 4920143"/>
              <a:gd name="connsiteY58" fmla="*/ 2763963 h 4409314"/>
              <a:gd name="connsiteX59" fmla="*/ 4647164 w 4920143"/>
              <a:gd name="connsiteY59" fmla="*/ 2775936 h 4409314"/>
              <a:gd name="connsiteX60" fmla="*/ 4637529 w 4920143"/>
              <a:gd name="connsiteY60" fmla="*/ 2785513 h 4409314"/>
              <a:gd name="connsiteX61" fmla="*/ 4619589 w 4920143"/>
              <a:gd name="connsiteY61" fmla="*/ 2805142 h 4409314"/>
              <a:gd name="connsiteX62" fmla="*/ 4593597 w 4920143"/>
              <a:gd name="connsiteY62" fmla="*/ 2829184 h 4409314"/>
              <a:gd name="connsiteX63" fmla="*/ 4581456 w 4920143"/>
              <a:gd name="connsiteY63" fmla="*/ 2841253 h 4409314"/>
              <a:gd name="connsiteX64" fmla="*/ 4572605 w 4920143"/>
              <a:gd name="connsiteY64" fmla="*/ 2848601 h 4409314"/>
              <a:gd name="connsiteX65" fmla="*/ 4555853 w 4920143"/>
              <a:gd name="connsiteY65" fmla="*/ 2864096 h 4409314"/>
              <a:gd name="connsiteX66" fmla="*/ 4524228 w 4920143"/>
              <a:gd name="connsiteY66" fmla="*/ 2888767 h 4409314"/>
              <a:gd name="connsiteX67" fmla="*/ 4510117 w 4920143"/>
              <a:gd name="connsiteY67" fmla="*/ 2900483 h 4409314"/>
              <a:gd name="connsiteX68" fmla="*/ 4502368 w 4920143"/>
              <a:gd name="connsiteY68" fmla="*/ 2905820 h 4409314"/>
              <a:gd name="connsiteX69" fmla="*/ 4487310 w 4920143"/>
              <a:gd name="connsiteY69" fmla="*/ 2917566 h 4409314"/>
              <a:gd name="connsiteX70" fmla="*/ 4449308 w 4920143"/>
              <a:gd name="connsiteY70" fmla="*/ 2942363 h 4409314"/>
              <a:gd name="connsiteX71" fmla="*/ 4433574 w 4920143"/>
              <a:gd name="connsiteY71" fmla="*/ 2953200 h 4409314"/>
              <a:gd name="connsiteX72" fmla="*/ 4427215 w 4920143"/>
              <a:gd name="connsiteY72" fmla="*/ 2956778 h 4409314"/>
              <a:gd name="connsiteX73" fmla="*/ 4414311 w 4920143"/>
              <a:gd name="connsiteY73" fmla="*/ 2965199 h 4409314"/>
              <a:gd name="connsiteX74" fmla="*/ 4368776 w 4920143"/>
              <a:gd name="connsiteY74" fmla="*/ 2989675 h 4409314"/>
              <a:gd name="connsiteX75" fmla="*/ 4352251 w 4920143"/>
              <a:gd name="connsiteY75" fmla="*/ 2998977 h 4409314"/>
              <a:gd name="connsiteX76" fmla="*/ 4347546 w 4920143"/>
              <a:gd name="connsiteY76" fmla="*/ 3001086 h 4409314"/>
              <a:gd name="connsiteX77" fmla="*/ 4337206 w 4920143"/>
              <a:gd name="connsiteY77" fmla="*/ 3006644 h 4409314"/>
              <a:gd name="connsiteX78" fmla="*/ 4281806 w 4920143"/>
              <a:gd name="connsiteY78" fmla="*/ 3030559 h 4409314"/>
              <a:gd name="connsiteX79" fmla="*/ 4266577 w 4920143"/>
              <a:gd name="connsiteY79" fmla="*/ 3037387 h 4409314"/>
              <a:gd name="connsiteX80" fmla="*/ 4263760 w 4920143"/>
              <a:gd name="connsiteY80" fmla="*/ 3038350 h 4409314"/>
              <a:gd name="connsiteX81" fmla="*/ 4256348 w 4920143"/>
              <a:gd name="connsiteY81" fmla="*/ 3041550 h 4409314"/>
              <a:gd name="connsiteX82" fmla="*/ 4184135 w 4920143"/>
              <a:gd name="connsiteY82" fmla="*/ 3065558 h 4409314"/>
              <a:gd name="connsiteX83" fmla="*/ 4176978 w 4920143"/>
              <a:gd name="connsiteY83" fmla="*/ 3068005 h 4409314"/>
              <a:gd name="connsiteX84" fmla="*/ 4176259 w 4920143"/>
              <a:gd name="connsiteY84" fmla="*/ 3068178 h 4409314"/>
              <a:gd name="connsiteX85" fmla="*/ 4172087 w 4920143"/>
              <a:gd name="connsiteY85" fmla="*/ 3069565 h 4409314"/>
              <a:gd name="connsiteX86" fmla="*/ 3994762 w 4920143"/>
              <a:gd name="connsiteY86" fmla="*/ 3103519 h 4409314"/>
              <a:gd name="connsiteX87" fmla="*/ 3990734 w 4920143"/>
              <a:gd name="connsiteY87" fmla="*/ 3103721 h 4409314"/>
              <a:gd name="connsiteX88" fmla="*/ 3987710 w 4920143"/>
              <a:gd name="connsiteY88" fmla="*/ 3104154 h 4409314"/>
              <a:gd name="connsiteX89" fmla="*/ 3937873 w 4920143"/>
              <a:gd name="connsiteY89" fmla="*/ 3106514 h 4409314"/>
              <a:gd name="connsiteX90" fmla="*/ 3937873 w 4920143"/>
              <a:gd name="connsiteY90" fmla="*/ 3108833 h 4409314"/>
              <a:gd name="connsiteX91" fmla="*/ 3889523 w 4920143"/>
              <a:gd name="connsiteY91" fmla="*/ 3108833 h 4409314"/>
              <a:gd name="connsiteX92" fmla="*/ 3889512 w 4920143"/>
              <a:gd name="connsiteY92" fmla="*/ 3108833 h 4409314"/>
              <a:gd name="connsiteX93" fmla="*/ 3889503 w 4920143"/>
              <a:gd name="connsiteY93" fmla="*/ 3108833 h 4409314"/>
              <a:gd name="connsiteX94" fmla="*/ 3888896 w 4920143"/>
              <a:gd name="connsiteY94" fmla="*/ 3108833 h 4409314"/>
              <a:gd name="connsiteX95" fmla="*/ 2860112 w 4920143"/>
              <a:gd name="connsiteY95" fmla="*/ 3108833 h 4409314"/>
              <a:gd name="connsiteX96" fmla="*/ 2860112 w 4920143"/>
              <a:gd name="connsiteY96" fmla="*/ 2133678 h 4409314"/>
              <a:gd name="connsiteX97" fmla="*/ 2858894 w 4920143"/>
              <a:gd name="connsiteY97" fmla="*/ 2133678 h 4409314"/>
              <a:gd name="connsiteX98" fmla="*/ 2858894 w 4920143"/>
              <a:gd name="connsiteY98" fmla="*/ 2079125 h 4409314"/>
              <a:gd name="connsiteX99" fmla="*/ 2858894 w 4920143"/>
              <a:gd name="connsiteY99" fmla="*/ 1881961 h 4409314"/>
              <a:gd name="connsiteX100" fmla="*/ 2858894 w 4920143"/>
              <a:gd name="connsiteY100" fmla="*/ 1469159 h 4409314"/>
              <a:gd name="connsiteX101" fmla="*/ 2858894 w 4920143"/>
              <a:gd name="connsiteY101" fmla="*/ 1271996 h 4409314"/>
              <a:gd name="connsiteX102" fmla="*/ 2860124 w 4920143"/>
              <a:gd name="connsiteY102" fmla="*/ 1271996 h 4409314"/>
              <a:gd name="connsiteX103" fmla="*/ 2860124 w 4920143"/>
              <a:gd name="connsiteY103" fmla="*/ 1271995 h 4409314"/>
              <a:gd name="connsiteX104" fmla="*/ 2860124 w 4920143"/>
              <a:gd name="connsiteY104" fmla="*/ 1271687 h 4409314"/>
              <a:gd name="connsiteX105" fmla="*/ 2860124 w 4920143"/>
              <a:gd name="connsiteY105" fmla="*/ 1258478 h 4409314"/>
              <a:gd name="connsiteX106" fmla="*/ 2860124 w 4920143"/>
              <a:gd name="connsiteY106" fmla="*/ 1217442 h 4409314"/>
              <a:gd name="connsiteX107" fmla="*/ 2862693 w 4920143"/>
              <a:gd name="connsiteY107" fmla="*/ 1217442 h 4409314"/>
              <a:gd name="connsiteX108" fmla="*/ 2864800 w 4920143"/>
              <a:gd name="connsiteY108" fmla="*/ 1172932 h 4409314"/>
              <a:gd name="connsiteX109" fmla="*/ 2865336 w 4920143"/>
              <a:gd name="connsiteY109" fmla="*/ 1169104 h 4409314"/>
              <a:gd name="connsiteX110" fmla="*/ 2865443 w 4920143"/>
              <a:gd name="connsiteY110" fmla="*/ 1166991 h 4409314"/>
              <a:gd name="connsiteX111" fmla="*/ 2868442 w 4920143"/>
              <a:gd name="connsiteY111" fmla="*/ 1146917 h 4409314"/>
              <a:gd name="connsiteX112" fmla="*/ 2877427 w 4920143"/>
              <a:gd name="connsiteY112" fmla="*/ 1082741 h 4409314"/>
              <a:gd name="connsiteX113" fmla="*/ 2879134 w 4920143"/>
              <a:gd name="connsiteY113" fmla="*/ 1075360 h 4409314"/>
              <a:gd name="connsiteX114" fmla="*/ 2879784 w 4920143"/>
              <a:gd name="connsiteY114" fmla="*/ 1071013 h 4409314"/>
              <a:gd name="connsiteX115" fmla="*/ 2885331 w 4920143"/>
              <a:gd name="connsiteY115" fmla="*/ 1048572 h 4409314"/>
              <a:gd name="connsiteX116" fmla="*/ 2897672 w 4920143"/>
              <a:gd name="connsiteY116" fmla="*/ 995225 h 4409314"/>
              <a:gd name="connsiteX117" fmla="*/ 2901186 w 4920143"/>
              <a:gd name="connsiteY117" fmla="*/ 984433 h 4409314"/>
              <a:gd name="connsiteX118" fmla="*/ 2902743 w 4920143"/>
              <a:gd name="connsiteY118" fmla="*/ 978135 h 4409314"/>
              <a:gd name="connsiteX119" fmla="*/ 2910227 w 4920143"/>
              <a:gd name="connsiteY119" fmla="*/ 956666 h 4409314"/>
              <a:gd name="connsiteX120" fmla="*/ 2925183 w 4920143"/>
              <a:gd name="connsiteY120" fmla="*/ 910736 h 4409314"/>
              <a:gd name="connsiteX121" fmla="*/ 2931099 w 4920143"/>
              <a:gd name="connsiteY121" fmla="*/ 896798 h 4409314"/>
              <a:gd name="connsiteX122" fmla="*/ 2933893 w 4920143"/>
              <a:gd name="connsiteY122" fmla="*/ 888785 h 4409314"/>
              <a:gd name="connsiteX123" fmla="*/ 2942752 w 4920143"/>
              <a:gd name="connsiteY123" fmla="*/ 869345 h 4409314"/>
              <a:gd name="connsiteX124" fmla="*/ 2959611 w 4920143"/>
              <a:gd name="connsiteY124" fmla="*/ 829624 h 4409314"/>
              <a:gd name="connsiteX125" fmla="*/ 2968493 w 4920143"/>
              <a:gd name="connsiteY125" fmla="*/ 812857 h 4409314"/>
              <a:gd name="connsiteX126" fmla="*/ 2972808 w 4920143"/>
              <a:gd name="connsiteY126" fmla="*/ 803388 h 4409314"/>
              <a:gd name="connsiteX127" fmla="*/ 2982526 w 4920143"/>
              <a:gd name="connsiteY127" fmla="*/ 786366 h 4409314"/>
              <a:gd name="connsiteX128" fmla="*/ 3000602 w 4920143"/>
              <a:gd name="connsiteY128" fmla="*/ 752241 h 4409314"/>
              <a:gd name="connsiteX129" fmla="*/ 3012989 w 4920143"/>
              <a:gd name="connsiteY129" fmla="*/ 733005 h 4409314"/>
              <a:gd name="connsiteX130" fmla="*/ 3019061 w 4920143"/>
              <a:gd name="connsiteY130" fmla="*/ 722370 h 4409314"/>
              <a:gd name="connsiteX131" fmla="*/ 3029166 w 4920143"/>
              <a:gd name="connsiteY131" fmla="*/ 707885 h 4409314"/>
              <a:gd name="connsiteX132" fmla="*/ 3047806 w 4920143"/>
              <a:gd name="connsiteY132" fmla="*/ 678938 h 4409314"/>
              <a:gd name="connsiteX133" fmla="*/ 3064216 w 4920143"/>
              <a:gd name="connsiteY133" fmla="*/ 657642 h 4409314"/>
              <a:gd name="connsiteX134" fmla="*/ 3072225 w 4920143"/>
              <a:gd name="connsiteY134" fmla="*/ 646160 h 4409314"/>
              <a:gd name="connsiteX135" fmla="*/ 3082289 w 4920143"/>
              <a:gd name="connsiteY135" fmla="*/ 634186 h 4409314"/>
              <a:gd name="connsiteX136" fmla="*/ 3100873 w 4920143"/>
              <a:gd name="connsiteY136" fmla="*/ 610067 h 4409314"/>
              <a:gd name="connsiteX137" fmla="*/ 3121812 w 4920143"/>
              <a:gd name="connsiteY137" fmla="*/ 587157 h 4409314"/>
              <a:gd name="connsiteX138" fmla="*/ 3131874 w 4920143"/>
              <a:gd name="connsiteY138" fmla="*/ 575184 h 4409314"/>
              <a:gd name="connsiteX139" fmla="*/ 3141508 w 4920143"/>
              <a:gd name="connsiteY139" fmla="*/ 565607 h 4409314"/>
              <a:gd name="connsiteX140" fmla="*/ 3159449 w 4920143"/>
              <a:gd name="connsiteY140" fmla="*/ 545978 h 4409314"/>
              <a:gd name="connsiteX141" fmla="*/ 3185440 w 4920143"/>
              <a:gd name="connsiteY141" fmla="*/ 521936 h 4409314"/>
              <a:gd name="connsiteX142" fmla="*/ 3197581 w 4920143"/>
              <a:gd name="connsiteY142" fmla="*/ 509867 h 4409314"/>
              <a:gd name="connsiteX143" fmla="*/ 3206432 w 4920143"/>
              <a:gd name="connsiteY143" fmla="*/ 502518 h 4409314"/>
              <a:gd name="connsiteX144" fmla="*/ 3223184 w 4920143"/>
              <a:gd name="connsiteY144" fmla="*/ 487023 h 4409314"/>
              <a:gd name="connsiteX145" fmla="*/ 3254809 w 4920143"/>
              <a:gd name="connsiteY145" fmla="*/ 462354 h 4409314"/>
              <a:gd name="connsiteX146" fmla="*/ 3268920 w 4920143"/>
              <a:gd name="connsiteY146" fmla="*/ 450637 h 4409314"/>
              <a:gd name="connsiteX147" fmla="*/ 3276669 w 4920143"/>
              <a:gd name="connsiteY147" fmla="*/ 445300 h 4409314"/>
              <a:gd name="connsiteX148" fmla="*/ 3291727 w 4920143"/>
              <a:gd name="connsiteY148" fmla="*/ 433554 h 4409314"/>
              <a:gd name="connsiteX149" fmla="*/ 3329729 w 4920143"/>
              <a:gd name="connsiteY149" fmla="*/ 408757 h 4409314"/>
              <a:gd name="connsiteX150" fmla="*/ 3345464 w 4920143"/>
              <a:gd name="connsiteY150" fmla="*/ 397920 h 4409314"/>
              <a:gd name="connsiteX151" fmla="*/ 3351822 w 4920143"/>
              <a:gd name="connsiteY151" fmla="*/ 394342 h 4409314"/>
              <a:gd name="connsiteX152" fmla="*/ 3364727 w 4920143"/>
              <a:gd name="connsiteY152" fmla="*/ 385921 h 4409314"/>
              <a:gd name="connsiteX153" fmla="*/ 3410262 w 4920143"/>
              <a:gd name="connsiteY153" fmla="*/ 361445 h 4409314"/>
              <a:gd name="connsiteX154" fmla="*/ 3426786 w 4920143"/>
              <a:gd name="connsiteY154" fmla="*/ 352143 h 4409314"/>
              <a:gd name="connsiteX155" fmla="*/ 3431491 w 4920143"/>
              <a:gd name="connsiteY155" fmla="*/ 350034 h 4409314"/>
              <a:gd name="connsiteX156" fmla="*/ 3441831 w 4920143"/>
              <a:gd name="connsiteY156" fmla="*/ 344476 h 4409314"/>
              <a:gd name="connsiteX157" fmla="*/ 3497231 w 4920143"/>
              <a:gd name="connsiteY157" fmla="*/ 320561 h 4409314"/>
              <a:gd name="connsiteX158" fmla="*/ 3512460 w 4920143"/>
              <a:gd name="connsiteY158" fmla="*/ 313733 h 4409314"/>
              <a:gd name="connsiteX159" fmla="*/ 3515277 w 4920143"/>
              <a:gd name="connsiteY159" fmla="*/ 312771 h 4409314"/>
              <a:gd name="connsiteX160" fmla="*/ 3522689 w 4920143"/>
              <a:gd name="connsiteY160" fmla="*/ 309570 h 4409314"/>
              <a:gd name="connsiteX161" fmla="*/ 3594903 w 4920143"/>
              <a:gd name="connsiteY161" fmla="*/ 285562 h 4409314"/>
              <a:gd name="connsiteX162" fmla="*/ 3602059 w 4920143"/>
              <a:gd name="connsiteY162" fmla="*/ 283116 h 4409314"/>
              <a:gd name="connsiteX163" fmla="*/ 3602778 w 4920143"/>
              <a:gd name="connsiteY163" fmla="*/ 282942 h 4409314"/>
              <a:gd name="connsiteX164" fmla="*/ 3606950 w 4920143"/>
              <a:gd name="connsiteY164" fmla="*/ 281556 h 4409314"/>
              <a:gd name="connsiteX165" fmla="*/ 3784274 w 4920143"/>
              <a:gd name="connsiteY165" fmla="*/ 247602 h 4409314"/>
              <a:gd name="connsiteX166" fmla="*/ 3788303 w 4920143"/>
              <a:gd name="connsiteY166" fmla="*/ 247399 h 4409314"/>
              <a:gd name="connsiteX167" fmla="*/ 3791327 w 4920143"/>
              <a:gd name="connsiteY167" fmla="*/ 246966 h 4409314"/>
              <a:gd name="connsiteX168" fmla="*/ 3841164 w 4920143"/>
              <a:gd name="connsiteY168" fmla="*/ 244606 h 4409314"/>
              <a:gd name="connsiteX169" fmla="*/ 3841164 w 4920143"/>
              <a:gd name="connsiteY169" fmla="*/ 242288 h 4409314"/>
              <a:gd name="connsiteX170" fmla="*/ 3889515 w 4920143"/>
              <a:gd name="connsiteY170" fmla="*/ 242288 h 4409314"/>
              <a:gd name="connsiteX171" fmla="*/ 1951529 w 4920143"/>
              <a:gd name="connsiteY171" fmla="*/ 0 h 4409314"/>
              <a:gd name="connsiteX172" fmla="*/ 2716068 w 4920143"/>
              <a:gd name="connsiteY172" fmla="*/ 689931 h 4409314"/>
              <a:gd name="connsiteX173" fmla="*/ 2718212 w 4920143"/>
              <a:gd name="connsiteY173" fmla="*/ 732402 h 4409314"/>
              <a:gd name="connsiteX174" fmla="*/ 2720035 w 4920143"/>
              <a:gd name="connsiteY174" fmla="*/ 732402 h 4409314"/>
              <a:gd name="connsiteX175" fmla="*/ 2720035 w 4920143"/>
              <a:gd name="connsiteY175" fmla="*/ 768498 h 4409314"/>
              <a:gd name="connsiteX176" fmla="*/ 2720035 w 4920143"/>
              <a:gd name="connsiteY176" fmla="*/ 768506 h 4409314"/>
              <a:gd name="connsiteX177" fmla="*/ 2720035 w 4920143"/>
              <a:gd name="connsiteY177" fmla="*/ 768513 h 4409314"/>
              <a:gd name="connsiteX178" fmla="*/ 2720035 w 4920143"/>
              <a:gd name="connsiteY178" fmla="*/ 1537012 h 4409314"/>
              <a:gd name="connsiteX179" fmla="*/ 1951529 w 4920143"/>
              <a:gd name="connsiteY179" fmla="*/ 1537012 h 4409314"/>
              <a:gd name="connsiteX180" fmla="*/ 1941213 w 4920143"/>
              <a:gd name="connsiteY180" fmla="*/ 1537012 h 4409314"/>
              <a:gd name="connsiteX181" fmla="*/ 1941213 w 4920143"/>
              <a:gd name="connsiteY181" fmla="*/ 1536491 h 4409314"/>
              <a:gd name="connsiteX182" fmla="*/ 1872954 w 4920143"/>
              <a:gd name="connsiteY182" fmla="*/ 1533044 h 4409314"/>
              <a:gd name="connsiteX183" fmla="*/ 1183023 w 4920143"/>
              <a:gd name="connsiteY183" fmla="*/ 768506 h 4409314"/>
              <a:gd name="connsiteX184" fmla="*/ 1951529 w 4920143"/>
              <a:gd name="connsiteY184" fmla="*/ 0 h 4409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4920143" h="4409314">
                <a:moveTo>
                  <a:pt x="1341763" y="1689277"/>
                </a:moveTo>
                <a:lnTo>
                  <a:pt x="1360019" y="1689277"/>
                </a:lnTo>
                <a:lnTo>
                  <a:pt x="2720036" y="1689277"/>
                </a:lnTo>
                <a:lnTo>
                  <a:pt x="2720036" y="3049283"/>
                </a:lnTo>
                <a:lnTo>
                  <a:pt x="2720037" y="3049296"/>
                </a:lnTo>
                <a:lnTo>
                  <a:pt x="2720036" y="3049309"/>
                </a:lnTo>
                <a:lnTo>
                  <a:pt x="2720036" y="3113189"/>
                </a:lnTo>
                <a:lnTo>
                  <a:pt x="2716811" y="3113189"/>
                </a:lnTo>
                <a:lnTo>
                  <a:pt x="2713016" y="3188350"/>
                </a:lnTo>
                <a:cubicBezTo>
                  <a:pt x="2643369" y="3874147"/>
                  <a:pt x="2064191" y="4409314"/>
                  <a:pt x="1360019" y="4409314"/>
                </a:cubicBezTo>
                <a:cubicBezTo>
                  <a:pt x="608901" y="4409314"/>
                  <a:pt x="0" y="3800413"/>
                  <a:pt x="0" y="3049296"/>
                </a:cubicBezTo>
                <a:cubicBezTo>
                  <a:pt x="0" y="2345123"/>
                  <a:pt x="535167" y="1765946"/>
                  <a:pt x="1220965" y="1696299"/>
                </a:cubicBezTo>
                <a:lnTo>
                  <a:pt x="1341763" y="1690199"/>
                </a:lnTo>
                <a:close/>
                <a:moveTo>
                  <a:pt x="3889525" y="242287"/>
                </a:moveTo>
                <a:lnTo>
                  <a:pt x="3889535" y="242288"/>
                </a:lnTo>
                <a:lnTo>
                  <a:pt x="3890141" y="242288"/>
                </a:lnTo>
                <a:lnTo>
                  <a:pt x="4918926" y="242288"/>
                </a:lnTo>
                <a:lnTo>
                  <a:pt x="4918926" y="1217442"/>
                </a:lnTo>
                <a:lnTo>
                  <a:pt x="4920143" y="1217442"/>
                </a:lnTo>
                <a:lnTo>
                  <a:pt x="4920143" y="1271995"/>
                </a:lnTo>
                <a:lnTo>
                  <a:pt x="4920143" y="1469159"/>
                </a:lnTo>
                <a:lnTo>
                  <a:pt x="4920143" y="1881961"/>
                </a:lnTo>
                <a:lnTo>
                  <a:pt x="4920143" y="2079124"/>
                </a:lnTo>
                <a:lnTo>
                  <a:pt x="4918913" y="2079124"/>
                </a:lnTo>
                <a:lnTo>
                  <a:pt x="4918913" y="2079125"/>
                </a:lnTo>
                <a:lnTo>
                  <a:pt x="4918913" y="2079432"/>
                </a:lnTo>
                <a:lnTo>
                  <a:pt x="4918913" y="2092642"/>
                </a:lnTo>
                <a:lnTo>
                  <a:pt x="4918913" y="2133678"/>
                </a:lnTo>
                <a:lnTo>
                  <a:pt x="4916345" y="2133678"/>
                </a:lnTo>
                <a:lnTo>
                  <a:pt x="4914238" y="2178188"/>
                </a:lnTo>
                <a:lnTo>
                  <a:pt x="4913701" y="2182015"/>
                </a:lnTo>
                <a:lnTo>
                  <a:pt x="4913595" y="2184129"/>
                </a:lnTo>
                <a:lnTo>
                  <a:pt x="4910595" y="2204203"/>
                </a:lnTo>
                <a:lnTo>
                  <a:pt x="4901610" y="2268379"/>
                </a:lnTo>
                <a:lnTo>
                  <a:pt x="4899903" y="2275759"/>
                </a:lnTo>
                <a:lnTo>
                  <a:pt x="4899254" y="2280107"/>
                </a:lnTo>
                <a:lnTo>
                  <a:pt x="4893706" y="2302548"/>
                </a:lnTo>
                <a:lnTo>
                  <a:pt x="4881366" y="2355894"/>
                </a:lnTo>
                <a:lnTo>
                  <a:pt x="4877851" y="2366687"/>
                </a:lnTo>
                <a:lnTo>
                  <a:pt x="4876295" y="2372985"/>
                </a:lnTo>
                <a:lnTo>
                  <a:pt x="4868810" y="2394454"/>
                </a:lnTo>
                <a:lnTo>
                  <a:pt x="4853854" y="2440384"/>
                </a:lnTo>
                <a:lnTo>
                  <a:pt x="4847938" y="2454322"/>
                </a:lnTo>
                <a:lnTo>
                  <a:pt x="4845145" y="2462335"/>
                </a:lnTo>
                <a:lnTo>
                  <a:pt x="4836286" y="2481775"/>
                </a:lnTo>
                <a:lnTo>
                  <a:pt x="4819427" y="2521496"/>
                </a:lnTo>
                <a:lnTo>
                  <a:pt x="4810544" y="2538263"/>
                </a:lnTo>
                <a:lnTo>
                  <a:pt x="4806229" y="2547733"/>
                </a:lnTo>
                <a:lnTo>
                  <a:pt x="4796511" y="2564754"/>
                </a:lnTo>
                <a:lnTo>
                  <a:pt x="4778435" y="2598879"/>
                </a:lnTo>
                <a:lnTo>
                  <a:pt x="4766048" y="2618115"/>
                </a:lnTo>
                <a:lnTo>
                  <a:pt x="4759977" y="2628749"/>
                </a:lnTo>
                <a:lnTo>
                  <a:pt x="4749872" y="2643234"/>
                </a:lnTo>
                <a:lnTo>
                  <a:pt x="4731231" y="2672182"/>
                </a:lnTo>
                <a:lnTo>
                  <a:pt x="4714821" y="2693479"/>
                </a:lnTo>
                <a:lnTo>
                  <a:pt x="4706813" y="2704960"/>
                </a:lnTo>
                <a:lnTo>
                  <a:pt x="4696748" y="2716934"/>
                </a:lnTo>
                <a:lnTo>
                  <a:pt x="4678165" y="2741053"/>
                </a:lnTo>
                <a:lnTo>
                  <a:pt x="4657225" y="2763963"/>
                </a:lnTo>
                <a:lnTo>
                  <a:pt x="4647164" y="2775936"/>
                </a:lnTo>
                <a:lnTo>
                  <a:pt x="4637529" y="2785513"/>
                </a:lnTo>
                <a:lnTo>
                  <a:pt x="4619589" y="2805142"/>
                </a:lnTo>
                <a:lnTo>
                  <a:pt x="4593597" y="2829184"/>
                </a:lnTo>
                <a:lnTo>
                  <a:pt x="4581456" y="2841253"/>
                </a:lnTo>
                <a:lnTo>
                  <a:pt x="4572605" y="2848601"/>
                </a:lnTo>
                <a:lnTo>
                  <a:pt x="4555853" y="2864096"/>
                </a:lnTo>
                <a:lnTo>
                  <a:pt x="4524228" y="2888767"/>
                </a:lnTo>
                <a:lnTo>
                  <a:pt x="4510117" y="2900483"/>
                </a:lnTo>
                <a:lnTo>
                  <a:pt x="4502368" y="2905820"/>
                </a:lnTo>
                <a:lnTo>
                  <a:pt x="4487310" y="2917566"/>
                </a:lnTo>
                <a:lnTo>
                  <a:pt x="4449308" y="2942363"/>
                </a:lnTo>
                <a:lnTo>
                  <a:pt x="4433574" y="2953200"/>
                </a:lnTo>
                <a:lnTo>
                  <a:pt x="4427215" y="2956778"/>
                </a:lnTo>
                <a:lnTo>
                  <a:pt x="4414311" y="2965199"/>
                </a:lnTo>
                <a:lnTo>
                  <a:pt x="4368776" y="2989675"/>
                </a:lnTo>
                <a:lnTo>
                  <a:pt x="4352251" y="2998977"/>
                </a:lnTo>
                <a:lnTo>
                  <a:pt x="4347546" y="3001086"/>
                </a:lnTo>
                <a:lnTo>
                  <a:pt x="4337206" y="3006644"/>
                </a:lnTo>
                <a:lnTo>
                  <a:pt x="4281806" y="3030559"/>
                </a:lnTo>
                <a:lnTo>
                  <a:pt x="4266577" y="3037387"/>
                </a:lnTo>
                <a:lnTo>
                  <a:pt x="4263760" y="3038350"/>
                </a:lnTo>
                <a:lnTo>
                  <a:pt x="4256348" y="3041550"/>
                </a:lnTo>
                <a:lnTo>
                  <a:pt x="4184135" y="3065558"/>
                </a:lnTo>
                <a:lnTo>
                  <a:pt x="4176978" y="3068005"/>
                </a:lnTo>
                <a:lnTo>
                  <a:pt x="4176259" y="3068178"/>
                </a:lnTo>
                <a:lnTo>
                  <a:pt x="4172087" y="3069565"/>
                </a:lnTo>
                <a:cubicBezTo>
                  <a:pt x="4114856" y="3085867"/>
                  <a:pt x="4055593" y="3097340"/>
                  <a:pt x="3994762" y="3103519"/>
                </a:cubicBezTo>
                <a:lnTo>
                  <a:pt x="3990734" y="3103721"/>
                </a:lnTo>
                <a:lnTo>
                  <a:pt x="3987710" y="3104154"/>
                </a:lnTo>
                <a:lnTo>
                  <a:pt x="3937873" y="3106514"/>
                </a:lnTo>
                <a:lnTo>
                  <a:pt x="3937873" y="3108833"/>
                </a:lnTo>
                <a:lnTo>
                  <a:pt x="3889523" y="3108833"/>
                </a:lnTo>
                <a:lnTo>
                  <a:pt x="3889512" y="3108833"/>
                </a:lnTo>
                <a:lnTo>
                  <a:pt x="3889503" y="3108833"/>
                </a:lnTo>
                <a:lnTo>
                  <a:pt x="3888896" y="3108833"/>
                </a:lnTo>
                <a:lnTo>
                  <a:pt x="2860112" y="3108833"/>
                </a:lnTo>
                <a:lnTo>
                  <a:pt x="2860112" y="2133678"/>
                </a:lnTo>
                <a:lnTo>
                  <a:pt x="2858894" y="2133678"/>
                </a:lnTo>
                <a:lnTo>
                  <a:pt x="2858894" y="2079125"/>
                </a:lnTo>
                <a:lnTo>
                  <a:pt x="2858894" y="1881961"/>
                </a:lnTo>
                <a:lnTo>
                  <a:pt x="2858894" y="1469159"/>
                </a:lnTo>
                <a:lnTo>
                  <a:pt x="2858894" y="1271996"/>
                </a:lnTo>
                <a:lnTo>
                  <a:pt x="2860124" y="1271996"/>
                </a:lnTo>
                <a:lnTo>
                  <a:pt x="2860124" y="1271995"/>
                </a:lnTo>
                <a:lnTo>
                  <a:pt x="2860124" y="1271687"/>
                </a:lnTo>
                <a:lnTo>
                  <a:pt x="2860124" y="1258478"/>
                </a:lnTo>
                <a:lnTo>
                  <a:pt x="2860124" y="1217442"/>
                </a:lnTo>
                <a:lnTo>
                  <a:pt x="2862693" y="1217442"/>
                </a:lnTo>
                <a:lnTo>
                  <a:pt x="2864800" y="1172932"/>
                </a:lnTo>
                <a:lnTo>
                  <a:pt x="2865336" y="1169104"/>
                </a:lnTo>
                <a:lnTo>
                  <a:pt x="2865443" y="1166991"/>
                </a:lnTo>
                <a:lnTo>
                  <a:pt x="2868442" y="1146917"/>
                </a:lnTo>
                <a:lnTo>
                  <a:pt x="2877427" y="1082741"/>
                </a:lnTo>
                <a:lnTo>
                  <a:pt x="2879134" y="1075360"/>
                </a:lnTo>
                <a:lnTo>
                  <a:pt x="2879784" y="1071013"/>
                </a:lnTo>
                <a:lnTo>
                  <a:pt x="2885331" y="1048572"/>
                </a:lnTo>
                <a:lnTo>
                  <a:pt x="2897672" y="995225"/>
                </a:lnTo>
                <a:lnTo>
                  <a:pt x="2901186" y="984433"/>
                </a:lnTo>
                <a:lnTo>
                  <a:pt x="2902743" y="978135"/>
                </a:lnTo>
                <a:lnTo>
                  <a:pt x="2910227" y="956666"/>
                </a:lnTo>
                <a:lnTo>
                  <a:pt x="2925183" y="910736"/>
                </a:lnTo>
                <a:lnTo>
                  <a:pt x="2931099" y="896798"/>
                </a:lnTo>
                <a:lnTo>
                  <a:pt x="2933893" y="888785"/>
                </a:lnTo>
                <a:lnTo>
                  <a:pt x="2942752" y="869345"/>
                </a:lnTo>
                <a:lnTo>
                  <a:pt x="2959611" y="829624"/>
                </a:lnTo>
                <a:lnTo>
                  <a:pt x="2968493" y="812857"/>
                </a:lnTo>
                <a:lnTo>
                  <a:pt x="2972808" y="803388"/>
                </a:lnTo>
                <a:lnTo>
                  <a:pt x="2982526" y="786366"/>
                </a:lnTo>
                <a:lnTo>
                  <a:pt x="3000602" y="752241"/>
                </a:lnTo>
                <a:lnTo>
                  <a:pt x="3012989" y="733005"/>
                </a:lnTo>
                <a:lnTo>
                  <a:pt x="3019061" y="722370"/>
                </a:lnTo>
                <a:lnTo>
                  <a:pt x="3029166" y="707885"/>
                </a:lnTo>
                <a:lnTo>
                  <a:pt x="3047806" y="678938"/>
                </a:lnTo>
                <a:lnTo>
                  <a:pt x="3064216" y="657642"/>
                </a:lnTo>
                <a:lnTo>
                  <a:pt x="3072225" y="646160"/>
                </a:lnTo>
                <a:lnTo>
                  <a:pt x="3082289" y="634186"/>
                </a:lnTo>
                <a:lnTo>
                  <a:pt x="3100873" y="610067"/>
                </a:lnTo>
                <a:lnTo>
                  <a:pt x="3121812" y="587157"/>
                </a:lnTo>
                <a:lnTo>
                  <a:pt x="3131874" y="575184"/>
                </a:lnTo>
                <a:lnTo>
                  <a:pt x="3141508" y="565607"/>
                </a:lnTo>
                <a:lnTo>
                  <a:pt x="3159449" y="545978"/>
                </a:lnTo>
                <a:lnTo>
                  <a:pt x="3185440" y="521936"/>
                </a:lnTo>
                <a:lnTo>
                  <a:pt x="3197581" y="509867"/>
                </a:lnTo>
                <a:lnTo>
                  <a:pt x="3206432" y="502518"/>
                </a:lnTo>
                <a:lnTo>
                  <a:pt x="3223184" y="487023"/>
                </a:lnTo>
                <a:lnTo>
                  <a:pt x="3254809" y="462354"/>
                </a:lnTo>
                <a:lnTo>
                  <a:pt x="3268920" y="450637"/>
                </a:lnTo>
                <a:lnTo>
                  <a:pt x="3276669" y="445300"/>
                </a:lnTo>
                <a:lnTo>
                  <a:pt x="3291727" y="433554"/>
                </a:lnTo>
                <a:lnTo>
                  <a:pt x="3329729" y="408757"/>
                </a:lnTo>
                <a:lnTo>
                  <a:pt x="3345464" y="397920"/>
                </a:lnTo>
                <a:lnTo>
                  <a:pt x="3351822" y="394342"/>
                </a:lnTo>
                <a:lnTo>
                  <a:pt x="3364727" y="385921"/>
                </a:lnTo>
                <a:lnTo>
                  <a:pt x="3410262" y="361445"/>
                </a:lnTo>
                <a:lnTo>
                  <a:pt x="3426786" y="352143"/>
                </a:lnTo>
                <a:lnTo>
                  <a:pt x="3431491" y="350034"/>
                </a:lnTo>
                <a:lnTo>
                  <a:pt x="3441831" y="344476"/>
                </a:lnTo>
                <a:lnTo>
                  <a:pt x="3497231" y="320561"/>
                </a:lnTo>
                <a:lnTo>
                  <a:pt x="3512460" y="313733"/>
                </a:lnTo>
                <a:lnTo>
                  <a:pt x="3515277" y="312771"/>
                </a:lnTo>
                <a:lnTo>
                  <a:pt x="3522689" y="309570"/>
                </a:lnTo>
                <a:lnTo>
                  <a:pt x="3594903" y="285562"/>
                </a:lnTo>
                <a:lnTo>
                  <a:pt x="3602059" y="283116"/>
                </a:lnTo>
                <a:lnTo>
                  <a:pt x="3602778" y="282942"/>
                </a:lnTo>
                <a:lnTo>
                  <a:pt x="3606950" y="281556"/>
                </a:lnTo>
                <a:cubicBezTo>
                  <a:pt x="3664181" y="265254"/>
                  <a:pt x="3723445" y="253780"/>
                  <a:pt x="3784274" y="247602"/>
                </a:cubicBezTo>
                <a:lnTo>
                  <a:pt x="3788303" y="247399"/>
                </a:lnTo>
                <a:lnTo>
                  <a:pt x="3791327" y="246966"/>
                </a:lnTo>
                <a:lnTo>
                  <a:pt x="3841164" y="244606"/>
                </a:lnTo>
                <a:lnTo>
                  <a:pt x="3841164" y="242288"/>
                </a:lnTo>
                <a:lnTo>
                  <a:pt x="3889515" y="242288"/>
                </a:lnTo>
                <a:close/>
                <a:moveTo>
                  <a:pt x="1951529" y="0"/>
                </a:moveTo>
                <a:cubicBezTo>
                  <a:pt x="2349436" y="0"/>
                  <a:pt x="2676712" y="302407"/>
                  <a:pt x="2716068" y="689931"/>
                </a:cubicBezTo>
                <a:lnTo>
                  <a:pt x="2718212" y="732402"/>
                </a:lnTo>
                <a:lnTo>
                  <a:pt x="2720035" y="732402"/>
                </a:lnTo>
                <a:lnTo>
                  <a:pt x="2720035" y="768498"/>
                </a:lnTo>
                <a:lnTo>
                  <a:pt x="2720035" y="768506"/>
                </a:lnTo>
                <a:lnTo>
                  <a:pt x="2720035" y="768513"/>
                </a:lnTo>
                <a:lnTo>
                  <a:pt x="2720035" y="1537012"/>
                </a:lnTo>
                <a:lnTo>
                  <a:pt x="1951529" y="1537012"/>
                </a:lnTo>
                <a:lnTo>
                  <a:pt x="1941213" y="1537012"/>
                </a:lnTo>
                <a:lnTo>
                  <a:pt x="1941213" y="1536491"/>
                </a:lnTo>
                <a:lnTo>
                  <a:pt x="1872954" y="1533044"/>
                </a:lnTo>
                <a:cubicBezTo>
                  <a:pt x="1485430" y="1493689"/>
                  <a:pt x="1183023" y="1166413"/>
                  <a:pt x="1183023" y="768506"/>
                </a:cubicBezTo>
                <a:cubicBezTo>
                  <a:pt x="1183023" y="344072"/>
                  <a:pt x="1527095" y="0"/>
                  <a:pt x="1951529"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8562179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74D766E-C329-4E8E-9BE7-5A9155152C8D}"/>
              </a:ext>
            </a:extLst>
          </p:cNvPr>
          <p:cNvSpPr>
            <a:spLocks noGrp="1"/>
          </p:cNvSpPr>
          <p:nvPr>
            <p:ph type="pic" sz="quarter" idx="10"/>
          </p:nvPr>
        </p:nvSpPr>
        <p:spPr>
          <a:xfrm>
            <a:off x="341521" y="421903"/>
            <a:ext cx="4276338" cy="6031595"/>
          </a:xfrm>
          <a:custGeom>
            <a:avLst/>
            <a:gdLst>
              <a:gd name="connsiteX0" fmla="*/ 2781255 w 4276338"/>
              <a:gd name="connsiteY0" fmla="*/ 0 h 6031595"/>
              <a:gd name="connsiteX1" fmla="*/ 2781270 w 4276338"/>
              <a:gd name="connsiteY1" fmla="*/ 1 h 6031595"/>
              <a:gd name="connsiteX2" fmla="*/ 2851409 w 4276338"/>
              <a:gd name="connsiteY2" fmla="*/ 1 h 6031595"/>
              <a:gd name="connsiteX3" fmla="*/ 2851409 w 4276338"/>
              <a:gd name="connsiteY3" fmla="*/ 3435 h 6031595"/>
              <a:gd name="connsiteX4" fmla="*/ 2923707 w 4276338"/>
              <a:gd name="connsiteY4" fmla="*/ 6932 h 6031595"/>
              <a:gd name="connsiteX5" fmla="*/ 2928093 w 4276338"/>
              <a:gd name="connsiteY5" fmla="*/ 7572 h 6031595"/>
              <a:gd name="connsiteX6" fmla="*/ 2933936 w 4276338"/>
              <a:gd name="connsiteY6" fmla="*/ 7873 h 6031595"/>
              <a:gd name="connsiteX7" fmla="*/ 3191171 w 4276338"/>
              <a:gd name="connsiteY7" fmla="*/ 58173 h 6031595"/>
              <a:gd name="connsiteX8" fmla="*/ 3197224 w 4276338"/>
              <a:gd name="connsiteY8" fmla="*/ 60227 h 6031595"/>
              <a:gd name="connsiteX9" fmla="*/ 3198266 w 4276338"/>
              <a:gd name="connsiteY9" fmla="*/ 60485 h 6031595"/>
              <a:gd name="connsiteX10" fmla="*/ 3208649 w 4276338"/>
              <a:gd name="connsiteY10" fmla="*/ 64107 h 6031595"/>
              <a:gd name="connsiteX11" fmla="*/ 3313404 w 4276338"/>
              <a:gd name="connsiteY11" fmla="*/ 99675 h 6031595"/>
              <a:gd name="connsiteX12" fmla="*/ 3324157 w 4276338"/>
              <a:gd name="connsiteY12" fmla="*/ 104416 h 6031595"/>
              <a:gd name="connsiteX13" fmla="*/ 3328243 w 4276338"/>
              <a:gd name="connsiteY13" fmla="*/ 105842 h 6031595"/>
              <a:gd name="connsiteX14" fmla="*/ 3350335 w 4276338"/>
              <a:gd name="connsiteY14" fmla="*/ 115957 h 6031595"/>
              <a:gd name="connsiteX15" fmla="*/ 3430701 w 4276338"/>
              <a:gd name="connsiteY15" fmla="*/ 151385 h 6031595"/>
              <a:gd name="connsiteX16" fmla="*/ 3445700 w 4276338"/>
              <a:gd name="connsiteY16" fmla="*/ 159618 h 6031595"/>
              <a:gd name="connsiteX17" fmla="*/ 3452526 w 4276338"/>
              <a:gd name="connsiteY17" fmla="*/ 162743 h 6031595"/>
              <a:gd name="connsiteX18" fmla="*/ 3476498 w 4276338"/>
              <a:gd name="connsiteY18" fmla="*/ 176524 h 6031595"/>
              <a:gd name="connsiteX19" fmla="*/ 3542552 w 4276338"/>
              <a:gd name="connsiteY19" fmla="*/ 212783 h 6031595"/>
              <a:gd name="connsiteX20" fmla="*/ 3561272 w 4276338"/>
              <a:gd name="connsiteY20" fmla="*/ 225258 h 6031595"/>
              <a:gd name="connsiteX21" fmla="*/ 3570497 w 4276338"/>
              <a:gd name="connsiteY21" fmla="*/ 230558 h 6031595"/>
              <a:gd name="connsiteX22" fmla="*/ 3593322 w 4276338"/>
              <a:gd name="connsiteY22" fmla="*/ 246613 h 6031595"/>
              <a:gd name="connsiteX23" fmla="*/ 3648450 w 4276338"/>
              <a:gd name="connsiteY23" fmla="*/ 283348 h 6031595"/>
              <a:gd name="connsiteX24" fmla="*/ 3670293 w 4276338"/>
              <a:gd name="connsiteY24" fmla="*/ 300749 h 6031595"/>
              <a:gd name="connsiteX25" fmla="*/ 3681535 w 4276338"/>
              <a:gd name="connsiteY25" fmla="*/ 308654 h 6031595"/>
              <a:gd name="connsiteX26" fmla="*/ 3702004 w 4276338"/>
              <a:gd name="connsiteY26" fmla="*/ 326011 h 6031595"/>
              <a:gd name="connsiteX27" fmla="*/ 3747882 w 4276338"/>
              <a:gd name="connsiteY27" fmla="*/ 362560 h 6031595"/>
              <a:gd name="connsiteX28" fmla="*/ 3772182 w 4276338"/>
              <a:gd name="connsiteY28" fmla="*/ 385514 h 6031595"/>
              <a:gd name="connsiteX29" fmla="*/ 3785022 w 4276338"/>
              <a:gd name="connsiteY29" fmla="*/ 396400 h 6031595"/>
              <a:gd name="connsiteX30" fmla="*/ 3802634 w 4276338"/>
              <a:gd name="connsiteY30" fmla="*/ 414279 h 6031595"/>
              <a:gd name="connsiteX31" fmla="*/ 3840339 w 4276338"/>
              <a:gd name="connsiteY31" fmla="*/ 449896 h 6031595"/>
              <a:gd name="connsiteX32" fmla="*/ 3866365 w 4276338"/>
              <a:gd name="connsiteY32" fmla="*/ 478975 h 6031595"/>
              <a:gd name="connsiteX33" fmla="*/ 3880341 w 4276338"/>
              <a:gd name="connsiteY33" fmla="*/ 493162 h 6031595"/>
              <a:gd name="connsiteX34" fmla="*/ 3894937 w 4276338"/>
              <a:gd name="connsiteY34" fmla="*/ 510898 h 6031595"/>
              <a:gd name="connsiteX35" fmla="*/ 3925313 w 4276338"/>
              <a:gd name="connsiteY35" fmla="*/ 544839 h 6031595"/>
              <a:gd name="connsiteX36" fmla="*/ 3952271 w 4276338"/>
              <a:gd name="connsiteY36" fmla="*/ 580568 h 6031595"/>
              <a:gd name="connsiteX37" fmla="*/ 3966871 w 4276338"/>
              <a:gd name="connsiteY37" fmla="*/ 598307 h 6031595"/>
              <a:gd name="connsiteX38" fmla="*/ 3978488 w 4276338"/>
              <a:gd name="connsiteY38" fmla="*/ 615316 h 6031595"/>
              <a:gd name="connsiteX39" fmla="*/ 4002293 w 4276338"/>
              <a:gd name="connsiteY39" fmla="*/ 646866 h 6031595"/>
              <a:gd name="connsiteX40" fmla="*/ 4029333 w 4276338"/>
              <a:gd name="connsiteY40" fmla="*/ 689750 h 6031595"/>
              <a:gd name="connsiteX41" fmla="*/ 4043994 w 4276338"/>
              <a:gd name="connsiteY41" fmla="*/ 711208 h 6031595"/>
              <a:gd name="connsiteX42" fmla="*/ 4052801 w 4276338"/>
              <a:gd name="connsiteY42" fmla="*/ 726962 h 6031595"/>
              <a:gd name="connsiteX43" fmla="*/ 4070770 w 4276338"/>
              <a:gd name="connsiteY43" fmla="*/ 755459 h 6031595"/>
              <a:gd name="connsiteX44" fmla="*/ 4096992 w 4276338"/>
              <a:gd name="connsiteY44" fmla="*/ 806012 h 6031595"/>
              <a:gd name="connsiteX45" fmla="*/ 4111089 w 4276338"/>
              <a:gd name="connsiteY45" fmla="*/ 831229 h 6031595"/>
              <a:gd name="connsiteX46" fmla="*/ 4117349 w 4276338"/>
              <a:gd name="connsiteY46" fmla="*/ 845256 h 6031595"/>
              <a:gd name="connsiteX47" fmla="*/ 4130234 w 4276338"/>
              <a:gd name="connsiteY47" fmla="*/ 870096 h 6031595"/>
              <a:gd name="connsiteX48" fmla="*/ 4154690 w 4276338"/>
              <a:gd name="connsiteY48" fmla="*/ 928939 h 6031595"/>
              <a:gd name="connsiteX49" fmla="*/ 4167542 w 4276338"/>
              <a:gd name="connsiteY49" fmla="*/ 957739 h 6031595"/>
              <a:gd name="connsiteX50" fmla="*/ 4171594 w 4276338"/>
              <a:gd name="connsiteY50" fmla="*/ 969609 h 6031595"/>
              <a:gd name="connsiteX51" fmla="*/ 4180176 w 4276338"/>
              <a:gd name="connsiteY51" fmla="*/ 990257 h 6031595"/>
              <a:gd name="connsiteX52" fmla="*/ 4201872 w 4276338"/>
              <a:gd name="connsiteY52" fmla="*/ 1058299 h 6031595"/>
              <a:gd name="connsiteX53" fmla="*/ 4212729 w 4276338"/>
              <a:gd name="connsiteY53" fmla="*/ 1090104 h 6031595"/>
              <a:gd name="connsiteX54" fmla="*/ 4214988 w 4276338"/>
              <a:gd name="connsiteY54" fmla="*/ 1099433 h 6031595"/>
              <a:gd name="connsiteX55" fmla="*/ 4220085 w 4276338"/>
              <a:gd name="connsiteY55" fmla="*/ 1115422 h 6031595"/>
              <a:gd name="connsiteX56" fmla="*/ 4237987 w 4276338"/>
              <a:gd name="connsiteY56" fmla="*/ 1194451 h 6031595"/>
              <a:gd name="connsiteX57" fmla="*/ 4246035 w 4276338"/>
              <a:gd name="connsiteY57" fmla="*/ 1227696 h 6031595"/>
              <a:gd name="connsiteX58" fmla="*/ 4246977 w 4276338"/>
              <a:gd name="connsiteY58" fmla="*/ 1234136 h 6031595"/>
              <a:gd name="connsiteX59" fmla="*/ 4249454 w 4276338"/>
              <a:gd name="connsiteY59" fmla="*/ 1245070 h 6031595"/>
              <a:gd name="connsiteX60" fmla="*/ 4262487 w 4276338"/>
              <a:gd name="connsiteY60" fmla="*/ 1340141 h 6031595"/>
              <a:gd name="connsiteX61" fmla="*/ 4266839 w 4276338"/>
              <a:gd name="connsiteY61" fmla="*/ 1369879 h 6031595"/>
              <a:gd name="connsiteX62" fmla="*/ 4266994 w 4276338"/>
              <a:gd name="connsiteY62" fmla="*/ 1373011 h 6031595"/>
              <a:gd name="connsiteX63" fmla="*/ 4267770 w 4276338"/>
              <a:gd name="connsiteY63" fmla="*/ 1378680 h 6031595"/>
              <a:gd name="connsiteX64" fmla="*/ 4270828 w 4276338"/>
              <a:gd name="connsiteY64" fmla="*/ 1444619 h 6031595"/>
              <a:gd name="connsiteX65" fmla="*/ 4274554 w 4276338"/>
              <a:gd name="connsiteY65" fmla="*/ 1444619 h 6031595"/>
              <a:gd name="connsiteX66" fmla="*/ 4274554 w 4276338"/>
              <a:gd name="connsiteY66" fmla="*/ 1505411 h 6031595"/>
              <a:gd name="connsiteX67" fmla="*/ 4274554 w 4276338"/>
              <a:gd name="connsiteY67" fmla="*/ 1524979 h 6031595"/>
              <a:gd name="connsiteX68" fmla="*/ 4274554 w 4276338"/>
              <a:gd name="connsiteY68" fmla="*/ 1525435 h 6031595"/>
              <a:gd name="connsiteX69" fmla="*/ 4274554 w 4276338"/>
              <a:gd name="connsiteY69" fmla="*/ 1525436 h 6031595"/>
              <a:gd name="connsiteX70" fmla="*/ 4276338 w 4276338"/>
              <a:gd name="connsiteY70" fmla="*/ 1525436 h 6031595"/>
              <a:gd name="connsiteX71" fmla="*/ 4276338 w 4276338"/>
              <a:gd name="connsiteY71" fmla="*/ 1724345 h 6031595"/>
              <a:gd name="connsiteX72" fmla="*/ 4276338 w 4276338"/>
              <a:gd name="connsiteY72" fmla="*/ 1817518 h 6031595"/>
              <a:gd name="connsiteX73" fmla="*/ 4276338 w 4276338"/>
              <a:gd name="connsiteY73" fmla="*/ 1983152 h 6031595"/>
              <a:gd name="connsiteX74" fmla="*/ 4276338 w 4276338"/>
              <a:gd name="connsiteY74" fmla="*/ 2006218 h 6031595"/>
              <a:gd name="connsiteX75" fmla="*/ 4276338 w 4276338"/>
              <a:gd name="connsiteY75" fmla="*/ 2087036 h 6031595"/>
              <a:gd name="connsiteX76" fmla="*/ 4274572 w 4276338"/>
              <a:gd name="connsiteY76" fmla="*/ 2087036 h 6031595"/>
              <a:gd name="connsiteX77" fmla="*/ 4274572 w 4276338"/>
              <a:gd name="connsiteY77" fmla="*/ 2117837 h 6031595"/>
              <a:gd name="connsiteX78" fmla="*/ 3339497 w 4276338"/>
              <a:gd name="connsiteY78" fmla="*/ 2117837 h 6031595"/>
              <a:gd name="connsiteX79" fmla="*/ 3427735 w 4276338"/>
              <a:gd name="connsiteY79" fmla="*/ 2178609 h 6031595"/>
              <a:gd name="connsiteX80" fmla="*/ 4265298 w 4276338"/>
              <a:gd name="connsiteY80" fmla="*/ 3665658 h 6031595"/>
              <a:gd name="connsiteX81" fmla="*/ 4274888 w 4276338"/>
              <a:gd name="connsiteY81" fmla="*/ 3855572 h 6031595"/>
              <a:gd name="connsiteX82" fmla="*/ 4276337 w 4276338"/>
              <a:gd name="connsiteY82" fmla="*/ 3855572 h 6031595"/>
              <a:gd name="connsiteX83" fmla="*/ 4276337 w 4276338"/>
              <a:gd name="connsiteY83" fmla="*/ 3884273 h 6031595"/>
              <a:gd name="connsiteX84" fmla="*/ 4276337 w 4276338"/>
              <a:gd name="connsiteY84" fmla="*/ 4511467 h 6031595"/>
              <a:gd name="connsiteX85" fmla="*/ 4276338 w 4276338"/>
              <a:gd name="connsiteY85" fmla="*/ 4511467 h 6031595"/>
              <a:gd name="connsiteX86" fmla="*/ 4276338 w 4276338"/>
              <a:gd name="connsiteY86" fmla="*/ 4586977 h 6031595"/>
              <a:gd name="connsiteX87" fmla="*/ 4276337 w 4276338"/>
              <a:gd name="connsiteY87" fmla="*/ 4586977 h 6031595"/>
              <a:gd name="connsiteX88" fmla="*/ 4276337 w 4276338"/>
              <a:gd name="connsiteY88" fmla="*/ 6022440 h 6031595"/>
              <a:gd name="connsiteX89" fmla="*/ 4274571 w 4276338"/>
              <a:gd name="connsiteY89" fmla="*/ 6022440 h 6031595"/>
              <a:gd name="connsiteX90" fmla="*/ 4274571 w 4276338"/>
              <a:gd name="connsiteY90" fmla="*/ 6031594 h 6031595"/>
              <a:gd name="connsiteX91" fmla="*/ 2782168 w 4276338"/>
              <a:gd name="connsiteY91" fmla="*/ 6031594 h 6031595"/>
              <a:gd name="connsiteX92" fmla="*/ 2781288 w 4276338"/>
              <a:gd name="connsiteY92" fmla="*/ 6031594 h 6031595"/>
              <a:gd name="connsiteX93" fmla="*/ 2781274 w 4276338"/>
              <a:gd name="connsiteY93" fmla="*/ 6031595 h 6031595"/>
              <a:gd name="connsiteX94" fmla="*/ 2781260 w 4276338"/>
              <a:gd name="connsiteY94" fmla="*/ 6031594 h 6031595"/>
              <a:gd name="connsiteX95" fmla="*/ 2711119 w 4276338"/>
              <a:gd name="connsiteY95" fmla="*/ 6031594 h 6031595"/>
              <a:gd name="connsiteX96" fmla="*/ 2711119 w 4276338"/>
              <a:gd name="connsiteY96" fmla="*/ 6028160 h 6031595"/>
              <a:gd name="connsiteX97" fmla="*/ 2638822 w 4276338"/>
              <a:gd name="connsiteY97" fmla="*/ 6024663 h 6031595"/>
              <a:gd name="connsiteX98" fmla="*/ 2634436 w 4276338"/>
              <a:gd name="connsiteY98" fmla="*/ 6024023 h 6031595"/>
              <a:gd name="connsiteX99" fmla="*/ 2628593 w 4276338"/>
              <a:gd name="connsiteY99" fmla="*/ 6023723 h 6031595"/>
              <a:gd name="connsiteX100" fmla="*/ 2620014 w 4276338"/>
              <a:gd name="connsiteY100" fmla="*/ 6022440 h 6031595"/>
              <a:gd name="connsiteX101" fmla="*/ 2138188 w 4276338"/>
              <a:gd name="connsiteY101" fmla="*/ 6022440 h 6031595"/>
              <a:gd name="connsiteX102" fmla="*/ 2138169 w 4276338"/>
              <a:gd name="connsiteY102" fmla="*/ 6022441 h 6031595"/>
              <a:gd name="connsiteX103" fmla="*/ 2138148 w 4276338"/>
              <a:gd name="connsiteY103" fmla="*/ 6022440 h 6031595"/>
              <a:gd name="connsiteX104" fmla="*/ 2037719 w 4276338"/>
              <a:gd name="connsiteY104" fmla="*/ 6022440 h 6031595"/>
              <a:gd name="connsiteX105" fmla="*/ 2037719 w 4276338"/>
              <a:gd name="connsiteY105" fmla="*/ 6017369 h 6031595"/>
              <a:gd name="connsiteX106" fmla="*/ 1919554 w 4276338"/>
              <a:gd name="connsiteY106" fmla="*/ 6011403 h 6031595"/>
              <a:gd name="connsiteX107" fmla="*/ 0 w 4276338"/>
              <a:gd name="connsiteY107" fmla="*/ 3884273 h 6031595"/>
              <a:gd name="connsiteX108" fmla="*/ 1118990 w 4276338"/>
              <a:gd name="connsiteY108" fmla="*/ 2004170 h 6031595"/>
              <a:gd name="connsiteX109" fmla="*/ 1286191 w 4276338"/>
              <a:gd name="connsiteY109" fmla="*/ 1923625 h 6031595"/>
              <a:gd name="connsiteX110" fmla="*/ 1286191 w 4276338"/>
              <a:gd name="connsiteY110" fmla="*/ 1817518 h 6031595"/>
              <a:gd name="connsiteX111" fmla="*/ 1286191 w 4276338"/>
              <a:gd name="connsiteY111" fmla="*/ 1724345 h 6031595"/>
              <a:gd name="connsiteX112" fmla="*/ 1286191 w 4276338"/>
              <a:gd name="connsiteY112" fmla="*/ 1525435 h 6031595"/>
              <a:gd name="connsiteX113" fmla="*/ 1286191 w 4276338"/>
              <a:gd name="connsiteY113" fmla="*/ 1444619 h 6031595"/>
              <a:gd name="connsiteX114" fmla="*/ 1287958 w 4276338"/>
              <a:gd name="connsiteY114" fmla="*/ 1444619 h 6031595"/>
              <a:gd name="connsiteX115" fmla="*/ 1287958 w 4276338"/>
              <a:gd name="connsiteY115" fmla="*/ 1 h 6031595"/>
              <a:gd name="connsiteX116" fmla="*/ 2780361 w 4276338"/>
              <a:gd name="connsiteY116" fmla="*/ 1 h 6031595"/>
              <a:gd name="connsiteX117" fmla="*/ 2781241 w 4276338"/>
              <a:gd name="connsiteY117" fmla="*/ 1 h 60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4276338" h="6031595">
                <a:moveTo>
                  <a:pt x="2781255" y="0"/>
                </a:moveTo>
                <a:lnTo>
                  <a:pt x="2781270" y="1"/>
                </a:lnTo>
                <a:lnTo>
                  <a:pt x="2851409" y="1"/>
                </a:lnTo>
                <a:lnTo>
                  <a:pt x="2851409" y="3435"/>
                </a:lnTo>
                <a:lnTo>
                  <a:pt x="2923707" y="6932"/>
                </a:lnTo>
                <a:lnTo>
                  <a:pt x="2928093" y="7572"/>
                </a:lnTo>
                <a:lnTo>
                  <a:pt x="2933936" y="7873"/>
                </a:lnTo>
                <a:cubicBezTo>
                  <a:pt x="3022179" y="17025"/>
                  <a:pt x="3108150" y="34023"/>
                  <a:pt x="3191171" y="58173"/>
                </a:cubicBezTo>
                <a:lnTo>
                  <a:pt x="3197224" y="60227"/>
                </a:lnTo>
                <a:lnTo>
                  <a:pt x="3198266" y="60485"/>
                </a:lnTo>
                <a:lnTo>
                  <a:pt x="3208649" y="64107"/>
                </a:lnTo>
                <a:lnTo>
                  <a:pt x="3313404" y="99675"/>
                </a:lnTo>
                <a:lnTo>
                  <a:pt x="3324157" y="104416"/>
                </a:lnTo>
                <a:lnTo>
                  <a:pt x="3328243" y="105842"/>
                </a:lnTo>
                <a:lnTo>
                  <a:pt x="3350335" y="115957"/>
                </a:lnTo>
                <a:lnTo>
                  <a:pt x="3430701" y="151385"/>
                </a:lnTo>
                <a:lnTo>
                  <a:pt x="3445700" y="159618"/>
                </a:lnTo>
                <a:lnTo>
                  <a:pt x="3452526" y="162743"/>
                </a:lnTo>
                <a:lnTo>
                  <a:pt x="3476498" y="176524"/>
                </a:lnTo>
                <a:lnTo>
                  <a:pt x="3542552" y="212783"/>
                </a:lnTo>
                <a:lnTo>
                  <a:pt x="3561272" y="225258"/>
                </a:lnTo>
                <a:lnTo>
                  <a:pt x="3570497" y="230558"/>
                </a:lnTo>
                <a:lnTo>
                  <a:pt x="3593322" y="246613"/>
                </a:lnTo>
                <a:lnTo>
                  <a:pt x="3648450" y="283348"/>
                </a:lnTo>
                <a:lnTo>
                  <a:pt x="3670293" y="300749"/>
                </a:lnTo>
                <a:lnTo>
                  <a:pt x="3681535" y="308654"/>
                </a:lnTo>
                <a:lnTo>
                  <a:pt x="3702004" y="326011"/>
                </a:lnTo>
                <a:lnTo>
                  <a:pt x="3747882" y="362560"/>
                </a:lnTo>
                <a:lnTo>
                  <a:pt x="3772182" y="385514"/>
                </a:lnTo>
                <a:lnTo>
                  <a:pt x="3785022" y="396400"/>
                </a:lnTo>
                <a:lnTo>
                  <a:pt x="3802634" y="414279"/>
                </a:lnTo>
                <a:lnTo>
                  <a:pt x="3840339" y="449896"/>
                </a:lnTo>
                <a:lnTo>
                  <a:pt x="3866365" y="478975"/>
                </a:lnTo>
                <a:lnTo>
                  <a:pt x="3880341" y="493162"/>
                </a:lnTo>
                <a:lnTo>
                  <a:pt x="3894937" y="510898"/>
                </a:lnTo>
                <a:lnTo>
                  <a:pt x="3925313" y="544839"/>
                </a:lnTo>
                <a:lnTo>
                  <a:pt x="3952271" y="580568"/>
                </a:lnTo>
                <a:lnTo>
                  <a:pt x="3966871" y="598307"/>
                </a:lnTo>
                <a:lnTo>
                  <a:pt x="3978488" y="615316"/>
                </a:lnTo>
                <a:lnTo>
                  <a:pt x="4002293" y="646866"/>
                </a:lnTo>
                <a:lnTo>
                  <a:pt x="4029333" y="689750"/>
                </a:lnTo>
                <a:lnTo>
                  <a:pt x="4043994" y="711208"/>
                </a:lnTo>
                <a:lnTo>
                  <a:pt x="4052801" y="726962"/>
                </a:lnTo>
                <a:lnTo>
                  <a:pt x="4070770" y="755459"/>
                </a:lnTo>
                <a:lnTo>
                  <a:pt x="4096992" y="806012"/>
                </a:lnTo>
                <a:lnTo>
                  <a:pt x="4111089" y="831229"/>
                </a:lnTo>
                <a:lnTo>
                  <a:pt x="4117349" y="845256"/>
                </a:lnTo>
                <a:lnTo>
                  <a:pt x="4130234" y="870096"/>
                </a:lnTo>
                <a:lnTo>
                  <a:pt x="4154690" y="928939"/>
                </a:lnTo>
                <a:lnTo>
                  <a:pt x="4167542" y="957739"/>
                </a:lnTo>
                <a:lnTo>
                  <a:pt x="4171594" y="969609"/>
                </a:lnTo>
                <a:lnTo>
                  <a:pt x="4180176" y="990257"/>
                </a:lnTo>
                <a:lnTo>
                  <a:pt x="4201872" y="1058299"/>
                </a:lnTo>
                <a:lnTo>
                  <a:pt x="4212729" y="1090104"/>
                </a:lnTo>
                <a:lnTo>
                  <a:pt x="4214988" y="1099433"/>
                </a:lnTo>
                <a:lnTo>
                  <a:pt x="4220085" y="1115422"/>
                </a:lnTo>
                <a:lnTo>
                  <a:pt x="4237987" y="1194451"/>
                </a:lnTo>
                <a:lnTo>
                  <a:pt x="4246035" y="1227696"/>
                </a:lnTo>
                <a:lnTo>
                  <a:pt x="4246977" y="1234136"/>
                </a:lnTo>
                <a:lnTo>
                  <a:pt x="4249454" y="1245070"/>
                </a:lnTo>
                <a:lnTo>
                  <a:pt x="4262487" y="1340141"/>
                </a:lnTo>
                <a:lnTo>
                  <a:pt x="4266839" y="1369879"/>
                </a:lnTo>
                <a:lnTo>
                  <a:pt x="4266994" y="1373011"/>
                </a:lnTo>
                <a:lnTo>
                  <a:pt x="4267770" y="1378680"/>
                </a:lnTo>
                <a:lnTo>
                  <a:pt x="4270828" y="1444619"/>
                </a:lnTo>
                <a:lnTo>
                  <a:pt x="4274554" y="1444619"/>
                </a:lnTo>
                <a:lnTo>
                  <a:pt x="4274554" y="1505411"/>
                </a:lnTo>
                <a:lnTo>
                  <a:pt x="4274554" y="1524979"/>
                </a:lnTo>
                <a:lnTo>
                  <a:pt x="4274554" y="1525435"/>
                </a:lnTo>
                <a:lnTo>
                  <a:pt x="4274554" y="1525436"/>
                </a:lnTo>
                <a:lnTo>
                  <a:pt x="4276338" y="1525436"/>
                </a:lnTo>
                <a:lnTo>
                  <a:pt x="4276338" y="1724345"/>
                </a:lnTo>
                <a:lnTo>
                  <a:pt x="4276338" y="1817518"/>
                </a:lnTo>
                <a:lnTo>
                  <a:pt x="4276338" y="1983152"/>
                </a:lnTo>
                <a:lnTo>
                  <a:pt x="4276338" y="2006218"/>
                </a:lnTo>
                <a:lnTo>
                  <a:pt x="4276338" y="2087036"/>
                </a:lnTo>
                <a:lnTo>
                  <a:pt x="4274572" y="2087036"/>
                </a:lnTo>
                <a:lnTo>
                  <a:pt x="4274572" y="2117837"/>
                </a:lnTo>
                <a:lnTo>
                  <a:pt x="3339497" y="2117837"/>
                </a:lnTo>
                <a:lnTo>
                  <a:pt x="3427735" y="2178609"/>
                </a:lnTo>
                <a:cubicBezTo>
                  <a:pt x="3888653" y="2527630"/>
                  <a:pt x="4203707" y="3059179"/>
                  <a:pt x="4265298" y="3665658"/>
                </a:cubicBezTo>
                <a:lnTo>
                  <a:pt x="4274888" y="3855572"/>
                </a:lnTo>
                <a:lnTo>
                  <a:pt x="4276337" y="3855572"/>
                </a:lnTo>
                <a:lnTo>
                  <a:pt x="4276337" y="3884273"/>
                </a:lnTo>
                <a:lnTo>
                  <a:pt x="4276337" y="4511467"/>
                </a:lnTo>
                <a:lnTo>
                  <a:pt x="4276338" y="4511467"/>
                </a:lnTo>
                <a:lnTo>
                  <a:pt x="4276338" y="4586977"/>
                </a:lnTo>
                <a:lnTo>
                  <a:pt x="4276337" y="4586977"/>
                </a:lnTo>
                <a:lnTo>
                  <a:pt x="4276337" y="6022440"/>
                </a:lnTo>
                <a:lnTo>
                  <a:pt x="4274571" y="6022440"/>
                </a:lnTo>
                <a:lnTo>
                  <a:pt x="4274571" y="6031594"/>
                </a:lnTo>
                <a:lnTo>
                  <a:pt x="2782168" y="6031594"/>
                </a:lnTo>
                <a:lnTo>
                  <a:pt x="2781288" y="6031594"/>
                </a:lnTo>
                <a:lnTo>
                  <a:pt x="2781274" y="6031595"/>
                </a:lnTo>
                <a:lnTo>
                  <a:pt x="2781260" y="6031594"/>
                </a:lnTo>
                <a:lnTo>
                  <a:pt x="2711119" y="6031594"/>
                </a:lnTo>
                <a:lnTo>
                  <a:pt x="2711119" y="6028160"/>
                </a:lnTo>
                <a:lnTo>
                  <a:pt x="2638822" y="6024663"/>
                </a:lnTo>
                <a:lnTo>
                  <a:pt x="2634436" y="6024023"/>
                </a:lnTo>
                <a:lnTo>
                  <a:pt x="2628593" y="6023723"/>
                </a:lnTo>
                <a:lnTo>
                  <a:pt x="2620014" y="6022440"/>
                </a:lnTo>
                <a:lnTo>
                  <a:pt x="2138188" y="6022440"/>
                </a:lnTo>
                <a:lnTo>
                  <a:pt x="2138169" y="6022441"/>
                </a:lnTo>
                <a:lnTo>
                  <a:pt x="2138148" y="6022440"/>
                </a:lnTo>
                <a:lnTo>
                  <a:pt x="2037719" y="6022440"/>
                </a:lnTo>
                <a:lnTo>
                  <a:pt x="2037719" y="6017369"/>
                </a:lnTo>
                <a:lnTo>
                  <a:pt x="1919554" y="6011403"/>
                </a:lnTo>
                <a:cubicBezTo>
                  <a:pt x="841369" y="5901906"/>
                  <a:pt x="0" y="4991346"/>
                  <a:pt x="0" y="3884273"/>
                </a:cubicBezTo>
                <a:cubicBezTo>
                  <a:pt x="0" y="3072419"/>
                  <a:pt x="452469" y="2366246"/>
                  <a:pt x="1118990" y="2004170"/>
                </a:cubicBezTo>
                <a:lnTo>
                  <a:pt x="1286191" y="1923625"/>
                </a:lnTo>
                <a:lnTo>
                  <a:pt x="1286191" y="1817518"/>
                </a:lnTo>
                <a:lnTo>
                  <a:pt x="1286191" y="1724345"/>
                </a:lnTo>
                <a:lnTo>
                  <a:pt x="1286191" y="1525435"/>
                </a:lnTo>
                <a:lnTo>
                  <a:pt x="1286191" y="1444619"/>
                </a:lnTo>
                <a:lnTo>
                  <a:pt x="1287958" y="1444619"/>
                </a:lnTo>
                <a:lnTo>
                  <a:pt x="1287958" y="1"/>
                </a:lnTo>
                <a:lnTo>
                  <a:pt x="2780361" y="1"/>
                </a:lnTo>
                <a:lnTo>
                  <a:pt x="2781241" y="1"/>
                </a:lnTo>
                <a:close/>
              </a:path>
            </a:pathLst>
          </a:custGeom>
        </p:spPr>
        <p:txBody>
          <a:bodyPr wrap="square">
            <a:noAutofit/>
          </a:bodyPr>
          <a:lstStyle/>
          <a:p>
            <a:endParaRPr lang="en-US"/>
          </a:p>
        </p:txBody>
      </p:sp>
    </p:spTree>
    <p:extLst>
      <p:ext uri="{BB962C8B-B14F-4D97-AF65-F5344CB8AC3E}">
        <p14:creationId xmlns:p14="http://schemas.microsoft.com/office/powerpoint/2010/main" val="133917551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35AA4D9-8E71-425F-B709-FFF07857CF04}"/>
              </a:ext>
            </a:extLst>
          </p:cNvPr>
          <p:cNvSpPr>
            <a:spLocks noGrp="1"/>
          </p:cNvSpPr>
          <p:nvPr>
            <p:ph type="pic" sz="quarter" idx="10"/>
          </p:nvPr>
        </p:nvSpPr>
        <p:spPr>
          <a:xfrm>
            <a:off x="8265546" y="502816"/>
            <a:ext cx="3545964" cy="5948510"/>
          </a:xfrm>
          <a:custGeom>
            <a:avLst/>
            <a:gdLst>
              <a:gd name="connsiteX0" fmla="*/ 2388888 w 3545964"/>
              <a:gd name="connsiteY0" fmla="*/ 3738199 h 5948510"/>
              <a:gd name="connsiteX1" fmla="*/ 2440798 w 3545964"/>
              <a:gd name="connsiteY1" fmla="*/ 3738199 h 5948510"/>
              <a:gd name="connsiteX2" fmla="*/ 2440808 w 3545964"/>
              <a:gd name="connsiteY2" fmla="*/ 3738199 h 5948510"/>
              <a:gd name="connsiteX3" fmla="*/ 2440818 w 3545964"/>
              <a:gd name="connsiteY3" fmla="*/ 3738199 h 5948510"/>
              <a:gd name="connsiteX4" fmla="*/ 3545964 w 3545964"/>
              <a:gd name="connsiteY4" fmla="*/ 3738199 h 5948510"/>
              <a:gd name="connsiteX5" fmla="*/ 3545964 w 3545964"/>
              <a:gd name="connsiteY5" fmla="*/ 4843354 h 5948510"/>
              <a:gd name="connsiteX6" fmla="*/ 3545964 w 3545964"/>
              <a:gd name="connsiteY6" fmla="*/ 4858189 h 5948510"/>
              <a:gd name="connsiteX7" fmla="*/ 3545214 w 3545964"/>
              <a:gd name="connsiteY7" fmla="*/ 4858189 h 5948510"/>
              <a:gd name="connsiteX8" fmla="*/ 3540258 w 3545964"/>
              <a:gd name="connsiteY8" fmla="*/ 4956350 h 5948510"/>
              <a:gd name="connsiteX9" fmla="*/ 2440808 w 3545964"/>
              <a:gd name="connsiteY9" fmla="*/ 5948510 h 5948510"/>
              <a:gd name="connsiteX10" fmla="*/ 1335652 w 3545964"/>
              <a:gd name="connsiteY10" fmla="*/ 4843354 h 5948510"/>
              <a:gd name="connsiteX11" fmla="*/ 2327812 w 3545964"/>
              <a:gd name="connsiteY11" fmla="*/ 3743904 h 5948510"/>
              <a:gd name="connsiteX12" fmla="*/ 2388888 w 3545964"/>
              <a:gd name="connsiteY12" fmla="*/ 3740820 h 5948510"/>
              <a:gd name="connsiteX13" fmla="*/ 1772981 w 3545964"/>
              <a:gd name="connsiteY13" fmla="*/ 0 h 5948510"/>
              <a:gd name="connsiteX14" fmla="*/ 3536810 w 3545964"/>
              <a:gd name="connsiteY14" fmla="*/ 1591706 h 5948510"/>
              <a:gd name="connsiteX15" fmla="*/ 3544762 w 3545964"/>
              <a:gd name="connsiteY15" fmla="*/ 1749184 h 5948510"/>
              <a:gd name="connsiteX16" fmla="*/ 3545964 w 3545964"/>
              <a:gd name="connsiteY16" fmla="*/ 1749184 h 5948510"/>
              <a:gd name="connsiteX17" fmla="*/ 3545964 w 3545964"/>
              <a:gd name="connsiteY17" fmla="*/ 1772983 h 5948510"/>
              <a:gd name="connsiteX18" fmla="*/ 3545964 w 3545964"/>
              <a:gd name="connsiteY18" fmla="*/ 3545964 h 5948510"/>
              <a:gd name="connsiteX19" fmla="*/ 1772998 w 3545964"/>
              <a:gd name="connsiteY19" fmla="*/ 3545964 h 5948510"/>
              <a:gd name="connsiteX20" fmla="*/ 1772982 w 3545964"/>
              <a:gd name="connsiteY20" fmla="*/ 3545965 h 5948510"/>
              <a:gd name="connsiteX21" fmla="*/ 1772964 w 3545964"/>
              <a:gd name="connsiteY21" fmla="*/ 3545964 h 5948510"/>
              <a:gd name="connsiteX22" fmla="*/ 1689688 w 3545964"/>
              <a:gd name="connsiteY22" fmla="*/ 3545964 h 5948510"/>
              <a:gd name="connsiteX23" fmla="*/ 1689688 w 3545964"/>
              <a:gd name="connsiteY23" fmla="*/ 3541759 h 5948510"/>
              <a:gd name="connsiteX24" fmla="*/ 1591706 w 3545964"/>
              <a:gd name="connsiteY24" fmla="*/ 3536812 h 5948510"/>
              <a:gd name="connsiteX25" fmla="*/ 0 w 3545964"/>
              <a:gd name="connsiteY25" fmla="*/ 1772982 h 5948510"/>
              <a:gd name="connsiteX26" fmla="*/ 1772981 w 3545964"/>
              <a:gd name="connsiteY26" fmla="*/ 0 h 5948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45964" h="5948510">
                <a:moveTo>
                  <a:pt x="2388888" y="3738199"/>
                </a:moveTo>
                <a:lnTo>
                  <a:pt x="2440798" y="3738199"/>
                </a:lnTo>
                <a:lnTo>
                  <a:pt x="2440808" y="3738199"/>
                </a:lnTo>
                <a:lnTo>
                  <a:pt x="2440818" y="3738199"/>
                </a:lnTo>
                <a:lnTo>
                  <a:pt x="3545964" y="3738199"/>
                </a:lnTo>
                <a:lnTo>
                  <a:pt x="3545964" y="4843354"/>
                </a:lnTo>
                <a:lnTo>
                  <a:pt x="3545964" y="4858189"/>
                </a:lnTo>
                <a:lnTo>
                  <a:pt x="3545214" y="4858189"/>
                </a:lnTo>
                <a:lnTo>
                  <a:pt x="3540258" y="4956350"/>
                </a:lnTo>
                <a:cubicBezTo>
                  <a:pt x="3483662" y="5513631"/>
                  <a:pt x="3013022" y="5948510"/>
                  <a:pt x="2440808" y="5948510"/>
                </a:cubicBezTo>
                <a:cubicBezTo>
                  <a:pt x="1830448" y="5948510"/>
                  <a:pt x="1335652" y="5453715"/>
                  <a:pt x="1335652" y="4843354"/>
                </a:cubicBezTo>
                <a:cubicBezTo>
                  <a:pt x="1335652" y="4271141"/>
                  <a:pt x="1770530" y="3800500"/>
                  <a:pt x="2327812" y="3743904"/>
                </a:cubicBezTo>
                <a:lnTo>
                  <a:pt x="2388888" y="3740820"/>
                </a:lnTo>
                <a:close/>
                <a:moveTo>
                  <a:pt x="1772981" y="0"/>
                </a:moveTo>
                <a:cubicBezTo>
                  <a:pt x="2690973" y="0"/>
                  <a:pt x="3446016" y="697668"/>
                  <a:pt x="3536810" y="1591706"/>
                </a:cubicBezTo>
                <a:lnTo>
                  <a:pt x="3544762" y="1749184"/>
                </a:lnTo>
                <a:lnTo>
                  <a:pt x="3545964" y="1749184"/>
                </a:lnTo>
                <a:lnTo>
                  <a:pt x="3545964" y="1772983"/>
                </a:lnTo>
                <a:lnTo>
                  <a:pt x="3545964" y="3545964"/>
                </a:lnTo>
                <a:lnTo>
                  <a:pt x="1772998" y="3545964"/>
                </a:lnTo>
                <a:lnTo>
                  <a:pt x="1772982" y="3545965"/>
                </a:lnTo>
                <a:lnTo>
                  <a:pt x="1772964" y="3545964"/>
                </a:lnTo>
                <a:lnTo>
                  <a:pt x="1689688" y="3545964"/>
                </a:lnTo>
                <a:lnTo>
                  <a:pt x="1689688" y="3541759"/>
                </a:lnTo>
                <a:lnTo>
                  <a:pt x="1591706" y="3536812"/>
                </a:lnTo>
                <a:cubicBezTo>
                  <a:pt x="697668" y="3446016"/>
                  <a:pt x="0" y="2690974"/>
                  <a:pt x="0" y="1772982"/>
                </a:cubicBezTo>
                <a:cubicBezTo>
                  <a:pt x="0" y="793791"/>
                  <a:pt x="793790" y="0"/>
                  <a:pt x="1772981"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3851757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FEBB16BA-0155-46A1-9874-9AB1FD5526D9}"/>
              </a:ext>
            </a:extLst>
          </p:cNvPr>
          <p:cNvSpPr>
            <a:spLocks noGrp="1"/>
          </p:cNvSpPr>
          <p:nvPr>
            <p:ph type="pic" sz="quarter" idx="10"/>
          </p:nvPr>
        </p:nvSpPr>
        <p:spPr>
          <a:xfrm>
            <a:off x="1521007" y="1269833"/>
            <a:ext cx="3418030" cy="4878949"/>
          </a:xfrm>
          <a:custGeom>
            <a:avLst/>
            <a:gdLst>
              <a:gd name="connsiteX0" fmla="*/ 1191331 w 3418030"/>
              <a:gd name="connsiteY0" fmla="*/ 0 h 4878949"/>
              <a:gd name="connsiteX1" fmla="*/ 1294432 w 3418030"/>
              <a:gd name="connsiteY1" fmla="*/ 0 h 4878949"/>
              <a:gd name="connsiteX2" fmla="*/ 1457098 w 3418030"/>
              <a:gd name="connsiteY2" fmla="*/ 0 h 4878949"/>
              <a:gd name="connsiteX3" fmla="*/ 1564784 w 3418030"/>
              <a:gd name="connsiteY3" fmla="*/ 0 h 4878949"/>
              <a:gd name="connsiteX4" fmla="*/ 2013538 w 3418030"/>
              <a:gd name="connsiteY4" fmla="*/ 0 h 4878949"/>
              <a:gd name="connsiteX5" fmla="*/ 2038520 w 3418030"/>
              <a:gd name="connsiteY5" fmla="*/ 0 h 4878949"/>
              <a:gd name="connsiteX6" fmla="*/ 2130825 w 3418030"/>
              <a:gd name="connsiteY6" fmla="*/ 0 h 4878949"/>
              <a:gd name="connsiteX7" fmla="*/ 2156238 w 3418030"/>
              <a:gd name="connsiteY7" fmla="*/ 0 h 4878949"/>
              <a:gd name="connsiteX8" fmla="*/ 2221889 w 3418030"/>
              <a:gd name="connsiteY8" fmla="*/ 0 h 4878949"/>
              <a:gd name="connsiteX9" fmla="*/ 2277890 w 3418030"/>
              <a:gd name="connsiteY9" fmla="*/ 0 h 4878949"/>
              <a:gd name="connsiteX10" fmla="*/ 2342770 w 3418030"/>
              <a:gd name="connsiteY10" fmla="*/ 0 h 4878949"/>
              <a:gd name="connsiteX11" fmla="*/ 2399737 w 3418030"/>
              <a:gd name="connsiteY11" fmla="*/ 0 h 4878949"/>
              <a:gd name="connsiteX12" fmla="*/ 2399737 w 3418030"/>
              <a:gd name="connsiteY12" fmla="*/ 1224 h 4878949"/>
              <a:gd name="connsiteX13" fmla="*/ 3278911 w 3418030"/>
              <a:gd name="connsiteY13" fmla="*/ 1224 h 4878949"/>
              <a:gd name="connsiteX14" fmla="*/ 3418030 w 3418030"/>
              <a:gd name="connsiteY14" fmla="*/ 1224 h 4878949"/>
              <a:gd name="connsiteX15" fmla="*/ 3418030 w 3418030"/>
              <a:gd name="connsiteY15" fmla="*/ 70784 h 4878949"/>
              <a:gd name="connsiteX16" fmla="*/ 3418030 w 3418030"/>
              <a:gd name="connsiteY16" fmla="*/ 685938 h 4878949"/>
              <a:gd name="connsiteX17" fmla="*/ 3418030 w 3418030"/>
              <a:gd name="connsiteY17" fmla="*/ 732837 h 4878949"/>
              <a:gd name="connsiteX18" fmla="*/ 3418030 w 3418030"/>
              <a:gd name="connsiteY18" fmla="*/ 755498 h 4878949"/>
              <a:gd name="connsiteX19" fmla="*/ 3418030 w 3418030"/>
              <a:gd name="connsiteY19" fmla="*/ 802397 h 4878949"/>
              <a:gd name="connsiteX20" fmla="*/ 3418030 w 3418030"/>
              <a:gd name="connsiteY20" fmla="*/ 1036312 h 4878949"/>
              <a:gd name="connsiteX21" fmla="*/ 3418030 w 3418030"/>
              <a:gd name="connsiteY21" fmla="*/ 1036923 h 4878949"/>
              <a:gd name="connsiteX22" fmla="*/ 3418030 w 3418030"/>
              <a:gd name="connsiteY22" fmla="*/ 1036933 h 4878949"/>
              <a:gd name="connsiteX23" fmla="*/ 3418030 w 3418030"/>
              <a:gd name="connsiteY23" fmla="*/ 1036943 h 4878949"/>
              <a:gd name="connsiteX24" fmla="*/ 3418030 w 3418030"/>
              <a:gd name="connsiteY24" fmla="*/ 1085589 h 4878949"/>
              <a:gd name="connsiteX25" fmla="*/ 3418030 w 3418030"/>
              <a:gd name="connsiteY25" fmla="*/ 1105871 h 4878949"/>
              <a:gd name="connsiteX26" fmla="*/ 3418030 w 3418030"/>
              <a:gd name="connsiteY26" fmla="*/ 1106482 h 4878949"/>
              <a:gd name="connsiteX27" fmla="*/ 3418030 w 3418030"/>
              <a:gd name="connsiteY27" fmla="*/ 1106491 h 4878949"/>
              <a:gd name="connsiteX28" fmla="*/ 3418030 w 3418030"/>
              <a:gd name="connsiteY28" fmla="*/ 1106501 h 4878949"/>
              <a:gd name="connsiteX29" fmla="*/ 3418030 w 3418030"/>
              <a:gd name="connsiteY29" fmla="*/ 1155149 h 4878949"/>
              <a:gd name="connsiteX30" fmla="*/ 3418030 w 3418030"/>
              <a:gd name="connsiteY30" fmla="*/ 1417551 h 4878949"/>
              <a:gd name="connsiteX31" fmla="*/ 3418030 w 3418030"/>
              <a:gd name="connsiteY31" fmla="*/ 1487111 h 4878949"/>
              <a:gd name="connsiteX32" fmla="*/ 3418030 w 3418030"/>
              <a:gd name="connsiteY32" fmla="*/ 1721026 h 4878949"/>
              <a:gd name="connsiteX33" fmla="*/ 3418030 w 3418030"/>
              <a:gd name="connsiteY33" fmla="*/ 1721637 h 4878949"/>
              <a:gd name="connsiteX34" fmla="*/ 3418030 w 3418030"/>
              <a:gd name="connsiteY34" fmla="*/ 1721646 h 4878949"/>
              <a:gd name="connsiteX35" fmla="*/ 3418030 w 3418030"/>
              <a:gd name="connsiteY35" fmla="*/ 1721657 h 4878949"/>
              <a:gd name="connsiteX36" fmla="*/ 3418030 w 3418030"/>
              <a:gd name="connsiteY36" fmla="*/ 1767925 h 4878949"/>
              <a:gd name="connsiteX37" fmla="*/ 3418030 w 3418030"/>
              <a:gd name="connsiteY37" fmla="*/ 1768536 h 4878949"/>
              <a:gd name="connsiteX38" fmla="*/ 3418030 w 3418030"/>
              <a:gd name="connsiteY38" fmla="*/ 1768546 h 4878949"/>
              <a:gd name="connsiteX39" fmla="*/ 3418030 w 3418030"/>
              <a:gd name="connsiteY39" fmla="*/ 1768556 h 4878949"/>
              <a:gd name="connsiteX40" fmla="*/ 3418030 w 3418030"/>
              <a:gd name="connsiteY40" fmla="*/ 1770303 h 4878949"/>
              <a:gd name="connsiteX41" fmla="*/ 3418030 w 3418030"/>
              <a:gd name="connsiteY41" fmla="*/ 1790585 h 4878949"/>
              <a:gd name="connsiteX42" fmla="*/ 3418030 w 3418030"/>
              <a:gd name="connsiteY42" fmla="*/ 1791196 h 4878949"/>
              <a:gd name="connsiteX43" fmla="*/ 3418030 w 3418030"/>
              <a:gd name="connsiteY43" fmla="*/ 1791205 h 4878949"/>
              <a:gd name="connsiteX44" fmla="*/ 3418030 w 3418030"/>
              <a:gd name="connsiteY44" fmla="*/ 1791215 h 4878949"/>
              <a:gd name="connsiteX45" fmla="*/ 3418030 w 3418030"/>
              <a:gd name="connsiteY45" fmla="*/ 1817203 h 4878949"/>
              <a:gd name="connsiteX46" fmla="*/ 3418030 w 3418030"/>
              <a:gd name="connsiteY46" fmla="*/ 1837484 h 4878949"/>
              <a:gd name="connsiteX47" fmla="*/ 3418030 w 3418030"/>
              <a:gd name="connsiteY47" fmla="*/ 1838095 h 4878949"/>
              <a:gd name="connsiteX48" fmla="*/ 3418030 w 3418030"/>
              <a:gd name="connsiteY48" fmla="*/ 1838105 h 4878949"/>
              <a:gd name="connsiteX49" fmla="*/ 3418030 w 3418030"/>
              <a:gd name="connsiteY49" fmla="*/ 1838115 h 4878949"/>
              <a:gd name="connsiteX50" fmla="*/ 3418030 w 3418030"/>
              <a:gd name="connsiteY50" fmla="*/ 1839863 h 4878949"/>
              <a:gd name="connsiteX51" fmla="*/ 3418030 w 3418030"/>
              <a:gd name="connsiteY51" fmla="*/ 1886762 h 4878949"/>
              <a:gd name="connsiteX52" fmla="*/ 3418030 w 3418030"/>
              <a:gd name="connsiteY52" fmla="*/ 2452639 h 4878949"/>
              <a:gd name="connsiteX53" fmla="*/ 3418030 w 3418030"/>
              <a:gd name="connsiteY53" fmla="*/ 2453250 h 4878949"/>
              <a:gd name="connsiteX54" fmla="*/ 3418030 w 3418030"/>
              <a:gd name="connsiteY54" fmla="*/ 2453260 h 4878949"/>
              <a:gd name="connsiteX55" fmla="*/ 3418030 w 3418030"/>
              <a:gd name="connsiteY55" fmla="*/ 2453270 h 4878949"/>
              <a:gd name="connsiteX56" fmla="*/ 3418030 w 3418030"/>
              <a:gd name="connsiteY56" fmla="*/ 2501917 h 4878949"/>
              <a:gd name="connsiteX57" fmla="*/ 3418030 w 3418030"/>
              <a:gd name="connsiteY57" fmla="*/ 2522198 h 4878949"/>
              <a:gd name="connsiteX58" fmla="*/ 3418030 w 3418030"/>
              <a:gd name="connsiteY58" fmla="*/ 2522809 h 4878949"/>
              <a:gd name="connsiteX59" fmla="*/ 3418030 w 3418030"/>
              <a:gd name="connsiteY59" fmla="*/ 2522819 h 4878949"/>
              <a:gd name="connsiteX60" fmla="*/ 3418030 w 3418030"/>
              <a:gd name="connsiteY60" fmla="*/ 2522830 h 4878949"/>
              <a:gd name="connsiteX61" fmla="*/ 3418030 w 3418030"/>
              <a:gd name="connsiteY61" fmla="*/ 2571476 h 4878949"/>
              <a:gd name="connsiteX62" fmla="*/ 3415609 w 3418030"/>
              <a:gd name="connsiteY62" fmla="*/ 2571476 h 4878949"/>
              <a:gd name="connsiteX63" fmla="*/ 3413143 w 3418030"/>
              <a:gd name="connsiteY63" fmla="*/ 2621619 h 4878949"/>
              <a:gd name="connsiteX64" fmla="*/ 3412693 w 3418030"/>
              <a:gd name="connsiteY64" fmla="*/ 2624661 h 4878949"/>
              <a:gd name="connsiteX65" fmla="*/ 3412480 w 3418030"/>
              <a:gd name="connsiteY65" fmla="*/ 2628713 h 4878949"/>
              <a:gd name="connsiteX66" fmla="*/ 3377025 w 3418030"/>
              <a:gd name="connsiteY66" fmla="*/ 2807125 h 4878949"/>
              <a:gd name="connsiteX67" fmla="*/ 3375576 w 3418030"/>
              <a:gd name="connsiteY67" fmla="*/ 2811322 h 4878949"/>
              <a:gd name="connsiteX68" fmla="*/ 3375395 w 3418030"/>
              <a:gd name="connsiteY68" fmla="*/ 2812045 h 4878949"/>
              <a:gd name="connsiteX69" fmla="*/ 3372842 w 3418030"/>
              <a:gd name="connsiteY69" fmla="*/ 2819247 h 4878949"/>
              <a:gd name="connsiteX70" fmla="*/ 3347771 w 3418030"/>
              <a:gd name="connsiteY70" fmla="*/ 2891903 h 4878949"/>
              <a:gd name="connsiteX71" fmla="*/ 3344429 w 3418030"/>
              <a:gd name="connsiteY71" fmla="*/ 2899360 h 4878949"/>
              <a:gd name="connsiteX72" fmla="*/ 3343424 w 3418030"/>
              <a:gd name="connsiteY72" fmla="*/ 2902194 h 4878949"/>
              <a:gd name="connsiteX73" fmla="*/ 3336294 w 3418030"/>
              <a:gd name="connsiteY73" fmla="*/ 2917516 h 4878949"/>
              <a:gd name="connsiteX74" fmla="*/ 3311321 w 3418030"/>
              <a:gd name="connsiteY74" fmla="*/ 2973257 h 4878949"/>
              <a:gd name="connsiteX75" fmla="*/ 3305517 w 3418030"/>
              <a:gd name="connsiteY75" fmla="*/ 2983659 h 4878949"/>
              <a:gd name="connsiteX76" fmla="*/ 3303314 w 3418030"/>
              <a:gd name="connsiteY76" fmla="*/ 2988394 h 4878949"/>
              <a:gd name="connsiteX77" fmla="*/ 3293601 w 3418030"/>
              <a:gd name="connsiteY77" fmla="*/ 3005019 h 4878949"/>
              <a:gd name="connsiteX78" fmla="*/ 3268042 w 3418030"/>
              <a:gd name="connsiteY78" fmla="*/ 3050833 h 4878949"/>
              <a:gd name="connsiteX79" fmla="*/ 3259248 w 3418030"/>
              <a:gd name="connsiteY79" fmla="*/ 3063817 h 4878949"/>
              <a:gd name="connsiteX80" fmla="*/ 3255513 w 3418030"/>
              <a:gd name="connsiteY80" fmla="*/ 3070215 h 4878949"/>
              <a:gd name="connsiteX81" fmla="*/ 3244196 w 3418030"/>
              <a:gd name="connsiteY81" fmla="*/ 3086045 h 4878949"/>
              <a:gd name="connsiteX82" fmla="*/ 3218302 w 3418030"/>
              <a:gd name="connsiteY82" fmla="*/ 3124280 h 4878949"/>
              <a:gd name="connsiteX83" fmla="*/ 3206037 w 3418030"/>
              <a:gd name="connsiteY83" fmla="*/ 3139430 h 4878949"/>
              <a:gd name="connsiteX84" fmla="*/ 3200464 w 3418030"/>
              <a:gd name="connsiteY84" fmla="*/ 3147227 h 4878949"/>
              <a:gd name="connsiteX85" fmla="*/ 3188229 w 3418030"/>
              <a:gd name="connsiteY85" fmla="*/ 3161424 h 4878949"/>
              <a:gd name="connsiteX86" fmla="*/ 3162468 w 3418030"/>
              <a:gd name="connsiteY86" fmla="*/ 3193243 h 4878949"/>
              <a:gd name="connsiteX87" fmla="*/ 3146287 w 3418030"/>
              <a:gd name="connsiteY87" fmla="*/ 3210097 h 4878949"/>
              <a:gd name="connsiteX88" fmla="*/ 3138613 w 3418030"/>
              <a:gd name="connsiteY88" fmla="*/ 3219003 h 4878949"/>
              <a:gd name="connsiteX89" fmla="*/ 3126010 w 3418030"/>
              <a:gd name="connsiteY89" fmla="*/ 3231219 h 4878949"/>
              <a:gd name="connsiteX90" fmla="*/ 3100905 w 3418030"/>
              <a:gd name="connsiteY90" fmla="*/ 3257369 h 4878949"/>
              <a:gd name="connsiteX91" fmla="*/ 3080407 w 3418030"/>
              <a:gd name="connsiteY91" fmla="*/ 3275420 h 4878949"/>
              <a:gd name="connsiteX92" fmla="*/ 3070407 w 3418030"/>
              <a:gd name="connsiteY92" fmla="*/ 3285113 h 4878949"/>
              <a:gd name="connsiteX93" fmla="*/ 3057904 w 3418030"/>
              <a:gd name="connsiteY93" fmla="*/ 3295236 h 4878949"/>
              <a:gd name="connsiteX94" fmla="*/ 3033981 w 3418030"/>
              <a:gd name="connsiteY94" fmla="*/ 3316304 h 4878949"/>
              <a:gd name="connsiteX95" fmla="*/ 3008795 w 3418030"/>
              <a:gd name="connsiteY95" fmla="*/ 3335002 h 4878949"/>
              <a:gd name="connsiteX96" fmla="*/ 2996290 w 3418030"/>
              <a:gd name="connsiteY96" fmla="*/ 3345128 h 4878949"/>
              <a:gd name="connsiteX97" fmla="*/ 2984301 w 3418030"/>
              <a:gd name="connsiteY97" fmla="*/ 3353185 h 4878949"/>
              <a:gd name="connsiteX98" fmla="*/ 2962062 w 3418030"/>
              <a:gd name="connsiteY98" fmla="*/ 3369695 h 4878949"/>
              <a:gd name="connsiteX99" fmla="*/ 2931835 w 3418030"/>
              <a:gd name="connsiteY99" fmla="*/ 3388450 h 4878949"/>
              <a:gd name="connsiteX100" fmla="*/ 2916709 w 3418030"/>
              <a:gd name="connsiteY100" fmla="*/ 3398618 h 4878949"/>
              <a:gd name="connsiteX101" fmla="*/ 2905603 w 3418030"/>
              <a:gd name="connsiteY101" fmla="*/ 3404726 h 4878949"/>
              <a:gd name="connsiteX102" fmla="*/ 2885517 w 3418030"/>
              <a:gd name="connsiteY102" fmla="*/ 3417189 h 4878949"/>
              <a:gd name="connsiteX103" fmla="*/ 2849882 w 3418030"/>
              <a:gd name="connsiteY103" fmla="*/ 3435375 h 4878949"/>
              <a:gd name="connsiteX104" fmla="*/ 2832108 w 3418030"/>
              <a:gd name="connsiteY104" fmla="*/ 3445153 h 4878949"/>
              <a:gd name="connsiteX105" fmla="*/ 2822219 w 3418030"/>
              <a:gd name="connsiteY105" fmla="*/ 3449494 h 4878949"/>
              <a:gd name="connsiteX106" fmla="*/ 2804710 w 3418030"/>
              <a:gd name="connsiteY106" fmla="*/ 3458432 h 4878949"/>
              <a:gd name="connsiteX107" fmla="*/ 2763233 w 3418030"/>
              <a:gd name="connsiteY107" fmla="*/ 3475393 h 4878949"/>
              <a:gd name="connsiteX108" fmla="*/ 2742933 w 3418030"/>
              <a:gd name="connsiteY108" fmla="*/ 3484308 h 4878949"/>
              <a:gd name="connsiteX109" fmla="*/ 2734565 w 3418030"/>
              <a:gd name="connsiteY109" fmla="*/ 3487117 h 4878949"/>
              <a:gd name="connsiteX110" fmla="*/ 2720010 w 3418030"/>
              <a:gd name="connsiteY110" fmla="*/ 3493070 h 4878949"/>
              <a:gd name="connsiteX111" fmla="*/ 2672049 w 3418030"/>
              <a:gd name="connsiteY111" fmla="*/ 3508117 h 4878949"/>
              <a:gd name="connsiteX112" fmla="*/ 2649630 w 3418030"/>
              <a:gd name="connsiteY112" fmla="*/ 3515648 h 4878949"/>
              <a:gd name="connsiteX113" fmla="*/ 2643052 w 3418030"/>
              <a:gd name="connsiteY113" fmla="*/ 3517214 h 4878949"/>
              <a:gd name="connsiteX114" fmla="*/ 2631783 w 3418030"/>
              <a:gd name="connsiteY114" fmla="*/ 3520749 h 4878949"/>
              <a:gd name="connsiteX115" fmla="*/ 2576079 w 3418030"/>
              <a:gd name="connsiteY115" fmla="*/ 3533167 h 4878949"/>
              <a:gd name="connsiteX116" fmla="*/ 2552643 w 3418030"/>
              <a:gd name="connsiteY116" fmla="*/ 3538747 h 4878949"/>
              <a:gd name="connsiteX117" fmla="*/ 2548104 w 3418030"/>
              <a:gd name="connsiteY117" fmla="*/ 3539401 h 4878949"/>
              <a:gd name="connsiteX118" fmla="*/ 2540397 w 3418030"/>
              <a:gd name="connsiteY118" fmla="*/ 3541118 h 4878949"/>
              <a:gd name="connsiteX119" fmla="*/ 2473383 w 3418030"/>
              <a:gd name="connsiteY119" fmla="*/ 3550158 h 4878949"/>
              <a:gd name="connsiteX120" fmla="*/ 2452420 w 3418030"/>
              <a:gd name="connsiteY120" fmla="*/ 3553176 h 4878949"/>
              <a:gd name="connsiteX121" fmla="*/ 2450212 w 3418030"/>
              <a:gd name="connsiteY121" fmla="*/ 3553284 h 4878949"/>
              <a:gd name="connsiteX122" fmla="*/ 2446216 w 3418030"/>
              <a:gd name="connsiteY122" fmla="*/ 3553824 h 4878949"/>
              <a:gd name="connsiteX123" fmla="*/ 2399737 w 3418030"/>
              <a:gd name="connsiteY123" fmla="*/ 3555943 h 4878949"/>
              <a:gd name="connsiteX124" fmla="*/ 2399737 w 3418030"/>
              <a:gd name="connsiteY124" fmla="*/ 3558529 h 4878949"/>
              <a:gd name="connsiteX125" fmla="*/ 2366297 w 3418030"/>
              <a:gd name="connsiteY125" fmla="*/ 3558529 h 4878949"/>
              <a:gd name="connsiteX126" fmla="*/ 2350286 w 3418030"/>
              <a:gd name="connsiteY126" fmla="*/ 3560726 h 4878949"/>
              <a:gd name="connsiteX127" fmla="*/ 2329679 w 3418030"/>
              <a:gd name="connsiteY127" fmla="*/ 3563743 h 4878949"/>
              <a:gd name="connsiteX128" fmla="*/ 2327509 w 3418030"/>
              <a:gd name="connsiteY128" fmla="*/ 3563851 h 4878949"/>
              <a:gd name="connsiteX129" fmla="*/ 2323580 w 3418030"/>
              <a:gd name="connsiteY129" fmla="*/ 3564391 h 4878949"/>
              <a:gd name="connsiteX130" fmla="*/ 2277890 w 3418030"/>
              <a:gd name="connsiteY130" fmla="*/ 3566510 h 4878949"/>
              <a:gd name="connsiteX131" fmla="*/ 2277890 w 3418030"/>
              <a:gd name="connsiteY131" fmla="*/ 3569096 h 4878949"/>
              <a:gd name="connsiteX132" fmla="*/ 2235765 w 3418030"/>
              <a:gd name="connsiteY132" fmla="*/ 3569096 h 4878949"/>
              <a:gd name="connsiteX133" fmla="*/ 2222205 w 3418030"/>
              <a:gd name="connsiteY133" fmla="*/ 3569096 h 4878949"/>
              <a:gd name="connsiteX134" fmla="*/ 2221889 w 3418030"/>
              <a:gd name="connsiteY134" fmla="*/ 3569096 h 4878949"/>
              <a:gd name="connsiteX135" fmla="*/ 2221889 w 3418030"/>
              <a:gd name="connsiteY135" fmla="*/ 3570333 h 4878949"/>
              <a:gd name="connsiteX136" fmla="*/ 2038520 w 3418030"/>
              <a:gd name="connsiteY136" fmla="*/ 3570333 h 4878949"/>
              <a:gd name="connsiteX137" fmla="*/ 2013539 w 3418030"/>
              <a:gd name="connsiteY137" fmla="*/ 3570333 h 4878949"/>
              <a:gd name="connsiteX138" fmla="*/ 1650818 w 3418030"/>
              <a:gd name="connsiteY138" fmla="*/ 3570333 h 4878949"/>
              <a:gd name="connsiteX139" fmla="*/ 1650818 w 3418030"/>
              <a:gd name="connsiteY139" fmla="*/ 3570744 h 4878949"/>
              <a:gd name="connsiteX140" fmla="*/ 1652012 w 3418030"/>
              <a:gd name="connsiteY140" fmla="*/ 3570744 h 4878949"/>
              <a:gd name="connsiteX141" fmla="*/ 1652012 w 3418030"/>
              <a:gd name="connsiteY141" fmla="*/ 3571721 h 4878949"/>
              <a:gd name="connsiteX142" fmla="*/ 1671221 w 3418030"/>
              <a:gd name="connsiteY142" fmla="*/ 3572716 h 4878949"/>
              <a:gd name="connsiteX143" fmla="*/ 1672387 w 3418030"/>
              <a:gd name="connsiteY143" fmla="*/ 3572898 h 4878949"/>
              <a:gd name="connsiteX144" fmla="*/ 1673940 w 3418030"/>
              <a:gd name="connsiteY144" fmla="*/ 3572984 h 4878949"/>
              <a:gd name="connsiteX145" fmla="*/ 1742290 w 3418030"/>
              <a:gd name="connsiteY145" fmla="*/ 3587296 h 4878949"/>
              <a:gd name="connsiteX146" fmla="*/ 1743898 w 3418030"/>
              <a:gd name="connsiteY146" fmla="*/ 3587880 h 4878949"/>
              <a:gd name="connsiteX147" fmla="*/ 1744176 w 3418030"/>
              <a:gd name="connsiteY147" fmla="*/ 3587953 h 4878949"/>
              <a:gd name="connsiteX148" fmla="*/ 1746934 w 3418030"/>
              <a:gd name="connsiteY148" fmla="*/ 3588984 h 4878949"/>
              <a:gd name="connsiteX149" fmla="*/ 1774769 w 3418030"/>
              <a:gd name="connsiteY149" fmla="*/ 3599104 h 4878949"/>
              <a:gd name="connsiteX150" fmla="*/ 1777626 w 3418030"/>
              <a:gd name="connsiteY150" fmla="*/ 3600453 h 4878949"/>
              <a:gd name="connsiteX151" fmla="*/ 1778712 w 3418030"/>
              <a:gd name="connsiteY151" fmla="*/ 3600858 h 4878949"/>
              <a:gd name="connsiteX152" fmla="*/ 1784582 w 3418030"/>
              <a:gd name="connsiteY152" fmla="*/ 3603737 h 4878949"/>
              <a:gd name="connsiteX153" fmla="*/ 1805936 w 3418030"/>
              <a:gd name="connsiteY153" fmla="*/ 3613817 h 4878949"/>
              <a:gd name="connsiteX154" fmla="*/ 1809922 w 3418030"/>
              <a:gd name="connsiteY154" fmla="*/ 3616160 h 4878949"/>
              <a:gd name="connsiteX155" fmla="*/ 1811736 w 3418030"/>
              <a:gd name="connsiteY155" fmla="*/ 3617049 h 4878949"/>
              <a:gd name="connsiteX156" fmla="*/ 1818105 w 3418030"/>
              <a:gd name="connsiteY156" fmla="*/ 3620970 h 4878949"/>
              <a:gd name="connsiteX157" fmla="*/ 1835657 w 3418030"/>
              <a:gd name="connsiteY157" fmla="*/ 3631287 h 4878949"/>
              <a:gd name="connsiteX158" fmla="*/ 1840631 w 3418030"/>
              <a:gd name="connsiteY158" fmla="*/ 3634836 h 4878949"/>
              <a:gd name="connsiteX159" fmla="*/ 1843082 w 3418030"/>
              <a:gd name="connsiteY159" fmla="*/ 3636344 h 4878949"/>
              <a:gd name="connsiteX160" fmla="*/ 1849146 w 3418030"/>
              <a:gd name="connsiteY160" fmla="*/ 3640912 h 4878949"/>
              <a:gd name="connsiteX161" fmla="*/ 1863794 w 3418030"/>
              <a:gd name="connsiteY161" fmla="*/ 3651364 h 4878949"/>
              <a:gd name="connsiteX162" fmla="*/ 1869598 w 3418030"/>
              <a:gd name="connsiteY162" fmla="*/ 3656316 h 4878949"/>
              <a:gd name="connsiteX163" fmla="*/ 1872586 w 3418030"/>
              <a:gd name="connsiteY163" fmla="*/ 3658565 h 4878949"/>
              <a:gd name="connsiteX164" fmla="*/ 1878025 w 3418030"/>
              <a:gd name="connsiteY164" fmla="*/ 3663504 h 4878949"/>
              <a:gd name="connsiteX165" fmla="*/ 1890215 w 3418030"/>
              <a:gd name="connsiteY165" fmla="*/ 3673902 h 4878949"/>
              <a:gd name="connsiteX166" fmla="*/ 1896672 w 3418030"/>
              <a:gd name="connsiteY166" fmla="*/ 3680434 h 4878949"/>
              <a:gd name="connsiteX167" fmla="*/ 1900084 w 3418030"/>
              <a:gd name="connsiteY167" fmla="*/ 3683531 h 4878949"/>
              <a:gd name="connsiteX168" fmla="*/ 1904763 w 3418030"/>
              <a:gd name="connsiteY168" fmla="*/ 3688618 h 4878949"/>
              <a:gd name="connsiteX169" fmla="*/ 1914782 w 3418030"/>
              <a:gd name="connsiteY169" fmla="*/ 3698752 h 4878949"/>
              <a:gd name="connsiteX170" fmla="*/ 1921697 w 3418030"/>
              <a:gd name="connsiteY170" fmla="*/ 3707026 h 4878949"/>
              <a:gd name="connsiteX171" fmla="*/ 1925411 w 3418030"/>
              <a:gd name="connsiteY171" fmla="*/ 3711062 h 4878949"/>
              <a:gd name="connsiteX172" fmla="*/ 1929289 w 3418030"/>
              <a:gd name="connsiteY172" fmla="*/ 3716109 h 4878949"/>
              <a:gd name="connsiteX173" fmla="*/ 1937360 w 3418030"/>
              <a:gd name="connsiteY173" fmla="*/ 3725766 h 4878949"/>
              <a:gd name="connsiteX174" fmla="*/ 1944523 w 3418030"/>
              <a:gd name="connsiteY174" fmla="*/ 3735932 h 4878949"/>
              <a:gd name="connsiteX175" fmla="*/ 1948403 w 3418030"/>
              <a:gd name="connsiteY175" fmla="*/ 3740980 h 4878949"/>
              <a:gd name="connsiteX176" fmla="*/ 1951490 w 3418030"/>
              <a:gd name="connsiteY176" fmla="*/ 3745819 h 4878949"/>
              <a:gd name="connsiteX177" fmla="*/ 1957815 w 3418030"/>
              <a:gd name="connsiteY177" fmla="*/ 3754796 h 4878949"/>
              <a:gd name="connsiteX178" fmla="*/ 1965000 w 3418030"/>
              <a:gd name="connsiteY178" fmla="*/ 3766998 h 4878949"/>
              <a:gd name="connsiteX179" fmla="*/ 1968895 w 3418030"/>
              <a:gd name="connsiteY179" fmla="*/ 3773103 h 4878949"/>
              <a:gd name="connsiteX180" fmla="*/ 1971236 w 3418030"/>
              <a:gd name="connsiteY180" fmla="*/ 3777586 h 4878949"/>
              <a:gd name="connsiteX181" fmla="*/ 1976010 w 3418030"/>
              <a:gd name="connsiteY181" fmla="*/ 3785694 h 4878949"/>
              <a:gd name="connsiteX182" fmla="*/ 1982978 w 3418030"/>
              <a:gd name="connsiteY182" fmla="*/ 3800078 h 4878949"/>
              <a:gd name="connsiteX183" fmla="*/ 1986724 w 3418030"/>
              <a:gd name="connsiteY183" fmla="*/ 3807252 h 4878949"/>
              <a:gd name="connsiteX184" fmla="*/ 1988387 w 3418030"/>
              <a:gd name="connsiteY184" fmla="*/ 3811244 h 4878949"/>
              <a:gd name="connsiteX185" fmla="*/ 1991811 w 3418030"/>
              <a:gd name="connsiteY185" fmla="*/ 3818312 h 4878949"/>
              <a:gd name="connsiteX186" fmla="*/ 1998309 w 3418030"/>
              <a:gd name="connsiteY186" fmla="*/ 3835054 h 4878949"/>
              <a:gd name="connsiteX187" fmla="*/ 2001724 w 3418030"/>
              <a:gd name="connsiteY187" fmla="*/ 3843248 h 4878949"/>
              <a:gd name="connsiteX188" fmla="*/ 2002801 w 3418030"/>
              <a:gd name="connsiteY188" fmla="*/ 3846626 h 4878949"/>
              <a:gd name="connsiteX189" fmla="*/ 2005081 w 3418030"/>
              <a:gd name="connsiteY189" fmla="*/ 3852501 h 4878949"/>
              <a:gd name="connsiteX190" fmla="*/ 2010846 w 3418030"/>
              <a:gd name="connsiteY190" fmla="*/ 3871861 h 4878949"/>
              <a:gd name="connsiteX191" fmla="*/ 2013730 w 3418030"/>
              <a:gd name="connsiteY191" fmla="*/ 3880910 h 4878949"/>
              <a:gd name="connsiteX192" fmla="*/ 2014331 w 3418030"/>
              <a:gd name="connsiteY192" fmla="*/ 3883565 h 4878949"/>
              <a:gd name="connsiteX193" fmla="*/ 2015685 w 3418030"/>
              <a:gd name="connsiteY193" fmla="*/ 3888114 h 4878949"/>
              <a:gd name="connsiteX194" fmla="*/ 2020442 w 3418030"/>
              <a:gd name="connsiteY194" fmla="*/ 3910600 h 4878949"/>
              <a:gd name="connsiteX195" fmla="*/ 2020535 w 3418030"/>
              <a:gd name="connsiteY195" fmla="*/ 3911014 h 4878949"/>
              <a:gd name="connsiteX196" fmla="*/ 2021162 w 3418030"/>
              <a:gd name="connsiteY196" fmla="*/ 3911014 h 4878949"/>
              <a:gd name="connsiteX197" fmla="*/ 2023207 w 3418030"/>
              <a:gd name="connsiteY197" fmla="*/ 3922096 h 4878949"/>
              <a:gd name="connsiteX198" fmla="*/ 2023457 w 3418030"/>
              <a:gd name="connsiteY198" fmla="*/ 3924341 h 4878949"/>
              <a:gd name="connsiteX199" fmla="*/ 2024115 w 3418030"/>
              <a:gd name="connsiteY199" fmla="*/ 3928152 h 4878949"/>
              <a:gd name="connsiteX200" fmla="*/ 2027578 w 3418030"/>
              <a:gd name="connsiteY200" fmla="*/ 3961293 h 4878949"/>
              <a:gd name="connsiteX201" fmla="*/ 2028734 w 3418030"/>
              <a:gd name="connsiteY201" fmla="*/ 3971660 h 4878949"/>
              <a:gd name="connsiteX202" fmla="*/ 2028775 w 3418030"/>
              <a:gd name="connsiteY202" fmla="*/ 3972751 h 4878949"/>
              <a:gd name="connsiteX203" fmla="*/ 2028982 w 3418030"/>
              <a:gd name="connsiteY203" fmla="*/ 3974727 h 4878949"/>
              <a:gd name="connsiteX204" fmla="*/ 2029794 w 3418030"/>
              <a:gd name="connsiteY204" fmla="*/ 3997713 h 4878949"/>
              <a:gd name="connsiteX205" fmla="*/ 2030784 w 3418030"/>
              <a:gd name="connsiteY205" fmla="*/ 3997713 h 4878949"/>
              <a:gd name="connsiteX206" fmla="*/ 2030784 w 3418030"/>
              <a:gd name="connsiteY206" fmla="*/ 4018905 h 4878949"/>
              <a:gd name="connsiteX207" fmla="*/ 2030784 w 3418030"/>
              <a:gd name="connsiteY207" fmla="*/ 4025726 h 4878949"/>
              <a:gd name="connsiteX208" fmla="*/ 2030784 w 3418030"/>
              <a:gd name="connsiteY208" fmla="*/ 4025885 h 4878949"/>
              <a:gd name="connsiteX209" fmla="*/ 2030784 w 3418030"/>
              <a:gd name="connsiteY209" fmla="*/ 4025886 h 4878949"/>
              <a:gd name="connsiteX210" fmla="*/ 2031258 w 3418030"/>
              <a:gd name="connsiteY210" fmla="*/ 4025886 h 4878949"/>
              <a:gd name="connsiteX211" fmla="*/ 2031258 w 3418030"/>
              <a:gd name="connsiteY211" fmla="*/ 4065384 h 4878949"/>
              <a:gd name="connsiteX212" fmla="*/ 2031258 w 3418030"/>
              <a:gd name="connsiteY212" fmla="*/ 4127703 h 4878949"/>
              <a:gd name="connsiteX213" fmla="*/ 2031258 w 3418030"/>
              <a:gd name="connsiteY213" fmla="*/ 4168958 h 4878949"/>
              <a:gd name="connsiteX214" fmla="*/ 2031258 w 3418030"/>
              <a:gd name="connsiteY214" fmla="*/ 4340879 h 4878949"/>
              <a:gd name="connsiteX215" fmla="*/ 2031258 w 3418030"/>
              <a:gd name="connsiteY215" fmla="*/ 4350450 h 4878949"/>
              <a:gd name="connsiteX216" fmla="*/ 2031258 w 3418030"/>
              <a:gd name="connsiteY216" fmla="*/ 4385812 h 4878949"/>
              <a:gd name="connsiteX217" fmla="*/ 2031258 w 3418030"/>
              <a:gd name="connsiteY217" fmla="*/ 4395548 h 4878949"/>
              <a:gd name="connsiteX218" fmla="*/ 2031258 w 3418030"/>
              <a:gd name="connsiteY218" fmla="*/ 4420700 h 4878949"/>
              <a:gd name="connsiteX219" fmla="*/ 2031258 w 3418030"/>
              <a:gd name="connsiteY219" fmla="*/ 4442154 h 4878949"/>
              <a:gd name="connsiteX220" fmla="*/ 2031258 w 3418030"/>
              <a:gd name="connsiteY220" fmla="*/ 4467010 h 4878949"/>
              <a:gd name="connsiteX221" fmla="*/ 2031258 w 3418030"/>
              <a:gd name="connsiteY221" fmla="*/ 4488834 h 4878949"/>
              <a:gd name="connsiteX222" fmla="*/ 2030789 w 3418030"/>
              <a:gd name="connsiteY222" fmla="*/ 4488834 h 4878949"/>
              <a:gd name="connsiteX223" fmla="*/ 2030789 w 3418030"/>
              <a:gd name="connsiteY223" fmla="*/ 4825652 h 4878949"/>
              <a:gd name="connsiteX224" fmla="*/ 2030789 w 3418030"/>
              <a:gd name="connsiteY224" fmla="*/ 4878949 h 4878949"/>
              <a:gd name="connsiteX225" fmla="*/ 2004140 w 3418030"/>
              <a:gd name="connsiteY225" fmla="*/ 4878949 h 4878949"/>
              <a:gd name="connsiteX226" fmla="*/ 1768470 w 3418030"/>
              <a:gd name="connsiteY226" fmla="*/ 4878949 h 4878949"/>
              <a:gd name="connsiteX227" fmla="*/ 1750503 w 3418030"/>
              <a:gd name="connsiteY227" fmla="*/ 4878949 h 4878949"/>
              <a:gd name="connsiteX228" fmla="*/ 1741822 w 3418030"/>
              <a:gd name="connsiteY228" fmla="*/ 4878949 h 4878949"/>
              <a:gd name="connsiteX229" fmla="*/ 1723854 w 3418030"/>
              <a:gd name="connsiteY229" fmla="*/ 4878949 h 4878949"/>
              <a:gd name="connsiteX230" fmla="*/ 1634240 w 3418030"/>
              <a:gd name="connsiteY230" fmla="*/ 4878949 h 4878949"/>
              <a:gd name="connsiteX231" fmla="*/ 1634005 w 3418030"/>
              <a:gd name="connsiteY231" fmla="*/ 4878949 h 4878949"/>
              <a:gd name="connsiteX232" fmla="*/ 1634002 w 3418030"/>
              <a:gd name="connsiteY232" fmla="*/ 4878949 h 4878949"/>
              <a:gd name="connsiteX233" fmla="*/ 1633998 w 3418030"/>
              <a:gd name="connsiteY233" fmla="*/ 4878949 h 4878949"/>
              <a:gd name="connsiteX234" fmla="*/ 1615361 w 3418030"/>
              <a:gd name="connsiteY234" fmla="*/ 4878949 h 4878949"/>
              <a:gd name="connsiteX235" fmla="*/ 1607591 w 3418030"/>
              <a:gd name="connsiteY235" fmla="*/ 4878949 h 4878949"/>
              <a:gd name="connsiteX236" fmla="*/ 1607357 w 3418030"/>
              <a:gd name="connsiteY236" fmla="*/ 4878949 h 4878949"/>
              <a:gd name="connsiteX237" fmla="*/ 1607354 w 3418030"/>
              <a:gd name="connsiteY237" fmla="*/ 4878949 h 4878949"/>
              <a:gd name="connsiteX238" fmla="*/ 1607350 w 3418030"/>
              <a:gd name="connsiteY238" fmla="*/ 4878949 h 4878949"/>
              <a:gd name="connsiteX239" fmla="*/ 1588712 w 3418030"/>
              <a:gd name="connsiteY239" fmla="*/ 4878949 h 4878949"/>
              <a:gd name="connsiteX240" fmla="*/ 1488184 w 3418030"/>
              <a:gd name="connsiteY240" fmla="*/ 4878949 h 4878949"/>
              <a:gd name="connsiteX241" fmla="*/ 1461535 w 3418030"/>
              <a:gd name="connsiteY241" fmla="*/ 4878949 h 4878949"/>
              <a:gd name="connsiteX242" fmla="*/ 1371921 w 3418030"/>
              <a:gd name="connsiteY242" fmla="*/ 4878949 h 4878949"/>
              <a:gd name="connsiteX243" fmla="*/ 1371687 w 3418030"/>
              <a:gd name="connsiteY243" fmla="*/ 4878949 h 4878949"/>
              <a:gd name="connsiteX244" fmla="*/ 1371683 w 3418030"/>
              <a:gd name="connsiteY244" fmla="*/ 4878949 h 4878949"/>
              <a:gd name="connsiteX245" fmla="*/ 1371679 w 3418030"/>
              <a:gd name="connsiteY245" fmla="*/ 4878949 h 4878949"/>
              <a:gd name="connsiteX246" fmla="*/ 1367507 w 3418030"/>
              <a:gd name="connsiteY246" fmla="*/ 4878949 h 4878949"/>
              <a:gd name="connsiteX247" fmla="*/ 1353954 w 3418030"/>
              <a:gd name="connsiteY247" fmla="*/ 4878949 h 4878949"/>
              <a:gd name="connsiteX248" fmla="*/ 1353719 w 3418030"/>
              <a:gd name="connsiteY248" fmla="*/ 4878949 h 4878949"/>
              <a:gd name="connsiteX249" fmla="*/ 1353716 w 3418030"/>
              <a:gd name="connsiteY249" fmla="*/ 4878949 h 4878949"/>
              <a:gd name="connsiteX250" fmla="*/ 1353712 w 3418030"/>
              <a:gd name="connsiteY250" fmla="*/ 4878949 h 4878949"/>
              <a:gd name="connsiteX251" fmla="*/ 1353043 w 3418030"/>
              <a:gd name="connsiteY251" fmla="*/ 4878949 h 4878949"/>
              <a:gd name="connsiteX252" fmla="*/ 1345272 w 3418030"/>
              <a:gd name="connsiteY252" fmla="*/ 4878949 h 4878949"/>
              <a:gd name="connsiteX253" fmla="*/ 1345038 w 3418030"/>
              <a:gd name="connsiteY253" fmla="*/ 4878949 h 4878949"/>
              <a:gd name="connsiteX254" fmla="*/ 1345035 w 3418030"/>
              <a:gd name="connsiteY254" fmla="*/ 4878949 h 4878949"/>
              <a:gd name="connsiteX255" fmla="*/ 1345031 w 3418030"/>
              <a:gd name="connsiteY255" fmla="*/ 4878949 h 4878949"/>
              <a:gd name="connsiteX256" fmla="*/ 1340858 w 3418030"/>
              <a:gd name="connsiteY256" fmla="*/ 4878949 h 4878949"/>
              <a:gd name="connsiteX257" fmla="*/ 1335075 w 3418030"/>
              <a:gd name="connsiteY257" fmla="*/ 4878949 h 4878949"/>
              <a:gd name="connsiteX258" fmla="*/ 1327305 w 3418030"/>
              <a:gd name="connsiteY258" fmla="*/ 4878949 h 4878949"/>
              <a:gd name="connsiteX259" fmla="*/ 1327071 w 3418030"/>
              <a:gd name="connsiteY259" fmla="*/ 4878949 h 4878949"/>
              <a:gd name="connsiteX260" fmla="*/ 1327067 w 3418030"/>
              <a:gd name="connsiteY260" fmla="*/ 4878949 h 4878949"/>
              <a:gd name="connsiteX261" fmla="*/ 1327063 w 3418030"/>
              <a:gd name="connsiteY261" fmla="*/ 4878949 h 4878949"/>
              <a:gd name="connsiteX262" fmla="*/ 1326394 w 3418030"/>
              <a:gd name="connsiteY262" fmla="*/ 4878949 h 4878949"/>
              <a:gd name="connsiteX263" fmla="*/ 1308426 w 3418030"/>
              <a:gd name="connsiteY263" fmla="*/ 4878949 h 4878949"/>
              <a:gd name="connsiteX264" fmla="*/ 1105188 w 3418030"/>
              <a:gd name="connsiteY264" fmla="*/ 4878949 h 4878949"/>
              <a:gd name="connsiteX265" fmla="*/ 1091635 w 3418030"/>
              <a:gd name="connsiteY265" fmla="*/ 4878949 h 4878949"/>
              <a:gd name="connsiteX266" fmla="*/ 1091401 w 3418030"/>
              <a:gd name="connsiteY266" fmla="*/ 4878949 h 4878949"/>
              <a:gd name="connsiteX267" fmla="*/ 1091397 w 3418030"/>
              <a:gd name="connsiteY267" fmla="*/ 4878949 h 4878949"/>
              <a:gd name="connsiteX268" fmla="*/ 1091393 w 3418030"/>
              <a:gd name="connsiteY268" fmla="*/ 4878949 h 4878949"/>
              <a:gd name="connsiteX269" fmla="*/ 1087221 w 3418030"/>
              <a:gd name="connsiteY269" fmla="*/ 4878949 h 4878949"/>
              <a:gd name="connsiteX270" fmla="*/ 1078540 w 3418030"/>
              <a:gd name="connsiteY270" fmla="*/ 4878949 h 4878949"/>
              <a:gd name="connsiteX271" fmla="*/ 1072756 w 3418030"/>
              <a:gd name="connsiteY271" fmla="*/ 4878949 h 4878949"/>
              <a:gd name="connsiteX272" fmla="*/ 1064986 w 3418030"/>
              <a:gd name="connsiteY272" fmla="*/ 4878949 h 4878949"/>
              <a:gd name="connsiteX273" fmla="*/ 1064752 w 3418030"/>
              <a:gd name="connsiteY273" fmla="*/ 4878949 h 4878949"/>
              <a:gd name="connsiteX274" fmla="*/ 1064748 w 3418030"/>
              <a:gd name="connsiteY274" fmla="*/ 4878949 h 4878949"/>
              <a:gd name="connsiteX275" fmla="*/ 1064745 w 3418030"/>
              <a:gd name="connsiteY275" fmla="*/ 4878949 h 4878949"/>
              <a:gd name="connsiteX276" fmla="*/ 1060572 w 3418030"/>
              <a:gd name="connsiteY276" fmla="*/ 4878949 h 4878949"/>
              <a:gd name="connsiteX277" fmla="*/ 1046108 w 3418030"/>
              <a:gd name="connsiteY277" fmla="*/ 4878949 h 4878949"/>
              <a:gd name="connsiteX278" fmla="*/ 970958 w 3418030"/>
              <a:gd name="connsiteY278" fmla="*/ 4878949 h 4878949"/>
              <a:gd name="connsiteX279" fmla="*/ 970723 w 3418030"/>
              <a:gd name="connsiteY279" fmla="*/ 4878949 h 4878949"/>
              <a:gd name="connsiteX280" fmla="*/ 970720 w 3418030"/>
              <a:gd name="connsiteY280" fmla="*/ 4878949 h 4878949"/>
              <a:gd name="connsiteX281" fmla="*/ 970716 w 3418030"/>
              <a:gd name="connsiteY281" fmla="*/ 4878949 h 4878949"/>
              <a:gd name="connsiteX282" fmla="*/ 952079 w 3418030"/>
              <a:gd name="connsiteY282" fmla="*/ 4878949 h 4878949"/>
              <a:gd name="connsiteX283" fmla="*/ 944309 w 3418030"/>
              <a:gd name="connsiteY283" fmla="*/ 4878949 h 4878949"/>
              <a:gd name="connsiteX284" fmla="*/ 944075 w 3418030"/>
              <a:gd name="connsiteY284" fmla="*/ 4878949 h 4878949"/>
              <a:gd name="connsiteX285" fmla="*/ 944072 w 3418030"/>
              <a:gd name="connsiteY285" fmla="*/ 4878949 h 4878949"/>
              <a:gd name="connsiteX286" fmla="*/ 944068 w 3418030"/>
              <a:gd name="connsiteY286" fmla="*/ 4878949 h 4878949"/>
              <a:gd name="connsiteX287" fmla="*/ 925430 w 3418030"/>
              <a:gd name="connsiteY287" fmla="*/ 4878949 h 4878949"/>
              <a:gd name="connsiteX288" fmla="*/ 824902 w 3418030"/>
              <a:gd name="connsiteY288" fmla="*/ 4878949 h 4878949"/>
              <a:gd name="connsiteX289" fmla="*/ 798253 w 3418030"/>
              <a:gd name="connsiteY289" fmla="*/ 4878949 h 4878949"/>
              <a:gd name="connsiteX290" fmla="*/ 708639 w 3418030"/>
              <a:gd name="connsiteY290" fmla="*/ 4878949 h 4878949"/>
              <a:gd name="connsiteX291" fmla="*/ 708405 w 3418030"/>
              <a:gd name="connsiteY291" fmla="*/ 4878949 h 4878949"/>
              <a:gd name="connsiteX292" fmla="*/ 708401 w 3418030"/>
              <a:gd name="connsiteY292" fmla="*/ 4878949 h 4878949"/>
              <a:gd name="connsiteX293" fmla="*/ 708397 w 3418030"/>
              <a:gd name="connsiteY293" fmla="*/ 4878949 h 4878949"/>
              <a:gd name="connsiteX294" fmla="*/ 690672 w 3418030"/>
              <a:gd name="connsiteY294" fmla="*/ 4878949 h 4878949"/>
              <a:gd name="connsiteX295" fmla="*/ 690437 w 3418030"/>
              <a:gd name="connsiteY295" fmla="*/ 4878949 h 4878949"/>
              <a:gd name="connsiteX296" fmla="*/ 690434 w 3418030"/>
              <a:gd name="connsiteY296" fmla="*/ 4878949 h 4878949"/>
              <a:gd name="connsiteX297" fmla="*/ 690430 w 3418030"/>
              <a:gd name="connsiteY297" fmla="*/ 4878949 h 4878949"/>
              <a:gd name="connsiteX298" fmla="*/ 689761 w 3418030"/>
              <a:gd name="connsiteY298" fmla="*/ 4878949 h 4878949"/>
              <a:gd name="connsiteX299" fmla="*/ 681990 w 3418030"/>
              <a:gd name="connsiteY299" fmla="*/ 4878949 h 4878949"/>
              <a:gd name="connsiteX300" fmla="*/ 681756 w 3418030"/>
              <a:gd name="connsiteY300" fmla="*/ 4878949 h 4878949"/>
              <a:gd name="connsiteX301" fmla="*/ 681753 w 3418030"/>
              <a:gd name="connsiteY301" fmla="*/ 4878949 h 4878949"/>
              <a:gd name="connsiteX302" fmla="*/ 681749 w 3418030"/>
              <a:gd name="connsiteY302" fmla="*/ 4878949 h 4878949"/>
              <a:gd name="connsiteX303" fmla="*/ 671793 w 3418030"/>
              <a:gd name="connsiteY303" fmla="*/ 4878949 h 4878949"/>
              <a:gd name="connsiteX304" fmla="*/ 664023 w 3418030"/>
              <a:gd name="connsiteY304" fmla="*/ 4878949 h 4878949"/>
              <a:gd name="connsiteX305" fmla="*/ 663789 w 3418030"/>
              <a:gd name="connsiteY305" fmla="*/ 4878949 h 4878949"/>
              <a:gd name="connsiteX306" fmla="*/ 663785 w 3418030"/>
              <a:gd name="connsiteY306" fmla="*/ 4878949 h 4878949"/>
              <a:gd name="connsiteX307" fmla="*/ 663781 w 3418030"/>
              <a:gd name="connsiteY307" fmla="*/ 4878949 h 4878949"/>
              <a:gd name="connsiteX308" fmla="*/ 663112 w 3418030"/>
              <a:gd name="connsiteY308" fmla="*/ 4878949 h 4878949"/>
              <a:gd name="connsiteX309" fmla="*/ 645144 w 3418030"/>
              <a:gd name="connsiteY309" fmla="*/ 4878949 h 4878949"/>
              <a:gd name="connsiteX310" fmla="*/ 428353 w 3418030"/>
              <a:gd name="connsiteY310" fmla="*/ 4878949 h 4878949"/>
              <a:gd name="connsiteX311" fmla="*/ 428119 w 3418030"/>
              <a:gd name="connsiteY311" fmla="*/ 4878949 h 4878949"/>
              <a:gd name="connsiteX312" fmla="*/ 428115 w 3418030"/>
              <a:gd name="connsiteY312" fmla="*/ 4878949 h 4878949"/>
              <a:gd name="connsiteX313" fmla="*/ 428111 w 3418030"/>
              <a:gd name="connsiteY313" fmla="*/ 4878949 h 4878949"/>
              <a:gd name="connsiteX314" fmla="*/ 409474 w 3418030"/>
              <a:gd name="connsiteY314" fmla="*/ 4878949 h 4878949"/>
              <a:gd name="connsiteX315" fmla="*/ 401704 w 3418030"/>
              <a:gd name="connsiteY315" fmla="*/ 4878949 h 4878949"/>
              <a:gd name="connsiteX316" fmla="*/ 401470 w 3418030"/>
              <a:gd name="connsiteY316" fmla="*/ 4878949 h 4878949"/>
              <a:gd name="connsiteX317" fmla="*/ 401466 w 3418030"/>
              <a:gd name="connsiteY317" fmla="*/ 4878949 h 4878949"/>
              <a:gd name="connsiteX318" fmla="*/ 401462 w 3418030"/>
              <a:gd name="connsiteY318" fmla="*/ 4878949 h 4878949"/>
              <a:gd name="connsiteX319" fmla="*/ 382826 w 3418030"/>
              <a:gd name="connsiteY319" fmla="*/ 4878949 h 4878949"/>
              <a:gd name="connsiteX320" fmla="*/ 382826 w 3418030"/>
              <a:gd name="connsiteY320" fmla="*/ 4878022 h 4878949"/>
              <a:gd name="connsiteX321" fmla="*/ 363616 w 3418030"/>
              <a:gd name="connsiteY321" fmla="*/ 4877077 h 4878949"/>
              <a:gd name="connsiteX322" fmla="*/ 362450 w 3418030"/>
              <a:gd name="connsiteY322" fmla="*/ 4876905 h 4878949"/>
              <a:gd name="connsiteX323" fmla="*/ 360898 w 3418030"/>
              <a:gd name="connsiteY323" fmla="*/ 4876823 h 4878949"/>
              <a:gd name="connsiteX324" fmla="*/ 292547 w 3418030"/>
              <a:gd name="connsiteY324" fmla="*/ 4863240 h 4878949"/>
              <a:gd name="connsiteX325" fmla="*/ 290939 w 3418030"/>
              <a:gd name="connsiteY325" fmla="*/ 4862685 h 4878949"/>
              <a:gd name="connsiteX326" fmla="*/ 290662 w 3418030"/>
              <a:gd name="connsiteY326" fmla="*/ 4862616 h 4878949"/>
              <a:gd name="connsiteX327" fmla="*/ 287903 w 3418030"/>
              <a:gd name="connsiteY327" fmla="*/ 4861637 h 4878949"/>
              <a:gd name="connsiteX328" fmla="*/ 260068 w 3418030"/>
              <a:gd name="connsiteY328" fmla="*/ 4852032 h 4878949"/>
              <a:gd name="connsiteX329" fmla="*/ 257211 w 3418030"/>
              <a:gd name="connsiteY329" fmla="*/ 4850752 h 4878949"/>
              <a:gd name="connsiteX330" fmla="*/ 256125 w 3418030"/>
              <a:gd name="connsiteY330" fmla="*/ 4850367 h 4878949"/>
              <a:gd name="connsiteX331" fmla="*/ 250255 w 3418030"/>
              <a:gd name="connsiteY331" fmla="*/ 4847636 h 4878949"/>
              <a:gd name="connsiteX332" fmla="*/ 228901 w 3418030"/>
              <a:gd name="connsiteY332" fmla="*/ 4838068 h 4878949"/>
              <a:gd name="connsiteX333" fmla="*/ 224915 w 3418030"/>
              <a:gd name="connsiteY333" fmla="*/ 4835845 h 4878949"/>
              <a:gd name="connsiteX334" fmla="*/ 223101 w 3418030"/>
              <a:gd name="connsiteY334" fmla="*/ 4835001 h 4878949"/>
              <a:gd name="connsiteX335" fmla="*/ 216732 w 3418030"/>
              <a:gd name="connsiteY335" fmla="*/ 4831280 h 4878949"/>
              <a:gd name="connsiteX336" fmla="*/ 199181 w 3418030"/>
              <a:gd name="connsiteY336" fmla="*/ 4821488 h 4878949"/>
              <a:gd name="connsiteX337" fmla="*/ 194206 w 3418030"/>
              <a:gd name="connsiteY337" fmla="*/ 4818119 h 4878949"/>
              <a:gd name="connsiteX338" fmla="*/ 191756 w 3418030"/>
              <a:gd name="connsiteY338" fmla="*/ 4816688 h 4878949"/>
              <a:gd name="connsiteX339" fmla="*/ 185691 w 3418030"/>
              <a:gd name="connsiteY339" fmla="*/ 4812352 h 4878949"/>
              <a:gd name="connsiteX340" fmla="*/ 171043 w 3418030"/>
              <a:gd name="connsiteY340" fmla="*/ 4802432 h 4878949"/>
              <a:gd name="connsiteX341" fmla="*/ 165239 w 3418030"/>
              <a:gd name="connsiteY341" fmla="*/ 4797733 h 4878949"/>
              <a:gd name="connsiteX342" fmla="*/ 162251 w 3418030"/>
              <a:gd name="connsiteY342" fmla="*/ 4795598 h 4878949"/>
              <a:gd name="connsiteX343" fmla="*/ 156813 w 3418030"/>
              <a:gd name="connsiteY343" fmla="*/ 4790911 h 4878949"/>
              <a:gd name="connsiteX344" fmla="*/ 144622 w 3418030"/>
              <a:gd name="connsiteY344" fmla="*/ 4781042 h 4878949"/>
              <a:gd name="connsiteX345" fmla="*/ 138166 w 3418030"/>
              <a:gd name="connsiteY345" fmla="*/ 4774843 h 4878949"/>
              <a:gd name="connsiteX346" fmla="*/ 134753 w 3418030"/>
              <a:gd name="connsiteY346" fmla="*/ 4771903 h 4878949"/>
              <a:gd name="connsiteX347" fmla="*/ 130074 w 3418030"/>
              <a:gd name="connsiteY347" fmla="*/ 4767074 h 4878949"/>
              <a:gd name="connsiteX348" fmla="*/ 120055 w 3418030"/>
              <a:gd name="connsiteY348" fmla="*/ 4757456 h 4878949"/>
              <a:gd name="connsiteX349" fmla="*/ 113140 w 3418030"/>
              <a:gd name="connsiteY349" fmla="*/ 4749604 h 4878949"/>
              <a:gd name="connsiteX350" fmla="*/ 109426 w 3418030"/>
              <a:gd name="connsiteY350" fmla="*/ 4745772 h 4878949"/>
              <a:gd name="connsiteX351" fmla="*/ 105548 w 3418030"/>
              <a:gd name="connsiteY351" fmla="*/ 4740983 h 4878949"/>
              <a:gd name="connsiteX352" fmla="*/ 97477 w 3418030"/>
              <a:gd name="connsiteY352" fmla="*/ 4731817 h 4878949"/>
              <a:gd name="connsiteX353" fmla="*/ 90314 w 3418030"/>
              <a:gd name="connsiteY353" fmla="*/ 4722168 h 4878949"/>
              <a:gd name="connsiteX354" fmla="*/ 86434 w 3418030"/>
              <a:gd name="connsiteY354" fmla="*/ 4717378 h 4878949"/>
              <a:gd name="connsiteX355" fmla="*/ 83347 w 3418030"/>
              <a:gd name="connsiteY355" fmla="*/ 4712785 h 4878949"/>
              <a:gd name="connsiteX356" fmla="*/ 77022 w 3418030"/>
              <a:gd name="connsiteY356" fmla="*/ 4704265 h 4878949"/>
              <a:gd name="connsiteX357" fmla="*/ 69837 w 3418030"/>
              <a:gd name="connsiteY357" fmla="*/ 4692685 h 4878949"/>
              <a:gd name="connsiteX358" fmla="*/ 65942 w 3418030"/>
              <a:gd name="connsiteY358" fmla="*/ 4686890 h 4878949"/>
              <a:gd name="connsiteX359" fmla="*/ 63602 w 3418030"/>
              <a:gd name="connsiteY359" fmla="*/ 4682635 h 4878949"/>
              <a:gd name="connsiteX360" fmla="*/ 58827 w 3418030"/>
              <a:gd name="connsiteY360" fmla="*/ 4674940 h 4878949"/>
              <a:gd name="connsiteX361" fmla="*/ 51860 w 3418030"/>
              <a:gd name="connsiteY361" fmla="*/ 4661288 h 4878949"/>
              <a:gd name="connsiteX362" fmla="*/ 48114 w 3418030"/>
              <a:gd name="connsiteY362" fmla="*/ 4654479 h 4878949"/>
              <a:gd name="connsiteX363" fmla="*/ 46451 w 3418030"/>
              <a:gd name="connsiteY363" fmla="*/ 4650690 h 4878949"/>
              <a:gd name="connsiteX364" fmla="*/ 43027 w 3418030"/>
              <a:gd name="connsiteY364" fmla="*/ 4643982 h 4878949"/>
              <a:gd name="connsiteX365" fmla="*/ 36529 w 3418030"/>
              <a:gd name="connsiteY365" fmla="*/ 4628092 h 4878949"/>
              <a:gd name="connsiteX366" fmla="*/ 33114 w 3418030"/>
              <a:gd name="connsiteY366" fmla="*/ 4620315 h 4878949"/>
              <a:gd name="connsiteX367" fmla="*/ 32037 w 3418030"/>
              <a:gd name="connsiteY367" fmla="*/ 4617109 h 4878949"/>
              <a:gd name="connsiteX368" fmla="*/ 29757 w 3418030"/>
              <a:gd name="connsiteY368" fmla="*/ 4611533 h 4878949"/>
              <a:gd name="connsiteX369" fmla="*/ 23992 w 3418030"/>
              <a:gd name="connsiteY369" fmla="*/ 4593159 h 4878949"/>
              <a:gd name="connsiteX370" fmla="*/ 21107 w 3418030"/>
              <a:gd name="connsiteY370" fmla="*/ 4584570 h 4878949"/>
              <a:gd name="connsiteX371" fmla="*/ 20507 w 3418030"/>
              <a:gd name="connsiteY371" fmla="*/ 4582050 h 4878949"/>
              <a:gd name="connsiteX372" fmla="*/ 19153 w 3418030"/>
              <a:gd name="connsiteY372" fmla="*/ 4577733 h 4878949"/>
              <a:gd name="connsiteX373" fmla="*/ 14395 w 3418030"/>
              <a:gd name="connsiteY373" fmla="*/ 4556392 h 4878949"/>
              <a:gd name="connsiteX374" fmla="*/ 12257 w 3418030"/>
              <a:gd name="connsiteY374" fmla="*/ 4547414 h 4878949"/>
              <a:gd name="connsiteX375" fmla="*/ 12007 w 3418030"/>
              <a:gd name="connsiteY375" fmla="*/ 4545675 h 4878949"/>
              <a:gd name="connsiteX376" fmla="*/ 11349 w 3418030"/>
              <a:gd name="connsiteY376" fmla="*/ 4542722 h 4878949"/>
              <a:gd name="connsiteX377" fmla="*/ 7886 w 3418030"/>
              <a:gd name="connsiteY377" fmla="*/ 4517048 h 4878949"/>
              <a:gd name="connsiteX378" fmla="*/ 6730 w 3418030"/>
              <a:gd name="connsiteY378" fmla="*/ 4509017 h 4878949"/>
              <a:gd name="connsiteX379" fmla="*/ 6688 w 3418030"/>
              <a:gd name="connsiteY379" fmla="*/ 4508172 h 4878949"/>
              <a:gd name="connsiteX380" fmla="*/ 6481 w 3418030"/>
              <a:gd name="connsiteY380" fmla="*/ 4506641 h 4878949"/>
              <a:gd name="connsiteX381" fmla="*/ 5670 w 3418030"/>
              <a:gd name="connsiteY381" fmla="*/ 4488834 h 4878949"/>
              <a:gd name="connsiteX382" fmla="*/ 4679 w 3418030"/>
              <a:gd name="connsiteY382" fmla="*/ 4488834 h 4878949"/>
              <a:gd name="connsiteX383" fmla="*/ 4679 w 3418030"/>
              <a:gd name="connsiteY383" fmla="*/ 4476023 h 4878949"/>
              <a:gd name="connsiteX384" fmla="*/ 3837 w 3418030"/>
              <a:gd name="connsiteY384" fmla="*/ 4469889 h 4878949"/>
              <a:gd name="connsiteX385" fmla="*/ 2681 w 3418030"/>
              <a:gd name="connsiteY385" fmla="*/ 4461995 h 4878949"/>
              <a:gd name="connsiteX386" fmla="*/ 2640 w 3418030"/>
              <a:gd name="connsiteY386" fmla="*/ 4461163 h 4878949"/>
              <a:gd name="connsiteX387" fmla="*/ 2433 w 3418030"/>
              <a:gd name="connsiteY387" fmla="*/ 4459658 h 4878949"/>
              <a:gd name="connsiteX388" fmla="*/ 1621 w 3418030"/>
              <a:gd name="connsiteY388" fmla="*/ 4442154 h 4878949"/>
              <a:gd name="connsiteX389" fmla="*/ 631 w 3418030"/>
              <a:gd name="connsiteY389" fmla="*/ 4442154 h 4878949"/>
              <a:gd name="connsiteX390" fmla="*/ 631 w 3418030"/>
              <a:gd name="connsiteY390" fmla="*/ 4426015 h 4878949"/>
              <a:gd name="connsiteX391" fmla="*/ 631 w 3418030"/>
              <a:gd name="connsiteY391" fmla="*/ 4420821 h 4878949"/>
              <a:gd name="connsiteX392" fmla="*/ 631 w 3418030"/>
              <a:gd name="connsiteY392" fmla="*/ 4420700 h 4878949"/>
              <a:gd name="connsiteX393" fmla="*/ 156 w 3418030"/>
              <a:gd name="connsiteY393" fmla="*/ 4420700 h 4878949"/>
              <a:gd name="connsiteX394" fmla="*/ 156 w 3418030"/>
              <a:gd name="connsiteY394" fmla="*/ 4350450 h 4878949"/>
              <a:gd name="connsiteX395" fmla="*/ 156 w 3418030"/>
              <a:gd name="connsiteY395" fmla="*/ 4340879 h 4878949"/>
              <a:gd name="connsiteX396" fmla="*/ 156 w 3418030"/>
              <a:gd name="connsiteY396" fmla="*/ 4127703 h 4878949"/>
              <a:gd name="connsiteX397" fmla="*/ 156 w 3418030"/>
              <a:gd name="connsiteY397" fmla="*/ 4025885 h 4878949"/>
              <a:gd name="connsiteX398" fmla="*/ 156 w 3418030"/>
              <a:gd name="connsiteY398" fmla="*/ 3997713 h 4878949"/>
              <a:gd name="connsiteX399" fmla="*/ 626 w 3418030"/>
              <a:gd name="connsiteY399" fmla="*/ 3997713 h 4878949"/>
              <a:gd name="connsiteX400" fmla="*/ 626 w 3418030"/>
              <a:gd name="connsiteY400" fmla="*/ 3911014 h 4878949"/>
              <a:gd name="connsiteX401" fmla="*/ 0 w 3418030"/>
              <a:gd name="connsiteY401" fmla="*/ 3911014 h 4878949"/>
              <a:gd name="connsiteX402" fmla="*/ 0 w 3418030"/>
              <a:gd name="connsiteY402" fmla="*/ 3908592 h 4878949"/>
              <a:gd name="connsiteX403" fmla="*/ 0 w 3418030"/>
              <a:gd name="connsiteY403" fmla="*/ 3570744 h 4878949"/>
              <a:gd name="connsiteX404" fmla="*/ 0 w 3418030"/>
              <a:gd name="connsiteY404" fmla="*/ 2076617 h 4878949"/>
              <a:gd name="connsiteX405" fmla="*/ 3302 w 3418030"/>
              <a:gd name="connsiteY405" fmla="*/ 2076617 h 4878949"/>
              <a:gd name="connsiteX406" fmla="*/ 3302 w 3418030"/>
              <a:gd name="connsiteY406" fmla="*/ 2074287 h 4878949"/>
              <a:gd name="connsiteX407" fmla="*/ 3302 w 3418030"/>
              <a:gd name="connsiteY407" fmla="*/ 1850939 h 4878949"/>
              <a:gd name="connsiteX408" fmla="*/ 3302 w 3418030"/>
              <a:gd name="connsiteY408" fmla="*/ 1850328 h 4878949"/>
              <a:gd name="connsiteX409" fmla="*/ 3301 w 3418030"/>
              <a:gd name="connsiteY409" fmla="*/ 1850319 h 4878949"/>
              <a:gd name="connsiteX410" fmla="*/ 3302 w 3418030"/>
              <a:gd name="connsiteY410" fmla="*/ 1850309 h 4878949"/>
              <a:gd name="connsiteX411" fmla="*/ 3302 w 3418030"/>
              <a:gd name="connsiteY411" fmla="*/ 1804040 h 4878949"/>
              <a:gd name="connsiteX412" fmla="*/ 3302 w 3418030"/>
              <a:gd name="connsiteY412" fmla="*/ 1803429 h 4878949"/>
              <a:gd name="connsiteX413" fmla="*/ 3301 w 3418030"/>
              <a:gd name="connsiteY413" fmla="*/ 1803419 h 4878949"/>
              <a:gd name="connsiteX414" fmla="*/ 3302 w 3418030"/>
              <a:gd name="connsiteY414" fmla="*/ 1803409 h 4878949"/>
              <a:gd name="connsiteX415" fmla="*/ 3302 w 3418030"/>
              <a:gd name="connsiteY415" fmla="*/ 1801662 h 4878949"/>
              <a:gd name="connsiteX416" fmla="*/ 3302 w 3418030"/>
              <a:gd name="connsiteY416" fmla="*/ 1770814 h 4878949"/>
              <a:gd name="connsiteX417" fmla="*/ 3302 w 3418030"/>
              <a:gd name="connsiteY417" fmla="*/ 1770203 h 4878949"/>
              <a:gd name="connsiteX418" fmla="*/ 3301 w 3418030"/>
              <a:gd name="connsiteY418" fmla="*/ 1770192 h 4878949"/>
              <a:gd name="connsiteX419" fmla="*/ 3302 w 3418030"/>
              <a:gd name="connsiteY419" fmla="*/ 1770183 h 4878949"/>
              <a:gd name="connsiteX420" fmla="*/ 3302 w 3418030"/>
              <a:gd name="connsiteY420" fmla="*/ 1754762 h 4878949"/>
              <a:gd name="connsiteX421" fmla="*/ 3302 w 3418030"/>
              <a:gd name="connsiteY421" fmla="*/ 1723914 h 4878949"/>
              <a:gd name="connsiteX422" fmla="*/ 3302 w 3418030"/>
              <a:gd name="connsiteY422" fmla="*/ 1723304 h 4878949"/>
              <a:gd name="connsiteX423" fmla="*/ 3301 w 3418030"/>
              <a:gd name="connsiteY423" fmla="*/ 1723293 h 4878949"/>
              <a:gd name="connsiteX424" fmla="*/ 3302 w 3418030"/>
              <a:gd name="connsiteY424" fmla="*/ 1723284 h 4878949"/>
              <a:gd name="connsiteX425" fmla="*/ 3302 w 3418030"/>
              <a:gd name="connsiteY425" fmla="*/ 1721537 h 4878949"/>
              <a:gd name="connsiteX426" fmla="*/ 3302 w 3418030"/>
              <a:gd name="connsiteY426" fmla="*/ 1674636 h 4878949"/>
              <a:gd name="connsiteX427" fmla="*/ 3302 w 3418030"/>
              <a:gd name="connsiteY427" fmla="*/ 1119326 h 4878949"/>
              <a:gd name="connsiteX428" fmla="*/ 3302 w 3418030"/>
              <a:gd name="connsiteY428" fmla="*/ 1118715 h 4878949"/>
              <a:gd name="connsiteX429" fmla="*/ 3301 w 3418030"/>
              <a:gd name="connsiteY429" fmla="*/ 1118705 h 4878949"/>
              <a:gd name="connsiteX430" fmla="*/ 3302 w 3418030"/>
              <a:gd name="connsiteY430" fmla="*/ 1118695 h 4878949"/>
              <a:gd name="connsiteX431" fmla="*/ 3302 w 3418030"/>
              <a:gd name="connsiteY431" fmla="*/ 1070048 h 4878949"/>
              <a:gd name="connsiteX432" fmla="*/ 3302 w 3418030"/>
              <a:gd name="connsiteY432" fmla="*/ 1039200 h 4878949"/>
              <a:gd name="connsiteX433" fmla="*/ 3302 w 3418030"/>
              <a:gd name="connsiteY433" fmla="*/ 1038590 h 4878949"/>
              <a:gd name="connsiteX434" fmla="*/ 3301 w 3418030"/>
              <a:gd name="connsiteY434" fmla="*/ 1038579 h 4878949"/>
              <a:gd name="connsiteX435" fmla="*/ 3302 w 3418030"/>
              <a:gd name="connsiteY435" fmla="*/ 1038570 h 4878949"/>
              <a:gd name="connsiteX436" fmla="*/ 3302 w 3418030"/>
              <a:gd name="connsiteY436" fmla="*/ 989923 h 4878949"/>
              <a:gd name="connsiteX437" fmla="*/ 5852 w 3418030"/>
              <a:gd name="connsiteY437" fmla="*/ 989923 h 4878949"/>
              <a:gd name="connsiteX438" fmla="*/ 8449 w 3418030"/>
              <a:gd name="connsiteY438" fmla="*/ 939781 h 4878949"/>
              <a:gd name="connsiteX439" fmla="*/ 8925 w 3418030"/>
              <a:gd name="connsiteY439" fmla="*/ 936738 h 4878949"/>
              <a:gd name="connsiteX440" fmla="*/ 9149 w 3418030"/>
              <a:gd name="connsiteY440" fmla="*/ 932684 h 4878949"/>
              <a:gd name="connsiteX441" fmla="*/ 46506 w 3418030"/>
              <a:gd name="connsiteY441" fmla="*/ 754274 h 4878949"/>
              <a:gd name="connsiteX442" fmla="*/ 48032 w 3418030"/>
              <a:gd name="connsiteY442" fmla="*/ 750077 h 4878949"/>
              <a:gd name="connsiteX443" fmla="*/ 48222 w 3418030"/>
              <a:gd name="connsiteY443" fmla="*/ 749353 h 4878949"/>
              <a:gd name="connsiteX444" fmla="*/ 50914 w 3418030"/>
              <a:gd name="connsiteY444" fmla="*/ 742152 h 4878949"/>
              <a:gd name="connsiteX445" fmla="*/ 77329 w 3418030"/>
              <a:gd name="connsiteY445" fmla="*/ 669497 h 4878949"/>
              <a:gd name="connsiteX446" fmla="*/ 80849 w 3418030"/>
              <a:gd name="connsiteY446" fmla="*/ 662039 h 4878949"/>
              <a:gd name="connsiteX447" fmla="*/ 81908 w 3418030"/>
              <a:gd name="connsiteY447" fmla="*/ 659204 h 4878949"/>
              <a:gd name="connsiteX448" fmla="*/ 89422 w 3418030"/>
              <a:gd name="connsiteY448" fmla="*/ 643883 h 4878949"/>
              <a:gd name="connsiteX449" fmla="*/ 115734 w 3418030"/>
              <a:gd name="connsiteY449" fmla="*/ 588143 h 4878949"/>
              <a:gd name="connsiteX450" fmla="*/ 121848 w 3418030"/>
              <a:gd name="connsiteY450" fmla="*/ 577740 h 4878949"/>
              <a:gd name="connsiteX451" fmla="*/ 124169 w 3418030"/>
              <a:gd name="connsiteY451" fmla="*/ 573005 h 4878949"/>
              <a:gd name="connsiteX452" fmla="*/ 134403 w 3418030"/>
              <a:gd name="connsiteY452" fmla="*/ 556381 h 4878949"/>
              <a:gd name="connsiteX453" fmla="*/ 161333 w 3418030"/>
              <a:gd name="connsiteY453" fmla="*/ 510566 h 4878949"/>
              <a:gd name="connsiteX454" fmla="*/ 170598 w 3418030"/>
              <a:gd name="connsiteY454" fmla="*/ 497582 h 4878949"/>
              <a:gd name="connsiteX455" fmla="*/ 174534 w 3418030"/>
              <a:gd name="connsiteY455" fmla="*/ 491185 h 4878949"/>
              <a:gd name="connsiteX456" fmla="*/ 186458 w 3418030"/>
              <a:gd name="connsiteY456" fmla="*/ 475354 h 4878949"/>
              <a:gd name="connsiteX457" fmla="*/ 213741 w 3418030"/>
              <a:gd name="connsiteY457" fmla="*/ 437120 h 4878949"/>
              <a:gd name="connsiteX458" fmla="*/ 226666 w 3418030"/>
              <a:gd name="connsiteY458" fmla="*/ 421970 h 4878949"/>
              <a:gd name="connsiteX459" fmla="*/ 232537 w 3418030"/>
              <a:gd name="connsiteY459" fmla="*/ 414172 h 4878949"/>
              <a:gd name="connsiteX460" fmla="*/ 245428 w 3418030"/>
              <a:gd name="connsiteY460" fmla="*/ 399975 h 4878949"/>
              <a:gd name="connsiteX461" fmla="*/ 272569 w 3418030"/>
              <a:gd name="connsiteY461" fmla="*/ 368155 h 4878949"/>
              <a:gd name="connsiteX462" fmla="*/ 289619 w 3418030"/>
              <a:gd name="connsiteY462" fmla="*/ 351302 h 4878949"/>
              <a:gd name="connsiteX463" fmla="*/ 297703 w 3418030"/>
              <a:gd name="connsiteY463" fmla="*/ 342396 h 4878949"/>
              <a:gd name="connsiteX464" fmla="*/ 310983 w 3418030"/>
              <a:gd name="connsiteY464" fmla="*/ 330181 h 4878949"/>
              <a:gd name="connsiteX465" fmla="*/ 337434 w 3418030"/>
              <a:gd name="connsiteY465" fmla="*/ 304029 h 4878949"/>
              <a:gd name="connsiteX466" fmla="*/ 359031 w 3418030"/>
              <a:gd name="connsiteY466" fmla="*/ 285980 h 4878949"/>
              <a:gd name="connsiteX467" fmla="*/ 369567 w 3418030"/>
              <a:gd name="connsiteY467" fmla="*/ 276286 h 4878949"/>
              <a:gd name="connsiteX468" fmla="*/ 382740 w 3418030"/>
              <a:gd name="connsiteY468" fmla="*/ 266163 h 4878949"/>
              <a:gd name="connsiteX469" fmla="*/ 407948 w 3418030"/>
              <a:gd name="connsiteY469" fmla="*/ 245095 h 4878949"/>
              <a:gd name="connsiteX470" fmla="*/ 434483 w 3418030"/>
              <a:gd name="connsiteY470" fmla="*/ 226398 h 4878949"/>
              <a:gd name="connsiteX471" fmla="*/ 447659 w 3418030"/>
              <a:gd name="connsiteY471" fmla="*/ 216272 h 4878949"/>
              <a:gd name="connsiteX472" fmla="*/ 460291 w 3418030"/>
              <a:gd name="connsiteY472" fmla="*/ 208214 h 4878949"/>
              <a:gd name="connsiteX473" fmla="*/ 483722 w 3418030"/>
              <a:gd name="connsiteY473" fmla="*/ 191703 h 4878949"/>
              <a:gd name="connsiteX474" fmla="*/ 515572 w 3418030"/>
              <a:gd name="connsiteY474" fmla="*/ 172948 h 4878949"/>
              <a:gd name="connsiteX475" fmla="*/ 531508 w 3418030"/>
              <a:gd name="connsiteY475" fmla="*/ 162782 h 4878949"/>
              <a:gd name="connsiteX476" fmla="*/ 543209 w 3418030"/>
              <a:gd name="connsiteY476" fmla="*/ 156673 h 4878949"/>
              <a:gd name="connsiteX477" fmla="*/ 564373 w 3418030"/>
              <a:gd name="connsiteY477" fmla="*/ 144210 h 4878949"/>
              <a:gd name="connsiteX478" fmla="*/ 601919 w 3418030"/>
              <a:gd name="connsiteY478" fmla="*/ 126023 h 4878949"/>
              <a:gd name="connsiteX479" fmla="*/ 620646 w 3418030"/>
              <a:gd name="connsiteY479" fmla="*/ 116246 h 4878949"/>
              <a:gd name="connsiteX480" fmla="*/ 631065 w 3418030"/>
              <a:gd name="connsiteY480" fmla="*/ 111905 h 4878949"/>
              <a:gd name="connsiteX481" fmla="*/ 649513 w 3418030"/>
              <a:gd name="connsiteY481" fmla="*/ 102967 h 4878949"/>
              <a:gd name="connsiteX482" fmla="*/ 693215 w 3418030"/>
              <a:gd name="connsiteY482" fmla="*/ 86005 h 4878949"/>
              <a:gd name="connsiteX483" fmla="*/ 714604 w 3418030"/>
              <a:gd name="connsiteY483" fmla="*/ 77091 h 4878949"/>
              <a:gd name="connsiteX484" fmla="*/ 723421 w 3418030"/>
              <a:gd name="connsiteY484" fmla="*/ 74281 h 4878949"/>
              <a:gd name="connsiteX485" fmla="*/ 738755 w 3418030"/>
              <a:gd name="connsiteY485" fmla="*/ 68329 h 4878949"/>
              <a:gd name="connsiteX486" fmla="*/ 789290 w 3418030"/>
              <a:gd name="connsiteY486" fmla="*/ 53281 h 4878949"/>
              <a:gd name="connsiteX487" fmla="*/ 812911 w 3418030"/>
              <a:gd name="connsiteY487" fmla="*/ 45751 h 4878949"/>
              <a:gd name="connsiteX488" fmla="*/ 819840 w 3418030"/>
              <a:gd name="connsiteY488" fmla="*/ 44184 h 4878949"/>
              <a:gd name="connsiteX489" fmla="*/ 831714 w 3418030"/>
              <a:gd name="connsiteY489" fmla="*/ 40649 h 4878949"/>
              <a:gd name="connsiteX490" fmla="*/ 890408 w 3418030"/>
              <a:gd name="connsiteY490" fmla="*/ 28233 h 4878949"/>
              <a:gd name="connsiteX491" fmla="*/ 891488 w 3418030"/>
              <a:gd name="connsiteY491" fmla="*/ 27989 h 4878949"/>
              <a:gd name="connsiteX492" fmla="*/ 891488 w 3418030"/>
              <a:gd name="connsiteY492" fmla="*/ 26353 h 4878949"/>
              <a:gd name="connsiteX493" fmla="*/ 920414 w 3418030"/>
              <a:gd name="connsiteY493" fmla="*/ 21016 h 4878949"/>
              <a:gd name="connsiteX494" fmla="*/ 926275 w 3418030"/>
              <a:gd name="connsiteY494" fmla="*/ 20363 h 4878949"/>
              <a:gd name="connsiteX495" fmla="*/ 936223 w 3418030"/>
              <a:gd name="connsiteY495" fmla="*/ 18645 h 4878949"/>
              <a:gd name="connsiteX496" fmla="*/ 1022729 w 3418030"/>
              <a:gd name="connsiteY496" fmla="*/ 9605 h 4878949"/>
              <a:gd name="connsiteX497" fmla="*/ 1049789 w 3418030"/>
              <a:gd name="connsiteY497" fmla="*/ 6588 h 4878949"/>
              <a:gd name="connsiteX498" fmla="*/ 1052637 w 3418030"/>
              <a:gd name="connsiteY498" fmla="*/ 6482 h 4878949"/>
              <a:gd name="connsiteX499" fmla="*/ 1057795 w 3418030"/>
              <a:gd name="connsiteY499" fmla="*/ 5941 h 4878949"/>
              <a:gd name="connsiteX500" fmla="*/ 1117794 w 3418030"/>
              <a:gd name="connsiteY500" fmla="*/ 3821 h 4878949"/>
              <a:gd name="connsiteX501" fmla="*/ 1117794 w 3418030"/>
              <a:gd name="connsiteY501" fmla="*/ 1237 h 4878949"/>
              <a:gd name="connsiteX502" fmla="*/ 1173109 w 3418030"/>
              <a:gd name="connsiteY502" fmla="*/ 1237 h 4878949"/>
              <a:gd name="connsiteX503" fmla="*/ 1190915 w 3418030"/>
              <a:gd name="connsiteY503" fmla="*/ 1237 h 4878949"/>
              <a:gd name="connsiteX504" fmla="*/ 1191329 w 3418030"/>
              <a:gd name="connsiteY504" fmla="*/ 1237 h 4878949"/>
              <a:gd name="connsiteX505" fmla="*/ 1191331 w 3418030"/>
              <a:gd name="connsiteY505" fmla="*/ 1237 h 4878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Lst>
            <a:rect l="l" t="t" r="r" b="b"/>
            <a:pathLst>
              <a:path w="3418030" h="4878949">
                <a:moveTo>
                  <a:pt x="1191331" y="0"/>
                </a:moveTo>
                <a:lnTo>
                  <a:pt x="1294432" y="0"/>
                </a:lnTo>
                <a:lnTo>
                  <a:pt x="1457098" y="0"/>
                </a:lnTo>
                <a:lnTo>
                  <a:pt x="1564784" y="0"/>
                </a:lnTo>
                <a:lnTo>
                  <a:pt x="2013538" y="0"/>
                </a:lnTo>
                <a:lnTo>
                  <a:pt x="2038520" y="0"/>
                </a:lnTo>
                <a:lnTo>
                  <a:pt x="2130825" y="0"/>
                </a:lnTo>
                <a:lnTo>
                  <a:pt x="2156238" y="0"/>
                </a:lnTo>
                <a:lnTo>
                  <a:pt x="2221889" y="0"/>
                </a:lnTo>
                <a:lnTo>
                  <a:pt x="2277890" y="0"/>
                </a:lnTo>
                <a:lnTo>
                  <a:pt x="2342770" y="0"/>
                </a:lnTo>
                <a:lnTo>
                  <a:pt x="2399737" y="0"/>
                </a:lnTo>
                <a:lnTo>
                  <a:pt x="2399737" y="1224"/>
                </a:lnTo>
                <a:lnTo>
                  <a:pt x="3278911" y="1224"/>
                </a:lnTo>
                <a:lnTo>
                  <a:pt x="3418030" y="1224"/>
                </a:lnTo>
                <a:lnTo>
                  <a:pt x="3418030" y="70784"/>
                </a:lnTo>
                <a:lnTo>
                  <a:pt x="3418030" y="685938"/>
                </a:lnTo>
                <a:lnTo>
                  <a:pt x="3418030" y="732837"/>
                </a:lnTo>
                <a:lnTo>
                  <a:pt x="3418030" y="755498"/>
                </a:lnTo>
                <a:lnTo>
                  <a:pt x="3418030" y="802397"/>
                </a:lnTo>
                <a:lnTo>
                  <a:pt x="3418030" y="1036312"/>
                </a:lnTo>
                <a:lnTo>
                  <a:pt x="3418030" y="1036923"/>
                </a:lnTo>
                <a:lnTo>
                  <a:pt x="3418030" y="1036933"/>
                </a:lnTo>
                <a:lnTo>
                  <a:pt x="3418030" y="1036943"/>
                </a:lnTo>
                <a:lnTo>
                  <a:pt x="3418030" y="1085589"/>
                </a:lnTo>
                <a:lnTo>
                  <a:pt x="3418030" y="1105871"/>
                </a:lnTo>
                <a:lnTo>
                  <a:pt x="3418030" y="1106482"/>
                </a:lnTo>
                <a:lnTo>
                  <a:pt x="3418030" y="1106491"/>
                </a:lnTo>
                <a:lnTo>
                  <a:pt x="3418030" y="1106501"/>
                </a:lnTo>
                <a:lnTo>
                  <a:pt x="3418030" y="1155149"/>
                </a:lnTo>
                <a:lnTo>
                  <a:pt x="3418030" y="1417551"/>
                </a:lnTo>
                <a:lnTo>
                  <a:pt x="3418030" y="1487111"/>
                </a:lnTo>
                <a:lnTo>
                  <a:pt x="3418030" y="1721026"/>
                </a:lnTo>
                <a:lnTo>
                  <a:pt x="3418030" y="1721637"/>
                </a:lnTo>
                <a:lnTo>
                  <a:pt x="3418030" y="1721646"/>
                </a:lnTo>
                <a:lnTo>
                  <a:pt x="3418030" y="1721657"/>
                </a:lnTo>
                <a:lnTo>
                  <a:pt x="3418030" y="1767925"/>
                </a:lnTo>
                <a:lnTo>
                  <a:pt x="3418030" y="1768536"/>
                </a:lnTo>
                <a:lnTo>
                  <a:pt x="3418030" y="1768546"/>
                </a:lnTo>
                <a:lnTo>
                  <a:pt x="3418030" y="1768556"/>
                </a:lnTo>
                <a:lnTo>
                  <a:pt x="3418030" y="1770303"/>
                </a:lnTo>
                <a:lnTo>
                  <a:pt x="3418030" y="1790585"/>
                </a:lnTo>
                <a:lnTo>
                  <a:pt x="3418030" y="1791196"/>
                </a:lnTo>
                <a:lnTo>
                  <a:pt x="3418030" y="1791205"/>
                </a:lnTo>
                <a:lnTo>
                  <a:pt x="3418030" y="1791215"/>
                </a:lnTo>
                <a:lnTo>
                  <a:pt x="3418030" y="1817203"/>
                </a:lnTo>
                <a:lnTo>
                  <a:pt x="3418030" y="1837484"/>
                </a:lnTo>
                <a:lnTo>
                  <a:pt x="3418030" y="1838095"/>
                </a:lnTo>
                <a:lnTo>
                  <a:pt x="3418030" y="1838105"/>
                </a:lnTo>
                <a:lnTo>
                  <a:pt x="3418030" y="1838115"/>
                </a:lnTo>
                <a:lnTo>
                  <a:pt x="3418030" y="1839863"/>
                </a:lnTo>
                <a:lnTo>
                  <a:pt x="3418030" y="1886762"/>
                </a:lnTo>
                <a:lnTo>
                  <a:pt x="3418030" y="2452639"/>
                </a:lnTo>
                <a:lnTo>
                  <a:pt x="3418030" y="2453250"/>
                </a:lnTo>
                <a:lnTo>
                  <a:pt x="3418030" y="2453260"/>
                </a:lnTo>
                <a:lnTo>
                  <a:pt x="3418030" y="2453270"/>
                </a:lnTo>
                <a:lnTo>
                  <a:pt x="3418030" y="2501917"/>
                </a:lnTo>
                <a:lnTo>
                  <a:pt x="3418030" y="2522198"/>
                </a:lnTo>
                <a:lnTo>
                  <a:pt x="3418030" y="2522809"/>
                </a:lnTo>
                <a:lnTo>
                  <a:pt x="3418030" y="2522819"/>
                </a:lnTo>
                <a:lnTo>
                  <a:pt x="3418030" y="2522830"/>
                </a:lnTo>
                <a:lnTo>
                  <a:pt x="3418030" y="2571476"/>
                </a:lnTo>
                <a:lnTo>
                  <a:pt x="3415609" y="2571476"/>
                </a:lnTo>
                <a:lnTo>
                  <a:pt x="3413143" y="2621619"/>
                </a:lnTo>
                <a:lnTo>
                  <a:pt x="3412693" y="2624661"/>
                </a:lnTo>
                <a:lnTo>
                  <a:pt x="3412480" y="2628713"/>
                </a:lnTo>
                <a:cubicBezTo>
                  <a:pt x="3406029" y="2689917"/>
                  <a:pt x="3394048" y="2749544"/>
                  <a:pt x="3377025" y="2807125"/>
                </a:cubicBezTo>
                <a:lnTo>
                  <a:pt x="3375576" y="2811322"/>
                </a:lnTo>
                <a:lnTo>
                  <a:pt x="3375395" y="2812045"/>
                </a:lnTo>
                <a:lnTo>
                  <a:pt x="3372842" y="2819247"/>
                </a:lnTo>
                <a:lnTo>
                  <a:pt x="3347771" y="2891903"/>
                </a:lnTo>
                <a:lnTo>
                  <a:pt x="3344429" y="2899360"/>
                </a:lnTo>
                <a:lnTo>
                  <a:pt x="3343424" y="2902194"/>
                </a:lnTo>
                <a:lnTo>
                  <a:pt x="3336294" y="2917516"/>
                </a:lnTo>
                <a:lnTo>
                  <a:pt x="3311321" y="2973257"/>
                </a:lnTo>
                <a:lnTo>
                  <a:pt x="3305517" y="2983659"/>
                </a:lnTo>
                <a:lnTo>
                  <a:pt x="3303314" y="2988394"/>
                </a:lnTo>
                <a:lnTo>
                  <a:pt x="3293601" y="3005019"/>
                </a:lnTo>
                <a:lnTo>
                  <a:pt x="3268042" y="3050833"/>
                </a:lnTo>
                <a:lnTo>
                  <a:pt x="3259248" y="3063817"/>
                </a:lnTo>
                <a:lnTo>
                  <a:pt x="3255513" y="3070215"/>
                </a:lnTo>
                <a:lnTo>
                  <a:pt x="3244196" y="3086045"/>
                </a:lnTo>
                <a:lnTo>
                  <a:pt x="3218302" y="3124280"/>
                </a:lnTo>
                <a:lnTo>
                  <a:pt x="3206037" y="3139430"/>
                </a:lnTo>
                <a:lnTo>
                  <a:pt x="3200464" y="3147227"/>
                </a:lnTo>
                <a:lnTo>
                  <a:pt x="3188229" y="3161424"/>
                </a:lnTo>
                <a:lnTo>
                  <a:pt x="3162468" y="3193243"/>
                </a:lnTo>
                <a:lnTo>
                  <a:pt x="3146287" y="3210097"/>
                </a:lnTo>
                <a:lnTo>
                  <a:pt x="3138613" y="3219003"/>
                </a:lnTo>
                <a:lnTo>
                  <a:pt x="3126010" y="3231219"/>
                </a:lnTo>
                <a:lnTo>
                  <a:pt x="3100905" y="3257369"/>
                </a:lnTo>
                <a:lnTo>
                  <a:pt x="3080407" y="3275420"/>
                </a:lnTo>
                <a:lnTo>
                  <a:pt x="3070407" y="3285113"/>
                </a:lnTo>
                <a:lnTo>
                  <a:pt x="3057904" y="3295236"/>
                </a:lnTo>
                <a:lnTo>
                  <a:pt x="3033981" y="3316304"/>
                </a:lnTo>
                <a:lnTo>
                  <a:pt x="3008795" y="3335002"/>
                </a:lnTo>
                <a:lnTo>
                  <a:pt x="2996290" y="3345128"/>
                </a:lnTo>
                <a:lnTo>
                  <a:pt x="2984301" y="3353185"/>
                </a:lnTo>
                <a:lnTo>
                  <a:pt x="2962062" y="3369695"/>
                </a:lnTo>
                <a:lnTo>
                  <a:pt x="2931835" y="3388450"/>
                </a:lnTo>
                <a:lnTo>
                  <a:pt x="2916709" y="3398618"/>
                </a:lnTo>
                <a:lnTo>
                  <a:pt x="2905603" y="3404726"/>
                </a:lnTo>
                <a:lnTo>
                  <a:pt x="2885517" y="3417189"/>
                </a:lnTo>
                <a:lnTo>
                  <a:pt x="2849882" y="3435375"/>
                </a:lnTo>
                <a:lnTo>
                  <a:pt x="2832108" y="3445153"/>
                </a:lnTo>
                <a:lnTo>
                  <a:pt x="2822219" y="3449494"/>
                </a:lnTo>
                <a:lnTo>
                  <a:pt x="2804710" y="3458432"/>
                </a:lnTo>
                <a:lnTo>
                  <a:pt x="2763233" y="3475393"/>
                </a:lnTo>
                <a:lnTo>
                  <a:pt x="2742933" y="3484308"/>
                </a:lnTo>
                <a:lnTo>
                  <a:pt x="2734565" y="3487117"/>
                </a:lnTo>
                <a:lnTo>
                  <a:pt x="2720010" y="3493070"/>
                </a:lnTo>
                <a:lnTo>
                  <a:pt x="2672049" y="3508117"/>
                </a:lnTo>
                <a:lnTo>
                  <a:pt x="2649630" y="3515648"/>
                </a:lnTo>
                <a:lnTo>
                  <a:pt x="2643052" y="3517214"/>
                </a:lnTo>
                <a:lnTo>
                  <a:pt x="2631783" y="3520749"/>
                </a:lnTo>
                <a:lnTo>
                  <a:pt x="2576079" y="3533167"/>
                </a:lnTo>
                <a:lnTo>
                  <a:pt x="2552643" y="3538747"/>
                </a:lnTo>
                <a:lnTo>
                  <a:pt x="2548104" y="3539401"/>
                </a:lnTo>
                <a:lnTo>
                  <a:pt x="2540397" y="3541118"/>
                </a:lnTo>
                <a:lnTo>
                  <a:pt x="2473383" y="3550158"/>
                </a:lnTo>
                <a:lnTo>
                  <a:pt x="2452420" y="3553176"/>
                </a:lnTo>
                <a:lnTo>
                  <a:pt x="2450212" y="3553284"/>
                </a:lnTo>
                <a:lnTo>
                  <a:pt x="2446216" y="3553824"/>
                </a:lnTo>
                <a:lnTo>
                  <a:pt x="2399737" y="3555943"/>
                </a:lnTo>
                <a:lnTo>
                  <a:pt x="2399737" y="3558529"/>
                </a:lnTo>
                <a:lnTo>
                  <a:pt x="2366297" y="3558529"/>
                </a:lnTo>
                <a:lnTo>
                  <a:pt x="2350286" y="3560726"/>
                </a:lnTo>
                <a:lnTo>
                  <a:pt x="2329679" y="3563743"/>
                </a:lnTo>
                <a:lnTo>
                  <a:pt x="2327509" y="3563851"/>
                </a:lnTo>
                <a:lnTo>
                  <a:pt x="2323580" y="3564391"/>
                </a:lnTo>
                <a:lnTo>
                  <a:pt x="2277890" y="3566510"/>
                </a:lnTo>
                <a:lnTo>
                  <a:pt x="2277890" y="3569096"/>
                </a:lnTo>
                <a:lnTo>
                  <a:pt x="2235765" y="3569096"/>
                </a:lnTo>
                <a:lnTo>
                  <a:pt x="2222205" y="3569096"/>
                </a:lnTo>
                <a:lnTo>
                  <a:pt x="2221889" y="3569096"/>
                </a:lnTo>
                <a:lnTo>
                  <a:pt x="2221889" y="3570333"/>
                </a:lnTo>
                <a:lnTo>
                  <a:pt x="2038520" y="3570333"/>
                </a:lnTo>
                <a:lnTo>
                  <a:pt x="2013539" y="3570333"/>
                </a:lnTo>
                <a:lnTo>
                  <a:pt x="1650818" y="3570333"/>
                </a:lnTo>
                <a:lnTo>
                  <a:pt x="1650818" y="3570744"/>
                </a:lnTo>
                <a:lnTo>
                  <a:pt x="1652012" y="3570744"/>
                </a:lnTo>
                <a:lnTo>
                  <a:pt x="1652012" y="3571721"/>
                </a:lnTo>
                <a:lnTo>
                  <a:pt x="1671221" y="3572716"/>
                </a:lnTo>
                <a:lnTo>
                  <a:pt x="1672387" y="3572898"/>
                </a:lnTo>
                <a:lnTo>
                  <a:pt x="1673940" y="3572984"/>
                </a:lnTo>
                <a:cubicBezTo>
                  <a:pt x="1697387" y="3575588"/>
                  <a:pt x="1720231" y="3580424"/>
                  <a:pt x="1742290" y="3587296"/>
                </a:cubicBezTo>
                <a:lnTo>
                  <a:pt x="1743898" y="3587880"/>
                </a:lnTo>
                <a:lnTo>
                  <a:pt x="1744176" y="3587953"/>
                </a:lnTo>
                <a:lnTo>
                  <a:pt x="1746934" y="3588984"/>
                </a:lnTo>
                <a:lnTo>
                  <a:pt x="1774769" y="3599104"/>
                </a:lnTo>
                <a:lnTo>
                  <a:pt x="1777626" y="3600453"/>
                </a:lnTo>
                <a:lnTo>
                  <a:pt x="1778712" y="3600858"/>
                </a:lnTo>
                <a:lnTo>
                  <a:pt x="1784582" y="3603737"/>
                </a:lnTo>
                <a:lnTo>
                  <a:pt x="1805936" y="3613817"/>
                </a:lnTo>
                <a:lnTo>
                  <a:pt x="1809922" y="3616160"/>
                </a:lnTo>
                <a:lnTo>
                  <a:pt x="1811736" y="3617049"/>
                </a:lnTo>
                <a:lnTo>
                  <a:pt x="1818105" y="3620970"/>
                </a:lnTo>
                <a:lnTo>
                  <a:pt x="1835657" y="3631287"/>
                </a:lnTo>
                <a:lnTo>
                  <a:pt x="1840631" y="3634836"/>
                </a:lnTo>
                <a:lnTo>
                  <a:pt x="1843082" y="3636344"/>
                </a:lnTo>
                <a:lnTo>
                  <a:pt x="1849146" y="3640912"/>
                </a:lnTo>
                <a:lnTo>
                  <a:pt x="1863794" y="3651364"/>
                </a:lnTo>
                <a:lnTo>
                  <a:pt x="1869598" y="3656316"/>
                </a:lnTo>
                <a:lnTo>
                  <a:pt x="1872586" y="3658565"/>
                </a:lnTo>
                <a:lnTo>
                  <a:pt x="1878025" y="3663504"/>
                </a:lnTo>
                <a:lnTo>
                  <a:pt x="1890215" y="3673902"/>
                </a:lnTo>
                <a:lnTo>
                  <a:pt x="1896672" y="3680434"/>
                </a:lnTo>
                <a:lnTo>
                  <a:pt x="1900084" y="3683531"/>
                </a:lnTo>
                <a:lnTo>
                  <a:pt x="1904763" y="3688618"/>
                </a:lnTo>
                <a:lnTo>
                  <a:pt x="1914782" y="3698752"/>
                </a:lnTo>
                <a:lnTo>
                  <a:pt x="1921697" y="3707026"/>
                </a:lnTo>
                <a:lnTo>
                  <a:pt x="1925411" y="3711062"/>
                </a:lnTo>
                <a:lnTo>
                  <a:pt x="1929289" y="3716109"/>
                </a:lnTo>
                <a:lnTo>
                  <a:pt x="1937360" y="3725766"/>
                </a:lnTo>
                <a:lnTo>
                  <a:pt x="1944523" y="3735932"/>
                </a:lnTo>
                <a:lnTo>
                  <a:pt x="1948403" y="3740980"/>
                </a:lnTo>
                <a:lnTo>
                  <a:pt x="1951490" y="3745819"/>
                </a:lnTo>
                <a:lnTo>
                  <a:pt x="1957815" y="3754796"/>
                </a:lnTo>
                <a:lnTo>
                  <a:pt x="1965000" y="3766998"/>
                </a:lnTo>
                <a:lnTo>
                  <a:pt x="1968895" y="3773103"/>
                </a:lnTo>
                <a:lnTo>
                  <a:pt x="1971236" y="3777586"/>
                </a:lnTo>
                <a:lnTo>
                  <a:pt x="1976010" y="3785694"/>
                </a:lnTo>
                <a:lnTo>
                  <a:pt x="1982978" y="3800078"/>
                </a:lnTo>
                <a:lnTo>
                  <a:pt x="1986724" y="3807252"/>
                </a:lnTo>
                <a:lnTo>
                  <a:pt x="1988387" y="3811244"/>
                </a:lnTo>
                <a:lnTo>
                  <a:pt x="1991811" y="3818312"/>
                </a:lnTo>
                <a:lnTo>
                  <a:pt x="1998309" y="3835054"/>
                </a:lnTo>
                <a:lnTo>
                  <a:pt x="2001724" y="3843248"/>
                </a:lnTo>
                <a:lnTo>
                  <a:pt x="2002801" y="3846626"/>
                </a:lnTo>
                <a:lnTo>
                  <a:pt x="2005081" y="3852501"/>
                </a:lnTo>
                <a:lnTo>
                  <a:pt x="2010846" y="3871861"/>
                </a:lnTo>
                <a:lnTo>
                  <a:pt x="2013730" y="3880910"/>
                </a:lnTo>
                <a:lnTo>
                  <a:pt x="2014331" y="3883565"/>
                </a:lnTo>
                <a:lnTo>
                  <a:pt x="2015685" y="3888114"/>
                </a:lnTo>
                <a:lnTo>
                  <a:pt x="2020442" y="3910600"/>
                </a:lnTo>
                <a:lnTo>
                  <a:pt x="2020535" y="3911014"/>
                </a:lnTo>
                <a:lnTo>
                  <a:pt x="2021162" y="3911014"/>
                </a:lnTo>
                <a:lnTo>
                  <a:pt x="2023207" y="3922096"/>
                </a:lnTo>
                <a:lnTo>
                  <a:pt x="2023457" y="3924341"/>
                </a:lnTo>
                <a:lnTo>
                  <a:pt x="2024115" y="3928152"/>
                </a:lnTo>
                <a:lnTo>
                  <a:pt x="2027578" y="3961293"/>
                </a:lnTo>
                <a:lnTo>
                  <a:pt x="2028734" y="3971660"/>
                </a:lnTo>
                <a:lnTo>
                  <a:pt x="2028775" y="3972751"/>
                </a:lnTo>
                <a:lnTo>
                  <a:pt x="2028982" y="3974727"/>
                </a:lnTo>
                <a:lnTo>
                  <a:pt x="2029794" y="3997713"/>
                </a:lnTo>
                <a:lnTo>
                  <a:pt x="2030784" y="3997713"/>
                </a:lnTo>
                <a:lnTo>
                  <a:pt x="2030784" y="4018905"/>
                </a:lnTo>
                <a:lnTo>
                  <a:pt x="2030784" y="4025726"/>
                </a:lnTo>
                <a:lnTo>
                  <a:pt x="2030784" y="4025885"/>
                </a:lnTo>
                <a:lnTo>
                  <a:pt x="2030784" y="4025886"/>
                </a:lnTo>
                <a:lnTo>
                  <a:pt x="2031258" y="4025886"/>
                </a:lnTo>
                <a:lnTo>
                  <a:pt x="2031258" y="4065384"/>
                </a:lnTo>
                <a:lnTo>
                  <a:pt x="2031258" y="4127703"/>
                </a:lnTo>
                <a:lnTo>
                  <a:pt x="2031258" y="4168958"/>
                </a:lnTo>
                <a:lnTo>
                  <a:pt x="2031258" y="4340879"/>
                </a:lnTo>
                <a:lnTo>
                  <a:pt x="2031258" y="4350450"/>
                </a:lnTo>
                <a:lnTo>
                  <a:pt x="2031258" y="4385812"/>
                </a:lnTo>
                <a:lnTo>
                  <a:pt x="2031258" y="4395548"/>
                </a:lnTo>
                <a:lnTo>
                  <a:pt x="2031258" y="4420700"/>
                </a:lnTo>
                <a:lnTo>
                  <a:pt x="2031258" y="4442154"/>
                </a:lnTo>
                <a:lnTo>
                  <a:pt x="2031258" y="4467010"/>
                </a:lnTo>
                <a:lnTo>
                  <a:pt x="2031258" y="4488834"/>
                </a:lnTo>
                <a:lnTo>
                  <a:pt x="2030789" y="4488834"/>
                </a:lnTo>
                <a:lnTo>
                  <a:pt x="2030789" y="4825652"/>
                </a:lnTo>
                <a:lnTo>
                  <a:pt x="2030789" y="4878949"/>
                </a:lnTo>
                <a:lnTo>
                  <a:pt x="2004140" y="4878949"/>
                </a:lnTo>
                <a:lnTo>
                  <a:pt x="1768470" y="4878949"/>
                </a:lnTo>
                <a:lnTo>
                  <a:pt x="1750503" y="4878949"/>
                </a:lnTo>
                <a:lnTo>
                  <a:pt x="1741822" y="4878949"/>
                </a:lnTo>
                <a:lnTo>
                  <a:pt x="1723854" y="4878949"/>
                </a:lnTo>
                <a:lnTo>
                  <a:pt x="1634240" y="4878949"/>
                </a:lnTo>
                <a:lnTo>
                  <a:pt x="1634005" y="4878949"/>
                </a:lnTo>
                <a:lnTo>
                  <a:pt x="1634002" y="4878949"/>
                </a:lnTo>
                <a:lnTo>
                  <a:pt x="1633998" y="4878949"/>
                </a:lnTo>
                <a:lnTo>
                  <a:pt x="1615361" y="4878949"/>
                </a:lnTo>
                <a:lnTo>
                  <a:pt x="1607591" y="4878949"/>
                </a:lnTo>
                <a:lnTo>
                  <a:pt x="1607357" y="4878949"/>
                </a:lnTo>
                <a:lnTo>
                  <a:pt x="1607354" y="4878949"/>
                </a:lnTo>
                <a:lnTo>
                  <a:pt x="1607350" y="4878949"/>
                </a:lnTo>
                <a:lnTo>
                  <a:pt x="1588712" y="4878949"/>
                </a:lnTo>
                <a:lnTo>
                  <a:pt x="1488184" y="4878949"/>
                </a:lnTo>
                <a:lnTo>
                  <a:pt x="1461535" y="4878949"/>
                </a:lnTo>
                <a:lnTo>
                  <a:pt x="1371921" y="4878949"/>
                </a:lnTo>
                <a:lnTo>
                  <a:pt x="1371687" y="4878949"/>
                </a:lnTo>
                <a:lnTo>
                  <a:pt x="1371683" y="4878949"/>
                </a:lnTo>
                <a:lnTo>
                  <a:pt x="1371679" y="4878949"/>
                </a:lnTo>
                <a:lnTo>
                  <a:pt x="1367507" y="4878949"/>
                </a:lnTo>
                <a:lnTo>
                  <a:pt x="1353954" y="4878949"/>
                </a:lnTo>
                <a:lnTo>
                  <a:pt x="1353719" y="4878949"/>
                </a:lnTo>
                <a:lnTo>
                  <a:pt x="1353716" y="4878949"/>
                </a:lnTo>
                <a:lnTo>
                  <a:pt x="1353712" y="4878949"/>
                </a:lnTo>
                <a:lnTo>
                  <a:pt x="1353043" y="4878949"/>
                </a:lnTo>
                <a:lnTo>
                  <a:pt x="1345272" y="4878949"/>
                </a:lnTo>
                <a:lnTo>
                  <a:pt x="1345038" y="4878949"/>
                </a:lnTo>
                <a:lnTo>
                  <a:pt x="1345035" y="4878949"/>
                </a:lnTo>
                <a:lnTo>
                  <a:pt x="1345031" y="4878949"/>
                </a:lnTo>
                <a:lnTo>
                  <a:pt x="1340858" y="4878949"/>
                </a:lnTo>
                <a:lnTo>
                  <a:pt x="1335075" y="4878949"/>
                </a:lnTo>
                <a:lnTo>
                  <a:pt x="1327305" y="4878949"/>
                </a:lnTo>
                <a:lnTo>
                  <a:pt x="1327071" y="4878949"/>
                </a:lnTo>
                <a:lnTo>
                  <a:pt x="1327067" y="4878949"/>
                </a:lnTo>
                <a:lnTo>
                  <a:pt x="1327063" y="4878949"/>
                </a:lnTo>
                <a:lnTo>
                  <a:pt x="1326394" y="4878949"/>
                </a:lnTo>
                <a:lnTo>
                  <a:pt x="1308426" y="4878949"/>
                </a:lnTo>
                <a:lnTo>
                  <a:pt x="1105188" y="4878949"/>
                </a:lnTo>
                <a:lnTo>
                  <a:pt x="1091635" y="4878949"/>
                </a:lnTo>
                <a:lnTo>
                  <a:pt x="1091401" y="4878949"/>
                </a:lnTo>
                <a:lnTo>
                  <a:pt x="1091397" y="4878949"/>
                </a:lnTo>
                <a:lnTo>
                  <a:pt x="1091393" y="4878949"/>
                </a:lnTo>
                <a:lnTo>
                  <a:pt x="1087221" y="4878949"/>
                </a:lnTo>
                <a:lnTo>
                  <a:pt x="1078540" y="4878949"/>
                </a:lnTo>
                <a:lnTo>
                  <a:pt x="1072756" y="4878949"/>
                </a:lnTo>
                <a:lnTo>
                  <a:pt x="1064986" y="4878949"/>
                </a:lnTo>
                <a:lnTo>
                  <a:pt x="1064752" y="4878949"/>
                </a:lnTo>
                <a:lnTo>
                  <a:pt x="1064748" y="4878949"/>
                </a:lnTo>
                <a:lnTo>
                  <a:pt x="1064745" y="4878949"/>
                </a:lnTo>
                <a:lnTo>
                  <a:pt x="1060572" y="4878949"/>
                </a:lnTo>
                <a:lnTo>
                  <a:pt x="1046108" y="4878949"/>
                </a:lnTo>
                <a:lnTo>
                  <a:pt x="970958" y="4878949"/>
                </a:lnTo>
                <a:lnTo>
                  <a:pt x="970723" y="4878949"/>
                </a:lnTo>
                <a:lnTo>
                  <a:pt x="970720" y="4878949"/>
                </a:lnTo>
                <a:lnTo>
                  <a:pt x="970716" y="4878949"/>
                </a:lnTo>
                <a:lnTo>
                  <a:pt x="952079" y="4878949"/>
                </a:lnTo>
                <a:lnTo>
                  <a:pt x="944309" y="4878949"/>
                </a:lnTo>
                <a:lnTo>
                  <a:pt x="944075" y="4878949"/>
                </a:lnTo>
                <a:lnTo>
                  <a:pt x="944072" y="4878949"/>
                </a:lnTo>
                <a:lnTo>
                  <a:pt x="944068" y="4878949"/>
                </a:lnTo>
                <a:lnTo>
                  <a:pt x="925430" y="4878949"/>
                </a:lnTo>
                <a:lnTo>
                  <a:pt x="824902" y="4878949"/>
                </a:lnTo>
                <a:lnTo>
                  <a:pt x="798253" y="4878949"/>
                </a:lnTo>
                <a:lnTo>
                  <a:pt x="708639" y="4878949"/>
                </a:lnTo>
                <a:lnTo>
                  <a:pt x="708405" y="4878949"/>
                </a:lnTo>
                <a:lnTo>
                  <a:pt x="708401" y="4878949"/>
                </a:lnTo>
                <a:lnTo>
                  <a:pt x="708397" y="4878949"/>
                </a:lnTo>
                <a:lnTo>
                  <a:pt x="690672" y="4878949"/>
                </a:lnTo>
                <a:lnTo>
                  <a:pt x="690437" y="4878949"/>
                </a:lnTo>
                <a:lnTo>
                  <a:pt x="690434" y="4878949"/>
                </a:lnTo>
                <a:lnTo>
                  <a:pt x="690430" y="4878949"/>
                </a:lnTo>
                <a:lnTo>
                  <a:pt x="689761" y="4878949"/>
                </a:lnTo>
                <a:lnTo>
                  <a:pt x="681990" y="4878949"/>
                </a:lnTo>
                <a:lnTo>
                  <a:pt x="681756" y="4878949"/>
                </a:lnTo>
                <a:lnTo>
                  <a:pt x="681753" y="4878949"/>
                </a:lnTo>
                <a:lnTo>
                  <a:pt x="681749" y="4878949"/>
                </a:lnTo>
                <a:lnTo>
                  <a:pt x="671793" y="4878949"/>
                </a:lnTo>
                <a:lnTo>
                  <a:pt x="664023" y="4878949"/>
                </a:lnTo>
                <a:lnTo>
                  <a:pt x="663789" y="4878949"/>
                </a:lnTo>
                <a:lnTo>
                  <a:pt x="663785" y="4878949"/>
                </a:lnTo>
                <a:lnTo>
                  <a:pt x="663781" y="4878949"/>
                </a:lnTo>
                <a:lnTo>
                  <a:pt x="663112" y="4878949"/>
                </a:lnTo>
                <a:lnTo>
                  <a:pt x="645144" y="4878949"/>
                </a:lnTo>
                <a:lnTo>
                  <a:pt x="428353" y="4878949"/>
                </a:lnTo>
                <a:lnTo>
                  <a:pt x="428119" y="4878949"/>
                </a:lnTo>
                <a:lnTo>
                  <a:pt x="428115" y="4878949"/>
                </a:lnTo>
                <a:lnTo>
                  <a:pt x="428111" y="4878949"/>
                </a:lnTo>
                <a:lnTo>
                  <a:pt x="409474" y="4878949"/>
                </a:lnTo>
                <a:lnTo>
                  <a:pt x="401704" y="4878949"/>
                </a:lnTo>
                <a:lnTo>
                  <a:pt x="401470" y="4878949"/>
                </a:lnTo>
                <a:lnTo>
                  <a:pt x="401466" y="4878949"/>
                </a:lnTo>
                <a:lnTo>
                  <a:pt x="401462" y="4878949"/>
                </a:lnTo>
                <a:lnTo>
                  <a:pt x="382826" y="4878949"/>
                </a:lnTo>
                <a:lnTo>
                  <a:pt x="382826" y="4878022"/>
                </a:lnTo>
                <a:lnTo>
                  <a:pt x="363616" y="4877077"/>
                </a:lnTo>
                <a:lnTo>
                  <a:pt x="362450" y="4876905"/>
                </a:lnTo>
                <a:lnTo>
                  <a:pt x="360898" y="4876823"/>
                </a:lnTo>
                <a:cubicBezTo>
                  <a:pt x="337450" y="4874352"/>
                  <a:pt x="314607" y="4869762"/>
                  <a:pt x="292547" y="4863240"/>
                </a:cubicBezTo>
                <a:lnTo>
                  <a:pt x="290939" y="4862685"/>
                </a:lnTo>
                <a:lnTo>
                  <a:pt x="290662" y="4862616"/>
                </a:lnTo>
                <a:lnTo>
                  <a:pt x="287903" y="4861637"/>
                </a:lnTo>
                <a:lnTo>
                  <a:pt x="260068" y="4852032"/>
                </a:lnTo>
                <a:lnTo>
                  <a:pt x="257211" y="4850752"/>
                </a:lnTo>
                <a:lnTo>
                  <a:pt x="256125" y="4850367"/>
                </a:lnTo>
                <a:lnTo>
                  <a:pt x="250255" y="4847636"/>
                </a:lnTo>
                <a:lnTo>
                  <a:pt x="228901" y="4838068"/>
                </a:lnTo>
                <a:lnTo>
                  <a:pt x="224915" y="4835845"/>
                </a:lnTo>
                <a:lnTo>
                  <a:pt x="223101" y="4835001"/>
                </a:lnTo>
                <a:lnTo>
                  <a:pt x="216732" y="4831280"/>
                </a:lnTo>
                <a:lnTo>
                  <a:pt x="199181" y="4821488"/>
                </a:lnTo>
                <a:lnTo>
                  <a:pt x="194206" y="4818119"/>
                </a:lnTo>
                <a:lnTo>
                  <a:pt x="191756" y="4816688"/>
                </a:lnTo>
                <a:lnTo>
                  <a:pt x="185691" y="4812352"/>
                </a:lnTo>
                <a:lnTo>
                  <a:pt x="171043" y="4802432"/>
                </a:lnTo>
                <a:lnTo>
                  <a:pt x="165239" y="4797733"/>
                </a:lnTo>
                <a:lnTo>
                  <a:pt x="162251" y="4795598"/>
                </a:lnTo>
                <a:lnTo>
                  <a:pt x="156813" y="4790911"/>
                </a:lnTo>
                <a:lnTo>
                  <a:pt x="144622" y="4781042"/>
                </a:lnTo>
                <a:lnTo>
                  <a:pt x="138166" y="4774843"/>
                </a:lnTo>
                <a:lnTo>
                  <a:pt x="134753" y="4771903"/>
                </a:lnTo>
                <a:lnTo>
                  <a:pt x="130074" y="4767074"/>
                </a:lnTo>
                <a:lnTo>
                  <a:pt x="120055" y="4757456"/>
                </a:lnTo>
                <a:lnTo>
                  <a:pt x="113140" y="4749604"/>
                </a:lnTo>
                <a:lnTo>
                  <a:pt x="109426" y="4745772"/>
                </a:lnTo>
                <a:lnTo>
                  <a:pt x="105548" y="4740983"/>
                </a:lnTo>
                <a:lnTo>
                  <a:pt x="97477" y="4731817"/>
                </a:lnTo>
                <a:lnTo>
                  <a:pt x="90314" y="4722168"/>
                </a:lnTo>
                <a:lnTo>
                  <a:pt x="86434" y="4717378"/>
                </a:lnTo>
                <a:lnTo>
                  <a:pt x="83347" y="4712785"/>
                </a:lnTo>
                <a:lnTo>
                  <a:pt x="77022" y="4704265"/>
                </a:lnTo>
                <a:lnTo>
                  <a:pt x="69837" y="4692685"/>
                </a:lnTo>
                <a:lnTo>
                  <a:pt x="65942" y="4686890"/>
                </a:lnTo>
                <a:lnTo>
                  <a:pt x="63602" y="4682635"/>
                </a:lnTo>
                <a:lnTo>
                  <a:pt x="58827" y="4674940"/>
                </a:lnTo>
                <a:lnTo>
                  <a:pt x="51860" y="4661288"/>
                </a:lnTo>
                <a:lnTo>
                  <a:pt x="48114" y="4654479"/>
                </a:lnTo>
                <a:lnTo>
                  <a:pt x="46451" y="4650690"/>
                </a:lnTo>
                <a:lnTo>
                  <a:pt x="43027" y="4643982"/>
                </a:lnTo>
                <a:lnTo>
                  <a:pt x="36529" y="4628092"/>
                </a:lnTo>
                <a:lnTo>
                  <a:pt x="33114" y="4620315"/>
                </a:lnTo>
                <a:lnTo>
                  <a:pt x="32037" y="4617109"/>
                </a:lnTo>
                <a:lnTo>
                  <a:pt x="29757" y="4611533"/>
                </a:lnTo>
                <a:lnTo>
                  <a:pt x="23992" y="4593159"/>
                </a:lnTo>
                <a:lnTo>
                  <a:pt x="21107" y="4584570"/>
                </a:lnTo>
                <a:lnTo>
                  <a:pt x="20507" y="4582050"/>
                </a:lnTo>
                <a:lnTo>
                  <a:pt x="19153" y="4577733"/>
                </a:lnTo>
                <a:lnTo>
                  <a:pt x="14395" y="4556392"/>
                </a:lnTo>
                <a:lnTo>
                  <a:pt x="12257" y="4547414"/>
                </a:lnTo>
                <a:lnTo>
                  <a:pt x="12007" y="4545675"/>
                </a:lnTo>
                <a:lnTo>
                  <a:pt x="11349" y="4542722"/>
                </a:lnTo>
                <a:lnTo>
                  <a:pt x="7886" y="4517048"/>
                </a:lnTo>
                <a:lnTo>
                  <a:pt x="6730" y="4509017"/>
                </a:lnTo>
                <a:lnTo>
                  <a:pt x="6688" y="4508172"/>
                </a:lnTo>
                <a:lnTo>
                  <a:pt x="6481" y="4506641"/>
                </a:lnTo>
                <a:lnTo>
                  <a:pt x="5670" y="4488834"/>
                </a:lnTo>
                <a:lnTo>
                  <a:pt x="4679" y="4488834"/>
                </a:lnTo>
                <a:lnTo>
                  <a:pt x="4679" y="4476023"/>
                </a:lnTo>
                <a:lnTo>
                  <a:pt x="3837" y="4469889"/>
                </a:lnTo>
                <a:lnTo>
                  <a:pt x="2681" y="4461995"/>
                </a:lnTo>
                <a:lnTo>
                  <a:pt x="2640" y="4461163"/>
                </a:lnTo>
                <a:lnTo>
                  <a:pt x="2433" y="4459658"/>
                </a:lnTo>
                <a:lnTo>
                  <a:pt x="1621" y="4442154"/>
                </a:lnTo>
                <a:lnTo>
                  <a:pt x="631" y="4442154"/>
                </a:lnTo>
                <a:lnTo>
                  <a:pt x="631" y="4426015"/>
                </a:lnTo>
                <a:lnTo>
                  <a:pt x="631" y="4420821"/>
                </a:lnTo>
                <a:lnTo>
                  <a:pt x="631" y="4420700"/>
                </a:lnTo>
                <a:lnTo>
                  <a:pt x="156" y="4420700"/>
                </a:lnTo>
                <a:lnTo>
                  <a:pt x="156" y="4350450"/>
                </a:lnTo>
                <a:lnTo>
                  <a:pt x="156" y="4340879"/>
                </a:lnTo>
                <a:lnTo>
                  <a:pt x="156" y="4127703"/>
                </a:lnTo>
                <a:lnTo>
                  <a:pt x="156" y="4025885"/>
                </a:lnTo>
                <a:lnTo>
                  <a:pt x="156" y="3997713"/>
                </a:lnTo>
                <a:lnTo>
                  <a:pt x="626" y="3997713"/>
                </a:lnTo>
                <a:lnTo>
                  <a:pt x="626" y="3911014"/>
                </a:lnTo>
                <a:lnTo>
                  <a:pt x="0" y="3911014"/>
                </a:lnTo>
                <a:lnTo>
                  <a:pt x="0" y="3908592"/>
                </a:lnTo>
                <a:lnTo>
                  <a:pt x="0" y="3570744"/>
                </a:lnTo>
                <a:lnTo>
                  <a:pt x="0" y="2076617"/>
                </a:lnTo>
                <a:lnTo>
                  <a:pt x="3302" y="2076617"/>
                </a:lnTo>
                <a:lnTo>
                  <a:pt x="3302" y="2074287"/>
                </a:lnTo>
                <a:lnTo>
                  <a:pt x="3302" y="1850939"/>
                </a:lnTo>
                <a:lnTo>
                  <a:pt x="3302" y="1850328"/>
                </a:lnTo>
                <a:lnTo>
                  <a:pt x="3301" y="1850319"/>
                </a:lnTo>
                <a:lnTo>
                  <a:pt x="3302" y="1850309"/>
                </a:lnTo>
                <a:lnTo>
                  <a:pt x="3302" y="1804040"/>
                </a:lnTo>
                <a:lnTo>
                  <a:pt x="3302" y="1803429"/>
                </a:lnTo>
                <a:lnTo>
                  <a:pt x="3301" y="1803419"/>
                </a:lnTo>
                <a:lnTo>
                  <a:pt x="3302" y="1803409"/>
                </a:lnTo>
                <a:lnTo>
                  <a:pt x="3302" y="1801662"/>
                </a:lnTo>
                <a:lnTo>
                  <a:pt x="3302" y="1770814"/>
                </a:lnTo>
                <a:lnTo>
                  <a:pt x="3302" y="1770203"/>
                </a:lnTo>
                <a:lnTo>
                  <a:pt x="3301" y="1770192"/>
                </a:lnTo>
                <a:lnTo>
                  <a:pt x="3302" y="1770183"/>
                </a:lnTo>
                <a:lnTo>
                  <a:pt x="3302" y="1754762"/>
                </a:lnTo>
                <a:lnTo>
                  <a:pt x="3302" y="1723914"/>
                </a:lnTo>
                <a:lnTo>
                  <a:pt x="3302" y="1723304"/>
                </a:lnTo>
                <a:lnTo>
                  <a:pt x="3301" y="1723293"/>
                </a:lnTo>
                <a:lnTo>
                  <a:pt x="3302" y="1723284"/>
                </a:lnTo>
                <a:lnTo>
                  <a:pt x="3302" y="1721537"/>
                </a:lnTo>
                <a:lnTo>
                  <a:pt x="3302" y="1674636"/>
                </a:lnTo>
                <a:lnTo>
                  <a:pt x="3302" y="1119326"/>
                </a:lnTo>
                <a:lnTo>
                  <a:pt x="3302" y="1118715"/>
                </a:lnTo>
                <a:lnTo>
                  <a:pt x="3301" y="1118705"/>
                </a:lnTo>
                <a:lnTo>
                  <a:pt x="3302" y="1118695"/>
                </a:lnTo>
                <a:lnTo>
                  <a:pt x="3302" y="1070048"/>
                </a:lnTo>
                <a:lnTo>
                  <a:pt x="3302" y="1039200"/>
                </a:lnTo>
                <a:lnTo>
                  <a:pt x="3302" y="1038590"/>
                </a:lnTo>
                <a:lnTo>
                  <a:pt x="3301" y="1038579"/>
                </a:lnTo>
                <a:lnTo>
                  <a:pt x="3302" y="1038570"/>
                </a:lnTo>
                <a:lnTo>
                  <a:pt x="3302" y="989923"/>
                </a:lnTo>
                <a:lnTo>
                  <a:pt x="5852" y="989923"/>
                </a:lnTo>
                <a:lnTo>
                  <a:pt x="8449" y="939781"/>
                </a:lnTo>
                <a:lnTo>
                  <a:pt x="8925" y="936738"/>
                </a:lnTo>
                <a:lnTo>
                  <a:pt x="9149" y="932684"/>
                </a:lnTo>
                <a:cubicBezTo>
                  <a:pt x="15946" y="871482"/>
                  <a:pt x="28569" y="811856"/>
                  <a:pt x="46506" y="754274"/>
                </a:cubicBezTo>
                <a:lnTo>
                  <a:pt x="48032" y="750077"/>
                </a:lnTo>
                <a:lnTo>
                  <a:pt x="48222" y="749353"/>
                </a:lnTo>
                <a:lnTo>
                  <a:pt x="50914" y="742152"/>
                </a:lnTo>
                <a:lnTo>
                  <a:pt x="77329" y="669497"/>
                </a:lnTo>
                <a:lnTo>
                  <a:pt x="80849" y="662039"/>
                </a:lnTo>
                <a:lnTo>
                  <a:pt x="81908" y="659204"/>
                </a:lnTo>
                <a:lnTo>
                  <a:pt x="89422" y="643883"/>
                </a:lnTo>
                <a:lnTo>
                  <a:pt x="115734" y="588143"/>
                </a:lnTo>
                <a:lnTo>
                  <a:pt x="121848" y="577740"/>
                </a:lnTo>
                <a:lnTo>
                  <a:pt x="124169" y="573005"/>
                </a:lnTo>
                <a:lnTo>
                  <a:pt x="134403" y="556381"/>
                </a:lnTo>
                <a:lnTo>
                  <a:pt x="161333" y="510566"/>
                </a:lnTo>
                <a:lnTo>
                  <a:pt x="170598" y="497582"/>
                </a:lnTo>
                <a:lnTo>
                  <a:pt x="174534" y="491185"/>
                </a:lnTo>
                <a:lnTo>
                  <a:pt x="186458" y="475354"/>
                </a:lnTo>
                <a:lnTo>
                  <a:pt x="213741" y="437120"/>
                </a:lnTo>
                <a:lnTo>
                  <a:pt x="226666" y="421970"/>
                </a:lnTo>
                <a:lnTo>
                  <a:pt x="232537" y="414172"/>
                </a:lnTo>
                <a:lnTo>
                  <a:pt x="245428" y="399975"/>
                </a:lnTo>
                <a:lnTo>
                  <a:pt x="272569" y="368155"/>
                </a:lnTo>
                <a:lnTo>
                  <a:pt x="289619" y="351302"/>
                </a:lnTo>
                <a:lnTo>
                  <a:pt x="297703" y="342396"/>
                </a:lnTo>
                <a:lnTo>
                  <a:pt x="310983" y="330181"/>
                </a:lnTo>
                <a:lnTo>
                  <a:pt x="337434" y="304029"/>
                </a:lnTo>
                <a:lnTo>
                  <a:pt x="359031" y="285980"/>
                </a:lnTo>
                <a:lnTo>
                  <a:pt x="369567" y="276286"/>
                </a:lnTo>
                <a:lnTo>
                  <a:pt x="382740" y="266163"/>
                </a:lnTo>
                <a:lnTo>
                  <a:pt x="407948" y="245095"/>
                </a:lnTo>
                <a:lnTo>
                  <a:pt x="434483" y="226398"/>
                </a:lnTo>
                <a:lnTo>
                  <a:pt x="447659" y="216272"/>
                </a:lnTo>
                <a:lnTo>
                  <a:pt x="460291" y="208214"/>
                </a:lnTo>
                <a:lnTo>
                  <a:pt x="483722" y="191703"/>
                </a:lnTo>
                <a:lnTo>
                  <a:pt x="515572" y="172948"/>
                </a:lnTo>
                <a:lnTo>
                  <a:pt x="531508" y="162782"/>
                </a:lnTo>
                <a:lnTo>
                  <a:pt x="543209" y="156673"/>
                </a:lnTo>
                <a:lnTo>
                  <a:pt x="564373" y="144210"/>
                </a:lnTo>
                <a:lnTo>
                  <a:pt x="601919" y="126023"/>
                </a:lnTo>
                <a:lnTo>
                  <a:pt x="620646" y="116246"/>
                </a:lnTo>
                <a:lnTo>
                  <a:pt x="631065" y="111905"/>
                </a:lnTo>
                <a:lnTo>
                  <a:pt x="649513" y="102967"/>
                </a:lnTo>
                <a:lnTo>
                  <a:pt x="693215" y="86005"/>
                </a:lnTo>
                <a:lnTo>
                  <a:pt x="714604" y="77091"/>
                </a:lnTo>
                <a:lnTo>
                  <a:pt x="723421" y="74281"/>
                </a:lnTo>
                <a:lnTo>
                  <a:pt x="738755" y="68329"/>
                </a:lnTo>
                <a:lnTo>
                  <a:pt x="789290" y="53281"/>
                </a:lnTo>
                <a:lnTo>
                  <a:pt x="812911" y="45751"/>
                </a:lnTo>
                <a:lnTo>
                  <a:pt x="819840" y="44184"/>
                </a:lnTo>
                <a:lnTo>
                  <a:pt x="831714" y="40649"/>
                </a:lnTo>
                <a:lnTo>
                  <a:pt x="890408" y="28233"/>
                </a:lnTo>
                <a:lnTo>
                  <a:pt x="891488" y="27989"/>
                </a:lnTo>
                <a:lnTo>
                  <a:pt x="891488" y="26353"/>
                </a:lnTo>
                <a:lnTo>
                  <a:pt x="920414" y="21016"/>
                </a:lnTo>
                <a:lnTo>
                  <a:pt x="926275" y="20363"/>
                </a:lnTo>
                <a:lnTo>
                  <a:pt x="936223" y="18645"/>
                </a:lnTo>
                <a:lnTo>
                  <a:pt x="1022729" y="9605"/>
                </a:lnTo>
                <a:lnTo>
                  <a:pt x="1049789" y="6588"/>
                </a:lnTo>
                <a:lnTo>
                  <a:pt x="1052637" y="6482"/>
                </a:lnTo>
                <a:lnTo>
                  <a:pt x="1057795" y="5941"/>
                </a:lnTo>
                <a:lnTo>
                  <a:pt x="1117794" y="3821"/>
                </a:lnTo>
                <a:lnTo>
                  <a:pt x="1117794" y="1237"/>
                </a:lnTo>
                <a:lnTo>
                  <a:pt x="1173109" y="1237"/>
                </a:lnTo>
                <a:lnTo>
                  <a:pt x="1190915" y="1237"/>
                </a:lnTo>
                <a:lnTo>
                  <a:pt x="1191329" y="1237"/>
                </a:lnTo>
                <a:lnTo>
                  <a:pt x="1191331" y="1237"/>
                </a:lnTo>
                <a:close/>
              </a:path>
            </a:pathLst>
          </a:custGeom>
        </p:spPr>
        <p:txBody>
          <a:bodyPr wrap="square">
            <a:noAutofit/>
          </a:bodyPr>
          <a:lstStyle/>
          <a:p>
            <a:endParaRPr lang="en-US"/>
          </a:p>
        </p:txBody>
      </p:sp>
    </p:spTree>
    <p:extLst>
      <p:ext uri="{BB962C8B-B14F-4D97-AF65-F5344CB8AC3E}">
        <p14:creationId xmlns:p14="http://schemas.microsoft.com/office/powerpoint/2010/main" val="371884585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B243513-C860-481A-B891-C8D2C3C9E503}"/>
              </a:ext>
            </a:extLst>
          </p:cNvPr>
          <p:cNvSpPr>
            <a:spLocks noGrp="1"/>
          </p:cNvSpPr>
          <p:nvPr>
            <p:ph type="pic" sz="quarter" idx="10"/>
          </p:nvPr>
        </p:nvSpPr>
        <p:spPr>
          <a:xfrm>
            <a:off x="599658" y="1857854"/>
            <a:ext cx="2857979" cy="4655571"/>
          </a:xfrm>
          <a:custGeom>
            <a:avLst/>
            <a:gdLst>
              <a:gd name="connsiteX0" fmla="*/ 1428980 w 2857979"/>
              <a:gd name="connsiteY0" fmla="*/ 0 h 4655571"/>
              <a:gd name="connsiteX1" fmla="*/ 1428995 w 2857979"/>
              <a:gd name="connsiteY1" fmla="*/ 1 h 4655571"/>
              <a:gd name="connsiteX2" fmla="*/ 1496034 w 2857979"/>
              <a:gd name="connsiteY2" fmla="*/ 1 h 4655571"/>
              <a:gd name="connsiteX3" fmla="*/ 1496034 w 2857979"/>
              <a:gd name="connsiteY3" fmla="*/ 3215 h 4655571"/>
              <a:gd name="connsiteX4" fmla="*/ 1565136 w 2857979"/>
              <a:gd name="connsiteY4" fmla="*/ 6488 h 4655571"/>
              <a:gd name="connsiteX5" fmla="*/ 1569329 w 2857979"/>
              <a:gd name="connsiteY5" fmla="*/ 7088 h 4655571"/>
              <a:gd name="connsiteX6" fmla="*/ 1574913 w 2857979"/>
              <a:gd name="connsiteY6" fmla="*/ 7369 h 4655571"/>
              <a:gd name="connsiteX7" fmla="*/ 1820778 w 2857979"/>
              <a:gd name="connsiteY7" fmla="*/ 54447 h 4655571"/>
              <a:gd name="connsiteX8" fmla="*/ 1826563 w 2857979"/>
              <a:gd name="connsiteY8" fmla="*/ 56369 h 4655571"/>
              <a:gd name="connsiteX9" fmla="*/ 1827559 w 2857979"/>
              <a:gd name="connsiteY9" fmla="*/ 56610 h 4655571"/>
              <a:gd name="connsiteX10" fmla="*/ 1837483 w 2857979"/>
              <a:gd name="connsiteY10" fmla="*/ 60001 h 4655571"/>
              <a:gd name="connsiteX11" fmla="*/ 1937608 w 2857979"/>
              <a:gd name="connsiteY11" fmla="*/ 93290 h 4655571"/>
              <a:gd name="connsiteX12" fmla="*/ 1947886 w 2857979"/>
              <a:gd name="connsiteY12" fmla="*/ 97727 h 4655571"/>
              <a:gd name="connsiteX13" fmla="*/ 1951791 w 2857979"/>
              <a:gd name="connsiteY13" fmla="*/ 99062 h 4655571"/>
              <a:gd name="connsiteX14" fmla="*/ 1972906 w 2857979"/>
              <a:gd name="connsiteY14" fmla="*/ 108529 h 4655571"/>
              <a:gd name="connsiteX15" fmla="*/ 2049720 w 2857979"/>
              <a:gd name="connsiteY15" fmla="*/ 141688 h 4655571"/>
              <a:gd name="connsiteX16" fmla="*/ 2064057 w 2857979"/>
              <a:gd name="connsiteY16" fmla="*/ 149394 h 4655571"/>
              <a:gd name="connsiteX17" fmla="*/ 2070581 w 2857979"/>
              <a:gd name="connsiteY17" fmla="*/ 152319 h 4655571"/>
              <a:gd name="connsiteX18" fmla="*/ 2093493 w 2857979"/>
              <a:gd name="connsiteY18" fmla="*/ 165217 h 4655571"/>
              <a:gd name="connsiteX19" fmla="*/ 2156628 w 2857979"/>
              <a:gd name="connsiteY19" fmla="*/ 199153 h 4655571"/>
              <a:gd name="connsiteX20" fmla="*/ 2174520 w 2857979"/>
              <a:gd name="connsiteY20" fmla="*/ 210829 h 4655571"/>
              <a:gd name="connsiteX21" fmla="*/ 2183337 w 2857979"/>
              <a:gd name="connsiteY21" fmla="*/ 215789 h 4655571"/>
              <a:gd name="connsiteX22" fmla="*/ 2205153 w 2857979"/>
              <a:gd name="connsiteY22" fmla="*/ 230816 h 4655571"/>
              <a:gd name="connsiteX23" fmla="*/ 2257845 w 2857979"/>
              <a:gd name="connsiteY23" fmla="*/ 265197 h 4655571"/>
              <a:gd name="connsiteX24" fmla="*/ 2278722 w 2857979"/>
              <a:gd name="connsiteY24" fmla="*/ 281484 h 4655571"/>
              <a:gd name="connsiteX25" fmla="*/ 2289467 w 2857979"/>
              <a:gd name="connsiteY25" fmla="*/ 288883 h 4655571"/>
              <a:gd name="connsiteX26" fmla="*/ 2309032 w 2857979"/>
              <a:gd name="connsiteY26" fmla="*/ 305128 h 4655571"/>
              <a:gd name="connsiteX27" fmla="*/ 2352881 w 2857979"/>
              <a:gd name="connsiteY27" fmla="*/ 339335 h 4655571"/>
              <a:gd name="connsiteX28" fmla="*/ 2376107 w 2857979"/>
              <a:gd name="connsiteY28" fmla="*/ 360819 h 4655571"/>
              <a:gd name="connsiteX29" fmla="*/ 2388380 w 2857979"/>
              <a:gd name="connsiteY29" fmla="*/ 371008 h 4655571"/>
              <a:gd name="connsiteX30" fmla="*/ 2405214 w 2857979"/>
              <a:gd name="connsiteY30" fmla="*/ 387741 h 4655571"/>
              <a:gd name="connsiteX31" fmla="*/ 2441252 w 2857979"/>
              <a:gd name="connsiteY31" fmla="*/ 421077 h 4655571"/>
              <a:gd name="connsiteX32" fmla="*/ 2466127 w 2857979"/>
              <a:gd name="connsiteY32" fmla="*/ 448293 h 4655571"/>
              <a:gd name="connsiteX33" fmla="*/ 2479485 w 2857979"/>
              <a:gd name="connsiteY33" fmla="*/ 461571 h 4655571"/>
              <a:gd name="connsiteX34" fmla="*/ 2493436 w 2857979"/>
              <a:gd name="connsiteY34" fmla="*/ 478171 h 4655571"/>
              <a:gd name="connsiteX35" fmla="*/ 2522470 w 2857979"/>
              <a:gd name="connsiteY35" fmla="*/ 509938 h 4655571"/>
              <a:gd name="connsiteX36" fmla="*/ 2548236 w 2857979"/>
              <a:gd name="connsiteY36" fmla="*/ 543379 h 4655571"/>
              <a:gd name="connsiteX37" fmla="*/ 2562191 w 2857979"/>
              <a:gd name="connsiteY37" fmla="*/ 559982 h 4655571"/>
              <a:gd name="connsiteX38" fmla="*/ 2573295 w 2857979"/>
              <a:gd name="connsiteY38" fmla="*/ 575901 h 4655571"/>
              <a:gd name="connsiteX39" fmla="*/ 2596047 w 2857979"/>
              <a:gd name="connsiteY39" fmla="*/ 605429 h 4655571"/>
              <a:gd name="connsiteX40" fmla="*/ 2621892 w 2857979"/>
              <a:gd name="connsiteY40" fmla="*/ 645566 h 4655571"/>
              <a:gd name="connsiteX41" fmla="*/ 2635905 w 2857979"/>
              <a:gd name="connsiteY41" fmla="*/ 665649 h 4655571"/>
              <a:gd name="connsiteX42" fmla="*/ 2644323 w 2857979"/>
              <a:gd name="connsiteY42" fmla="*/ 680395 h 4655571"/>
              <a:gd name="connsiteX43" fmla="*/ 2661498 w 2857979"/>
              <a:gd name="connsiteY43" fmla="*/ 707066 h 4655571"/>
              <a:gd name="connsiteX44" fmla="*/ 2686560 w 2857979"/>
              <a:gd name="connsiteY44" fmla="*/ 754381 h 4655571"/>
              <a:gd name="connsiteX45" fmla="*/ 2700035 w 2857979"/>
              <a:gd name="connsiteY45" fmla="*/ 777982 h 4655571"/>
              <a:gd name="connsiteX46" fmla="*/ 2706018 w 2857979"/>
              <a:gd name="connsiteY46" fmla="*/ 791111 h 4655571"/>
              <a:gd name="connsiteX47" fmla="*/ 2718333 w 2857979"/>
              <a:gd name="connsiteY47" fmla="*/ 814360 h 4655571"/>
              <a:gd name="connsiteX48" fmla="*/ 2741708 w 2857979"/>
              <a:gd name="connsiteY48" fmla="*/ 869434 h 4655571"/>
              <a:gd name="connsiteX49" fmla="*/ 2753992 w 2857979"/>
              <a:gd name="connsiteY49" fmla="*/ 896389 h 4655571"/>
              <a:gd name="connsiteX50" fmla="*/ 2757865 w 2857979"/>
              <a:gd name="connsiteY50" fmla="*/ 907498 h 4655571"/>
              <a:gd name="connsiteX51" fmla="*/ 2766068 w 2857979"/>
              <a:gd name="connsiteY51" fmla="*/ 926823 h 4655571"/>
              <a:gd name="connsiteX52" fmla="*/ 2786805 w 2857979"/>
              <a:gd name="connsiteY52" fmla="*/ 990506 h 4655571"/>
              <a:gd name="connsiteX53" fmla="*/ 2797182 w 2857979"/>
              <a:gd name="connsiteY53" fmla="*/ 1020275 h 4655571"/>
              <a:gd name="connsiteX54" fmla="*/ 2799341 w 2857979"/>
              <a:gd name="connsiteY54" fmla="*/ 1029006 h 4655571"/>
              <a:gd name="connsiteX55" fmla="*/ 2804213 w 2857979"/>
              <a:gd name="connsiteY55" fmla="*/ 1043971 h 4655571"/>
              <a:gd name="connsiteX56" fmla="*/ 2821323 w 2857979"/>
              <a:gd name="connsiteY56" fmla="*/ 1117937 h 4655571"/>
              <a:gd name="connsiteX57" fmla="*/ 2829016 w 2857979"/>
              <a:gd name="connsiteY57" fmla="*/ 1149052 h 4655571"/>
              <a:gd name="connsiteX58" fmla="*/ 2829916 w 2857979"/>
              <a:gd name="connsiteY58" fmla="*/ 1155080 h 4655571"/>
              <a:gd name="connsiteX59" fmla="*/ 2832283 w 2857979"/>
              <a:gd name="connsiteY59" fmla="*/ 1165313 h 4655571"/>
              <a:gd name="connsiteX60" fmla="*/ 2844741 w 2857979"/>
              <a:gd name="connsiteY60" fmla="*/ 1254295 h 4655571"/>
              <a:gd name="connsiteX61" fmla="*/ 2848900 w 2857979"/>
              <a:gd name="connsiteY61" fmla="*/ 1282127 h 4655571"/>
              <a:gd name="connsiteX62" fmla="*/ 2849048 w 2857979"/>
              <a:gd name="connsiteY62" fmla="*/ 1285059 h 4655571"/>
              <a:gd name="connsiteX63" fmla="*/ 2849790 w 2857979"/>
              <a:gd name="connsiteY63" fmla="*/ 1290365 h 4655571"/>
              <a:gd name="connsiteX64" fmla="*/ 2852713 w 2857979"/>
              <a:gd name="connsiteY64" fmla="*/ 1352080 h 4655571"/>
              <a:gd name="connsiteX65" fmla="*/ 2856274 w 2857979"/>
              <a:gd name="connsiteY65" fmla="*/ 1352080 h 4655571"/>
              <a:gd name="connsiteX66" fmla="*/ 2856274 w 2857979"/>
              <a:gd name="connsiteY66" fmla="*/ 1408978 h 4655571"/>
              <a:gd name="connsiteX67" fmla="*/ 2856274 w 2857979"/>
              <a:gd name="connsiteY67" fmla="*/ 1427293 h 4655571"/>
              <a:gd name="connsiteX68" fmla="*/ 2856274 w 2857979"/>
              <a:gd name="connsiteY68" fmla="*/ 1427719 h 4655571"/>
              <a:gd name="connsiteX69" fmla="*/ 2856274 w 2857979"/>
              <a:gd name="connsiteY69" fmla="*/ 1427720 h 4655571"/>
              <a:gd name="connsiteX70" fmla="*/ 2857979 w 2857979"/>
              <a:gd name="connsiteY70" fmla="*/ 1427720 h 4655571"/>
              <a:gd name="connsiteX71" fmla="*/ 2857979 w 2857979"/>
              <a:gd name="connsiteY71" fmla="*/ 1613887 h 4655571"/>
              <a:gd name="connsiteX72" fmla="*/ 2857979 w 2857979"/>
              <a:gd name="connsiteY72" fmla="*/ 1701091 h 4655571"/>
              <a:gd name="connsiteX73" fmla="*/ 2857979 w 2857979"/>
              <a:gd name="connsiteY73" fmla="*/ 1856116 h 4655571"/>
              <a:gd name="connsiteX74" fmla="*/ 2857979 w 2857979"/>
              <a:gd name="connsiteY74" fmla="*/ 1877704 h 4655571"/>
              <a:gd name="connsiteX75" fmla="*/ 2857979 w 2857979"/>
              <a:gd name="connsiteY75" fmla="*/ 1953345 h 4655571"/>
              <a:gd name="connsiteX76" fmla="*/ 2856292 w 2857979"/>
              <a:gd name="connsiteY76" fmla="*/ 1953345 h 4655571"/>
              <a:gd name="connsiteX77" fmla="*/ 2856292 w 2857979"/>
              <a:gd name="connsiteY77" fmla="*/ 1982173 h 4655571"/>
              <a:gd name="connsiteX78" fmla="*/ 1592136 w 2857979"/>
              <a:gd name="connsiteY78" fmla="*/ 1982173 h 4655571"/>
              <a:gd name="connsiteX79" fmla="*/ 1820778 w 2857979"/>
              <a:gd name="connsiteY79" fmla="*/ 2025953 h 4655571"/>
              <a:gd name="connsiteX80" fmla="*/ 1826563 w 2857979"/>
              <a:gd name="connsiteY80" fmla="*/ 2027875 h 4655571"/>
              <a:gd name="connsiteX81" fmla="*/ 1827559 w 2857979"/>
              <a:gd name="connsiteY81" fmla="*/ 2028116 h 4655571"/>
              <a:gd name="connsiteX82" fmla="*/ 1837483 w 2857979"/>
              <a:gd name="connsiteY82" fmla="*/ 2031509 h 4655571"/>
              <a:gd name="connsiteX83" fmla="*/ 1937608 w 2857979"/>
              <a:gd name="connsiteY83" fmla="*/ 2064797 h 4655571"/>
              <a:gd name="connsiteX84" fmla="*/ 1947886 w 2857979"/>
              <a:gd name="connsiteY84" fmla="*/ 2069234 h 4655571"/>
              <a:gd name="connsiteX85" fmla="*/ 1951791 w 2857979"/>
              <a:gd name="connsiteY85" fmla="*/ 2070568 h 4655571"/>
              <a:gd name="connsiteX86" fmla="*/ 1972906 w 2857979"/>
              <a:gd name="connsiteY86" fmla="*/ 2080035 h 4655571"/>
              <a:gd name="connsiteX87" fmla="*/ 2049720 w 2857979"/>
              <a:gd name="connsiteY87" fmla="*/ 2113194 h 4655571"/>
              <a:gd name="connsiteX88" fmla="*/ 2064057 w 2857979"/>
              <a:gd name="connsiteY88" fmla="*/ 2120900 h 4655571"/>
              <a:gd name="connsiteX89" fmla="*/ 2070581 w 2857979"/>
              <a:gd name="connsiteY89" fmla="*/ 2123825 h 4655571"/>
              <a:gd name="connsiteX90" fmla="*/ 2093493 w 2857979"/>
              <a:gd name="connsiteY90" fmla="*/ 2136723 h 4655571"/>
              <a:gd name="connsiteX91" fmla="*/ 2156628 w 2857979"/>
              <a:gd name="connsiteY91" fmla="*/ 2170659 h 4655571"/>
              <a:gd name="connsiteX92" fmla="*/ 2174520 w 2857979"/>
              <a:gd name="connsiteY92" fmla="*/ 2182335 h 4655571"/>
              <a:gd name="connsiteX93" fmla="*/ 2183337 w 2857979"/>
              <a:gd name="connsiteY93" fmla="*/ 2187296 h 4655571"/>
              <a:gd name="connsiteX94" fmla="*/ 2205153 w 2857979"/>
              <a:gd name="connsiteY94" fmla="*/ 2202322 h 4655571"/>
              <a:gd name="connsiteX95" fmla="*/ 2257845 w 2857979"/>
              <a:gd name="connsiteY95" fmla="*/ 2236704 h 4655571"/>
              <a:gd name="connsiteX96" fmla="*/ 2278723 w 2857979"/>
              <a:gd name="connsiteY96" fmla="*/ 2252990 h 4655571"/>
              <a:gd name="connsiteX97" fmla="*/ 2289467 w 2857979"/>
              <a:gd name="connsiteY97" fmla="*/ 2260389 h 4655571"/>
              <a:gd name="connsiteX98" fmla="*/ 2309032 w 2857979"/>
              <a:gd name="connsiteY98" fmla="*/ 2276635 h 4655571"/>
              <a:gd name="connsiteX99" fmla="*/ 2352881 w 2857979"/>
              <a:gd name="connsiteY99" fmla="*/ 2310840 h 4655571"/>
              <a:gd name="connsiteX100" fmla="*/ 2376107 w 2857979"/>
              <a:gd name="connsiteY100" fmla="*/ 2332325 h 4655571"/>
              <a:gd name="connsiteX101" fmla="*/ 2388380 w 2857979"/>
              <a:gd name="connsiteY101" fmla="*/ 2342514 h 4655571"/>
              <a:gd name="connsiteX102" fmla="*/ 2405214 w 2857979"/>
              <a:gd name="connsiteY102" fmla="*/ 2359248 h 4655571"/>
              <a:gd name="connsiteX103" fmla="*/ 2441252 w 2857979"/>
              <a:gd name="connsiteY103" fmla="*/ 2392582 h 4655571"/>
              <a:gd name="connsiteX104" fmla="*/ 2466127 w 2857979"/>
              <a:gd name="connsiteY104" fmla="*/ 2419799 h 4655571"/>
              <a:gd name="connsiteX105" fmla="*/ 2479485 w 2857979"/>
              <a:gd name="connsiteY105" fmla="*/ 2433078 h 4655571"/>
              <a:gd name="connsiteX106" fmla="*/ 2493436 w 2857979"/>
              <a:gd name="connsiteY106" fmla="*/ 2449678 h 4655571"/>
              <a:gd name="connsiteX107" fmla="*/ 2522469 w 2857979"/>
              <a:gd name="connsiteY107" fmla="*/ 2481443 h 4655571"/>
              <a:gd name="connsiteX108" fmla="*/ 2548236 w 2857979"/>
              <a:gd name="connsiteY108" fmla="*/ 2514884 h 4655571"/>
              <a:gd name="connsiteX109" fmla="*/ 2562191 w 2857979"/>
              <a:gd name="connsiteY109" fmla="*/ 2531488 h 4655571"/>
              <a:gd name="connsiteX110" fmla="*/ 2573295 w 2857979"/>
              <a:gd name="connsiteY110" fmla="*/ 2547408 h 4655571"/>
              <a:gd name="connsiteX111" fmla="*/ 2596047 w 2857979"/>
              <a:gd name="connsiteY111" fmla="*/ 2576936 h 4655571"/>
              <a:gd name="connsiteX112" fmla="*/ 2621892 w 2857979"/>
              <a:gd name="connsiteY112" fmla="*/ 2617072 h 4655571"/>
              <a:gd name="connsiteX113" fmla="*/ 2635904 w 2857979"/>
              <a:gd name="connsiteY113" fmla="*/ 2637156 h 4655571"/>
              <a:gd name="connsiteX114" fmla="*/ 2644322 w 2857979"/>
              <a:gd name="connsiteY114" fmla="*/ 2651901 h 4655571"/>
              <a:gd name="connsiteX115" fmla="*/ 2661498 w 2857979"/>
              <a:gd name="connsiteY115" fmla="*/ 2678572 h 4655571"/>
              <a:gd name="connsiteX116" fmla="*/ 2686560 w 2857979"/>
              <a:gd name="connsiteY116" fmla="*/ 2725888 h 4655571"/>
              <a:gd name="connsiteX117" fmla="*/ 2700035 w 2857979"/>
              <a:gd name="connsiteY117" fmla="*/ 2749488 h 4655571"/>
              <a:gd name="connsiteX118" fmla="*/ 2706018 w 2857979"/>
              <a:gd name="connsiteY118" fmla="*/ 2762618 h 4655571"/>
              <a:gd name="connsiteX119" fmla="*/ 2718332 w 2857979"/>
              <a:gd name="connsiteY119" fmla="*/ 2785865 h 4655571"/>
              <a:gd name="connsiteX120" fmla="*/ 2741708 w 2857979"/>
              <a:gd name="connsiteY120" fmla="*/ 2840939 h 4655571"/>
              <a:gd name="connsiteX121" fmla="*/ 2753991 w 2857979"/>
              <a:gd name="connsiteY121" fmla="*/ 2867894 h 4655571"/>
              <a:gd name="connsiteX122" fmla="*/ 2757865 w 2857979"/>
              <a:gd name="connsiteY122" fmla="*/ 2879005 h 4655571"/>
              <a:gd name="connsiteX123" fmla="*/ 2766068 w 2857979"/>
              <a:gd name="connsiteY123" fmla="*/ 2898329 h 4655571"/>
              <a:gd name="connsiteX124" fmla="*/ 2786804 w 2857979"/>
              <a:gd name="connsiteY124" fmla="*/ 2962013 h 4655571"/>
              <a:gd name="connsiteX125" fmla="*/ 2797182 w 2857979"/>
              <a:gd name="connsiteY125" fmla="*/ 2991781 h 4655571"/>
              <a:gd name="connsiteX126" fmla="*/ 2799341 w 2857979"/>
              <a:gd name="connsiteY126" fmla="*/ 3000513 h 4655571"/>
              <a:gd name="connsiteX127" fmla="*/ 2804213 w 2857979"/>
              <a:gd name="connsiteY127" fmla="*/ 3015476 h 4655571"/>
              <a:gd name="connsiteX128" fmla="*/ 2821323 w 2857979"/>
              <a:gd name="connsiteY128" fmla="*/ 3089443 h 4655571"/>
              <a:gd name="connsiteX129" fmla="*/ 2829016 w 2857979"/>
              <a:gd name="connsiteY129" fmla="*/ 3120558 h 4655571"/>
              <a:gd name="connsiteX130" fmla="*/ 2829916 w 2857979"/>
              <a:gd name="connsiteY130" fmla="*/ 3126586 h 4655571"/>
              <a:gd name="connsiteX131" fmla="*/ 2832283 w 2857979"/>
              <a:gd name="connsiteY131" fmla="*/ 3136820 h 4655571"/>
              <a:gd name="connsiteX132" fmla="*/ 2844741 w 2857979"/>
              <a:gd name="connsiteY132" fmla="*/ 3225801 h 4655571"/>
              <a:gd name="connsiteX133" fmla="*/ 2848899 w 2857979"/>
              <a:gd name="connsiteY133" fmla="*/ 3253634 h 4655571"/>
              <a:gd name="connsiteX134" fmla="*/ 2849047 w 2857979"/>
              <a:gd name="connsiteY134" fmla="*/ 3256565 h 4655571"/>
              <a:gd name="connsiteX135" fmla="*/ 2849790 w 2857979"/>
              <a:gd name="connsiteY135" fmla="*/ 3261871 h 4655571"/>
              <a:gd name="connsiteX136" fmla="*/ 2852712 w 2857979"/>
              <a:gd name="connsiteY136" fmla="*/ 3323586 h 4655571"/>
              <a:gd name="connsiteX137" fmla="*/ 2856274 w 2857979"/>
              <a:gd name="connsiteY137" fmla="*/ 3323586 h 4655571"/>
              <a:gd name="connsiteX138" fmla="*/ 2856274 w 2857979"/>
              <a:gd name="connsiteY138" fmla="*/ 3325569 h 4655571"/>
              <a:gd name="connsiteX139" fmla="*/ 2856291 w 2857979"/>
              <a:gd name="connsiteY139" fmla="*/ 3325569 h 4655571"/>
              <a:gd name="connsiteX140" fmla="*/ 2856291 w 2857979"/>
              <a:gd name="connsiteY140" fmla="*/ 4287276 h 4655571"/>
              <a:gd name="connsiteX141" fmla="*/ 2856291 w 2857979"/>
              <a:gd name="connsiteY141" fmla="*/ 4655570 h 4655571"/>
              <a:gd name="connsiteX142" fmla="*/ 1429853 w 2857979"/>
              <a:gd name="connsiteY142" fmla="*/ 4655570 h 4655571"/>
              <a:gd name="connsiteX143" fmla="*/ 1429012 w 2857979"/>
              <a:gd name="connsiteY143" fmla="*/ 4655570 h 4655571"/>
              <a:gd name="connsiteX144" fmla="*/ 1428999 w 2857979"/>
              <a:gd name="connsiteY144" fmla="*/ 4655571 h 4655571"/>
              <a:gd name="connsiteX145" fmla="*/ 1428985 w 2857979"/>
              <a:gd name="connsiteY145" fmla="*/ 4655570 h 4655571"/>
              <a:gd name="connsiteX146" fmla="*/ 1361945 w 2857979"/>
              <a:gd name="connsiteY146" fmla="*/ 4655570 h 4655571"/>
              <a:gd name="connsiteX147" fmla="*/ 1361945 w 2857979"/>
              <a:gd name="connsiteY147" fmla="*/ 4652356 h 4655571"/>
              <a:gd name="connsiteX148" fmla="*/ 1292844 w 2857979"/>
              <a:gd name="connsiteY148" fmla="*/ 4649083 h 4655571"/>
              <a:gd name="connsiteX149" fmla="*/ 1288651 w 2857979"/>
              <a:gd name="connsiteY149" fmla="*/ 4648484 h 4655571"/>
              <a:gd name="connsiteX150" fmla="*/ 1283066 w 2857979"/>
              <a:gd name="connsiteY150" fmla="*/ 4648203 h 4655571"/>
              <a:gd name="connsiteX151" fmla="*/ 1037200 w 2857979"/>
              <a:gd name="connsiteY151" fmla="*/ 4601124 h 4655571"/>
              <a:gd name="connsiteX152" fmla="*/ 1031416 w 2857979"/>
              <a:gd name="connsiteY152" fmla="*/ 4599202 h 4655571"/>
              <a:gd name="connsiteX153" fmla="*/ 1030420 w 2857979"/>
              <a:gd name="connsiteY153" fmla="*/ 4598961 h 4655571"/>
              <a:gd name="connsiteX154" fmla="*/ 1020496 w 2857979"/>
              <a:gd name="connsiteY154" fmla="*/ 4595571 h 4655571"/>
              <a:gd name="connsiteX155" fmla="*/ 920371 w 2857979"/>
              <a:gd name="connsiteY155" fmla="*/ 4562281 h 4655571"/>
              <a:gd name="connsiteX156" fmla="*/ 910094 w 2857979"/>
              <a:gd name="connsiteY156" fmla="*/ 4557844 h 4655571"/>
              <a:gd name="connsiteX157" fmla="*/ 906188 w 2857979"/>
              <a:gd name="connsiteY157" fmla="*/ 4556510 h 4655571"/>
              <a:gd name="connsiteX158" fmla="*/ 885073 w 2857979"/>
              <a:gd name="connsiteY158" fmla="*/ 4547042 h 4655571"/>
              <a:gd name="connsiteX159" fmla="*/ 808258 w 2857979"/>
              <a:gd name="connsiteY159" fmla="*/ 4513883 h 4655571"/>
              <a:gd name="connsiteX160" fmla="*/ 793923 w 2857979"/>
              <a:gd name="connsiteY160" fmla="*/ 4506178 h 4655571"/>
              <a:gd name="connsiteX161" fmla="*/ 787398 w 2857979"/>
              <a:gd name="connsiteY161" fmla="*/ 4503253 h 4655571"/>
              <a:gd name="connsiteX162" fmla="*/ 764486 w 2857979"/>
              <a:gd name="connsiteY162" fmla="*/ 4490355 h 4655571"/>
              <a:gd name="connsiteX163" fmla="*/ 701352 w 2857979"/>
              <a:gd name="connsiteY163" fmla="*/ 4456419 h 4655571"/>
              <a:gd name="connsiteX164" fmla="*/ 683458 w 2857979"/>
              <a:gd name="connsiteY164" fmla="*/ 4444743 h 4655571"/>
              <a:gd name="connsiteX165" fmla="*/ 674642 w 2857979"/>
              <a:gd name="connsiteY165" fmla="*/ 4439782 h 4655571"/>
              <a:gd name="connsiteX166" fmla="*/ 652826 w 2857979"/>
              <a:gd name="connsiteY166" fmla="*/ 4424756 h 4655571"/>
              <a:gd name="connsiteX167" fmla="*/ 600135 w 2857979"/>
              <a:gd name="connsiteY167" fmla="*/ 4390374 h 4655571"/>
              <a:gd name="connsiteX168" fmla="*/ 579258 w 2857979"/>
              <a:gd name="connsiteY168" fmla="*/ 4374087 h 4655571"/>
              <a:gd name="connsiteX169" fmla="*/ 568512 w 2857979"/>
              <a:gd name="connsiteY169" fmla="*/ 4366689 h 4655571"/>
              <a:gd name="connsiteX170" fmla="*/ 548947 w 2857979"/>
              <a:gd name="connsiteY170" fmla="*/ 4350444 h 4655571"/>
              <a:gd name="connsiteX171" fmla="*/ 505098 w 2857979"/>
              <a:gd name="connsiteY171" fmla="*/ 4316236 h 4655571"/>
              <a:gd name="connsiteX172" fmla="*/ 481872 w 2857979"/>
              <a:gd name="connsiteY172" fmla="*/ 4294752 h 4655571"/>
              <a:gd name="connsiteX173" fmla="*/ 469600 w 2857979"/>
              <a:gd name="connsiteY173" fmla="*/ 4284563 h 4655571"/>
              <a:gd name="connsiteX174" fmla="*/ 452765 w 2857979"/>
              <a:gd name="connsiteY174" fmla="*/ 4267831 h 4655571"/>
              <a:gd name="connsiteX175" fmla="*/ 416727 w 2857979"/>
              <a:gd name="connsiteY175" fmla="*/ 4234495 h 4655571"/>
              <a:gd name="connsiteX176" fmla="*/ 391852 w 2857979"/>
              <a:gd name="connsiteY176" fmla="*/ 4207279 h 4655571"/>
              <a:gd name="connsiteX177" fmla="*/ 378494 w 2857979"/>
              <a:gd name="connsiteY177" fmla="*/ 4194000 h 4655571"/>
              <a:gd name="connsiteX178" fmla="*/ 364543 w 2857979"/>
              <a:gd name="connsiteY178" fmla="*/ 4177400 h 4655571"/>
              <a:gd name="connsiteX179" fmla="*/ 335510 w 2857979"/>
              <a:gd name="connsiteY179" fmla="*/ 4145634 h 4655571"/>
              <a:gd name="connsiteX180" fmla="*/ 309743 w 2857979"/>
              <a:gd name="connsiteY180" fmla="*/ 4112193 h 4655571"/>
              <a:gd name="connsiteX181" fmla="*/ 295789 w 2857979"/>
              <a:gd name="connsiteY181" fmla="*/ 4095590 h 4655571"/>
              <a:gd name="connsiteX182" fmla="*/ 284685 w 2857979"/>
              <a:gd name="connsiteY182" fmla="*/ 4079671 h 4655571"/>
              <a:gd name="connsiteX183" fmla="*/ 261931 w 2857979"/>
              <a:gd name="connsiteY183" fmla="*/ 4050142 h 4655571"/>
              <a:gd name="connsiteX184" fmla="*/ 236086 w 2857979"/>
              <a:gd name="connsiteY184" fmla="*/ 4010005 h 4655571"/>
              <a:gd name="connsiteX185" fmla="*/ 222075 w 2857979"/>
              <a:gd name="connsiteY185" fmla="*/ 3989922 h 4655571"/>
              <a:gd name="connsiteX186" fmla="*/ 213657 w 2857979"/>
              <a:gd name="connsiteY186" fmla="*/ 3975176 h 4655571"/>
              <a:gd name="connsiteX187" fmla="*/ 196482 w 2857979"/>
              <a:gd name="connsiteY187" fmla="*/ 3948505 h 4655571"/>
              <a:gd name="connsiteX188" fmla="*/ 171419 w 2857979"/>
              <a:gd name="connsiteY188" fmla="*/ 3901190 h 4655571"/>
              <a:gd name="connsiteX189" fmla="*/ 157945 w 2857979"/>
              <a:gd name="connsiteY189" fmla="*/ 3877589 h 4655571"/>
              <a:gd name="connsiteX190" fmla="*/ 151962 w 2857979"/>
              <a:gd name="connsiteY190" fmla="*/ 3864460 h 4655571"/>
              <a:gd name="connsiteX191" fmla="*/ 139646 w 2857979"/>
              <a:gd name="connsiteY191" fmla="*/ 3841212 h 4655571"/>
              <a:gd name="connsiteX192" fmla="*/ 116271 w 2857979"/>
              <a:gd name="connsiteY192" fmla="*/ 3786138 h 4655571"/>
              <a:gd name="connsiteX193" fmla="*/ 103988 w 2857979"/>
              <a:gd name="connsiteY193" fmla="*/ 3759183 h 4655571"/>
              <a:gd name="connsiteX194" fmla="*/ 100114 w 2857979"/>
              <a:gd name="connsiteY194" fmla="*/ 3748073 h 4655571"/>
              <a:gd name="connsiteX195" fmla="*/ 91911 w 2857979"/>
              <a:gd name="connsiteY195" fmla="*/ 3728748 h 4655571"/>
              <a:gd name="connsiteX196" fmla="*/ 71175 w 2857979"/>
              <a:gd name="connsiteY196" fmla="*/ 3665065 h 4655571"/>
              <a:gd name="connsiteX197" fmla="*/ 60797 w 2857979"/>
              <a:gd name="connsiteY197" fmla="*/ 3635297 h 4655571"/>
              <a:gd name="connsiteX198" fmla="*/ 58639 w 2857979"/>
              <a:gd name="connsiteY198" fmla="*/ 3626565 h 4655571"/>
              <a:gd name="connsiteX199" fmla="*/ 53766 w 2857979"/>
              <a:gd name="connsiteY199" fmla="*/ 3611600 h 4655571"/>
              <a:gd name="connsiteX200" fmla="*/ 36656 w 2857979"/>
              <a:gd name="connsiteY200" fmla="*/ 3537635 h 4655571"/>
              <a:gd name="connsiteX201" fmla="*/ 28964 w 2857979"/>
              <a:gd name="connsiteY201" fmla="*/ 3506519 h 4655571"/>
              <a:gd name="connsiteX202" fmla="*/ 28064 w 2857979"/>
              <a:gd name="connsiteY202" fmla="*/ 3500492 h 4655571"/>
              <a:gd name="connsiteX203" fmla="*/ 25696 w 2857979"/>
              <a:gd name="connsiteY203" fmla="*/ 3490258 h 4655571"/>
              <a:gd name="connsiteX204" fmla="*/ 13239 w 2857979"/>
              <a:gd name="connsiteY204" fmla="*/ 3401277 h 4655571"/>
              <a:gd name="connsiteX205" fmla="*/ 9079 w 2857979"/>
              <a:gd name="connsiteY205" fmla="*/ 3373444 h 4655571"/>
              <a:gd name="connsiteX206" fmla="*/ 8931 w 2857979"/>
              <a:gd name="connsiteY206" fmla="*/ 3370513 h 4655571"/>
              <a:gd name="connsiteX207" fmla="*/ 8188 w 2857979"/>
              <a:gd name="connsiteY207" fmla="*/ 3365207 h 4655571"/>
              <a:gd name="connsiteX208" fmla="*/ 6312 w 2857979"/>
              <a:gd name="connsiteY208" fmla="*/ 3325569 h 4655571"/>
              <a:gd name="connsiteX209" fmla="*/ 0 w 2857979"/>
              <a:gd name="connsiteY209" fmla="*/ 3325569 h 4655571"/>
              <a:gd name="connsiteX210" fmla="*/ 0 w 2857979"/>
              <a:gd name="connsiteY210" fmla="*/ 3323586 h 4655571"/>
              <a:gd name="connsiteX211" fmla="*/ 1688 w 2857979"/>
              <a:gd name="connsiteY211" fmla="*/ 3323586 h 4655571"/>
              <a:gd name="connsiteX212" fmla="*/ 1688 w 2857979"/>
              <a:gd name="connsiteY212" fmla="*/ 2339801 h 4655571"/>
              <a:gd name="connsiteX213" fmla="*/ 1688 w 2857979"/>
              <a:gd name="connsiteY213" fmla="*/ 1971507 h 4655571"/>
              <a:gd name="connsiteX214" fmla="*/ 6127 w 2857979"/>
              <a:gd name="connsiteY214" fmla="*/ 1971507 h 4655571"/>
              <a:gd name="connsiteX215" fmla="*/ 5267 w 2857979"/>
              <a:gd name="connsiteY215" fmla="*/ 1953345 h 4655571"/>
              <a:gd name="connsiteX216" fmla="*/ 1705 w 2857979"/>
              <a:gd name="connsiteY216" fmla="*/ 1953345 h 4655571"/>
              <a:gd name="connsiteX217" fmla="*/ 1705 w 2857979"/>
              <a:gd name="connsiteY217" fmla="*/ 1896448 h 4655571"/>
              <a:gd name="connsiteX218" fmla="*/ 1705 w 2857979"/>
              <a:gd name="connsiteY218" fmla="*/ 1878132 h 4655571"/>
              <a:gd name="connsiteX219" fmla="*/ 1705 w 2857979"/>
              <a:gd name="connsiteY219" fmla="*/ 1877704 h 4655571"/>
              <a:gd name="connsiteX220" fmla="*/ 0 w 2857979"/>
              <a:gd name="connsiteY220" fmla="*/ 1877704 h 4655571"/>
              <a:gd name="connsiteX221" fmla="*/ 0 w 2857979"/>
              <a:gd name="connsiteY221" fmla="*/ 1856116 h 4655571"/>
              <a:gd name="connsiteX222" fmla="*/ 0 w 2857979"/>
              <a:gd name="connsiteY222" fmla="*/ 1701091 h 4655571"/>
              <a:gd name="connsiteX223" fmla="*/ 0 w 2857979"/>
              <a:gd name="connsiteY223" fmla="*/ 1613887 h 4655571"/>
              <a:gd name="connsiteX224" fmla="*/ 0 w 2857979"/>
              <a:gd name="connsiteY224" fmla="*/ 1427719 h 4655571"/>
              <a:gd name="connsiteX225" fmla="*/ 0 w 2857979"/>
              <a:gd name="connsiteY225" fmla="*/ 1352080 h 4655571"/>
              <a:gd name="connsiteX226" fmla="*/ 1689 w 2857979"/>
              <a:gd name="connsiteY226" fmla="*/ 1352080 h 4655571"/>
              <a:gd name="connsiteX227" fmla="*/ 1689 w 2857979"/>
              <a:gd name="connsiteY227" fmla="*/ 1 h 4655571"/>
              <a:gd name="connsiteX228" fmla="*/ 1428126 w 2857979"/>
              <a:gd name="connsiteY228" fmla="*/ 1 h 4655571"/>
              <a:gd name="connsiteX229" fmla="*/ 1428967 w 2857979"/>
              <a:gd name="connsiteY229" fmla="*/ 1 h 465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2857979" h="4655571">
                <a:moveTo>
                  <a:pt x="1428980" y="0"/>
                </a:moveTo>
                <a:lnTo>
                  <a:pt x="1428995" y="1"/>
                </a:lnTo>
                <a:lnTo>
                  <a:pt x="1496034" y="1"/>
                </a:lnTo>
                <a:lnTo>
                  <a:pt x="1496034" y="3215"/>
                </a:lnTo>
                <a:lnTo>
                  <a:pt x="1565136" y="6488"/>
                </a:lnTo>
                <a:lnTo>
                  <a:pt x="1569329" y="7088"/>
                </a:lnTo>
                <a:lnTo>
                  <a:pt x="1574913" y="7369"/>
                </a:lnTo>
                <a:cubicBezTo>
                  <a:pt x="1659256" y="15935"/>
                  <a:pt x="1741426" y="31844"/>
                  <a:pt x="1820778" y="54447"/>
                </a:cubicBezTo>
                <a:lnTo>
                  <a:pt x="1826563" y="56369"/>
                </a:lnTo>
                <a:lnTo>
                  <a:pt x="1827559" y="56610"/>
                </a:lnTo>
                <a:lnTo>
                  <a:pt x="1837483" y="60001"/>
                </a:lnTo>
                <a:lnTo>
                  <a:pt x="1937608" y="93290"/>
                </a:lnTo>
                <a:lnTo>
                  <a:pt x="1947886" y="97727"/>
                </a:lnTo>
                <a:lnTo>
                  <a:pt x="1951791" y="99062"/>
                </a:lnTo>
                <a:lnTo>
                  <a:pt x="1972906" y="108529"/>
                </a:lnTo>
                <a:lnTo>
                  <a:pt x="2049720" y="141688"/>
                </a:lnTo>
                <a:lnTo>
                  <a:pt x="2064057" y="149394"/>
                </a:lnTo>
                <a:lnTo>
                  <a:pt x="2070581" y="152319"/>
                </a:lnTo>
                <a:lnTo>
                  <a:pt x="2093493" y="165217"/>
                </a:lnTo>
                <a:lnTo>
                  <a:pt x="2156628" y="199153"/>
                </a:lnTo>
                <a:lnTo>
                  <a:pt x="2174520" y="210829"/>
                </a:lnTo>
                <a:lnTo>
                  <a:pt x="2183337" y="215789"/>
                </a:lnTo>
                <a:lnTo>
                  <a:pt x="2205153" y="230816"/>
                </a:lnTo>
                <a:lnTo>
                  <a:pt x="2257845" y="265197"/>
                </a:lnTo>
                <a:lnTo>
                  <a:pt x="2278722" y="281484"/>
                </a:lnTo>
                <a:lnTo>
                  <a:pt x="2289467" y="288883"/>
                </a:lnTo>
                <a:lnTo>
                  <a:pt x="2309032" y="305128"/>
                </a:lnTo>
                <a:lnTo>
                  <a:pt x="2352881" y="339335"/>
                </a:lnTo>
                <a:lnTo>
                  <a:pt x="2376107" y="360819"/>
                </a:lnTo>
                <a:lnTo>
                  <a:pt x="2388380" y="371008"/>
                </a:lnTo>
                <a:lnTo>
                  <a:pt x="2405214" y="387741"/>
                </a:lnTo>
                <a:lnTo>
                  <a:pt x="2441252" y="421077"/>
                </a:lnTo>
                <a:lnTo>
                  <a:pt x="2466127" y="448293"/>
                </a:lnTo>
                <a:lnTo>
                  <a:pt x="2479485" y="461571"/>
                </a:lnTo>
                <a:lnTo>
                  <a:pt x="2493436" y="478171"/>
                </a:lnTo>
                <a:lnTo>
                  <a:pt x="2522470" y="509938"/>
                </a:lnTo>
                <a:lnTo>
                  <a:pt x="2548236" y="543379"/>
                </a:lnTo>
                <a:lnTo>
                  <a:pt x="2562191" y="559982"/>
                </a:lnTo>
                <a:lnTo>
                  <a:pt x="2573295" y="575901"/>
                </a:lnTo>
                <a:lnTo>
                  <a:pt x="2596047" y="605429"/>
                </a:lnTo>
                <a:lnTo>
                  <a:pt x="2621892" y="645566"/>
                </a:lnTo>
                <a:lnTo>
                  <a:pt x="2635905" y="665649"/>
                </a:lnTo>
                <a:lnTo>
                  <a:pt x="2644323" y="680395"/>
                </a:lnTo>
                <a:lnTo>
                  <a:pt x="2661498" y="707066"/>
                </a:lnTo>
                <a:lnTo>
                  <a:pt x="2686560" y="754381"/>
                </a:lnTo>
                <a:lnTo>
                  <a:pt x="2700035" y="777982"/>
                </a:lnTo>
                <a:lnTo>
                  <a:pt x="2706018" y="791111"/>
                </a:lnTo>
                <a:lnTo>
                  <a:pt x="2718333" y="814360"/>
                </a:lnTo>
                <a:lnTo>
                  <a:pt x="2741708" y="869434"/>
                </a:lnTo>
                <a:lnTo>
                  <a:pt x="2753992" y="896389"/>
                </a:lnTo>
                <a:lnTo>
                  <a:pt x="2757865" y="907498"/>
                </a:lnTo>
                <a:lnTo>
                  <a:pt x="2766068" y="926823"/>
                </a:lnTo>
                <a:lnTo>
                  <a:pt x="2786805" y="990506"/>
                </a:lnTo>
                <a:lnTo>
                  <a:pt x="2797182" y="1020275"/>
                </a:lnTo>
                <a:lnTo>
                  <a:pt x="2799341" y="1029006"/>
                </a:lnTo>
                <a:lnTo>
                  <a:pt x="2804213" y="1043971"/>
                </a:lnTo>
                <a:lnTo>
                  <a:pt x="2821323" y="1117937"/>
                </a:lnTo>
                <a:lnTo>
                  <a:pt x="2829016" y="1149052"/>
                </a:lnTo>
                <a:lnTo>
                  <a:pt x="2829916" y="1155080"/>
                </a:lnTo>
                <a:lnTo>
                  <a:pt x="2832283" y="1165313"/>
                </a:lnTo>
                <a:lnTo>
                  <a:pt x="2844741" y="1254295"/>
                </a:lnTo>
                <a:lnTo>
                  <a:pt x="2848900" y="1282127"/>
                </a:lnTo>
                <a:lnTo>
                  <a:pt x="2849048" y="1285059"/>
                </a:lnTo>
                <a:lnTo>
                  <a:pt x="2849790" y="1290365"/>
                </a:lnTo>
                <a:lnTo>
                  <a:pt x="2852713" y="1352080"/>
                </a:lnTo>
                <a:lnTo>
                  <a:pt x="2856274" y="1352080"/>
                </a:lnTo>
                <a:lnTo>
                  <a:pt x="2856274" y="1408978"/>
                </a:lnTo>
                <a:lnTo>
                  <a:pt x="2856274" y="1427293"/>
                </a:lnTo>
                <a:lnTo>
                  <a:pt x="2856274" y="1427719"/>
                </a:lnTo>
                <a:lnTo>
                  <a:pt x="2856274" y="1427720"/>
                </a:lnTo>
                <a:lnTo>
                  <a:pt x="2857979" y="1427720"/>
                </a:lnTo>
                <a:lnTo>
                  <a:pt x="2857979" y="1613887"/>
                </a:lnTo>
                <a:lnTo>
                  <a:pt x="2857979" y="1701091"/>
                </a:lnTo>
                <a:lnTo>
                  <a:pt x="2857979" y="1856116"/>
                </a:lnTo>
                <a:lnTo>
                  <a:pt x="2857979" y="1877704"/>
                </a:lnTo>
                <a:lnTo>
                  <a:pt x="2857979" y="1953345"/>
                </a:lnTo>
                <a:lnTo>
                  <a:pt x="2856292" y="1953345"/>
                </a:lnTo>
                <a:lnTo>
                  <a:pt x="2856292" y="1982173"/>
                </a:lnTo>
                <a:lnTo>
                  <a:pt x="1592136" y="1982173"/>
                </a:lnTo>
                <a:lnTo>
                  <a:pt x="1820778" y="2025953"/>
                </a:lnTo>
                <a:lnTo>
                  <a:pt x="1826563" y="2027875"/>
                </a:lnTo>
                <a:lnTo>
                  <a:pt x="1827559" y="2028116"/>
                </a:lnTo>
                <a:lnTo>
                  <a:pt x="1837483" y="2031509"/>
                </a:lnTo>
                <a:lnTo>
                  <a:pt x="1937608" y="2064797"/>
                </a:lnTo>
                <a:lnTo>
                  <a:pt x="1947886" y="2069234"/>
                </a:lnTo>
                <a:lnTo>
                  <a:pt x="1951791" y="2070568"/>
                </a:lnTo>
                <a:lnTo>
                  <a:pt x="1972906" y="2080035"/>
                </a:lnTo>
                <a:lnTo>
                  <a:pt x="2049720" y="2113194"/>
                </a:lnTo>
                <a:lnTo>
                  <a:pt x="2064057" y="2120900"/>
                </a:lnTo>
                <a:lnTo>
                  <a:pt x="2070581" y="2123825"/>
                </a:lnTo>
                <a:lnTo>
                  <a:pt x="2093493" y="2136723"/>
                </a:lnTo>
                <a:lnTo>
                  <a:pt x="2156628" y="2170659"/>
                </a:lnTo>
                <a:lnTo>
                  <a:pt x="2174520" y="2182335"/>
                </a:lnTo>
                <a:lnTo>
                  <a:pt x="2183337" y="2187296"/>
                </a:lnTo>
                <a:lnTo>
                  <a:pt x="2205153" y="2202322"/>
                </a:lnTo>
                <a:lnTo>
                  <a:pt x="2257845" y="2236704"/>
                </a:lnTo>
                <a:lnTo>
                  <a:pt x="2278723" y="2252990"/>
                </a:lnTo>
                <a:lnTo>
                  <a:pt x="2289467" y="2260389"/>
                </a:lnTo>
                <a:lnTo>
                  <a:pt x="2309032" y="2276635"/>
                </a:lnTo>
                <a:lnTo>
                  <a:pt x="2352881" y="2310840"/>
                </a:lnTo>
                <a:lnTo>
                  <a:pt x="2376107" y="2332325"/>
                </a:lnTo>
                <a:lnTo>
                  <a:pt x="2388380" y="2342514"/>
                </a:lnTo>
                <a:lnTo>
                  <a:pt x="2405214" y="2359248"/>
                </a:lnTo>
                <a:lnTo>
                  <a:pt x="2441252" y="2392582"/>
                </a:lnTo>
                <a:lnTo>
                  <a:pt x="2466127" y="2419799"/>
                </a:lnTo>
                <a:lnTo>
                  <a:pt x="2479485" y="2433078"/>
                </a:lnTo>
                <a:lnTo>
                  <a:pt x="2493436" y="2449678"/>
                </a:lnTo>
                <a:lnTo>
                  <a:pt x="2522469" y="2481443"/>
                </a:lnTo>
                <a:lnTo>
                  <a:pt x="2548236" y="2514884"/>
                </a:lnTo>
                <a:lnTo>
                  <a:pt x="2562191" y="2531488"/>
                </a:lnTo>
                <a:lnTo>
                  <a:pt x="2573295" y="2547408"/>
                </a:lnTo>
                <a:lnTo>
                  <a:pt x="2596047" y="2576936"/>
                </a:lnTo>
                <a:lnTo>
                  <a:pt x="2621892" y="2617072"/>
                </a:lnTo>
                <a:lnTo>
                  <a:pt x="2635904" y="2637156"/>
                </a:lnTo>
                <a:lnTo>
                  <a:pt x="2644322" y="2651901"/>
                </a:lnTo>
                <a:lnTo>
                  <a:pt x="2661498" y="2678572"/>
                </a:lnTo>
                <a:lnTo>
                  <a:pt x="2686560" y="2725888"/>
                </a:lnTo>
                <a:lnTo>
                  <a:pt x="2700035" y="2749488"/>
                </a:lnTo>
                <a:lnTo>
                  <a:pt x="2706018" y="2762618"/>
                </a:lnTo>
                <a:lnTo>
                  <a:pt x="2718332" y="2785865"/>
                </a:lnTo>
                <a:lnTo>
                  <a:pt x="2741708" y="2840939"/>
                </a:lnTo>
                <a:lnTo>
                  <a:pt x="2753991" y="2867894"/>
                </a:lnTo>
                <a:lnTo>
                  <a:pt x="2757865" y="2879005"/>
                </a:lnTo>
                <a:lnTo>
                  <a:pt x="2766068" y="2898329"/>
                </a:lnTo>
                <a:lnTo>
                  <a:pt x="2786804" y="2962013"/>
                </a:lnTo>
                <a:lnTo>
                  <a:pt x="2797182" y="2991781"/>
                </a:lnTo>
                <a:lnTo>
                  <a:pt x="2799341" y="3000513"/>
                </a:lnTo>
                <a:lnTo>
                  <a:pt x="2804213" y="3015476"/>
                </a:lnTo>
                <a:lnTo>
                  <a:pt x="2821323" y="3089443"/>
                </a:lnTo>
                <a:lnTo>
                  <a:pt x="2829016" y="3120558"/>
                </a:lnTo>
                <a:lnTo>
                  <a:pt x="2829916" y="3126586"/>
                </a:lnTo>
                <a:lnTo>
                  <a:pt x="2832283" y="3136820"/>
                </a:lnTo>
                <a:lnTo>
                  <a:pt x="2844741" y="3225801"/>
                </a:lnTo>
                <a:lnTo>
                  <a:pt x="2848899" y="3253634"/>
                </a:lnTo>
                <a:lnTo>
                  <a:pt x="2849047" y="3256565"/>
                </a:lnTo>
                <a:lnTo>
                  <a:pt x="2849790" y="3261871"/>
                </a:lnTo>
                <a:lnTo>
                  <a:pt x="2852712" y="3323586"/>
                </a:lnTo>
                <a:lnTo>
                  <a:pt x="2856274" y="3323586"/>
                </a:lnTo>
                <a:lnTo>
                  <a:pt x="2856274" y="3325569"/>
                </a:lnTo>
                <a:lnTo>
                  <a:pt x="2856291" y="3325569"/>
                </a:lnTo>
                <a:lnTo>
                  <a:pt x="2856291" y="4287276"/>
                </a:lnTo>
                <a:lnTo>
                  <a:pt x="2856291" y="4655570"/>
                </a:lnTo>
                <a:lnTo>
                  <a:pt x="1429853" y="4655570"/>
                </a:lnTo>
                <a:lnTo>
                  <a:pt x="1429012" y="4655570"/>
                </a:lnTo>
                <a:lnTo>
                  <a:pt x="1428999" y="4655571"/>
                </a:lnTo>
                <a:lnTo>
                  <a:pt x="1428985" y="4655570"/>
                </a:lnTo>
                <a:lnTo>
                  <a:pt x="1361945" y="4655570"/>
                </a:lnTo>
                <a:lnTo>
                  <a:pt x="1361945" y="4652356"/>
                </a:lnTo>
                <a:lnTo>
                  <a:pt x="1292844" y="4649083"/>
                </a:lnTo>
                <a:lnTo>
                  <a:pt x="1288651" y="4648484"/>
                </a:lnTo>
                <a:lnTo>
                  <a:pt x="1283066" y="4648203"/>
                </a:lnTo>
                <a:cubicBezTo>
                  <a:pt x="1198724" y="4639637"/>
                  <a:pt x="1116553" y="4623728"/>
                  <a:pt x="1037200" y="4601124"/>
                </a:cubicBezTo>
                <a:lnTo>
                  <a:pt x="1031416" y="4599202"/>
                </a:lnTo>
                <a:lnTo>
                  <a:pt x="1030420" y="4598961"/>
                </a:lnTo>
                <a:lnTo>
                  <a:pt x="1020496" y="4595571"/>
                </a:lnTo>
                <a:lnTo>
                  <a:pt x="920371" y="4562281"/>
                </a:lnTo>
                <a:lnTo>
                  <a:pt x="910094" y="4557844"/>
                </a:lnTo>
                <a:lnTo>
                  <a:pt x="906188" y="4556510"/>
                </a:lnTo>
                <a:lnTo>
                  <a:pt x="885073" y="4547042"/>
                </a:lnTo>
                <a:lnTo>
                  <a:pt x="808258" y="4513883"/>
                </a:lnTo>
                <a:lnTo>
                  <a:pt x="793923" y="4506178"/>
                </a:lnTo>
                <a:lnTo>
                  <a:pt x="787398" y="4503253"/>
                </a:lnTo>
                <a:lnTo>
                  <a:pt x="764486" y="4490355"/>
                </a:lnTo>
                <a:lnTo>
                  <a:pt x="701352" y="4456419"/>
                </a:lnTo>
                <a:lnTo>
                  <a:pt x="683458" y="4444743"/>
                </a:lnTo>
                <a:lnTo>
                  <a:pt x="674642" y="4439782"/>
                </a:lnTo>
                <a:lnTo>
                  <a:pt x="652826" y="4424756"/>
                </a:lnTo>
                <a:lnTo>
                  <a:pt x="600135" y="4390374"/>
                </a:lnTo>
                <a:lnTo>
                  <a:pt x="579258" y="4374087"/>
                </a:lnTo>
                <a:lnTo>
                  <a:pt x="568512" y="4366689"/>
                </a:lnTo>
                <a:lnTo>
                  <a:pt x="548947" y="4350444"/>
                </a:lnTo>
                <a:lnTo>
                  <a:pt x="505098" y="4316236"/>
                </a:lnTo>
                <a:lnTo>
                  <a:pt x="481872" y="4294752"/>
                </a:lnTo>
                <a:lnTo>
                  <a:pt x="469600" y="4284563"/>
                </a:lnTo>
                <a:lnTo>
                  <a:pt x="452765" y="4267831"/>
                </a:lnTo>
                <a:lnTo>
                  <a:pt x="416727" y="4234495"/>
                </a:lnTo>
                <a:lnTo>
                  <a:pt x="391852" y="4207279"/>
                </a:lnTo>
                <a:lnTo>
                  <a:pt x="378494" y="4194000"/>
                </a:lnTo>
                <a:lnTo>
                  <a:pt x="364543" y="4177400"/>
                </a:lnTo>
                <a:lnTo>
                  <a:pt x="335510" y="4145634"/>
                </a:lnTo>
                <a:lnTo>
                  <a:pt x="309743" y="4112193"/>
                </a:lnTo>
                <a:lnTo>
                  <a:pt x="295789" y="4095590"/>
                </a:lnTo>
                <a:lnTo>
                  <a:pt x="284685" y="4079671"/>
                </a:lnTo>
                <a:lnTo>
                  <a:pt x="261931" y="4050142"/>
                </a:lnTo>
                <a:lnTo>
                  <a:pt x="236086" y="4010005"/>
                </a:lnTo>
                <a:lnTo>
                  <a:pt x="222075" y="3989922"/>
                </a:lnTo>
                <a:lnTo>
                  <a:pt x="213657" y="3975176"/>
                </a:lnTo>
                <a:lnTo>
                  <a:pt x="196482" y="3948505"/>
                </a:lnTo>
                <a:lnTo>
                  <a:pt x="171419" y="3901190"/>
                </a:lnTo>
                <a:lnTo>
                  <a:pt x="157945" y="3877589"/>
                </a:lnTo>
                <a:lnTo>
                  <a:pt x="151962" y="3864460"/>
                </a:lnTo>
                <a:lnTo>
                  <a:pt x="139646" y="3841212"/>
                </a:lnTo>
                <a:lnTo>
                  <a:pt x="116271" y="3786138"/>
                </a:lnTo>
                <a:lnTo>
                  <a:pt x="103988" y="3759183"/>
                </a:lnTo>
                <a:lnTo>
                  <a:pt x="100114" y="3748073"/>
                </a:lnTo>
                <a:lnTo>
                  <a:pt x="91911" y="3728748"/>
                </a:lnTo>
                <a:lnTo>
                  <a:pt x="71175" y="3665065"/>
                </a:lnTo>
                <a:lnTo>
                  <a:pt x="60797" y="3635297"/>
                </a:lnTo>
                <a:lnTo>
                  <a:pt x="58639" y="3626565"/>
                </a:lnTo>
                <a:lnTo>
                  <a:pt x="53766" y="3611600"/>
                </a:lnTo>
                <a:lnTo>
                  <a:pt x="36656" y="3537635"/>
                </a:lnTo>
                <a:lnTo>
                  <a:pt x="28964" y="3506519"/>
                </a:lnTo>
                <a:lnTo>
                  <a:pt x="28064" y="3500492"/>
                </a:lnTo>
                <a:lnTo>
                  <a:pt x="25696" y="3490258"/>
                </a:lnTo>
                <a:lnTo>
                  <a:pt x="13239" y="3401277"/>
                </a:lnTo>
                <a:lnTo>
                  <a:pt x="9079" y="3373444"/>
                </a:lnTo>
                <a:lnTo>
                  <a:pt x="8931" y="3370513"/>
                </a:lnTo>
                <a:lnTo>
                  <a:pt x="8188" y="3365207"/>
                </a:lnTo>
                <a:lnTo>
                  <a:pt x="6312" y="3325569"/>
                </a:lnTo>
                <a:lnTo>
                  <a:pt x="0" y="3325569"/>
                </a:lnTo>
                <a:lnTo>
                  <a:pt x="0" y="3323586"/>
                </a:lnTo>
                <a:lnTo>
                  <a:pt x="1688" y="3323586"/>
                </a:lnTo>
                <a:lnTo>
                  <a:pt x="1688" y="2339801"/>
                </a:lnTo>
                <a:lnTo>
                  <a:pt x="1688" y="1971507"/>
                </a:lnTo>
                <a:lnTo>
                  <a:pt x="6127" y="1971507"/>
                </a:lnTo>
                <a:lnTo>
                  <a:pt x="5267" y="1953345"/>
                </a:lnTo>
                <a:lnTo>
                  <a:pt x="1705" y="1953345"/>
                </a:lnTo>
                <a:lnTo>
                  <a:pt x="1705" y="1896448"/>
                </a:lnTo>
                <a:lnTo>
                  <a:pt x="1705" y="1878132"/>
                </a:lnTo>
                <a:lnTo>
                  <a:pt x="1705" y="1877704"/>
                </a:lnTo>
                <a:lnTo>
                  <a:pt x="0" y="1877704"/>
                </a:lnTo>
                <a:lnTo>
                  <a:pt x="0" y="1856116"/>
                </a:lnTo>
                <a:lnTo>
                  <a:pt x="0" y="1701091"/>
                </a:lnTo>
                <a:lnTo>
                  <a:pt x="0" y="1613887"/>
                </a:lnTo>
                <a:lnTo>
                  <a:pt x="0" y="1427719"/>
                </a:lnTo>
                <a:lnTo>
                  <a:pt x="0" y="1352080"/>
                </a:lnTo>
                <a:lnTo>
                  <a:pt x="1689" y="1352080"/>
                </a:lnTo>
                <a:lnTo>
                  <a:pt x="1689" y="1"/>
                </a:lnTo>
                <a:lnTo>
                  <a:pt x="1428126" y="1"/>
                </a:lnTo>
                <a:lnTo>
                  <a:pt x="1428967" y="1"/>
                </a:lnTo>
                <a:close/>
              </a:path>
            </a:pathLst>
          </a:custGeom>
        </p:spPr>
        <p:txBody>
          <a:bodyPr wrap="square">
            <a:noAutofit/>
          </a:bodyPr>
          <a:lstStyle/>
          <a:p>
            <a:endParaRPr lang="en-US"/>
          </a:p>
        </p:txBody>
      </p:sp>
    </p:spTree>
    <p:extLst>
      <p:ext uri="{BB962C8B-B14F-4D97-AF65-F5344CB8AC3E}">
        <p14:creationId xmlns:p14="http://schemas.microsoft.com/office/powerpoint/2010/main" val="21354208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A735F57-AC19-0199-6F0D-131E3EFEB64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338EFF91-F1F5-CC32-5E37-F9BCB0A505B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B2E1611E-8729-E60B-1A7F-5E554C604FD4}"/>
              </a:ext>
            </a:extLst>
          </p:cNvPr>
          <p:cNvSpPr>
            <a:spLocks noGrp="1"/>
          </p:cNvSpPr>
          <p:nvPr>
            <p:ph type="dt" sz="half" idx="10"/>
          </p:nvPr>
        </p:nvSpPr>
        <p:spPr/>
        <p:txBody>
          <a:bodyPr/>
          <a:lstStyle/>
          <a:p>
            <a:fld id="{62FB3A63-0457-4056-959C-681C51DC124A}" type="datetimeFigureOut">
              <a:rPr lang="en-ID" smtClean="0"/>
              <a:t>12/12/2023</a:t>
            </a:fld>
            <a:endParaRPr lang="en-ID"/>
          </a:p>
        </p:txBody>
      </p:sp>
      <p:sp>
        <p:nvSpPr>
          <p:cNvPr id="5" name="Footer Placeholder 4">
            <a:extLst>
              <a:ext uri="{FF2B5EF4-FFF2-40B4-BE49-F238E27FC236}">
                <a16:creationId xmlns:a16="http://schemas.microsoft.com/office/drawing/2014/main" id="{C8A75C5F-9CE9-0614-740F-B56AA39AC8DC}"/>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1FBEF16F-6B38-B19A-BE9E-EEC8F1BEB3F0}"/>
              </a:ext>
            </a:extLst>
          </p:cNvPr>
          <p:cNvSpPr>
            <a:spLocks noGrp="1"/>
          </p:cNvSpPr>
          <p:nvPr>
            <p:ph type="sldNum" sz="quarter" idx="12"/>
          </p:nvPr>
        </p:nvSpPr>
        <p:spPr/>
        <p:txBody>
          <a:bodyPr/>
          <a:lstStyle/>
          <a:p>
            <a:fld id="{BC5A0E4C-AEED-4EAC-B96D-5DCBA748C5AA}" type="slidenum">
              <a:rPr lang="en-ID" smtClean="0"/>
              <a:t>‹#›</a:t>
            </a:fld>
            <a:endParaRPr lang="en-ID"/>
          </a:p>
        </p:txBody>
      </p:sp>
    </p:spTree>
    <p:extLst>
      <p:ext uri="{BB962C8B-B14F-4D97-AF65-F5344CB8AC3E}">
        <p14:creationId xmlns:p14="http://schemas.microsoft.com/office/powerpoint/2010/main" val="33542916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C3FB5265-BE70-4EE7-A3F2-04ACF23BC5E2}"/>
              </a:ext>
            </a:extLst>
          </p:cNvPr>
          <p:cNvSpPr>
            <a:spLocks noGrp="1"/>
          </p:cNvSpPr>
          <p:nvPr>
            <p:ph type="pic" sz="quarter" idx="11"/>
          </p:nvPr>
        </p:nvSpPr>
        <p:spPr>
          <a:xfrm>
            <a:off x="8253420" y="348394"/>
            <a:ext cx="2337656" cy="2337656"/>
          </a:xfrm>
          <a:custGeom>
            <a:avLst/>
            <a:gdLst>
              <a:gd name="connsiteX0" fmla="*/ 1168828 w 2337656"/>
              <a:gd name="connsiteY0" fmla="*/ 0 h 2337656"/>
              <a:gd name="connsiteX1" fmla="*/ 2337656 w 2337656"/>
              <a:gd name="connsiteY1" fmla="*/ 1168828 h 2337656"/>
              <a:gd name="connsiteX2" fmla="*/ 1288334 w 2337656"/>
              <a:gd name="connsiteY2" fmla="*/ 2331621 h 2337656"/>
              <a:gd name="connsiteX3" fmla="*/ 1184517 w 2337656"/>
              <a:gd name="connsiteY3" fmla="*/ 2336864 h 2337656"/>
              <a:gd name="connsiteX4" fmla="*/ 1184517 w 2337656"/>
              <a:gd name="connsiteY4" fmla="*/ 2337656 h 2337656"/>
              <a:gd name="connsiteX5" fmla="*/ 1168828 w 2337656"/>
              <a:gd name="connsiteY5" fmla="*/ 2337656 h 2337656"/>
              <a:gd name="connsiteX6" fmla="*/ 1 w 2337656"/>
              <a:gd name="connsiteY6" fmla="*/ 2337656 h 2337656"/>
              <a:gd name="connsiteX7" fmla="*/ 1 w 2337656"/>
              <a:gd name="connsiteY7" fmla="*/ 1168839 h 2337656"/>
              <a:gd name="connsiteX8" fmla="*/ 0 w 2337656"/>
              <a:gd name="connsiteY8" fmla="*/ 1168828 h 2337656"/>
              <a:gd name="connsiteX9" fmla="*/ 1 w 2337656"/>
              <a:gd name="connsiteY9" fmla="*/ 1168817 h 2337656"/>
              <a:gd name="connsiteX10" fmla="*/ 1 w 2337656"/>
              <a:gd name="connsiteY10" fmla="*/ 1113917 h 2337656"/>
              <a:gd name="connsiteX11" fmla="*/ 2773 w 2337656"/>
              <a:gd name="connsiteY11" fmla="*/ 1113917 h 2337656"/>
              <a:gd name="connsiteX12" fmla="*/ 6034 w 2337656"/>
              <a:gd name="connsiteY12" fmla="*/ 1049322 h 2337656"/>
              <a:gd name="connsiteX13" fmla="*/ 1168828 w 2337656"/>
              <a:gd name="connsiteY13" fmla="*/ 0 h 2337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7656" h="2337656">
                <a:moveTo>
                  <a:pt x="1168828" y="0"/>
                </a:moveTo>
                <a:cubicBezTo>
                  <a:pt x="1814354" y="0"/>
                  <a:pt x="2337656" y="523302"/>
                  <a:pt x="2337656" y="1168828"/>
                </a:cubicBezTo>
                <a:cubicBezTo>
                  <a:pt x="2337656" y="1774009"/>
                  <a:pt x="1877722" y="2271766"/>
                  <a:pt x="1288334" y="2331621"/>
                </a:cubicBezTo>
                <a:lnTo>
                  <a:pt x="1184517" y="2336864"/>
                </a:lnTo>
                <a:lnTo>
                  <a:pt x="1184517" y="2337656"/>
                </a:lnTo>
                <a:lnTo>
                  <a:pt x="1168828" y="2337656"/>
                </a:lnTo>
                <a:lnTo>
                  <a:pt x="1" y="2337656"/>
                </a:lnTo>
                <a:lnTo>
                  <a:pt x="1" y="1168839"/>
                </a:lnTo>
                <a:lnTo>
                  <a:pt x="0" y="1168828"/>
                </a:lnTo>
                <a:lnTo>
                  <a:pt x="1" y="1168817"/>
                </a:lnTo>
                <a:lnTo>
                  <a:pt x="1" y="1113917"/>
                </a:lnTo>
                <a:lnTo>
                  <a:pt x="2773" y="1113917"/>
                </a:lnTo>
                <a:lnTo>
                  <a:pt x="6034" y="1049322"/>
                </a:lnTo>
                <a:cubicBezTo>
                  <a:pt x="65891" y="459934"/>
                  <a:pt x="563647" y="0"/>
                  <a:pt x="1168828" y="0"/>
                </a:cubicBezTo>
                <a:close/>
              </a:path>
            </a:pathLst>
          </a:custGeom>
        </p:spPr>
        <p:txBody>
          <a:bodyPr wrap="square">
            <a:noAutofit/>
          </a:bodyPr>
          <a:lstStyle/>
          <a:p>
            <a:endParaRPr lang="en-US"/>
          </a:p>
        </p:txBody>
      </p:sp>
      <p:sp>
        <p:nvSpPr>
          <p:cNvPr id="7" name="Picture Placeholder 6">
            <a:extLst>
              <a:ext uri="{FF2B5EF4-FFF2-40B4-BE49-F238E27FC236}">
                <a16:creationId xmlns:a16="http://schemas.microsoft.com/office/drawing/2014/main" id="{C430EA44-BCD9-4CC4-B2D8-DF2CF82CB705}"/>
              </a:ext>
            </a:extLst>
          </p:cNvPr>
          <p:cNvSpPr>
            <a:spLocks noGrp="1"/>
          </p:cNvSpPr>
          <p:nvPr>
            <p:ph type="pic" sz="quarter" idx="10"/>
          </p:nvPr>
        </p:nvSpPr>
        <p:spPr>
          <a:xfrm>
            <a:off x="8253420" y="2937656"/>
            <a:ext cx="3421968" cy="3438490"/>
          </a:xfrm>
          <a:custGeom>
            <a:avLst/>
            <a:gdLst>
              <a:gd name="connsiteX0" fmla="*/ 1029 w 3421968"/>
              <a:gd name="connsiteY0" fmla="*/ 0 h 3438490"/>
              <a:gd name="connsiteX1" fmla="*/ 751547 w 3421968"/>
              <a:gd name="connsiteY1" fmla="*/ 0 h 3438490"/>
              <a:gd name="connsiteX2" fmla="*/ 869868 w 3421968"/>
              <a:gd name="connsiteY2" fmla="*/ 0 h 3438490"/>
              <a:gd name="connsiteX3" fmla="*/ 870380 w 3421968"/>
              <a:gd name="connsiteY3" fmla="*/ 0 h 3438490"/>
              <a:gd name="connsiteX4" fmla="*/ 870388 w 3421968"/>
              <a:gd name="connsiteY4" fmla="*/ 0 h 3438490"/>
              <a:gd name="connsiteX5" fmla="*/ 870397 w 3421968"/>
              <a:gd name="connsiteY5" fmla="*/ 0 h 3438490"/>
              <a:gd name="connsiteX6" fmla="*/ 911231 w 3421968"/>
              <a:gd name="connsiteY6" fmla="*/ 0 h 3438490"/>
              <a:gd name="connsiteX7" fmla="*/ 931692 w 3421968"/>
              <a:gd name="connsiteY7" fmla="*/ 0 h 3438490"/>
              <a:gd name="connsiteX8" fmla="*/ 1620386 w 3421968"/>
              <a:gd name="connsiteY8" fmla="*/ 0 h 3438490"/>
              <a:gd name="connsiteX9" fmla="*/ 1620899 w 3421968"/>
              <a:gd name="connsiteY9" fmla="*/ 0 h 3438490"/>
              <a:gd name="connsiteX10" fmla="*/ 1620906 w 3421968"/>
              <a:gd name="connsiteY10" fmla="*/ 0 h 3438490"/>
              <a:gd name="connsiteX11" fmla="*/ 1620915 w 3421968"/>
              <a:gd name="connsiteY11" fmla="*/ 0 h 3438490"/>
              <a:gd name="connsiteX12" fmla="*/ 1661749 w 3421968"/>
              <a:gd name="connsiteY12" fmla="*/ 0 h 3438490"/>
              <a:gd name="connsiteX13" fmla="*/ 1682210 w 3421968"/>
              <a:gd name="connsiteY13" fmla="*/ 0 h 3438490"/>
              <a:gd name="connsiteX14" fmla="*/ 1800530 w 3421968"/>
              <a:gd name="connsiteY14" fmla="*/ 0 h 3438490"/>
              <a:gd name="connsiteX15" fmla="*/ 1801043 w 3421968"/>
              <a:gd name="connsiteY15" fmla="*/ 0 h 3438490"/>
              <a:gd name="connsiteX16" fmla="*/ 1801050 w 3421968"/>
              <a:gd name="connsiteY16" fmla="*/ 0 h 3438490"/>
              <a:gd name="connsiteX17" fmla="*/ 1801060 w 3421968"/>
              <a:gd name="connsiteY17" fmla="*/ 0 h 3438490"/>
              <a:gd name="connsiteX18" fmla="*/ 1841893 w 3421968"/>
              <a:gd name="connsiteY18" fmla="*/ 0 h 3438490"/>
              <a:gd name="connsiteX19" fmla="*/ 2551050 w 3421968"/>
              <a:gd name="connsiteY19" fmla="*/ 0 h 3438490"/>
              <a:gd name="connsiteX20" fmla="*/ 2551562 w 3421968"/>
              <a:gd name="connsiteY20" fmla="*/ 0 h 3438490"/>
              <a:gd name="connsiteX21" fmla="*/ 2551569 w 3421968"/>
              <a:gd name="connsiteY21" fmla="*/ 0 h 3438490"/>
              <a:gd name="connsiteX22" fmla="*/ 2551578 w 3421968"/>
              <a:gd name="connsiteY22" fmla="*/ 0 h 3438490"/>
              <a:gd name="connsiteX23" fmla="*/ 2592411 w 3421968"/>
              <a:gd name="connsiteY23" fmla="*/ 0 h 3438490"/>
              <a:gd name="connsiteX24" fmla="*/ 2592411 w 3421968"/>
              <a:gd name="connsiteY24" fmla="*/ 1958 h 3438490"/>
              <a:gd name="connsiteX25" fmla="*/ 2634501 w 3421968"/>
              <a:gd name="connsiteY25" fmla="*/ 3952 h 3438490"/>
              <a:gd name="connsiteX26" fmla="*/ 2637054 w 3421968"/>
              <a:gd name="connsiteY26" fmla="*/ 4316 h 3438490"/>
              <a:gd name="connsiteX27" fmla="*/ 2640456 w 3421968"/>
              <a:gd name="connsiteY27" fmla="*/ 4488 h 3438490"/>
              <a:gd name="connsiteX28" fmla="*/ 2790212 w 3421968"/>
              <a:gd name="connsiteY28" fmla="*/ 33163 h 3438490"/>
              <a:gd name="connsiteX29" fmla="*/ 2793735 w 3421968"/>
              <a:gd name="connsiteY29" fmla="*/ 34335 h 3438490"/>
              <a:gd name="connsiteX30" fmla="*/ 2794341 w 3421968"/>
              <a:gd name="connsiteY30" fmla="*/ 34481 h 3438490"/>
              <a:gd name="connsiteX31" fmla="*/ 2800387 w 3421968"/>
              <a:gd name="connsiteY31" fmla="*/ 36546 h 3438490"/>
              <a:gd name="connsiteX32" fmla="*/ 2861373 w 3421968"/>
              <a:gd name="connsiteY32" fmla="*/ 56823 h 3438490"/>
              <a:gd name="connsiteX33" fmla="*/ 2867633 w 3421968"/>
              <a:gd name="connsiteY33" fmla="*/ 59526 h 3438490"/>
              <a:gd name="connsiteX34" fmla="*/ 2870011 w 3421968"/>
              <a:gd name="connsiteY34" fmla="*/ 60338 h 3438490"/>
              <a:gd name="connsiteX35" fmla="*/ 2882873 w 3421968"/>
              <a:gd name="connsiteY35" fmla="*/ 66104 h 3438490"/>
              <a:gd name="connsiteX36" fmla="*/ 2929660 w 3421968"/>
              <a:gd name="connsiteY36" fmla="*/ 86302 h 3438490"/>
              <a:gd name="connsiteX37" fmla="*/ 2938392 w 3421968"/>
              <a:gd name="connsiteY37" fmla="*/ 90995 h 3438490"/>
              <a:gd name="connsiteX38" fmla="*/ 2942366 w 3421968"/>
              <a:gd name="connsiteY38" fmla="*/ 92777 h 3438490"/>
              <a:gd name="connsiteX39" fmla="*/ 2956322 w 3421968"/>
              <a:gd name="connsiteY39" fmla="*/ 100633 h 3438490"/>
              <a:gd name="connsiteX40" fmla="*/ 2994777 w 3421968"/>
              <a:gd name="connsiteY40" fmla="*/ 121304 h 3438490"/>
              <a:gd name="connsiteX41" fmla="*/ 3005676 w 3421968"/>
              <a:gd name="connsiteY41" fmla="*/ 128415 h 3438490"/>
              <a:gd name="connsiteX42" fmla="*/ 3011046 w 3421968"/>
              <a:gd name="connsiteY42" fmla="*/ 131437 h 3438490"/>
              <a:gd name="connsiteX43" fmla="*/ 3024334 w 3421968"/>
              <a:gd name="connsiteY43" fmla="*/ 140589 h 3438490"/>
              <a:gd name="connsiteX44" fmla="*/ 3056428 w 3421968"/>
              <a:gd name="connsiteY44" fmla="*/ 161531 h 3438490"/>
              <a:gd name="connsiteX45" fmla="*/ 3069144 w 3421968"/>
              <a:gd name="connsiteY45" fmla="*/ 171451 h 3438490"/>
              <a:gd name="connsiteX46" fmla="*/ 3075690 w 3421968"/>
              <a:gd name="connsiteY46" fmla="*/ 175957 h 3438490"/>
              <a:gd name="connsiteX47" fmla="*/ 3087606 w 3421968"/>
              <a:gd name="connsiteY47" fmla="*/ 185852 h 3438490"/>
              <a:gd name="connsiteX48" fmla="*/ 3114314 w 3421968"/>
              <a:gd name="connsiteY48" fmla="*/ 206688 h 3438490"/>
              <a:gd name="connsiteX49" fmla="*/ 3128462 w 3421968"/>
              <a:gd name="connsiteY49" fmla="*/ 219774 h 3438490"/>
              <a:gd name="connsiteX50" fmla="*/ 3135937 w 3421968"/>
              <a:gd name="connsiteY50" fmla="*/ 225980 h 3438490"/>
              <a:gd name="connsiteX51" fmla="*/ 3146191 w 3421968"/>
              <a:gd name="connsiteY51" fmla="*/ 236171 h 3438490"/>
              <a:gd name="connsiteX52" fmla="*/ 3168141 w 3421968"/>
              <a:gd name="connsiteY52" fmla="*/ 256476 h 3438490"/>
              <a:gd name="connsiteX53" fmla="*/ 3183293 w 3421968"/>
              <a:gd name="connsiteY53" fmla="*/ 273055 h 3438490"/>
              <a:gd name="connsiteX54" fmla="*/ 3191429 w 3421968"/>
              <a:gd name="connsiteY54" fmla="*/ 281142 h 3438490"/>
              <a:gd name="connsiteX55" fmla="*/ 3199926 w 3421968"/>
              <a:gd name="connsiteY55" fmla="*/ 291252 h 3438490"/>
              <a:gd name="connsiteX56" fmla="*/ 3217610 w 3421968"/>
              <a:gd name="connsiteY56" fmla="*/ 310602 h 3438490"/>
              <a:gd name="connsiteX57" fmla="*/ 3233304 w 3421968"/>
              <a:gd name="connsiteY57" fmla="*/ 330971 h 3438490"/>
              <a:gd name="connsiteX58" fmla="*/ 3241804 w 3421968"/>
              <a:gd name="connsiteY58" fmla="*/ 341083 h 3438490"/>
              <a:gd name="connsiteX59" fmla="*/ 3248568 w 3421968"/>
              <a:gd name="connsiteY59" fmla="*/ 350779 h 3438490"/>
              <a:gd name="connsiteX60" fmla="*/ 3262426 w 3421968"/>
              <a:gd name="connsiteY60" fmla="*/ 368765 h 3438490"/>
              <a:gd name="connsiteX61" fmla="*/ 3278169 w 3421968"/>
              <a:gd name="connsiteY61" fmla="*/ 393212 h 3438490"/>
              <a:gd name="connsiteX62" fmla="*/ 3286703 w 3421968"/>
              <a:gd name="connsiteY62" fmla="*/ 405445 h 3438490"/>
              <a:gd name="connsiteX63" fmla="*/ 3291831 w 3421968"/>
              <a:gd name="connsiteY63" fmla="*/ 414427 h 3438490"/>
              <a:gd name="connsiteX64" fmla="*/ 3302291 w 3421968"/>
              <a:gd name="connsiteY64" fmla="*/ 430672 h 3438490"/>
              <a:gd name="connsiteX65" fmla="*/ 3317558 w 3421968"/>
              <a:gd name="connsiteY65" fmla="*/ 459491 h 3438490"/>
              <a:gd name="connsiteX66" fmla="*/ 3325764 w 3421968"/>
              <a:gd name="connsiteY66" fmla="*/ 473866 h 3438490"/>
              <a:gd name="connsiteX67" fmla="*/ 3329409 w 3421968"/>
              <a:gd name="connsiteY67" fmla="*/ 481864 h 3438490"/>
              <a:gd name="connsiteX68" fmla="*/ 3336910 w 3421968"/>
              <a:gd name="connsiteY68" fmla="*/ 496024 h 3438490"/>
              <a:gd name="connsiteX69" fmla="*/ 3351148 w 3421968"/>
              <a:gd name="connsiteY69" fmla="*/ 529569 h 3438490"/>
              <a:gd name="connsiteX70" fmla="*/ 3358630 w 3421968"/>
              <a:gd name="connsiteY70" fmla="*/ 545987 h 3438490"/>
              <a:gd name="connsiteX71" fmla="*/ 3360989 w 3421968"/>
              <a:gd name="connsiteY71" fmla="*/ 552754 h 3438490"/>
              <a:gd name="connsiteX72" fmla="*/ 3365986 w 3421968"/>
              <a:gd name="connsiteY72" fmla="*/ 564525 h 3438490"/>
              <a:gd name="connsiteX73" fmla="*/ 3378616 w 3421968"/>
              <a:gd name="connsiteY73" fmla="*/ 603315 h 3438490"/>
              <a:gd name="connsiteX74" fmla="*/ 3384937 w 3421968"/>
              <a:gd name="connsiteY74" fmla="*/ 621447 h 3438490"/>
              <a:gd name="connsiteX75" fmla="*/ 3386251 w 3421968"/>
              <a:gd name="connsiteY75" fmla="*/ 626765 h 3438490"/>
              <a:gd name="connsiteX76" fmla="*/ 3389219 w 3421968"/>
              <a:gd name="connsiteY76" fmla="*/ 635880 h 3438490"/>
              <a:gd name="connsiteX77" fmla="*/ 3399642 w 3421968"/>
              <a:gd name="connsiteY77" fmla="*/ 680932 h 3438490"/>
              <a:gd name="connsiteX78" fmla="*/ 3404327 w 3421968"/>
              <a:gd name="connsiteY78" fmla="*/ 699885 h 3438490"/>
              <a:gd name="connsiteX79" fmla="*/ 3404875 w 3421968"/>
              <a:gd name="connsiteY79" fmla="*/ 703555 h 3438490"/>
              <a:gd name="connsiteX80" fmla="*/ 3406317 w 3421968"/>
              <a:gd name="connsiteY80" fmla="*/ 709789 h 3438490"/>
              <a:gd name="connsiteX81" fmla="*/ 3413905 w 3421968"/>
              <a:gd name="connsiteY81" fmla="*/ 763987 h 3438490"/>
              <a:gd name="connsiteX82" fmla="*/ 3416438 w 3421968"/>
              <a:gd name="connsiteY82" fmla="*/ 780941 h 3438490"/>
              <a:gd name="connsiteX83" fmla="*/ 3416529 w 3421968"/>
              <a:gd name="connsiteY83" fmla="*/ 782725 h 3438490"/>
              <a:gd name="connsiteX84" fmla="*/ 3416981 w 3421968"/>
              <a:gd name="connsiteY84" fmla="*/ 785957 h 3438490"/>
              <a:gd name="connsiteX85" fmla="*/ 3418760 w 3421968"/>
              <a:gd name="connsiteY85" fmla="*/ 823548 h 3438490"/>
              <a:gd name="connsiteX86" fmla="*/ 3420930 w 3421968"/>
              <a:gd name="connsiteY86" fmla="*/ 823548 h 3438490"/>
              <a:gd name="connsiteX87" fmla="*/ 3420930 w 3421968"/>
              <a:gd name="connsiteY87" fmla="*/ 858205 h 3438490"/>
              <a:gd name="connsiteX88" fmla="*/ 3420930 w 3421968"/>
              <a:gd name="connsiteY88" fmla="*/ 869361 h 3438490"/>
              <a:gd name="connsiteX89" fmla="*/ 3420930 w 3421968"/>
              <a:gd name="connsiteY89" fmla="*/ 869619 h 3438490"/>
              <a:gd name="connsiteX90" fmla="*/ 3420930 w 3421968"/>
              <a:gd name="connsiteY90" fmla="*/ 869620 h 3438490"/>
              <a:gd name="connsiteX91" fmla="*/ 3421968 w 3421968"/>
              <a:gd name="connsiteY91" fmla="*/ 869620 h 3438490"/>
              <a:gd name="connsiteX92" fmla="*/ 3421968 w 3421968"/>
              <a:gd name="connsiteY92" fmla="*/ 983014 h 3438490"/>
              <a:gd name="connsiteX93" fmla="*/ 3421968 w 3421968"/>
              <a:gd name="connsiteY93" fmla="*/ 1036130 h 3438490"/>
              <a:gd name="connsiteX94" fmla="*/ 3421968 w 3421968"/>
              <a:gd name="connsiteY94" fmla="*/ 1093947 h 3438490"/>
              <a:gd name="connsiteX95" fmla="*/ 3421968 w 3421968"/>
              <a:gd name="connsiteY95" fmla="*/ 1130555 h 3438490"/>
              <a:gd name="connsiteX96" fmla="*/ 3421968 w 3421968"/>
              <a:gd name="connsiteY96" fmla="*/ 1143704 h 3438490"/>
              <a:gd name="connsiteX97" fmla="*/ 3421968 w 3421968"/>
              <a:gd name="connsiteY97" fmla="*/ 1189777 h 3438490"/>
              <a:gd name="connsiteX98" fmla="*/ 3421968 w 3421968"/>
              <a:gd name="connsiteY98" fmla="*/ 1207341 h 3438490"/>
              <a:gd name="connsiteX99" fmla="*/ 3421968 w 3421968"/>
              <a:gd name="connsiteY99" fmla="*/ 1260457 h 3438490"/>
              <a:gd name="connsiteX100" fmla="*/ 3421968 w 3421968"/>
              <a:gd name="connsiteY100" fmla="*/ 1354882 h 3438490"/>
              <a:gd name="connsiteX101" fmla="*/ 3421968 w 3421968"/>
              <a:gd name="connsiteY101" fmla="*/ 1368031 h 3438490"/>
              <a:gd name="connsiteX102" fmla="*/ 3421968 w 3421968"/>
              <a:gd name="connsiteY102" fmla="*/ 1414104 h 3438490"/>
              <a:gd name="connsiteX103" fmla="*/ 3420940 w 3421968"/>
              <a:gd name="connsiteY103" fmla="*/ 1414104 h 3438490"/>
              <a:gd name="connsiteX104" fmla="*/ 3420940 w 3421968"/>
              <a:gd name="connsiteY104" fmla="*/ 2013324 h 3438490"/>
              <a:gd name="connsiteX105" fmla="*/ 3420940 w 3421968"/>
              <a:gd name="connsiteY105" fmla="*/ 2237651 h 3438490"/>
              <a:gd name="connsiteX106" fmla="*/ 3418236 w 3421968"/>
              <a:gd name="connsiteY106" fmla="*/ 2237651 h 3438490"/>
              <a:gd name="connsiteX107" fmla="*/ 3418760 w 3421968"/>
              <a:gd name="connsiteY107" fmla="*/ 2248714 h 3438490"/>
              <a:gd name="connsiteX108" fmla="*/ 3420930 w 3421968"/>
              <a:gd name="connsiteY108" fmla="*/ 2248714 h 3438490"/>
              <a:gd name="connsiteX109" fmla="*/ 3420930 w 3421968"/>
              <a:gd name="connsiteY109" fmla="*/ 2283369 h 3438490"/>
              <a:gd name="connsiteX110" fmla="*/ 3420930 w 3421968"/>
              <a:gd name="connsiteY110" fmla="*/ 2294524 h 3438490"/>
              <a:gd name="connsiteX111" fmla="*/ 3420930 w 3421968"/>
              <a:gd name="connsiteY111" fmla="*/ 2294786 h 3438490"/>
              <a:gd name="connsiteX112" fmla="*/ 3421968 w 3421968"/>
              <a:gd name="connsiteY112" fmla="*/ 2294786 h 3438490"/>
              <a:gd name="connsiteX113" fmla="*/ 3421968 w 3421968"/>
              <a:gd name="connsiteY113" fmla="*/ 2307936 h 3438490"/>
              <a:gd name="connsiteX114" fmla="*/ 3421968 w 3421968"/>
              <a:gd name="connsiteY114" fmla="*/ 2402360 h 3438490"/>
              <a:gd name="connsiteX115" fmla="*/ 3421968 w 3421968"/>
              <a:gd name="connsiteY115" fmla="*/ 2455476 h 3438490"/>
              <a:gd name="connsiteX116" fmla="*/ 3421968 w 3421968"/>
              <a:gd name="connsiteY116" fmla="*/ 2568870 h 3438490"/>
              <a:gd name="connsiteX117" fmla="*/ 3421968 w 3421968"/>
              <a:gd name="connsiteY117" fmla="*/ 2614942 h 3438490"/>
              <a:gd name="connsiteX118" fmla="*/ 3420939 w 3421968"/>
              <a:gd name="connsiteY118" fmla="*/ 2614942 h 3438490"/>
              <a:gd name="connsiteX119" fmla="*/ 3420939 w 3421968"/>
              <a:gd name="connsiteY119" fmla="*/ 3438489 h 3438490"/>
              <a:gd name="connsiteX120" fmla="*/ 2670421 w 3421968"/>
              <a:gd name="connsiteY120" fmla="*/ 3438489 h 3438490"/>
              <a:gd name="connsiteX121" fmla="*/ 2552100 w 3421968"/>
              <a:gd name="connsiteY121" fmla="*/ 3438489 h 3438490"/>
              <a:gd name="connsiteX122" fmla="*/ 2551589 w 3421968"/>
              <a:gd name="connsiteY122" fmla="*/ 3438489 h 3438490"/>
              <a:gd name="connsiteX123" fmla="*/ 2551580 w 3421968"/>
              <a:gd name="connsiteY123" fmla="*/ 3438490 h 3438490"/>
              <a:gd name="connsiteX124" fmla="*/ 2551571 w 3421968"/>
              <a:gd name="connsiteY124" fmla="*/ 3438489 h 3438490"/>
              <a:gd name="connsiteX125" fmla="*/ 2510738 w 3421968"/>
              <a:gd name="connsiteY125" fmla="*/ 3438489 h 3438490"/>
              <a:gd name="connsiteX126" fmla="*/ 2490276 w 3421968"/>
              <a:gd name="connsiteY126" fmla="*/ 3438489 h 3438490"/>
              <a:gd name="connsiteX127" fmla="*/ 1801582 w 3421968"/>
              <a:gd name="connsiteY127" fmla="*/ 3438489 h 3438490"/>
              <a:gd name="connsiteX128" fmla="*/ 1801070 w 3421968"/>
              <a:gd name="connsiteY128" fmla="*/ 3438489 h 3438490"/>
              <a:gd name="connsiteX129" fmla="*/ 1801062 w 3421968"/>
              <a:gd name="connsiteY129" fmla="*/ 3438490 h 3438490"/>
              <a:gd name="connsiteX130" fmla="*/ 1801053 w 3421968"/>
              <a:gd name="connsiteY130" fmla="*/ 3438489 h 3438490"/>
              <a:gd name="connsiteX131" fmla="*/ 1760220 w 3421968"/>
              <a:gd name="connsiteY131" fmla="*/ 3438489 h 3438490"/>
              <a:gd name="connsiteX132" fmla="*/ 1739758 w 3421968"/>
              <a:gd name="connsiteY132" fmla="*/ 3438489 h 3438490"/>
              <a:gd name="connsiteX133" fmla="*/ 1621438 w 3421968"/>
              <a:gd name="connsiteY133" fmla="*/ 3438489 h 3438490"/>
              <a:gd name="connsiteX134" fmla="*/ 1620926 w 3421968"/>
              <a:gd name="connsiteY134" fmla="*/ 3438489 h 3438490"/>
              <a:gd name="connsiteX135" fmla="*/ 1620917 w 3421968"/>
              <a:gd name="connsiteY135" fmla="*/ 3438490 h 3438490"/>
              <a:gd name="connsiteX136" fmla="*/ 1620908 w 3421968"/>
              <a:gd name="connsiteY136" fmla="*/ 3438489 h 3438490"/>
              <a:gd name="connsiteX137" fmla="*/ 1580075 w 3421968"/>
              <a:gd name="connsiteY137" fmla="*/ 3438489 h 3438490"/>
              <a:gd name="connsiteX138" fmla="*/ 870919 w 3421968"/>
              <a:gd name="connsiteY138" fmla="*/ 3438489 h 3438490"/>
              <a:gd name="connsiteX139" fmla="*/ 870408 w 3421968"/>
              <a:gd name="connsiteY139" fmla="*/ 3438489 h 3438490"/>
              <a:gd name="connsiteX140" fmla="*/ 870400 w 3421968"/>
              <a:gd name="connsiteY140" fmla="*/ 3438490 h 3438490"/>
              <a:gd name="connsiteX141" fmla="*/ 870390 w 3421968"/>
              <a:gd name="connsiteY141" fmla="*/ 3438489 h 3438490"/>
              <a:gd name="connsiteX142" fmla="*/ 829557 w 3421968"/>
              <a:gd name="connsiteY142" fmla="*/ 3438489 h 3438490"/>
              <a:gd name="connsiteX143" fmla="*/ 829557 w 3421968"/>
              <a:gd name="connsiteY143" fmla="*/ 3436532 h 3438490"/>
              <a:gd name="connsiteX144" fmla="*/ 787467 w 3421968"/>
              <a:gd name="connsiteY144" fmla="*/ 3434538 h 3438490"/>
              <a:gd name="connsiteX145" fmla="*/ 784914 w 3421968"/>
              <a:gd name="connsiteY145" fmla="*/ 3434173 h 3438490"/>
              <a:gd name="connsiteX146" fmla="*/ 781512 w 3421968"/>
              <a:gd name="connsiteY146" fmla="*/ 3434001 h 3438490"/>
              <a:gd name="connsiteX147" fmla="*/ 631756 w 3421968"/>
              <a:gd name="connsiteY147" fmla="*/ 3405326 h 3438490"/>
              <a:gd name="connsiteX148" fmla="*/ 628233 w 3421968"/>
              <a:gd name="connsiteY148" fmla="*/ 3404156 h 3438490"/>
              <a:gd name="connsiteX149" fmla="*/ 627626 w 3421968"/>
              <a:gd name="connsiteY149" fmla="*/ 3404009 h 3438490"/>
              <a:gd name="connsiteX150" fmla="*/ 621581 w 3421968"/>
              <a:gd name="connsiteY150" fmla="*/ 3401944 h 3438490"/>
              <a:gd name="connsiteX151" fmla="*/ 560595 w 3421968"/>
              <a:gd name="connsiteY151" fmla="*/ 3381667 h 3438490"/>
              <a:gd name="connsiteX152" fmla="*/ 554335 w 3421968"/>
              <a:gd name="connsiteY152" fmla="*/ 3378965 h 3438490"/>
              <a:gd name="connsiteX153" fmla="*/ 551956 w 3421968"/>
              <a:gd name="connsiteY153" fmla="*/ 3378152 h 3438490"/>
              <a:gd name="connsiteX154" fmla="*/ 539096 w 3421968"/>
              <a:gd name="connsiteY154" fmla="*/ 3372385 h 3438490"/>
              <a:gd name="connsiteX155" fmla="*/ 492308 w 3421968"/>
              <a:gd name="connsiteY155" fmla="*/ 3352188 h 3438490"/>
              <a:gd name="connsiteX156" fmla="*/ 483576 w 3421968"/>
              <a:gd name="connsiteY156" fmla="*/ 3347496 h 3438490"/>
              <a:gd name="connsiteX157" fmla="*/ 479602 w 3421968"/>
              <a:gd name="connsiteY157" fmla="*/ 3345713 h 3438490"/>
              <a:gd name="connsiteX158" fmla="*/ 465646 w 3421968"/>
              <a:gd name="connsiteY158" fmla="*/ 3337856 h 3438490"/>
              <a:gd name="connsiteX159" fmla="*/ 427191 w 3421968"/>
              <a:gd name="connsiteY159" fmla="*/ 3317186 h 3438490"/>
              <a:gd name="connsiteX160" fmla="*/ 416293 w 3421968"/>
              <a:gd name="connsiteY160" fmla="*/ 3310074 h 3438490"/>
              <a:gd name="connsiteX161" fmla="*/ 410923 w 3421968"/>
              <a:gd name="connsiteY161" fmla="*/ 3307054 h 3438490"/>
              <a:gd name="connsiteX162" fmla="*/ 397634 w 3421968"/>
              <a:gd name="connsiteY162" fmla="*/ 3297901 h 3438490"/>
              <a:gd name="connsiteX163" fmla="*/ 365540 w 3421968"/>
              <a:gd name="connsiteY163" fmla="*/ 3276960 h 3438490"/>
              <a:gd name="connsiteX164" fmla="*/ 352824 w 3421968"/>
              <a:gd name="connsiteY164" fmla="*/ 3267038 h 3438490"/>
              <a:gd name="connsiteX165" fmla="*/ 346279 w 3421968"/>
              <a:gd name="connsiteY165" fmla="*/ 3262532 h 3438490"/>
              <a:gd name="connsiteX166" fmla="*/ 334363 w 3421968"/>
              <a:gd name="connsiteY166" fmla="*/ 3252638 h 3438490"/>
              <a:gd name="connsiteX167" fmla="*/ 307654 w 3421968"/>
              <a:gd name="connsiteY167" fmla="*/ 3231802 h 3438490"/>
              <a:gd name="connsiteX168" fmla="*/ 293506 w 3421968"/>
              <a:gd name="connsiteY168" fmla="*/ 3218717 h 3438490"/>
              <a:gd name="connsiteX169" fmla="*/ 286031 w 3421968"/>
              <a:gd name="connsiteY169" fmla="*/ 3212510 h 3438490"/>
              <a:gd name="connsiteX170" fmla="*/ 275778 w 3421968"/>
              <a:gd name="connsiteY170" fmla="*/ 3202318 h 3438490"/>
              <a:gd name="connsiteX171" fmla="*/ 253827 w 3421968"/>
              <a:gd name="connsiteY171" fmla="*/ 3182013 h 3438490"/>
              <a:gd name="connsiteX172" fmla="*/ 238676 w 3421968"/>
              <a:gd name="connsiteY172" fmla="*/ 3165436 h 3438490"/>
              <a:gd name="connsiteX173" fmla="*/ 230539 w 3421968"/>
              <a:gd name="connsiteY173" fmla="*/ 3157349 h 3438490"/>
              <a:gd name="connsiteX174" fmla="*/ 222041 w 3421968"/>
              <a:gd name="connsiteY174" fmla="*/ 3147238 h 3438490"/>
              <a:gd name="connsiteX175" fmla="*/ 204358 w 3421968"/>
              <a:gd name="connsiteY175" fmla="*/ 3127888 h 3438490"/>
              <a:gd name="connsiteX176" fmla="*/ 188664 w 3421968"/>
              <a:gd name="connsiteY176" fmla="*/ 3107519 h 3438490"/>
              <a:gd name="connsiteX177" fmla="*/ 180164 w 3421968"/>
              <a:gd name="connsiteY177" fmla="*/ 3097407 h 3438490"/>
              <a:gd name="connsiteX178" fmla="*/ 173400 w 3421968"/>
              <a:gd name="connsiteY178" fmla="*/ 3087711 h 3438490"/>
              <a:gd name="connsiteX179" fmla="*/ 159541 w 3421968"/>
              <a:gd name="connsiteY179" fmla="*/ 3069725 h 3438490"/>
              <a:gd name="connsiteX180" fmla="*/ 143800 w 3421968"/>
              <a:gd name="connsiteY180" fmla="*/ 3045278 h 3438490"/>
              <a:gd name="connsiteX181" fmla="*/ 135264 w 3421968"/>
              <a:gd name="connsiteY181" fmla="*/ 3033045 h 3438490"/>
              <a:gd name="connsiteX182" fmla="*/ 130137 w 3421968"/>
              <a:gd name="connsiteY182" fmla="*/ 3024063 h 3438490"/>
              <a:gd name="connsiteX183" fmla="*/ 119676 w 3421968"/>
              <a:gd name="connsiteY183" fmla="*/ 3007818 h 3438490"/>
              <a:gd name="connsiteX184" fmla="*/ 104410 w 3421968"/>
              <a:gd name="connsiteY184" fmla="*/ 2978998 h 3438490"/>
              <a:gd name="connsiteX185" fmla="*/ 96204 w 3421968"/>
              <a:gd name="connsiteY185" fmla="*/ 2964623 h 3438490"/>
              <a:gd name="connsiteX186" fmla="*/ 92559 w 3421968"/>
              <a:gd name="connsiteY186" fmla="*/ 2956626 h 3438490"/>
              <a:gd name="connsiteX187" fmla="*/ 85058 w 3421968"/>
              <a:gd name="connsiteY187" fmla="*/ 2942467 h 3438490"/>
              <a:gd name="connsiteX188" fmla="*/ 70820 w 3421968"/>
              <a:gd name="connsiteY188" fmla="*/ 2908920 h 3438490"/>
              <a:gd name="connsiteX189" fmla="*/ 63338 w 3421968"/>
              <a:gd name="connsiteY189" fmla="*/ 2892502 h 3438490"/>
              <a:gd name="connsiteX190" fmla="*/ 60979 w 3421968"/>
              <a:gd name="connsiteY190" fmla="*/ 2885735 h 3438490"/>
              <a:gd name="connsiteX191" fmla="*/ 55983 w 3421968"/>
              <a:gd name="connsiteY191" fmla="*/ 2873964 h 3438490"/>
              <a:gd name="connsiteX192" fmla="*/ 43352 w 3421968"/>
              <a:gd name="connsiteY192" fmla="*/ 2835175 h 3438490"/>
              <a:gd name="connsiteX193" fmla="*/ 37031 w 3421968"/>
              <a:gd name="connsiteY193" fmla="*/ 2817044 h 3438490"/>
              <a:gd name="connsiteX194" fmla="*/ 35716 w 3421968"/>
              <a:gd name="connsiteY194" fmla="*/ 2811725 h 3438490"/>
              <a:gd name="connsiteX195" fmla="*/ 32748 w 3421968"/>
              <a:gd name="connsiteY195" fmla="*/ 2802610 h 3438490"/>
              <a:gd name="connsiteX196" fmla="*/ 22327 w 3421968"/>
              <a:gd name="connsiteY196" fmla="*/ 2757558 h 3438490"/>
              <a:gd name="connsiteX197" fmla="*/ 17642 w 3421968"/>
              <a:gd name="connsiteY197" fmla="*/ 2738606 h 3438490"/>
              <a:gd name="connsiteX198" fmla="*/ 17093 w 3421968"/>
              <a:gd name="connsiteY198" fmla="*/ 2734935 h 3438490"/>
              <a:gd name="connsiteX199" fmla="*/ 15651 w 3421968"/>
              <a:gd name="connsiteY199" fmla="*/ 2728701 h 3438490"/>
              <a:gd name="connsiteX200" fmla="*/ 8064 w 3421968"/>
              <a:gd name="connsiteY200" fmla="*/ 2674503 h 3438490"/>
              <a:gd name="connsiteX201" fmla="*/ 5530 w 3421968"/>
              <a:gd name="connsiteY201" fmla="*/ 2657550 h 3438490"/>
              <a:gd name="connsiteX202" fmla="*/ 5440 w 3421968"/>
              <a:gd name="connsiteY202" fmla="*/ 2655765 h 3438490"/>
              <a:gd name="connsiteX203" fmla="*/ 4988 w 3421968"/>
              <a:gd name="connsiteY203" fmla="*/ 2652533 h 3438490"/>
              <a:gd name="connsiteX204" fmla="*/ 3208 w 3421968"/>
              <a:gd name="connsiteY204" fmla="*/ 2614942 h 3438490"/>
              <a:gd name="connsiteX205" fmla="*/ 1039 w 3421968"/>
              <a:gd name="connsiteY205" fmla="*/ 2614942 h 3438490"/>
              <a:gd name="connsiteX206" fmla="*/ 1039 w 3421968"/>
              <a:gd name="connsiteY206" fmla="*/ 2580285 h 3438490"/>
              <a:gd name="connsiteX207" fmla="*/ 1039 w 3421968"/>
              <a:gd name="connsiteY207" fmla="*/ 2569130 h 3438490"/>
              <a:gd name="connsiteX208" fmla="*/ 1039 w 3421968"/>
              <a:gd name="connsiteY208" fmla="*/ 2568870 h 3438490"/>
              <a:gd name="connsiteX209" fmla="*/ 0 w 3421968"/>
              <a:gd name="connsiteY209" fmla="*/ 2568870 h 3438490"/>
              <a:gd name="connsiteX210" fmla="*/ 0 w 3421968"/>
              <a:gd name="connsiteY210" fmla="*/ 2455476 h 3438490"/>
              <a:gd name="connsiteX211" fmla="*/ 0 w 3421968"/>
              <a:gd name="connsiteY211" fmla="*/ 2402360 h 3438490"/>
              <a:gd name="connsiteX212" fmla="*/ 0 w 3421968"/>
              <a:gd name="connsiteY212" fmla="*/ 2307936 h 3438490"/>
              <a:gd name="connsiteX213" fmla="*/ 0 w 3421968"/>
              <a:gd name="connsiteY213" fmla="*/ 2294786 h 3438490"/>
              <a:gd name="connsiteX214" fmla="*/ 0 w 3421968"/>
              <a:gd name="connsiteY214" fmla="*/ 2248714 h 3438490"/>
              <a:gd name="connsiteX215" fmla="*/ 1028 w 3421968"/>
              <a:gd name="connsiteY215" fmla="*/ 2248714 h 3438490"/>
              <a:gd name="connsiteX216" fmla="*/ 1028 w 3421968"/>
              <a:gd name="connsiteY216" fmla="*/ 2231154 h 3438490"/>
              <a:gd name="connsiteX217" fmla="*/ 751546 w 3421968"/>
              <a:gd name="connsiteY217" fmla="*/ 2231154 h 3438490"/>
              <a:gd name="connsiteX218" fmla="*/ 771021 w 3421968"/>
              <a:gd name="connsiteY218" fmla="*/ 2231154 h 3438490"/>
              <a:gd name="connsiteX219" fmla="*/ 631756 w 3421968"/>
              <a:gd name="connsiteY219" fmla="*/ 2204488 h 3438490"/>
              <a:gd name="connsiteX220" fmla="*/ 628233 w 3421968"/>
              <a:gd name="connsiteY220" fmla="*/ 2203317 h 3438490"/>
              <a:gd name="connsiteX221" fmla="*/ 627626 w 3421968"/>
              <a:gd name="connsiteY221" fmla="*/ 2203170 h 3438490"/>
              <a:gd name="connsiteX222" fmla="*/ 621582 w 3421968"/>
              <a:gd name="connsiteY222" fmla="*/ 2201104 h 3438490"/>
              <a:gd name="connsiteX223" fmla="*/ 560595 w 3421968"/>
              <a:gd name="connsiteY223" fmla="*/ 2180828 h 3438490"/>
              <a:gd name="connsiteX224" fmla="*/ 554335 w 3421968"/>
              <a:gd name="connsiteY224" fmla="*/ 2178125 h 3438490"/>
              <a:gd name="connsiteX225" fmla="*/ 551956 w 3421968"/>
              <a:gd name="connsiteY225" fmla="*/ 2177313 h 3438490"/>
              <a:gd name="connsiteX226" fmla="*/ 539096 w 3421968"/>
              <a:gd name="connsiteY226" fmla="*/ 2171547 h 3438490"/>
              <a:gd name="connsiteX227" fmla="*/ 492308 w 3421968"/>
              <a:gd name="connsiteY227" fmla="*/ 2151350 h 3438490"/>
              <a:gd name="connsiteX228" fmla="*/ 483576 w 3421968"/>
              <a:gd name="connsiteY228" fmla="*/ 2146656 h 3438490"/>
              <a:gd name="connsiteX229" fmla="*/ 479602 w 3421968"/>
              <a:gd name="connsiteY229" fmla="*/ 2144873 h 3438490"/>
              <a:gd name="connsiteX230" fmla="*/ 465646 w 3421968"/>
              <a:gd name="connsiteY230" fmla="*/ 2137018 h 3438490"/>
              <a:gd name="connsiteX231" fmla="*/ 427191 w 3421968"/>
              <a:gd name="connsiteY231" fmla="*/ 2116347 h 3438490"/>
              <a:gd name="connsiteX232" fmla="*/ 416293 w 3421968"/>
              <a:gd name="connsiteY232" fmla="*/ 2109236 h 3438490"/>
              <a:gd name="connsiteX233" fmla="*/ 410923 w 3421968"/>
              <a:gd name="connsiteY233" fmla="*/ 2106214 h 3438490"/>
              <a:gd name="connsiteX234" fmla="*/ 397634 w 3421968"/>
              <a:gd name="connsiteY234" fmla="*/ 2097063 h 3438490"/>
              <a:gd name="connsiteX235" fmla="*/ 365540 w 3421968"/>
              <a:gd name="connsiteY235" fmla="*/ 2076120 h 3438490"/>
              <a:gd name="connsiteX236" fmla="*/ 352824 w 3421968"/>
              <a:gd name="connsiteY236" fmla="*/ 2066200 h 3438490"/>
              <a:gd name="connsiteX237" fmla="*/ 346279 w 3421968"/>
              <a:gd name="connsiteY237" fmla="*/ 2061693 h 3438490"/>
              <a:gd name="connsiteX238" fmla="*/ 334363 w 3421968"/>
              <a:gd name="connsiteY238" fmla="*/ 2051798 h 3438490"/>
              <a:gd name="connsiteX239" fmla="*/ 307654 w 3421968"/>
              <a:gd name="connsiteY239" fmla="*/ 2030964 h 3438490"/>
              <a:gd name="connsiteX240" fmla="*/ 293506 w 3421968"/>
              <a:gd name="connsiteY240" fmla="*/ 2017878 h 3438490"/>
              <a:gd name="connsiteX241" fmla="*/ 286031 w 3421968"/>
              <a:gd name="connsiteY241" fmla="*/ 2011671 h 3438490"/>
              <a:gd name="connsiteX242" fmla="*/ 275778 w 3421968"/>
              <a:gd name="connsiteY242" fmla="*/ 2001479 h 3438490"/>
              <a:gd name="connsiteX243" fmla="*/ 253827 w 3421968"/>
              <a:gd name="connsiteY243" fmla="*/ 1981175 h 3438490"/>
              <a:gd name="connsiteX244" fmla="*/ 238676 w 3421968"/>
              <a:gd name="connsiteY244" fmla="*/ 1964597 h 3438490"/>
              <a:gd name="connsiteX245" fmla="*/ 230539 w 3421968"/>
              <a:gd name="connsiteY245" fmla="*/ 1956509 h 3438490"/>
              <a:gd name="connsiteX246" fmla="*/ 222041 w 3421968"/>
              <a:gd name="connsiteY246" fmla="*/ 1946399 h 3438490"/>
              <a:gd name="connsiteX247" fmla="*/ 204358 w 3421968"/>
              <a:gd name="connsiteY247" fmla="*/ 1927050 h 3438490"/>
              <a:gd name="connsiteX248" fmla="*/ 188664 w 3421968"/>
              <a:gd name="connsiteY248" fmla="*/ 1906681 h 3438490"/>
              <a:gd name="connsiteX249" fmla="*/ 180164 w 3421968"/>
              <a:gd name="connsiteY249" fmla="*/ 1896567 h 3438490"/>
              <a:gd name="connsiteX250" fmla="*/ 173400 w 3421968"/>
              <a:gd name="connsiteY250" fmla="*/ 1886871 h 3438490"/>
              <a:gd name="connsiteX251" fmla="*/ 159541 w 3421968"/>
              <a:gd name="connsiteY251" fmla="*/ 1868886 h 3438490"/>
              <a:gd name="connsiteX252" fmla="*/ 143800 w 3421968"/>
              <a:gd name="connsiteY252" fmla="*/ 1844439 h 3438490"/>
              <a:gd name="connsiteX253" fmla="*/ 135265 w 3421968"/>
              <a:gd name="connsiteY253" fmla="*/ 1832206 h 3438490"/>
              <a:gd name="connsiteX254" fmla="*/ 130138 w 3421968"/>
              <a:gd name="connsiteY254" fmla="*/ 1823225 h 3438490"/>
              <a:gd name="connsiteX255" fmla="*/ 119676 w 3421968"/>
              <a:gd name="connsiteY255" fmla="*/ 1806980 h 3438490"/>
              <a:gd name="connsiteX256" fmla="*/ 104411 w 3421968"/>
              <a:gd name="connsiteY256" fmla="*/ 1778160 h 3438490"/>
              <a:gd name="connsiteX257" fmla="*/ 96204 w 3421968"/>
              <a:gd name="connsiteY257" fmla="*/ 1763784 h 3438490"/>
              <a:gd name="connsiteX258" fmla="*/ 92559 w 3421968"/>
              <a:gd name="connsiteY258" fmla="*/ 1755787 h 3438490"/>
              <a:gd name="connsiteX259" fmla="*/ 85058 w 3421968"/>
              <a:gd name="connsiteY259" fmla="*/ 1741627 h 3438490"/>
              <a:gd name="connsiteX260" fmla="*/ 70820 w 3421968"/>
              <a:gd name="connsiteY260" fmla="*/ 1708082 h 3438490"/>
              <a:gd name="connsiteX261" fmla="*/ 63338 w 3421968"/>
              <a:gd name="connsiteY261" fmla="*/ 1691664 h 3438490"/>
              <a:gd name="connsiteX262" fmla="*/ 60979 w 3421968"/>
              <a:gd name="connsiteY262" fmla="*/ 1684897 h 3438490"/>
              <a:gd name="connsiteX263" fmla="*/ 55983 w 3421968"/>
              <a:gd name="connsiteY263" fmla="*/ 1673126 h 3438490"/>
              <a:gd name="connsiteX264" fmla="*/ 43353 w 3421968"/>
              <a:gd name="connsiteY264" fmla="*/ 1634336 h 3438490"/>
              <a:gd name="connsiteX265" fmla="*/ 37031 w 3421968"/>
              <a:gd name="connsiteY265" fmla="*/ 1616205 h 3438490"/>
              <a:gd name="connsiteX266" fmla="*/ 35716 w 3421968"/>
              <a:gd name="connsiteY266" fmla="*/ 1610886 h 3438490"/>
              <a:gd name="connsiteX267" fmla="*/ 32748 w 3421968"/>
              <a:gd name="connsiteY267" fmla="*/ 1601772 h 3438490"/>
              <a:gd name="connsiteX268" fmla="*/ 22327 w 3421968"/>
              <a:gd name="connsiteY268" fmla="*/ 1556719 h 3438490"/>
              <a:gd name="connsiteX269" fmla="*/ 17642 w 3421968"/>
              <a:gd name="connsiteY269" fmla="*/ 1537767 h 3438490"/>
              <a:gd name="connsiteX270" fmla="*/ 17093 w 3421968"/>
              <a:gd name="connsiteY270" fmla="*/ 1534095 h 3438490"/>
              <a:gd name="connsiteX271" fmla="*/ 15651 w 3421968"/>
              <a:gd name="connsiteY271" fmla="*/ 1527861 h 3438490"/>
              <a:gd name="connsiteX272" fmla="*/ 8064 w 3421968"/>
              <a:gd name="connsiteY272" fmla="*/ 1473664 h 3438490"/>
              <a:gd name="connsiteX273" fmla="*/ 5531 w 3421968"/>
              <a:gd name="connsiteY273" fmla="*/ 1456711 h 3438490"/>
              <a:gd name="connsiteX274" fmla="*/ 5440 w 3421968"/>
              <a:gd name="connsiteY274" fmla="*/ 1454926 h 3438490"/>
              <a:gd name="connsiteX275" fmla="*/ 4988 w 3421968"/>
              <a:gd name="connsiteY275" fmla="*/ 1451693 h 3438490"/>
              <a:gd name="connsiteX276" fmla="*/ 3208 w 3421968"/>
              <a:gd name="connsiteY276" fmla="*/ 1414104 h 3438490"/>
              <a:gd name="connsiteX277" fmla="*/ 1039 w 3421968"/>
              <a:gd name="connsiteY277" fmla="*/ 1414104 h 3438490"/>
              <a:gd name="connsiteX278" fmla="*/ 1039 w 3421968"/>
              <a:gd name="connsiteY278" fmla="*/ 1379448 h 3438490"/>
              <a:gd name="connsiteX279" fmla="*/ 1039 w 3421968"/>
              <a:gd name="connsiteY279" fmla="*/ 1368291 h 3438490"/>
              <a:gd name="connsiteX280" fmla="*/ 1039 w 3421968"/>
              <a:gd name="connsiteY280" fmla="*/ 1368031 h 3438490"/>
              <a:gd name="connsiteX281" fmla="*/ 0 w 3421968"/>
              <a:gd name="connsiteY281" fmla="*/ 1368031 h 3438490"/>
              <a:gd name="connsiteX282" fmla="*/ 0 w 3421968"/>
              <a:gd name="connsiteY282" fmla="*/ 1354882 h 3438490"/>
              <a:gd name="connsiteX283" fmla="*/ 0 w 3421968"/>
              <a:gd name="connsiteY283" fmla="*/ 1260457 h 3438490"/>
              <a:gd name="connsiteX284" fmla="*/ 0 w 3421968"/>
              <a:gd name="connsiteY284" fmla="*/ 1207341 h 3438490"/>
              <a:gd name="connsiteX285" fmla="*/ 0 w 3421968"/>
              <a:gd name="connsiteY285" fmla="*/ 1143704 h 3438490"/>
              <a:gd name="connsiteX286" fmla="*/ 0 w 3421968"/>
              <a:gd name="connsiteY286" fmla="*/ 1130555 h 3438490"/>
              <a:gd name="connsiteX287" fmla="*/ 0 w 3421968"/>
              <a:gd name="connsiteY287" fmla="*/ 1093946 h 3438490"/>
              <a:gd name="connsiteX288" fmla="*/ 0 w 3421968"/>
              <a:gd name="connsiteY288" fmla="*/ 1047875 h 3438490"/>
              <a:gd name="connsiteX289" fmla="*/ 0 w 3421968"/>
              <a:gd name="connsiteY289" fmla="*/ 1036130 h 3438490"/>
              <a:gd name="connsiteX290" fmla="*/ 0 w 3421968"/>
              <a:gd name="connsiteY290" fmla="*/ 983014 h 3438490"/>
              <a:gd name="connsiteX291" fmla="*/ 0 w 3421968"/>
              <a:gd name="connsiteY291" fmla="*/ 869619 h 3438490"/>
              <a:gd name="connsiteX292" fmla="*/ 0 w 3421968"/>
              <a:gd name="connsiteY292" fmla="*/ 823548 h 3438490"/>
              <a:gd name="connsiteX293" fmla="*/ 1029 w 3421968"/>
              <a:gd name="connsiteY293" fmla="*/ 823548 h 3438490"/>
              <a:gd name="connsiteX294" fmla="*/ 1029 w 3421968"/>
              <a:gd name="connsiteY294" fmla="*/ 224327 h 343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Lst>
            <a:rect l="l" t="t" r="r" b="b"/>
            <a:pathLst>
              <a:path w="3421968" h="3438490">
                <a:moveTo>
                  <a:pt x="1029" y="0"/>
                </a:moveTo>
                <a:lnTo>
                  <a:pt x="751547" y="0"/>
                </a:lnTo>
                <a:lnTo>
                  <a:pt x="869868" y="0"/>
                </a:lnTo>
                <a:lnTo>
                  <a:pt x="870380" y="0"/>
                </a:lnTo>
                <a:lnTo>
                  <a:pt x="870388" y="0"/>
                </a:lnTo>
                <a:lnTo>
                  <a:pt x="870397" y="0"/>
                </a:lnTo>
                <a:lnTo>
                  <a:pt x="911231" y="0"/>
                </a:lnTo>
                <a:lnTo>
                  <a:pt x="931692" y="0"/>
                </a:lnTo>
                <a:lnTo>
                  <a:pt x="1620386" y="0"/>
                </a:lnTo>
                <a:lnTo>
                  <a:pt x="1620899" y="0"/>
                </a:lnTo>
                <a:lnTo>
                  <a:pt x="1620906" y="0"/>
                </a:lnTo>
                <a:lnTo>
                  <a:pt x="1620915" y="0"/>
                </a:lnTo>
                <a:lnTo>
                  <a:pt x="1661749" y="0"/>
                </a:lnTo>
                <a:lnTo>
                  <a:pt x="1682210" y="0"/>
                </a:lnTo>
                <a:lnTo>
                  <a:pt x="1800530" y="0"/>
                </a:lnTo>
                <a:lnTo>
                  <a:pt x="1801043" y="0"/>
                </a:lnTo>
                <a:lnTo>
                  <a:pt x="1801050" y="0"/>
                </a:lnTo>
                <a:lnTo>
                  <a:pt x="1801060" y="0"/>
                </a:lnTo>
                <a:lnTo>
                  <a:pt x="1841893" y="0"/>
                </a:lnTo>
                <a:lnTo>
                  <a:pt x="2551050" y="0"/>
                </a:lnTo>
                <a:lnTo>
                  <a:pt x="2551562" y="0"/>
                </a:lnTo>
                <a:lnTo>
                  <a:pt x="2551569" y="0"/>
                </a:lnTo>
                <a:lnTo>
                  <a:pt x="2551578" y="0"/>
                </a:lnTo>
                <a:lnTo>
                  <a:pt x="2592411" y="0"/>
                </a:lnTo>
                <a:lnTo>
                  <a:pt x="2592411" y="1958"/>
                </a:lnTo>
                <a:lnTo>
                  <a:pt x="2634501" y="3952"/>
                </a:lnTo>
                <a:lnTo>
                  <a:pt x="2637054" y="4316"/>
                </a:lnTo>
                <a:lnTo>
                  <a:pt x="2640456" y="4488"/>
                </a:lnTo>
                <a:cubicBezTo>
                  <a:pt x="2691829" y="9705"/>
                  <a:pt x="2741879" y="19395"/>
                  <a:pt x="2790212" y="33163"/>
                </a:cubicBezTo>
                <a:lnTo>
                  <a:pt x="2793735" y="34335"/>
                </a:lnTo>
                <a:lnTo>
                  <a:pt x="2794341" y="34481"/>
                </a:lnTo>
                <a:lnTo>
                  <a:pt x="2800387" y="36546"/>
                </a:lnTo>
                <a:lnTo>
                  <a:pt x="2861373" y="56823"/>
                </a:lnTo>
                <a:lnTo>
                  <a:pt x="2867633" y="59526"/>
                </a:lnTo>
                <a:lnTo>
                  <a:pt x="2870011" y="60338"/>
                </a:lnTo>
                <a:lnTo>
                  <a:pt x="2882873" y="66104"/>
                </a:lnTo>
                <a:lnTo>
                  <a:pt x="2929660" y="86302"/>
                </a:lnTo>
                <a:lnTo>
                  <a:pt x="2938392" y="90995"/>
                </a:lnTo>
                <a:lnTo>
                  <a:pt x="2942366" y="92777"/>
                </a:lnTo>
                <a:lnTo>
                  <a:pt x="2956322" y="100633"/>
                </a:lnTo>
                <a:lnTo>
                  <a:pt x="2994777" y="121304"/>
                </a:lnTo>
                <a:lnTo>
                  <a:pt x="3005676" y="128415"/>
                </a:lnTo>
                <a:lnTo>
                  <a:pt x="3011046" y="131437"/>
                </a:lnTo>
                <a:lnTo>
                  <a:pt x="3024334" y="140589"/>
                </a:lnTo>
                <a:lnTo>
                  <a:pt x="3056428" y="161531"/>
                </a:lnTo>
                <a:lnTo>
                  <a:pt x="3069144" y="171451"/>
                </a:lnTo>
                <a:lnTo>
                  <a:pt x="3075690" y="175957"/>
                </a:lnTo>
                <a:lnTo>
                  <a:pt x="3087606" y="185852"/>
                </a:lnTo>
                <a:lnTo>
                  <a:pt x="3114314" y="206688"/>
                </a:lnTo>
                <a:lnTo>
                  <a:pt x="3128462" y="219774"/>
                </a:lnTo>
                <a:lnTo>
                  <a:pt x="3135937" y="225980"/>
                </a:lnTo>
                <a:lnTo>
                  <a:pt x="3146191" y="236171"/>
                </a:lnTo>
                <a:lnTo>
                  <a:pt x="3168141" y="256476"/>
                </a:lnTo>
                <a:lnTo>
                  <a:pt x="3183293" y="273055"/>
                </a:lnTo>
                <a:lnTo>
                  <a:pt x="3191429" y="281142"/>
                </a:lnTo>
                <a:lnTo>
                  <a:pt x="3199926" y="291252"/>
                </a:lnTo>
                <a:lnTo>
                  <a:pt x="3217610" y="310602"/>
                </a:lnTo>
                <a:lnTo>
                  <a:pt x="3233304" y="330971"/>
                </a:lnTo>
                <a:lnTo>
                  <a:pt x="3241804" y="341083"/>
                </a:lnTo>
                <a:lnTo>
                  <a:pt x="3248568" y="350779"/>
                </a:lnTo>
                <a:lnTo>
                  <a:pt x="3262426" y="368765"/>
                </a:lnTo>
                <a:lnTo>
                  <a:pt x="3278169" y="393212"/>
                </a:lnTo>
                <a:lnTo>
                  <a:pt x="3286703" y="405445"/>
                </a:lnTo>
                <a:lnTo>
                  <a:pt x="3291831" y="414427"/>
                </a:lnTo>
                <a:lnTo>
                  <a:pt x="3302291" y="430672"/>
                </a:lnTo>
                <a:lnTo>
                  <a:pt x="3317558" y="459491"/>
                </a:lnTo>
                <a:lnTo>
                  <a:pt x="3325764" y="473866"/>
                </a:lnTo>
                <a:lnTo>
                  <a:pt x="3329409" y="481864"/>
                </a:lnTo>
                <a:lnTo>
                  <a:pt x="3336910" y="496024"/>
                </a:lnTo>
                <a:lnTo>
                  <a:pt x="3351148" y="529569"/>
                </a:lnTo>
                <a:lnTo>
                  <a:pt x="3358630" y="545987"/>
                </a:lnTo>
                <a:lnTo>
                  <a:pt x="3360989" y="552754"/>
                </a:lnTo>
                <a:lnTo>
                  <a:pt x="3365986" y="564525"/>
                </a:lnTo>
                <a:lnTo>
                  <a:pt x="3378616" y="603315"/>
                </a:lnTo>
                <a:lnTo>
                  <a:pt x="3384937" y="621447"/>
                </a:lnTo>
                <a:lnTo>
                  <a:pt x="3386251" y="626765"/>
                </a:lnTo>
                <a:lnTo>
                  <a:pt x="3389219" y="635880"/>
                </a:lnTo>
                <a:lnTo>
                  <a:pt x="3399642" y="680932"/>
                </a:lnTo>
                <a:lnTo>
                  <a:pt x="3404327" y="699885"/>
                </a:lnTo>
                <a:lnTo>
                  <a:pt x="3404875" y="703555"/>
                </a:lnTo>
                <a:lnTo>
                  <a:pt x="3406317" y="709789"/>
                </a:lnTo>
                <a:lnTo>
                  <a:pt x="3413905" y="763987"/>
                </a:lnTo>
                <a:lnTo>
                  <a:pt x="3416438" y="780941"/>
                </a:lnTo>
                <a:lnTo>
                  <a:pt x="3416529" y="782725"/>
                </a:lnTo>
                <a:lnTo>
                  <a:pt x="3416981" y="785957"/>
                </a:lnTo>
                <a:lnTo>
                  <a:pt x="3418760" y="823548"/>
                </a:lnTo>
                <a:lnTo>
                  <a:pt x="3420930" y="823548"/>
                </a:lnTo>
                <a:lnTo>
                  <a:pt x="3420930" y="858205"/>
                </a:lnTo>
                <a:lnTo>
                  <a:pt x="3420930" y="869361"/>
                </a:lnTo>
                <a:lnTo>
                  <a:pt x="3420930" y="869619"/>
                </a:lnTo>
                <a:lnTo>
                  <a:pt x="3420930" y="869620"/>
                </a:lnTo>
                <a:lnTo>
                  <a:pt x="3421968" y="869620"/>
                </a:lnTo>
                <a:lnTo>
                  <a:pt x="3421968" y="983014"/>
                </a:lnTo>
                <a:lnTo>
                  <a:pt x="3421968" y="1036130"/>
                </a:lnTo>
                <a:lnTo>
                  <a:pt x="3421968" y="1093947"/>
                </a:lnTo>
                <a:lnTo>
                  <a:pt x="3421968" y="1130555"/>
                </a:lnTo>
                <a:lnTo>
                  <a:pt x="3421968" y="1143704"/>
                </a:lnTo>
                <a:lnTo>
                  <a:pt x="3421968" y="1189777"/>
                </a:lnTo>
                <a:lnTo>
                  <a:pt x="3421968" y="1207341"/>
                </a:lnTo>
                <a:lnTo>
                  <a:pt x="3421968" y="1260457"/>
                </a:lnTo>
                <a:lnTo>
                  <a:pt x="3421968" y="1354882"/>
                </a:lnTo>
                <a:lnTo>
                  <a:pt x="3421968" y="1368031"/>
                </a:lnTo>
                <a:lnTo>
                  <a:pt x="3421968" y="1414104"/>
                </a:lnTo>
                <a:lnTo>
                  <a:pt x="3420940" y="1414104"/>
                </a:lnTo>
                <a:lnTo>
                  <a:pt x="3420940" y="2013324"/>
                </a:lnTo>
                <a:lnTo>
                  <a:pt x="3420940" y="2237651"/>
                </a:lnTo>
                <a:lnTo>
                  <a:pt x="3418236" y="2237651"/>
                </a:lnTo>
                <a:lnTo>
                  <a:pt x="3418760" y="2248714"/>
                </a:lnTo>
                <a:lnTo>
                  <a:pt x="3420930" y="2248714"/>
                </a:lnTo>
                <a:lnTo>
                  <a:pt x="3420930" y="2283369"/>
                </a:lnTo>
                <a:lnTo>
                  <a:pt x="3420930" y="2294524"/>
                </a:lnTo>
                <a:lnTo>
                  <a:pt x="3420930" y="2294786"/>
                </a:lnTo>
                <a:lnTo>
                  <a:pt x="3421968" y="2294786"/>
                </a:lnTo>
                <a:lnTo>
                  <a:pt x="3421968" y="2307936"/>
                </a:lnTo>
                <a:lnTo>
                  <a:pt x="3421968" y="2402360"/>
                </a:lnTo>
                <a:lnTo>
                  <a:pt x="3421968" y="2455476"/>
                </a:lnTo>
                <a:lnTo>
                  <a:pt x="3421968" y="2568870"/>
                </a:lnTo>
                <a:lnTo>
                  <a:pt x="3421968" y="2614942"/>
                </a:lnTo>
                <a:lnTo>
                  <a:pt x="3420939" y="2614942"/>
                </a:lnTo>
                <a:lnTo>
                  <a:pt x="3420939" y="3438489"/>
                </a:lnTo>
                <a:lnTo>
                  <a:pt x="2670421" y="3438489"/>
                </a:lnTo>
                <a:lnTo>
                  <a:pt x="2552100" y="3438489"/>
                </a:lnTo>
                <a:lnTo>
                  <a:pt x="2551589" y="3438489"/>
                </a:lnTo>
                <a:lnTo>
                  <a:pt x="2551580" y="3438490"/>
                </a:lnTo>
                <a:lnTo>
                  <a:pt x="2551571" y="3438489"/>
                </a:lnTo>
                <a:lnTo>
                  <a:pt x="2510738" y="3438489"/>
                </a:lnTo>
                <a:lnTo>
                  <a:pt x="2490276" y="3438489"/>
                </a:lnTo>
                <a:lnTo>
                  <a:pt x="1801582" y="3438489"/>
                </a:lnTo>
                <a:lnTo>
                  <a:pt x="1801070" y="3438489"/>
                </a:lnTo>
                <a:lnTo>
                  <a:pt x="1801062" y="3438490"/>
                </a:lnTo>
                <a:lnTo>
                  <a:pt x="1801053" y="3438489"/>
                </a:lnTo>
                <a:lnTo>
                  <a:pt x="1760220" y="3438489"/>
                </a:lnTo>
                <a:lnTo>
                  <a:pt x="1739758" y="3438489"/>
                </a:lnTo>
                <a:lnTo>
                  <a:pt x="1621438" y="3438489"/>
                </a:lnTo>
                <a:lnTo>
                  <a:pt x="1620926" y="3438489"/>
                </a:lnTo>
                <a:lnTo>
                  <a:pt x="1620917" y="3438490"/>
                </a:lnTo>
                <a:lnTo>
                  <a:pt x="1620908" y="3438489"/>
                </a:lnTo>
                <a:lnTo>
                  <a:pt x="1580075" y="3438489"/>
                </a:lnTo>
                <a:lnTo>
                  <a:pt x="870919" y="3438489"/>
                </a:lnTo>
                <a:lnTo>
                  <a:pt x="870408" y="3438489"/>
                </a:lnTo>
                <a:lnTo>
                  <a:pt x="870400" y="3438490"/>
                </a:lnTo>
                <a:lnTo>
                  <a:pt x="870390" y="3438489"/>
                </a:lnTo>
                <a:lnTo>
                  <a:pt x="829557" y="3438489"/>
                </a:lnTo>
                <a:lnTo>
                  <a:pt x="829557" y="3436532"/>
                </a:lnTo>
                <a:lnTo>
                  <a:pt x="787467" y="3434538"/>
                </a:lnTo>
                <a:lnTo>
                  <a:pt x="784914" y="3434173"/>
                </a:lnTo>
                <a:lnTo>
                  <a:pt x="781512" y="3434001"/>
                </a:lnTo>
                <a:cubicBezTo>
                  <a:pt x="730139" y="3428784"/>
                  <a:pt x="680090" y="3419094"/>
                  <a:pt x="631756" y="3405326"/>
                </a:cubicBezTo>
                <a:lnTo>
                  <a:pt x="628233" y="3404156"/>
                </a:lnTo>
                <a:lnTo>
                  <a:pt x="627626" y="3404009"/>
                </a:lnTo>
                <a:lnTo>
                  <a:pt x="621581" y="3401944"/>
                </a:lnTo>
                <a:lnTo>
                  <a:pt x="560595" y="3381667"/>
                </a:lnTo>
                <a:lnTo>
                  <a:pt x="554335" y="3378965"/>
                </a:lnTo>
                <a:lnTo>
                  <a:pt x="551956" y="3378152"/>
                </a:lnTo>
                <a:lnTo>
                  <a:pt x="539096" y="3372385"/>
                </a:lnTo>
                <a:lnTo>
                  <a:pt x="492308" y="3352188"/>
                </a:lnTo>
                <a:lnTo>
                  <a:pt x="483576" y="3347496"/>
                </a:lnTo>
                <a:lnTo>
                  <a:pt x="479602" y="3345713"/>
                </a:lnTo>
                <a:lnTo>
                  <a:pt x="465646" y="3337856"/>
                </a:lnTo>
                <a:lnTo>
                  <a:pt x="427191" y="3317186"/>
                </a:lnTo>
                <a:lnTo>
                  <a:pt x="416293" y="3310074"/>
                </a:lnTo>
                <a:lnTo>
                  <a:pt x="410923" y="3307054"/>
                </a:lnTo>
                <a:lnTo>
                  <a:pt x="397634" y="3297901"/>
                </a:lnTo>
                <a:lnTo>
                  <a:pt x="365540" y="3276960"/>
                </a:lnTo>
                <a:lnTo>
                  <a:pt x="352824" y="3267038"/>
                </a:lnTo>
                <a:lnTo>
                  <a:pt x="346279" y="3262532"/>
                </a:lnTo>
                <a:lnTo>
                  <a:pt x="334363" y="3252638"/>
                </a:lnTo>
                <a:lnTo>
                  <a:pt x="307654" y="3231802"/>
                </a:lnTo>
                <a:lnTo>
                  <a:pt x="293506" y="3218717"/>
                </a:lnTo>
                <a:lnTo>
                  <a:pt x="286031" y="3212510"/>
                </a:lnTo>
                <a:lnTo>
                  <a:pt x="275778" y="3202318"/>
                </a:lnTo>
                <a:lnTo>
                  <a:pt x="253827" y="3182013"/>
                </a:lnTo>
                <a:lnTo>
                  <a:pt x="238676" y="3165436"/>
                </a:lnTo>
                <a:lnTo>
                  <a:pt x="230539" y="3157349"/>
                </a:lnTo>
                <a:lnTo>
                  <a:pt x="222041" y="3147238"/>
                </a:lnTo>
                <a:lnTo>
                  <a:pt x="204358" y="3127888"/>
                </a:lnTo>
                <a:lnTo>
                  <a:pt x="188664" y="3107519"/>
                </a:lnTo>
                <a:lnTo>
                  <a:pt x="180164" y="3097407"/>
                </a:lnTo>
                <a:lnTo>
                  <a:pt x="173400" y="3087711"/>
                </a:lnTo>
                <a:lnTo>
                  <a:pt x="159541" y="3069725"/>
                </a:lnTo>
                <a:lnTo>
                  <a:pt x="143800" y="3045278"/>
                </a:lnTo>
                <a:lnTo>
                  <a:pt x="135264" y="3033045"/>
                </a:lnTo>
                <a:lnTo>
                  <a:pt x="130137" y="3024063"/>
                </a:lnTo>
                <a:lnTo>
                  <a:pt x="119676" y="3007818"/>
                </a:lnTo>
                <a:lnTo>
                  <a:pt x="104410" y="2978998"/>
                </a:lnTo>
                <a:lnTo>
                  <a:pt x="96204" y="2964623"/>
                </a:lnTo>
                <a:lnTo>
                  <a:pt x="92559" y="2956626"/>
                </a:lnTo>
                <a:lnTo>
                  <a:pt x="85058" y="2942467"/>
                </a:lnTo>
                <a:lnTo>
                  <a:pt x="70820" y="2908920"/>
                </a:lnTo>
                <a:lnTo>
                  <a:pt x="63338" y="2892502"/>
                </a:lnTo>
                <a:lnTo>
                  <a:pt x="60979" y="2885735"/>
                </a:lnTo>
                <a:lnTo>
                  <a:pt x="55983" y="2873964"/>
                </a:lnTo>
                <a:lnTo>
                  <a:pt x="43352" y="2835175"/>
                </a:lnTo>
                <a:lnTo>
                  <a:pt x="37031" y="2817044"/>
                </a:lnTo>
                <a:lnTo>
                  <a:pt x="35716" y="2811725"/>
                </a:lnTo>
                <a:lnTo>
                  <a:pt x="32748" y="2802610"/>
                </a:lnTo>
                <a:lnTo>
                  <a:pt x="22327" y="2757558"/>
                </a:lnTo>
                <a:lnTo>
                  <a:pt x="17642" y="2738606"/>
                </a:lnTo>
                <a:lnTo>
                  <a:pt x="17093" y="2734935"/>
                </a:lnTo>
                <a:lnTo>
                  <a:pt x="15651" y="2728701"/>
                </a:lnTo>
                <a:lnTo>
                  <a:pt x="8064" y="2674503"/>
                </a:lnTo>
                <a:lnTo>
                  <a:pt x="5530" y="2657550"/>
                </a:lnTo>
                <a:lnTo>
                  <a:pt x="5440" y="2655765"/>
                </a:lnTo>
                <a:lnTo>
                  <a:pt x="4988" y="2652533"/>
                </a:lnTo>
                <a:lnTo>
                  <a:pt x="3208" y="2614942"/>
                </a:lnTo>
                <a:lnTo>
                  <a:pt x="1039" y="2614942"/>
                </a:lnTo>
                <a:lnTo>
                  <a:pt x="1039" y="2580285"/>
                </a:lnTo>
                <a:lnTo>
                  <a:pt x="1039" y="2569130"/>
                </a:lnTo>
                <a:lnTo>
                  <a:pt x="1039" y="2568870"/>
                </a:lnTo>
                <a:lnTo>
                  <a:pt x="0" y="2568870"/>
                </a:lnTo>
                <a:lnTo>
                  <a:pt x="0" y="2455476"/>
                </a:lnTo>
                <a:lnTo>
                  <a:pt x="0" y="2402360"/>
                </a:lnTo>
                <a:lnTo>
                  <a:pt x="0" y="2307936"/>
                </a:lnTo>
                <a:lnTo>
                  <a:pt x="0" y="2294786"/>
                </a:lnTo>
                <a:lnTo>
                  <a:pt x="0" y="2248714"/>
                </a:lnTo>
                <a:lnTo>
                  <a:pt x="1028" y="2248714"/>
                </a:lnTo>
                <a:lnTo>
                  <a:pt x="1028" y="2231154"/>
                </a:lnTo>
                <a:lnTo>
                  <a:pt x="751546" y="2231154"/>
                </a:lnTo>
                <a:lnTo>
                  <a:pt x="771021" y="2231154"/>
                </a:lnTo>
                <a:lnTo>
                  <a:pt x="631756" y="2204488"/>
                </a:lnTo>
                <a:lnTo>
                  <a:pt x="628233" y="2203317"/>
                </a:lnTo>
                <a:lnTo>
                  <a:pt x="627626" y="2203170"/>
                </a:lnTo>
                <a:lnTo>
                  <a:pt x="621582" y="2201104"/>
                </a:lnTo>
                <a:lnTo>
                  <a:pt x="560595" y="2180828"/>
                </a:lnTo>
                <a:lnTo>
                  <a:pt x="554335" y="2178125"/>
                </a:lnTo>
                <a:lnTo>
                  <a:pt x="551956" y="2177313"/>
                </a:lnTo>
                <a:lnTo>
                  <a:pt x="539096" y="2171547"/>
                </a:lnTo>
                <a:lnTo>
                  <a:pt x="492308" y="2151350"/>
                </a:lnTo>
                <a:lnTo>
                  <a:pt x="483576" y="2146656"/>
                </a:lnTo>
                <a:lnTo>
                  <a:pt x="479602" y="2144873"/>
                </a:lnTo>
                <a:lnTo>
                  <a:pt x="465646" y="2137018"/>
                </a:lnTo>
                <a:lnTo>
                  <a:pt x="427191" y="2116347"/>
                </a:lnTo>
                <a:lnTo>
                  <a:pt x="416293" y="2109236"/>
                </a:lnTo>
                <a:lnTo>
                  <a:pt x="410923" y="2106214"/>
                </a:lnTo>
                <a:lnTo>
                  <a:pt x="397634" y="2097063"/>
                </a:lnTo>
                <a:lnTo>
                  <a:pt x="365540" y="2076120"/>
                </a:lnTo>
                <a:lnTo>
                  <a:pt x="352824" y="2066200"/>
                </a:lnTo>
                <a:lnTo>
                  <a:pt x="346279" y="2061693"/>
                </a:lnTo>
                <a:lnTo>
                  <a:pt x="334363" y="2051798"/>
                </a:lnTo>
                <a:lnTo>
                  <a:pt x="307654" y="2030964"/>
                </a:lnTo>
                <a:lnTo>
                  <a:pt x="293506" y="2017878"/>
                </a:lnTo>
                <a:lnTo>
                  <a:pt x="286031" y="2011671"/>
                </a:lnTo>
                <a:lnTo>
                  <a:pt x="275778" y="2001479"/>
                </a:lnTo>
                <a:lnTo>
                  <a:pt x="253827" y="1981175"/>
                </a:lnTo>
                <a:lnTo>
                  <a:pt x="238676" y="1964597"/>
                </a:lnTo>
                <a:lnTo>
                  <a:pt x="230539" y="1956509"/>
                </a:lnTo>
                <a:lnTo>
                  <a:pt x="222041" y="1946399"/>
                </a:lnTo>
                <a:lnTo>
                  <a:pt x="204358" y="1927050"/>
                </a:lnTo>
                <a:lnTo>
                  <a:pt x="188664" y="1906681"/>
                </a:lnTo>
                <a:lnTo>
                  <a:pt x="180164" y="1896567"/>
                </a:lnTo>
                <a:lnTo>
                  <a:pt x="173400" y="1886871"/>
                </a:lnTo>
                <a:lnTo>
                  <a:pt x="159541" y="1868886"/>
                </a:lnTo>
                <a:lnTo>
                  <a:pt x="143800" y="1844439"/>
                </a:lnTo>
                <a:lnTo>
                  <a:pt x="135265" y="1832206"/>
                </a:lnTo>
                <a:lnTo>
                  <a:pt x="130138" y="1823225"/>
                </a:lnTo>
                <a:lnTo>
                  <a:pt x="119676" y="1806980"/>
                </a:lnTo>
                <a:lnTo>
                  <a:pt x="104411" y="1778160"/>
                </a:lnTo>
                <a:lnTo>
                  <a:pt x="96204" y="1763784"/>
                </a:lnTo>
                <a:lnTo>
                  <a:pt x="92559" y="1755787"/>
                </a:lnTo>
                <a:lnTo>
                  <a:pt x="85058" y="1741627"/>
                </a:lnTo>
                <a:lnTo>
                  <a:pt x="70820" y="1708082"/>
                </a:lnTo>
                <a:lnTo>
                  <a:pt x="63338" y="1691664"/>
                </a:lnTo>
                <a:lnTo>
                  <a:pt x="60979" y="1684897"/>
                </a:lnTo>
                <a:lnTo>
                  <a:pt x="55983" y="1673126"/>
                </a:lnTo>
                <a:lnTo>
                  <a:pt x="43353" y="1634336"/>
                </a:lnTo>
                <a:lnTo>
                  <a:pt x="37031" y="1616205"/>
                </a:lnTo>
                <a:lnTo>
                  <a:pt x="35716" y="1610886"/>
                </a:lnTo>
                <a:lnTo>
                  <a:pt x="32748" y="1601772"/>
                </a:lnTo>
                <a:lnTo>
                  <a:pt x="22327" y="1556719"/>
                </a:lnTo>
                <a:lnTo>
                  <a:pt x="17642" y="1537767"/>
                </a:lnTo>
                <a:lnTo>
                  <a:pt x="17093" y="1534095"/>
                </a:lnTo>
                <a:lnTo>
                  <a:pt x="15651" y="1527861"/>
                </a:lnTo>
                <a:lnTo>
                  <a:pt x="8064" y="1473664"/>
                </a:lnTo>
                <a:lnTo>
                  <a:pt x="5531" y="1456711"/>
                </a:lnTo>
                <a:lnTo>
                  <a:pt x="5440" y="1454926"/>
                </a:lnTo>
                <a:lnTo>
                  <a:pt x="4988" y="1451693"/>
                </a:lnTo>
                <a:lnTo>
                  <a:pt x="3208" y="1414104"/>
                </a:lnTo>
                <a:lnTo>
                  <a:pt x="1039" y="1414104"/>
                </a:lnTo>
                <a:lnTo>
                  <a:pt x="1039" y="1379448"/>
                </a:lnTo>
                <a:lnTo>
                  <a:pt x="1039" y="1368291"/>
                </a:lnTo>
                <a:lnTo>
                  <a:pt x="1039" y="1368031"/>
                </a:lnTo>
                <a:lnTo>
                  <a:pt x="0" y="1368031"/>
                </a:lnTo>
                <a:lnTo>
                  <a:pt x="0" y="1354882"/>
                </a:lnTo>
                <a:lnTo>
                  <a:pt x="0" y="1260457"/>
                </a:lnTo>
                <a:lnTo>
                  <a:pt x="0" y="1207341"/>
                </a:lnTo>
                <a:lnTo>
                  <a:pt x="0" y="1143704"/>
                </a:lnTo>
                <a:lnTo>
                  <a:pt x="0" y="1130555"/>
                </a:lnTo>
                <a:lnTo>
                  <a:pt x="0" y="1093946"/>
                </a:lnTo>
                <a:lnTo>
                  <a:pt x="0" y="1047875"/>
                </a:lnTo>
                <a:lnTo>
                  <a:pt x="0" y="1036130"/>
                </a:lnTo>
                <a:lnTo>
                  <a:pt x="0" y="983014"/>
                </a:lnTo>
                <a:lnTo>
                  <a:pt x="0" y="869619"/>
                </a:lnTo>
                <a:lnTo>
                  <a:pt x="0" y="823548"/>
                </a:lnTo>
                <a:lnTo>
                  <a:pt x="1029" y="823548"/>
                </a:lnTo>
                <a:lnTo>
                  <a:pt x="1029" y="224327"/>
                </a:lnTo>
                <a:close/>
              </a:path>
            </a:pathLst>
          </a:custGeom>
        </p:spPr>
        <p:txBody>
          <a:bodyPr wrap="square">
            <a:noAutofit/>
          </a:bodyPr>
          <a:lstStyle/>
          <a:p>
            <a:endParaRPr lang="en-US"/>
          </a:p>
        </p:txBody>
      </p:sp>
    </p:spTree>
    <p:extLst>
      <p:ext uri="{BB962C8B-B14F-4D97-AF65-F5344CB8AC3E}">
        <p14:creationId xmlns:p14="http://schemas.microsoft.com/office/powerpoint/2010/main" val="81053118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9C9F0DB2-0512-401D-8243-4C10160F486F}"/>
              </a:ext>
            </a:extLst>
          </p:cNvPr>
          <p:cNvSpPr>
            <a:spLocks noGrp="1"/>
          </p:cNvSpPr>
          <p:nvPr>
            <p:ph type="pic" sz="quarter" idx="10"/>
          </p:nvPr>
        </p:nvSpPr>
        <p:spPr>
          <a:xfrm>
            <a:off x="1409642" y="0"/>
            <a:ext cx="4694471" cy="6855583"/>
          </a:xfrm>
          <a:custGeom>
            <a:avLst/>
            <a:gdLst>
              <a:gd name="connsiteX0" fmla="*/ 2738 w 4694471"/>
              <a:gd name="connsiteY0" fmla="*/ 0 h 6855583"/>
              <a:gd name="connsiteX1" fmla="*/ 961282 w 4694471"/>
              <a:gd name="connsiteY1" fmla="*/ 0 h 6855583"/>
              <a:gd name="connsiteX2" fmla="*/ 1974639 w 4694471"/>
              <a:gd name="connsiteY2" fmla="*/ 0 h 6855583"/>
              <a:gd name="connsiteX3" fmla="*/ 2050909 w 4694471"/>
              <a:gd name="connsiteY3" fmla="*/ 0 h 6855583"/>
              <a:gd name="connsiteX4" fmla="*/ 2600795 w 4694471"/>
              <a:gd name="connsiteY4" fmla="*/ 0 h 6855583"/>
              <a:gd name="connsiteX5" fmla="*/ 2671049 w 4694471"/>
              <a:gd name="connsiteY5" fmla="*/ 0 h 6855583"/>
              <a:gd name="connsiteX6" fmla="*/ 2747320 w 4694471"/>
              <a:gd name="connsiteY6" fmla="*/ 0 h 6855583"/>
              <a:gd name="connsiteX7" fmla="*/ 2933183 w 4694471"/>
              <a:gd name="connsiteY7" fmla="*/ 0 h 6855583"/>
              <a:gd name="connsiteX8" fmla="*/ 3009453 w 4694471"/>
              <a:gd name="connsiteY8" fmla="*/ 0 h 6855583"/>
              <a:gd name="connsiteX9" fmla="*/ 3559339 w 4694471"/>
              <a:gd name="connsiteY9" fmla="*/ 0 h 6855583"/>
              <a:gd name="connsiteX10" fmla="*/ 3559339 w 4694471"/>
              <a:gd name="connsiteY10" fmla="*/ 1 h 6855583"/>
              <a:gd name="connsiteX11" fmla="*/ 3629003 w 4694471"/>
              <a:gd name="connsiteY11" fmla="*/ 1 h 6855583"/>
              <a:gd name="connsiteX12" fmla="*/ 3629584 w 4694471"/>
              <a:gd name="connsiteY12" fmla="*/ 1 h 6855583"/>
              <a:gd name="connsiteX13" fmla="*/ 3629593 w 4694471"/>
              <a:gd name="connsiteY13" fmla="*/ 0 h 6855583"/>
              <a:gd name="connsiteX14" fmla="*/ 3629603 w 4694471"/>
              <a:gd name="connsiteY14" fmla="*/ 1 h 6855583"/>
              <a:gd name="connsiteX15" fmla="*/ 3675909 w 4694471"/>
              <a:gd name="connsiteY15" fmla="*/ 1 h 6855583"/>
              <a:gd name="connsiteX16" fmla="*/ 3705273 w 4694471"/>
              <a:gd name="connsiteY16" fmla="*/ 1 h 6855583"/>
              <a:gd name="connsiteX17" fmla="*/ 3705854 w 4694471"/>
              <a:gd name="connsiteY17" fmla="*/ 1 h 6855583"/>
              <a:gd name="connsiteX18" fmla="*/ 3705864 w 4694471"/>
              <a:gd name="connsiteY18" fmla="*/ 0 h 6855583"/>
              <a:gd name="connsiteX19" fmla="*/ 3705872 w 4694471"/>
              <a:gd name="connsiteY19" fmla="*/ 1 h 6855583"/>
              <a:gd name="connsiteX20" fmla="*/ 3752180 w 4694471"/>
              <a:gd name="connsiteY20" fmla="*/ 1 h 6855583"/>
              <a:gd name="connsiteX21" fmla="*/ 3752180 w 4694471"/>
              <a:gd name="connsiteY21" fmla="*/ 2441 h 6855583"/>
              <a:gd name="connsiteX22" fmla="*/ 3799909 w 4694471"/>
              <a:gd name="connsiteY22" fmla="*/ 4925 h 6855583"/>
              <a:gd name="connsiteX23" fmla="*/ 3802804 w 4694471"/>
              <a:gd name="connsiteY23" fmla="*/ 5380 h 6855583"/>
              <a:gd name="connsiteX24" fmla="*/ 3806663 w 4694471"/>
              <a:gd name="connsiteY24" fmla="*/ 5593 h 6855583"/>
              <a:gd name="connsiteX25" fmla="*/ 3976490 w 4694471"/>
              <a:gd name="connsiteY25" fmla="*/ 41323 h 6855583"/>
              <a:gd name="connsiteX26" fmla="*/ 3980485 w 4694471"/>
              <a:gd name="connsiteY26" fmla="*/ 42781 h 6855583"/>
              <a:gd name="connsiteX27" fmla="*/ 3981173 w 4694471"/>
              <a:gd name="connsiteY27" fmla="*/ 42964 h 6855583"/>
              <a:gd name="connsiteX28" fmla="*/ 3988028 w 4694471"/>
              <a:gd name="connsiteY28" fmla="*/ 45538 h 6855583"/>
              <a:gd name="connsiteX29" fmla="*/ 4057188 w 4694471"/>
              <a:gd name="connsiteY29" fmla="*/ 70802 h 6855583"/>
              <a:gd name="connsiteX30" fmla="*/ 4064286 w 4694471"/>
              <a:gd name="connsiteY30" fmla="*/ 74169 h 6855583"/>
              <a:gd name="connsiteX31" fmla="*/ 4066984 w 4694471"/>
              <a:gd name="connsiteY31" fmla="*/ 75182 h 6855583"/>
              <a:gd name="connsiteX32" fmla="*/ 4081569 w 4694471"/>
              <a:gd name="connsiteY32" fmla="*/ 82367 h 6855583"/>
              <a:gd name="connsiteX33" fmla="*/ 4134626 w 4694471"/>
              <a:gd name="connsiteY33" fmla="*/ 107533 h 6855583"/>
              <a:gd name="connsiteX34" fmla="*/ 4144529 w 4694471"/>
              <a:gd name="connsiteY34" fmla="*/ 113381 h 6855583"/>
              <a:gd name="connsiteX35" fmla="*/ 4149036 w 4694471"/>
              <a:gd name="connsiteY35" fmla="*/ 115600 h 6855583"/>
              <a:gd name="connsiteX36" fmla="*/ 4164861 w 4694471"/>
              <a:gd name="connsiteY36" fmla="*/ 125388 h 6855583"/>
              <a:gd name="connsiteX37" fmla="*/ 4208472 w 4694471"/>
              <a:gd name="connsiteY37" fmla="*/ 151145 h 6855583"/>
              <a:gd name="connsiteX38" fmla="*/ 4220829 w 4694471"/>
              <a:gd name="connsiteY38" fmla="*/ 160005 h 6855583"/>
              <a:gd name="connsiteX39" fmla="*/ 4226920 w 4694471"/>
              <a:gd name="connsiteY39" fmla="*/ 163770 h 6855583"/>
              <a:gd name="connsiteX40" fmla="*/ 4241989 w 4694471"/>
              <a:gd name="connsiteY40" fmla="*/ 175174 h 6855583"/>
              <a:gd name="connsiteX41" fmla="*/ 4278383 w 4694471"/>
              <a:gd name="connsiteY41" fmla="*/ 201267 h 6855583"/>
              <a:gd name="connsiteX42" fmla="*/ 4292804 w 4694471"/>
              <a:gd name="connsiteY42" fmla="*/ 213629 h 6855583"/>
              <a:gd name="connsiteX43" fmla="*/ 4300227 w 4694471"/>
              <a:gd name="connsiteY43" fmla="*/ 219244 h 6855583"/>
              <a:gd name="connsiteX44" fmla="*/ 4313741 w 4694471"/>
              <a:gd name="connsiteY44" fmla="*/ 231573 h 6855583"/>
              <a:gd name="connsiteX45" fmla="*/ 4344028 w 4694471"/>
              <a:gd name="connsiteY45" fmla="*/ 257532 h 6855583"/>
              <a:gd name="connsiteX46" fmla="*/ 4360072 w 4694471"/>
              <a:gd name="connsiteY46" fmla="*/ 273838 h 6855583"/>
              <a:gd name="connsiteX47" fmla="*/ 4368549 w 4694471"/>
              <a:gd name="connsiteY47" fmla="*/ 281570 h 6855583"/>
              <a:gd name="connsiteX48" fmla="*/ 4380176 w 4694471"/>
              <a:gd name="connsiteY48" fmla="*/ 294271 h 6855583"/>
              <a:gd name="connsiteX49" fmla="*/ 4405069 w 4694471"/>
              <a:gd name="connsiteY49" fmla="*/ 319569 h 6855583"/>
              <a:gd name="connsiteX50" fmla="*/ 4422252 w 4694471"/>
              <a:gd name="connsiteY50" fmla="*/ 340225 h 6855583"/>
              <a:gd name="connsiteX51" fmla="*/ 4431478 w 4694471"/>
              <a:gd name="connsiteY51" fmla="*/ 350303 h 6855583"/>
              <a:gd name="connsiteX52" fmla="*/ 4441115 w 4694471"/>
              <a:gd name="connsiteY52" fmla="*/ 362902 h 6855583"/>
              <a:gd name="connsiteX53" fmla="*/ 4461169 w 4694471"/>
              <a:gd name="connsiteY53" fmla="*/ 387010 h 6855583"/>
              <a:gd name="connsiteX54" fmla="*/ 4478966 w 4694471"/>
              <a:gd name="connsiteY54" fmla="*/ 412388 h 6855583"/>
              <a:gd name="connsiteX55" fmla="*/ 4488605 w 4694471"/>
              <a:gd name="connsiteY55" fmla="*/ 424989 h 6855583"/>
              <a:gd name="connsiteX56" fmla="*/ 4496275 w 4694471"/>
              <a:gd name="connsiteY56" fmla="*/ 437070 h 6855583"/>
              <a:gd name="connsiteX57" fmla="*/ 4511991 w 4694471"/>
              <a:gd name="connsiteY57" fmla="*/ 459481 h 6855583"/>
              <a:gd name="connsiteX58" fmla="*/ 4529843 w 4694471"/>
              <a:gd name="connsiteY58" fmla="*/ 489942 h 6855583"/>
              <a:gd name="connsiteX59" fmla="*/ 4539521 w 4694471"/>
              <a:gd name="connsiteY59" fmla="*/ 505184 h 6855583"/>
              <a:gd name="connsiteX60" fmla="*/ 4545336 w 4694471"/>
              <a:gd name="connsiteY60" fmla="*/ 516375 h 6855583"/>
              <a:gd name="connsiteX61" fmla="*/ 4557199 w 4694471"/>
              <a:gd name="connsiteY61" fmla="*/ 536617 h 6855583"/>
              <a:gd name="connsiteX62" fmla="*/ 4574510 w 4694471"/>
              <a:gd name="connsiteY62" fmla="*/ 572526 h 6855583"/>
              <a:gd name="connsiteX63" fmla="*/ 4583819 w 4694471"/>
              <a:gd name="connsiteY63" fmla="*/ 590437 h 6855583"/>
              <a:gd name="connsiteX64" fmla="*/ 4587950 w 4694471"/>
              <a:gd name="connsiteY64" fmla="*/ 600402 h 6855583"/>
              <a:gd name="connsiteX65" fmla="*/ 4596457 w 4694471"/>
              <a:gd name="connsiteY65" fmla="*/ 618045 h 6855583"/>
              <a:gd name="connsiteX66" fmla="*/ 4612602 w 4694471"/>
              <a:gd name="connsiteY66" fmla="*/ 659843 h 6855583"/>
              <a:gd name="connsiteX67" fmla="*/ 4621089 w 4694471"/>
              <a:gd name="connsiteY67" fmla="*/ 680300 h 6855583"/>
              <a:gd name="connsiteX68" fmla="*/ 4623764 w 4694471"/>
              <a:gd name="connsiteY68" fmla="*/ 688731 h 6855583"/>
              <a:gd name="connsiteX69" fmla="*/ 4629429 w 4694471"/>
              <a:gd name="connsiteY69" fmla="*/ 703398 h 6855583"/>
              <a:gd name="connsiteX70" fmla="*/ 4643753 w 4694471"/>
              <a:gd name="connsiteY70" fmla="*/ 751729 h 6855583"/>
              <a:gd name="connsiteX71" fmla="*/ 4650921 w 4694471"/>
              <a:gd name="connsiteY71" fmla="*/ 774321 h 6855583"/>
              <a:gd name="connsiteX72" fmla="*/ 4652412 w 4694471"/>
              <a:gd name="connsiteY72" fmla="*/ 780948 h 6855583"/>
              <a:gd name="connsiteX73" fmla="*/ 4655777 w 4694471"/>
              <a:gd name="connsiteY73" fmla="*/ 792304 h 6855583"/>
              <a:gd name="connsiteX74" fmla="*/ 4667595 w 4694471"/>
              <a:gd name="connsiteY74" fmla="*/ 848440 h 6855583"/>
              <a:gd name="connsiteX75" fmla="*/ 4667828 w 4694471"/>
              <a:gd name="connsiteY75" fmla="*/ 849474 h 6855583"/>
              <a:gd name="connsiteX76" fmla="*/ 4669385 w 4694471"/>
              <a:gd name="connsiteY76" fmla="*/ 849474 h 6855583"/>
              <a:gd name="connsiteX77" fmla="*/ 4674465 w 4694471"/>
              <a:gd name="connsiteY77" fmla="*/ 877139 h 6855583"/>
              <a:gd name="connsiteX78" fmla="*/ 4675087 w 4694471"/>
              <a:gd name="connsiteY78" fmla="*/ 882743 h 6855583"/>
              <a:gd name="connsiteX79" fmla="*/ 4676722 w 4694471"/>
              <a:gd name="connsiteY79" fmla="*/ 892259 h 6855583"/>
              <a:gd name="connsiteX80" fmla="*/ 4685327 w 4694471"/>
              <a:gd name="connsiteY80" fmla="*/ 974994 h 6855583"/>
              <a:gd name="connsiteX81" fmla="*/ 4688200 w 4694471"/>
              <a:gd name="connsiteY81" fmla="*/ 1000874 h 6855583"/>
              <a:gd name="connsiteX82" fmla="*/ 4688301 w 4694471"/>
              <a:gd name="connsiteY82" fmla="*/ 1003598 h 6855583"/>
              <a:gd name="connsiteX83" fmla="*/ 4688815 w 4694471"/>
              <a:gd name="connsiteY83" fmla="*/ 1008533 h 6855583"/>
              <a:gd name="connsiteX84" fmla="*/ 4690833 w 4694471"/>
              <a:gd name="connsiteY84" fmla="*/ 1065916 h 6855583"/>
              <a:gd name="connsiteX85" fmla="*/ 4693293 w 4694471"/>
              <a:gd name="connsiteY85" fmla="*/ 1065916 h 6855583"/>
              <a:gd name="connsiteX86" fmla="*/ 4693293 w 4694471"/>
              <a:gd name="connsiteY86" fmla="*/ 1118819 h 6855583"/>
              <a:gd name="connsiteX87" fmla="*/ 4693293 w 4694471"/>
              <a:gd name="connsiteY87" fmla="*/ 1135849 h 6855583"/>
              <a:gd name="connsiteX88" fmla="*/ 4693293 w 4694471"/>
              <a:gd name="connsiteY88" fmla="*/ 1136246 h 6855583"/>
              <a:gd name="connsiteX89" fmla="*/ 4693293 w 4694471"/>
              <a:gd name="connsiteY89" fmla="*/ 1136247 h 6855583"/>
              <a:gd name="connsiteX90" fmla="*/ 4694471 w 4694471"/>
              <a:gd name="connsiteY90" fmla="*/ 1136247 h 6855583"/>
              <a:gd name="connsiteX91" fmla="*/ 4694471 w 4694471"/>
              <a:gd name="connsiteY91" fmla="*/ 1234853 h 6855583"/>
              <a:gd name="connsiteX92" fmla="*/ 4694471 w 4694471"/>
              <a:gd name="connsiteY92" fmla="*/ 1390429 h 6855583"/>
              <a:gd name="connsiteX93" fmla="*/ 4694471 w 4694471"/>
              <a:gd name="connsiteY93" fmla="*/ 1493422 h 6855583"/>
              <a:gd name="connsiteX94" fmla="*/ 4694471 w 4694471"/>
              <a:gd name="connsiteY94" fmla="*/ 1922616 h 6855583"/>
              <a:gd name="connsiteX95" fmla="*/ 4694471 w 4694471"/>
              <a:gd name="connsiteY95" fmla="*/ 1946509 h 6855583"/>
              <a:gd name="connsiteX96" fmla="*/ 4694471 w 4694471"/>
              <a:gd name="connsiteY96" fmla="*/ 2034790 h 6855583"/>
              <a:gd name="connsiteX97" fmla="*/ 4694471 w 4694471"/>
              <a:gd name="connsiteY97" fmla="*/ 2059094 h 6855583"/>
              <a:gd name="connsiteX98" fmla="*/ 4694471 w 4694471"/>
              <a:gd name="connsiteY98" fmla="*/ 2121885 h 6855583"/>
              <a:gd name="connsiteX99" fmla="*/ 4694471 w 4694471"/>
              <a:gd name="connsiteY99" fmla="*/ 2175446 h 6855583"/>
              <a:gd name="connsiteX100" fmla="*/ 4694471 w 4694471"/>
              <a:gd name="connsiteY100" fmla="*/ 2237497 h 6855583"/>
              <a:gd name="connsiteX101" fmla="*/ 4694471 w 4694471"/>
              <a:gd name="connsiteY101" fmla="*/ 2291981 h 6855583"/>
              <a:gd name="connsiteX102" fmla="*/ 4693305 w 4694471"/>
              <a:gd name="connsiteY102" fmla="*/ 2291981 h 6855583"/>
              <a:gd name="connsiteX103" fmla="*/ 4693305 w 4694471"/>
              <a:gd name="connsiteY103" fmla="*/ 3132833 h 6855583"/>
              <a:gd name="connsiteX104" fmla="*/ 4693305 w 4694471"/>
              <a:gd name="connsiteY104" fmla="*/ 3265888 h 6855583"/>
              <a:gd name="connsiteX105" fmla="*/ 4627092 w 4694471"/>
              <a:gd name="connsiteY105" fmla="*/ 3265888 h 6855583"/>
              <a:gd name="connsiteX106" fmla="*/ 3996894 w 4694471"/>
              <a:gd name="connsiteY106" fmla="*/ 3265888 h 6855583"/>
              <a:gd name="connsiteX107" fmla="*/ 3930683 w 4694471"/>
              <a:gd name="connsiteY107" fmla="*/ 3265888 h 6855583"/>
              <a:gd name="connsiteX108" fmla="*/ 3734761 w 4694471"/>
              <a:gd name="connsiteY108" fmla="*/ 3265888 h 6855583"/>
              <a:gd name="connsiteX109" fmla="*/ 3708022 w 4694471"/>
              <a:gd name="connsiteY109" fmla="*/ 3265888 h 6855583"/>
              <a:gd name="connsiteX110" fmla="*/ 3707441 w 4694471"/>
              <a:gd name="connsiteY110" fmla="*/ 3265888 h 6855583"/>
              <a:gd name="connsiteX111" fmla="*/ 3707431 w 4694471"/>
              <a:gd name="connsiteY111" fmla="*/ 3265888 h 6855583"/>
              <a:gd name="connsiteX112" fmla="*/ 3707422 w 4694471"/>
              <a:gd name="connsiteY112" fmla="*/ 3265888 h 6855583"/>
              <a:gd name="connsiteX113" fmla="*/ 3668548 w 4694471"/>
              <a:gd name="connsiteY113" fmla="*/ 3265888 h 6855583"/>
              <a:gd name="connsiteX114" fmla="*/ 3661115 w 4694471"/>
              <a:gd name="connsiteY114" fmla="*/ 3265888 h 6855583"/>
              <a:gd name="connsiteX115" fmla="*/ 3641811 w 4694471"/>
              <a:gd name="connsiteY115" fmla="*/ 3265888 h 6855583"/>
              <a:gd name="connsiteX116" fmla="*/ 3641229 w 4694471"/>
              <a:gd name="connsiteY116" fmla="*/ 3265888 h 6855583"/>
              <a:gd name="connsiteX117" fmla="*/ 3641220 w 4694471"/>
              <a:gd name="connsiteY117" fmla="*/ 3265888 h 6855583"/>
              <a:gd name="connsiteX118" fmla="*/ 3641210 w 4694471"/>
              <a:gd name="connsiteY118" fmla="*/ 3265888 h 6855583"/>
              <a:gd name="connsiteX119" fmla="*/ 3594904 w 4694471"/>
              <a:gd name="connsiteY119" fmla="*/ 3265888 h 6855583"/>
              <a:gd name="connsiteX120" fmla="*/ 3559339 w 4694471"/>
              <a:gd name="connsiteY120" fmla="*/ 3265888 h 6855583"/>
              <a:gd name="connsiteX121" fmla="*/ 3559339 w 4694471"/>
              <a:gd name="connsiteY121" fmla="*/ 3265890 h 6855583"/>
              <a:gd name="connsiteX122" fmla="*/ 3574921 w 4694471"/>
              <a:gd name="connsiteY122" fmla="*/ 3265890 h 6855583"/>
              <a:gd name="connsiteX123" fmla="*/ 3607197 w 4694471"/>
              <a:gd name="connsiteY123" fmla="*/ 3265890 h 6855583"/>
              <a:gd name="connsiteX124" fmla="*/ 3607836 w 4694471"/>
              <a:gd name="connsiteY124" fmla="*/ 3265890 h 6855583"/>
              <a:gd name="connsiteX125" fmla="*/ 3607845 w 4694471"/>
              <a:gd name="connsiteY125" fmla="*/ 3265889 h 6855583"/>
              <a:gd name="connsiteX126" fmla="*/ 3607855 w 4694471"/>
              <a:gd name="connsiteY126" fmla="*/ 3265890 h 6855583"/>
              <a:gd name="connsiteX127" fmla="*/ 3658753 w 4694471"/>
              <a:gd name="connsiteY127" fmla="*/ 3265890 h 6855583"/>
              <a:gd name="connsiteX128" fmla="*/ 3658753 w 4694471"/>
              <a:gd name="connsiteY128" fmla="*/ 3268571 h 6855583"/>
              <a:gd name="connsiteX129" fmla="*/ 3711215 w 4694471"/>
              <a:gd name="connsiteY129" fmla="*/ 3271301 h 6855583"/>
              <a:gd name="connsiteX130" fmla="*/ 3714398 w 4694471"/>
              <a:gd name="connsiteY130" fmla="*/ 3271802 h 6855583"/>
              <a:gd name="connsiteX131" fmla="*/ 3718640 w 4694471"/>
              <a:gd name="connsiteY131" fmla="*/ 3272037 h 6855583"/>
              <a:gd name="connsiteX132" fmla="*/ 3905304 w 4694471"/>
              <a:gd name="connsiteY132" fmla="*/ 3311308 h 6855583"/>
              <a:gd name="connsiteX133" fmla="*/ 3909694 w 4694471"/>
              <a:gd name="connsiteY133" fmla="*/ 3312912 h 6855583"/>
              <a:gd name="connsiteX134" fmla="*/ 3910452 w 4694471"/>
              <a:gd name="connsiteY134" fmla="*/ 3313112 h 6855583"/>
              <a:gd name="connsiteX135" fmla="*/ 3917986 w 4694471"/>
              <a:gd name="connsiteY135" fmla="*/ 3315942 h 6855583"/>
              <a:gd name="connsiteX136" fmla="*/ 3994003 w 4694471"/>
              <a:gd name="connsiteY136" fmla="*/ 3343710 h 6855583"/>
              <a:gd name="connsiteX137" fmla="*/ 4001805 w 4694471"/>
              <a:gd name="connsiteY137" fmla="*/ 3347410 h 6855583"/>
              <a:gd name="connsiteX138" fmla="*/ 4004771 w 4694471"/>
              <a:gd name="connsiteY138" fmla="*/ 3348524 h 6855583"/>
              <a:gd name="connsiteX139" fmla="*/ 4020801 w 4694471"/>
              <a:gd name="connsiteY139" fmla="*/ 3356422 h 6855583"/>
              <a:gd name="connsiteX140" fmla="*/ 4079119 w 4694471"/>
              <a:gd name="connsiteY140" fmla="*/ 3384083 h 6855583"/>
              <a:gd name="connsiteX141" fmla="*/ 4090003 w 4694471"/>
              <a:gd name="connsiteY141" fmla="*/ 3390510 h 6855583"/>
              <a:gd name="connsiteX142" fmla="*/ 4094957 w 4694471"/>
              <a:gd name="connsiteY142" fmla="*/ 3392950 h 6855583"/>
              <a:gd name="connsiteX143" fmla="*/ 4112351 w 4694471"/>
              <a:gd name="connsiteY143" fmla="*/ 3403709 h 6855583"/>
              <a:gd name="connsiteX144" fmla="*/ 4160286 w 4694471"/>
              <a:gd name="connsiteY144" fmla="*/ 3432019 h 6855583"/>
              <a:gd name="connsiteX145" fmla="*/ 4173870 w 4694471"/>
              <a:gd name="connsiteY145" fmla="*/ 3441758 h 6855583"/>
              <a:gd name="connsiteX146" fmla="*/ 4180562 w 4694471"/>
              <a:gd name="connsiteY146" fmla="*/ 3445896 h 6855583"/>
              <a:gd name="connsiteX147" fmla="*/ 4197126 w 4694471"/>
              <a:gd name="connsiteY147" fmla="*/ 3458431 h 6855583"/>
              <a:gd name="connsiteX148" fmla="*/ 4237129 w 4694471"/>
              <a:gd name="connsiteY148" fmla="*/ 3487112 h 6855583"/>
              <a:gd name="connsiteX149" fmla="*/ 4252979 w 4694471"/>
              <a:gd name="connsiteY149" fmla="*/ 3500699 h 6855583"/>
              <a:gd name="connsiteX150" fmla="*/ 4261138 w 4694471"/>
              <a:gd name="connsiteY150" fmla="*/ 3506870 h 6855583"/>
              <a:gd name="connsiteX151" fmla="*/ 4275993 w 4694471"/>
              <a:gd name="connsiteY151" fmla="*/ 3520422 h 6855583"/>
              <a:gd name="connsiteX152" fmla="*/ 4309284 w 4694471"/>
              <a:gd name="connsiteY152" fmla="*/ 3548954 h 6855583"/>
              <a:gd name="connsiteX153" fmla="*/ 4326916 w 4694471"/>
              <a:gd name="connsiteY153" fmla="*/ 3566877 h 6855583"/>
              <a:gd name="connsiteX154" fmla="*/ 4336234 w 4694471"/>
              <a:gd name="connsiteY154" fmla="*/ 3575376 h 6855583"/>
              <a:gd name="connsiteX155" fmla="*/ 4349015 w 4694471"/>
              <a:gd name="connsiteY155" fmla="*/ 3589336 h 6855583"/>
              <a:gd name="connsiteX156" fmla="*/ 4376377 w 4694471"/>
              <a:gd name="connsiteY156" fmla="*/ 3617142 h 6855583"/>
              <a:gd name="connsiteX157" fmla="*/ 4395261 w 4694471"/>
              <a:gd name="connsiteY157" fmla="*/ 3639845 h 6855583"/>
              <a:gd name="connsiteX158" fmla="*/ 4405403 w 4694471"/>
              <a:gd name="connsiteY158" fmla="*/ 3650923 h 6855583"/>
              <a:gd name="connsiteX159" fmla="*/ 4415995 w 4694471"/>
              <a:gd name="connsiteY159" fmla="*/ 3664770 h 6855583"/>
              <a:gd name="connsiteX160" fmla="*/ 4438037 w 4694471"/>
              <a:gd name="connsiteY160" fmla="*/ 3691269 h 6855583"/>
              <a:gd name="connsiteX161" fmla="*/ 4457599 w 4694471"/>
              <a:gd name="connsiteY161" fmla="*/ 3719164 h 6855583"/>
              <a:gd name="connsiteX162" fmla="*/ 4468193 w 4694471"/>
              <a:gd name="connsiteY162" fmla="*/ 3733015 h 6855583"/>
              <a:gd name="connsiteX163" fmla="*/ 4476623 w 4694471"/>
              <a:gd name="connsiteY163" fmla="*/ 3746294 h 6855583"/>
              <a:gd name="connsiteX164" fmla="*/ 4493900 w 4694471"/>
              <a:gd name="connsiteY164" fmla="*/ 3770927 h 6855583"/>
              <a:gd name="connsiteX165" fmla="*/ 4513522 w 4694471"/>
              <a:gd name="connsiteY165" fmla="*/ 3804408 h 6855583"/>
              <a:gd name="connsiteX166" fmla="*/ 4524158 w 4694471"/>
              <a:gd name="connsiteY166" fmla="*/ 3821161 h 6855583"/>
              <a:gd name="connsiteX167" fmla="*/ 4530550 w 4694471"/>
              <a:gd name="connsiteY167" fmla="*/ 3833462 h 6855583"/>
              <a:gd name="connsiteX168" fmla="*/ 4543589 w 4694471"/>
              <a:gd name="connsiteY168" fmla="*/ 3855710 h 6855583"/>
              <a:gd name="connsiteX169" fmla="*/ 4562617 w 4694471"/>
              <a:gd name="connsiteY169" fmla="*/ 3895180 h 6855583"/>
              <a:gd name="connsiteX170" fmla="*/ 4572847 w 4694471"/>
              <a:gd name="connsiteY170" fmla="*/ 3914866 h 6855583"/>
              <a:gd name="connsiteX171" fmla="*/ 4577389 w 4694471"/>
              <a:gd name="connsiteY171" fmla="*/ 3925819 h 6855583"/>
              <a:gd name="connsiteX172" fmla="*/ 4586740 w 4694471"/>
              <a:gd name="connsiteY172" fmla="*/ 3945212 h 6855583"/>
              <a:gd name="connsiteX173" fmla="*/ 4604487 w 4694471"/>
              <a:gd name="connsiteY173" fmla="*/ 3991153 h 6855583"/>
              <a:gd name="connsiteX174" fmla="*/ 4613813 w 4694471"/>
              <a:gd name="connsiteY174" fmla="*/ 4013638 h 6855583"/>
              <a:gd name="connsiteX175" fmla="*/ 4616753 w 4694471"/>
              <a:gd name="connsiteY175" fmla="*/ 4022906 h 6855583"/>
              <a:gd name="connsiteX176" fmla="*/ 4622981 w 4694471"/>
              <a:gd name="connsiteY176" fmla="*/ 4039027 h 6855583"/>
              <a:gd name="connsiteX177" fmla="*/ 4638724 w 4694471"/>
              <a:gd name="connsiteY177" fmla="*/ 4092151 h 6855583"/>
              <a:gd name="connsiteX178" fmla="*/ 4646603 w 4694471"/>
              <a:gd name="connsiteY178" fmla="*/ 4116982 h 6855583"/>
              <a:gd name="connsiteX179" fmla="*/ 4648243 w 4694471"/>
              <a:gd name="connsiteY179" fmla="*/ 4124267 h 6855583"/>
              <a:gd name="connsiteX180" fmla="*/ 4651941 w 4694471"/>
              <a:gd name="connsiteY180" fmla="*/ 4136749 h 6855583"/>
              <a:gd name="connsiteX181" fmla="*/ 4664931 w 4694471"/>
              <a:gd name="connsiteY181" fmla="*/ 4198450 h 6855583"/>
              <a:gd name="connsiteX182" fmla="*/ 4665187 w 4694471"/>
              <a:gd name="connsiteY182" fmla="*/ 4199586 h 6855583"/>
              <a:gd name="connsiteX183" fmla="*/ 4666897 w 4694471"/>
              <a:gd name="connsiteY183" fmla="*/ 4199586 h 6855583"/>
              <a:gd name="connsiteX184" fmla="*/ 4672481 w 4694471"/>
              <a:gd name="connsiteY184" fmla="*/ 4229994 h 6855583"/>
              <a:gd name="connsiteX185" fmla="*/ 4673165 w 4694471"/>
              <a:gd name="connsiteY185" fmla="*/ 4236155 h 6855583"/>
              <a:gd name="connsiteX186" fmla="*/ 4674963 w 4694471"/>
              <a:gd name="connsiteY186" fmla="*/ 4246612 h 6855583"/>
              <a:gd name="connsiteX187" fmla="*/ 4684421 w 4694471"/>
              <a:gd name="connsiteY187" fmla="*/ 4337551 h 6855583"/>
              <a:gd name="connsiteX188" fmla="*/ 4687579 w 4694471"/>
              <a:gd name="connsiteY188" fmla="*/ 4365998 h 6855583"/>
              <a:gd name="connsiteX189" fmla="*/ 4687689 w 4694471"/>
              <a:gd name="connsiteY189" fmla="*/ 4368991 h 6855583"/>
              <a:gd name="connsiteX190" fmla="*/ 4688255 w 4694471"/>
              <a:gd name="connsiteY190" fmla="*/ 4374414 h 6855583"/>
              <a:gd name="connsiteX191" fmla="*/ 4690473 w 4694471"/>
              <a:gd name="connsiteY191" fmla="*/ 4437487 h 6855583"/>
              <a:gd name="connsiteX192" fmla="*/ 4693177 w 4694471"/>
              <a:gd name="connsiteY192" fmla="*/ 4437487 h 6855583"/>
              <a:gd name="connsiteX193" fmla="*/ 4693177 w 4694471"/>
              <a:gd name="connsiteY193" fmla="*/ 4495636 h 6855583"/>
              <a:gd name="connsiteX194" fmla="*/ 4693177 w 4694471"/>
              <a:gd name="connsiteY194" fmla="*/ 4514355 h 6855583"/>
              <a:gd name="connsiteX195" fmla="*/ 4693177 w 4694471"/>
              <a:gd name="connsiteY195" fmla="*/ 4514790 h 6855583"/>
              <a:gd name="connsiteX196" fmla="*/ 4693177 w 4694471"/>
              <a:gd name="connsiteY196" fmla="*/ 4514792 h 6855583"/>
              <a:gd name="connsiteX197" fmla="*/ 4694471 w 4694471"/>
              <a:gd name="connsiteY197" fmla="*/ 4514792 h 6855583"/>
              <a:gd name="connsiteX198" fmla="*/ 4694471 w 4694471"/>
              <a:gd name="connsiteY198" fmla="*/ 4623176 h 6855583"/>
              <a:gd name="connsiteX199" fmla="*/ 4694471 w 4694471"/>
              <a:gd name="connsiteY199" fmla="*/ 4794177 h 6855583"/>
              <a:gd name="connsiteX200" fmla="*/ 4694471 w 4694471"/>
              <a:gd name="connsiteY200" fmla="*/ 4907381 h 6855583"/>
              <a:gd name="connsiteX201" fmla="*/ 4694471 w 4694471"/>
              <a:gd name="connsiteY201" fmla="*/ 5379129 h 6855583"/>
              <a:gd name="connsiteX202" fmla="*/ 4694471 w 4694471"/>
              <a:gd name="connsiteY202" fmla="*/ 5405390 h 6855583"/>
              <a:gd name="connsiteX203" fmla="*/ 4694471 w 4694471"/>
              <a:gd name="connsiteY203" fmla="*/ 5502425 h 6855583"/>
              <a:gd name="connsiteX204" fmla="*/ 4694471 w 4694471"/>
              <a:gd name="connsiteY204" fmla="*/ 5529139 h 6855583"/>
              <a:gd name="connsiteX205" fmla="*/ 4694471 w 4694471"/>
              <a:gd name="connsiteY205" fmla="*/ 5598155 h 6855583"/>
              <a:gd name="connsiteX206" fmla="*/ 4694471 w 4694471"/>
              <a:gd name="connsiteY206" fmla="*/ 5657026 h 6855583"/>
              <a:gd name="connsiteX207" fmla="*/ 4694471 w 4694471"/>
              <a:gd name="connsiteY207" fmla="*/ 5725229 h 6855583"/>
              <a:gd name="connsiteX208" fmla="*/ 4694471 w 4694471"/>
              <a:gd name="connsiteY208" fmla="*/ 5785115 h 6855583"/>
              <a:gd name="connsiteX209" fmla="*/ 4693189 w 4694471"/>
              <a:gd name="connsiteY209" fmla="*/ 5785115 h 6855583"/>
              <a:gd name="connsiteX210" fmla="*/ 4693189 w 4694471"/>
              <a:gd name="connsiteY210" fmla="*/ 6709336 h 6855583"/>
              <a:gd name="connsiteX211" fmla="*/ 4693189 w 4694471"/>
              <a:gd name="connsiteY211" fmla="*/ 6855583 h 6855583"/>
              <a:gd name="connsiteX212" fmla="*/ 4620412 w 4694471"/>
              <a:gd name="connsiteY212" fmla="*/ 6855583 h 6855583"/>
              <a:gd name="connsiteX213" fmla="*/ 3976799 w 4694471"/>
              <a:gd name="connsiteY213" fmla="*/ 6855583 h 6855583"/>
              <a:gd name="connsiteX214" fmla="*/ 3927731 w 4694471"/>
              <a:gd name="connsiteY214" fmla="*/ 6855583 h 6855583"/>
              <a:gd name="connsiteX215" fmla="*/ 3904023 w 4694471"/>
              <a:gd name="connsiteY215" fmla="*/ 6855583 h 6855583"/>
              <a:gd name="connsiteX216" fmla="*/ 3854954 w 4694471"/>
              <a:gd name="connsiteY216" fmla="*/ 6855583 h 6855583"/>
              <a:gd name="connsiteX217" fmla="*/ 3734645 w 4694471"/>
              <a:gd name="connsiteY217" fmla="*/ 6855583 h 6855583"/>
              <a:gd name="connsiteX218" fmla="*/ 3661868 w 4694471"/>
              <a:gd name="connsiteY218" fmla="*/ 6855583 h 6855583"/>
              <a:gd name="connsiteX219" fmla="*/ 3610218 w 4694471"/>
              <a:gd name="connsiteY219" fmla="*/ 6855583 h 6855583"/>
              <a:gd name="connsiteX220" fmla="*/ 3609578 w 4694471"/>
              <a:gd name="connsiteY220" fmla="*/ 6855583 h 6855583"/>
              <a:gd name="connsiteX221" fmla="*/ 3609569 w 4694471"/>
              <a:gd name="connsiteY221" fmla="*/ 6855583 h 6855583"/>
              <a:gd name="connsiteX222" fmla="*/ 3609558 w 4694471"/>
              <a:gd name="connsiteY222" fmla="*/ 6855583 h 6855583"/>
              <a:gd name="connsiteX223" fmla="*/ 3559339 w 4694471"/>
              <a:gd name="connsiteY223" fmla="*/ 6855583 h 6855583"/>
              <a:gd name="connsiteX224" fmla="*/ 3558661 w 4694471"/>
              <a:gd name="connsiteY224" fmla="*/ 6855583 h 6855583"/>
              <a:gd name="connsiteX225" fmla="*/ 3537440 w 4694471"/>
              <a:gd name="connsiteY225" fmla="*/ 6855583 h 6855583"/>
              <a:gd name="connsiteX226" fmla="*/ 3536802 w 4694471"/>
              <a:gd name="connsiteY226" fmla="*/ 6855583 h 6855583"/>
              <a:gd name="connsiteX227" fmla="*/ 3536793 w 4694471"/>
              <a:gd name="connsiteY227" fmla="*/ 6855583 h 6855583"/>
              <a:gd name="connsiteX228" fmla="*/ 3536782 w 4694471"/>
              <a:gd name="connsiteY228" fmla="*/ 6855583 h 6855583"/>
              <a:gd name="connsiteX229" fmla="*/ 3485884 w 4694471"/>
              <a:gd name="connsiteY229" fmla="*/ 6855583 h 6855583"/>
              <a:gd name="connsiteX230" fmla="*/ 3211343 w 4694471"/>
              <a:gd name="connsiteY230" fmla="*/ 6855583 h 6855583"/>
              <a:gd name="connsiteX231" fmla="*/ 3138565 w 4694471"/>
              <a:gd name="connsiteY231" fmla="*/ 6855583 h 6855583"/>
              <a:gd name="connsiteX232" fmla="*/ 3018255 w 4694471"/>
              <a:gd name="connsiteY232" fmla="*/ 6855583 h 6855583"/>
              <a:gd name="connsiteX233" fmla="*/ 2969187 w 4694471"/>
              <a:gd name="connsiteY233" fmla="*/ 6855583 h 6855583"/>
              <a:gd name="connsiteX234" fmla="*/ 2945479 w 4694471"/>
              <a:gd name="connsiteY234" fmla="*/ 6855583 h 6855583"/>
              <a:gd name="connsiteX235" fmla="*/ 2896410 w 4694471"/>
              <a:gd name="connsiteY235" fmla="*/ 6855583 h 6855583"/>
              <a:gd name="connsiteX236" fmla="*/ 2893829 w 4694471"/>
              <a:gd name="connsiteY236" fmla="*/ 6855583 h 6855583"/>
              <a:gd name="connsiteX237" fmla="*/ 2893189 w 4694471"/>
              <a:gd name="connsiteY237" fmla="*/ 6855583 h 6855583"/>
              <a:gd name="connsiteX238" fmla="*/ 2893179 w 4694471"/>
              <a:gd name="connsiteY238" fmla="*/ 6855583 h 6855583"/>
              <a:gd name="connsiteX239" fmla="*/ 2893168 w 4694471"/>
              <a:gd name="connsiteY239" fmla="*/ 6855583 h 6855583"/>
              <a:gd name="connsiteX240" fmla="*/ 2844760 w 4694471"/>
              <a:gd name="connsiteY240" fmla="*/ 6855583 h 6855583"/>
              <a:gd name="connsiteX241" fmla="*/ 2844120 w 4694471"/>
              <a:gd name="connsiteY241" fmla="*/ 6855583 h 6855583"/>
              <a:gd name="connsiteX242" fmla="*/ 2844111 w 4694471"/>
              <a:gd name="connsiteY242" fmla="*/ 6855583 h 6855583"/>
              <a:gd name="connsiteX243" fmla="*/ 2844100 w 4694471"/>
              <a:gd name="connsiteY243" fmla="*/ 6855583 h 6855583"/>
              <a:gd name="connsiteX244" fmla="*/ 2842271 w 4694471"/>
              <a:gd name="connsiteY244" fmla="*/ 6855583 h 6855583"/>
              <a:gd name="connsiteX245" fmla="*/ 2821051 w 4694471"/>
              <a:gd name="connsiteY245" fmla="*/ 6855583 h 6855583"/>
              <a:gd name="connsiteX246" fmla="*/ 2820413 w 4694471"/>
              <a:gd name="connsiteY246" fmla="*/ 6855583 h 6855583"/>
              <a:gd name="connsiteX247" fmla="*/ 2820403 w 4694471"/>
              <a:gd name="connsiteY247" fmla="*/ 6855583 h 6855583"/>
              <a:gd name="connsiteX248" fmla="*/ 2820392 w 4694471"/>
              <a:gd name="connsiteY248" fmla="*/ 6855583 h 6855583"/>
              <a:gd name="connsiteX249" fmla="*/ 2793202 w 4694471"/>
              <a:gd name="connsiteY249" fmla="*/ 6855583 h 6855583"/>
              <a:gd name="connsiteX250" fmla="*/ 2771983 w 4694471"/>
              <a:gd name="connsiteY250" fmla="*/ 6855583 h 6855583"/>
              <a:gd name="connsiteX251" fmla="*/ 2771344 w 4694471"/>
              <a:gd name="connsiteY251" fmla="*/ 6855583 h 6855583"/>
              <a:gd name="connsiteX252" fmla="*/ 2771334 w 4694471"/>
              <a:gd name="connsiteY252" fmla="*/ 6855583 h 6855583"/>
              <a:gd name="connsiteX253" fmla="*/ 2771323 w 4694471"/>
              <a:gd name="connsiteY253" fmla="*/ 6855583 h 6855583"/>
              <a:gd name="connsiteX254" fmla="*/ 2769494 w 4694471"/>
              <a:gd name="connsiteY254" fmla="*/ 6855583 h 6855583"/>
              <a:gd name="connsiteX255" fmla="*/ 2720426 w 4694471"/>
              <a:gd name="connsiteY255" fmla="*/ 6855583 h 6855583"/>
              <a:gd name="connsiteX256" fmla="*/ 2651674 w 4694471"/>
              <a:gd name="connsiteY256" fmla="*/ 6855583 h 6855583"/>
              <a:gd name="connsiteX257" fmla="*/ 2651034 w 4694471"/>
              <a:gd name="connsiteY257" fmla="*/ 6855583 h 6855583"/>
              <a:gd name="connsiteX258" fmla="*/ 2651025 w 4694471"/>
              <a:gd name="connsiteY258" fmla="*/ 6855583 h 6855583"/>
              <a:gd name="connsiteX259" fmla="*/ 2651014 w 4694471"/>
              <a:gd name="connsiteY259" fmla="*/ 6855583 h 6855583"/>
              <a:gd name="connsiteX260" fmla="*/ 2600795 w 4694471"/>
              <a:gd name="connsiteY260" fmla="*/ 6855583 h 6855583"/>
              <a:gd name="connsiteX261" fmla="*/ 2600117 w 4694471"/>
              <a:gd name="connsiteY261" fmla="*/ 6855583 h 6855583"/>
              <a:gd name="connsiteX262" fmla="*/ 2578896 w 4694471"/>
              <a:gd name="connsiteY262" fmla="*/ 6855583 h 6855583"/>
              <a:gd name="connsiteX263" fmla="*/ 2578258 w 4694471"/>
              <a:gd name="connsiteY263" fmla="*/ 6855583 h 6855583"/>
              <a:gd name="connsiteX264" fmla="*/ 2578249 w 4694471"/>
              <a:gd name="connsiteY264" fmla="*/ 6855583 h 6855583"/>
              <a:gd name="connsiteX265" fmla="*/ 2578238 w 4694471"/>
              <a:gd name="connsiteY265" fmla="*/ 6855583 h 6855583"/>
              <a:gd name="connsiteX266" fmla="*/ 2527340 w 4694471"/>
              <a:gd name="connsiteY266" fmla="*/ 6855583 h 6855583"/>
              <a:gd name="connsiteX267" fmla="*/ 2252799 w 4694471"/>
              <a:gd name="connsiteY267" fmla="*/ 6855583 h 6855583"/>
              <a:gd name="connsiteX268" fmla="*/ 2180021 w 4694471"/>
              <a:gd name="connsiteY268" fmla="*/ 6855583 h 6855583"/>
              <a:gd name="connsiteX269" fmla="*/ 2128371 w 4694471"/>
              <a:gd name="connsiteY269" fmla="*/ 6855583 h 6855583"/>
              <a:gd name="connsiteX270" fmla="*/ 2127731 w 4694471"/>
              <a:gd name="connsiteY270" fmla="*/ 6855583 h 6855583"/>
              <a:gd name="connsiteX271" fmla="*/ 2127721 w 4694471"/>
              <a:gd name="connsiteY271" fmla="*/ 6855583 h 6855583"/>
              <a:gd name="connsiteX272" fmla="*/ 2127710 w 4694471"/>
              <a:gd name="connsiteY272" fmla="*/ 6855583 h 6855583"/>
              <a:gd name="connsiteX273" fmla="*/ 2076812 w 4694471"/>
              <a:gd name="connsiteY273" fmla="*/ 6855583 h 6855583"/>
              <a:gd name="connsiteX274" fmla="*/ 2055593 w 4694471"/>
              <a:gd name="connsiteY274" fmla="*/ 6855583 h 6855583"/>
              <a:gd name="connsiteX275" fmla="*/ 2054955 w 4694471"/>
              <a:gd name="connsiteY275" fmla="*/ 6855583 h 6855583"/>
              <a:gd name="connsiteX276" fmla="*/ 2054944 w 4694471"/>
              <a:gd name="connsiteY276" fmla="*/ 6855583 h 6855583"/>
              <a:gd name="connsiteX277" fmla="*/ 2054933 w 4694471"/>
              <a:gd name="connsiteY277" fmla="*/ 6855583 h 6855583"/>
              <a:gd name="connsiteX278" fmla="*/ 2004036 w 4694471"/>
              <a:gd name="connsiteY278" fmla="*/ 6855583 h 6855583"/>
              <a:gd name="connsiteX279" fmla="*/ 1935285 w 4694471"/>
              <a:gd name="connsiteY279" fmla="*/ 6855583 h 6855583"/>
              <a:gd name="connsiteX280" fmla="*/ 1934645 w 4694471"/>
              <a:gd name="connsiteY280" fmla="*/ 6855583 h 6855583"/>
              <a:gd name="connsiteX281" fmla="*/ 1934635 w 4694471"/>
              <a:gd name="connsiteY281" fmla="*/ 6855583 h 6855583"/>
              <a:gd name="connsiteX282" fmla="*/ 1934624 w 4694471"/>
              <a:gd name="connsiteY282" fmla="*/ 6855583 h 6855583"/>
              <a:gd name="connsiteX283" fmla="*/ 1886216 w 4694471"/>
              <a:gd name="connsiteY283" fmla="*/ 6855583 h 6855583"/>
              <a:gd name="connsiteX284" fmla="*/ 1885576 w 4694471"/>
              <a:gd name="connsiteY284" fmla="*/ 6855583 h 6855583"/>
              <a:gd name="connsiteX285" fmla="*/ 1885567 w 4694471"/>
              <a:gd name="connsiteY285" fmla="*/ 6855583 h 6855583"/>
              <a:gd name="connsiteX286" fmla="*/ 1885556 w 4694471"/>
              <a:gd name="connsiteY286" fmla="*/ 6855583 h 6855583"/>
              <a:gd name="connsiteX287" fmla="*/ 1883727 w 4694471"/>
              <a:gd name="connsiteY287" fmla="*/ 6855583 h 6855583"/>
              <a:gd name="connsiteX288" fmla="*/ 1862507 w 4694471"/>
              <a:gd name="connsiteY288" fmla="*/ 6855583 h 6855583"/>
              <a:gd name="connsiteX289" fmla="*/ 1861869 w 4694471"/>
              <a:gd name="connsiteY289" fmla="*/ 6855583 h 6855583"/>
              <a:gd name="connsiteX290" fmla="*/ 1861859 w 4694471"/>
              <a:gd name="connsiteY290" fmla="*/ 6855583 h 6855583"/>
              <a:gd name="connsiteX291" fmla="*/ 1861848 w 4694471"/>
              <a:gd name="connsiteY291" fmla="*/ 6855583 h 6855583"/>
              <a:gd name="connsiteX292" fmla="*/ 1834658 w 4694471"/>
              <a:gd name="connsiteY292" fmla="*/ 6855583 h 6855583"/>
              <a:gd name="connsiteX293" fmla="*/ 1813439 w 4694471"/>
              <a:gd name="connsiteY293" fmla="*/ 6855583 h 6855583"/>
              <a:gd name="connsiteX294" fmla="*/ 1812800 w 4694471"/>
              <a:gd name="connsiteY294" fmla="*/ 6855583 h 6855583"/>
              <a:gd name="connsiteX295" fmla="*/ 1812790 w 4694471"/>
              <a:gd name="connsiteY295" fmla="*/ 6855583 h 6855583"/>
              <a:gd name="connsiteX296" fmla="*/ 1812779 w 4694471"/>
              <a:gd name="connsiteY296" fmla="*/ 6855583 h 6855583"/>
              <a:gd name="connsiteX297" fmla="*/ 1810950 w 4694471"/>
              <a:gd name="connsiteY297" fmla="*/ 6855583 h 6855583"/>
              <a:gd name="connsiteX298" fmla="*/ 1761882 w 4694471"/>
              <a:gd name="connsiteY298" fmla="*/ 6855583 h 6855583"/>
              <a:gd name="connsiteX299" fmla="*/ 1169827 w 4694471"/>
              <a:gd name="connsiteY299" fmla="*/ 6855583 h 6855583"/>
              <a:gd name="connsiteX300" fmla="*/ 1169187 w 4694471"/>
              <a:gd name="connsiteY300" fmla="*/ 6855583 h 6855583"/>
              <a:gd name="connsiteX301" fmla="*/ 1169177 w 4694471"/>
              <a:gd name="connsiteY301" fmla="*/ 6855583 h 6855583"/>
              <a:gd name="connsiteX302" fmla="*/ 1169166 w 4694471"/>
              <a:gd name="connsiteY302" fmla="*/ 6855583 h 6855583"/>
              <a:gd name="connsiteX303" fmla="*/ 1118268 w 4694471"/>
              <a:gd name="connsiteY303" fmla="*/ 6855583 h 6855583"/>
              <a:gd name="connsiteX304" fmla="*/ 1097049 w 4694471"/>
              <a:gd name="connsiteY304" fmla="*/ 6855583 h 6855583"/>
              <a:gd name="connsiteX305" fmla="*/ 1096411 w 4694471"/>
              <a:gd name="connsiteY305" fmla="*/ 6855583 h 6855583"/>
              <a:gd name="connsiteX306" fmla="*/ 1096400 w 4694471"/>
              <a:gd name="connsiteY306" fmla="*/ 6855583 h 6855583"/>
              <a:gd name="connsiteX307" fmla="*/ 1096389 w 4694471"/>
              <a:gd name="connsiteY307" fmla="*/ 6855583 h 6855583"/>
              <a:gd name="connsiteX308" fmla="*/ 1045492 w 4694471"/>
              <a:gd name="connsiteY308" fmla="*/ 6855583 h 6855583"/>
              <a:gd name="connsiteX309" fmla="*/ 961282 w 4694471"/>
              <a:gd name="connsiteY309" fmla="*/ 6855583 h 6855583"/>
              <a:gd name="connsiteX310" fmla="*/ 2738 w 4694471"/>
              <a:gd name="connsiteY310" fmla="*/ 6855583 h 6855583"/>
              <a:gd name="connsiteX311" fmla="*/ 2738 w 4694471"/>
              <a:gd name="connsiteY311" fmla="*/ 5657026 h 6855583"/>
              <a:gd name="connsiteX312" fmla="*/ 1722 w 4694471"/>
              <a:gd name="connsiteY312" fmla="*/ 5657026 h 6855583"/>
              <a:gd name="connsiteX313" fmla="*/ 1722 w 4694471"/>
              <a:gd name="connsiteY313" fmla="*/ 5612741 h 6855583"/>
              <a:gd name="connsiteX314" fmla="*/ 1722 w 4694471"/>
              <a:gd name="connsiteY314" fmla="*/ 5598486 h 6855583"/>
              <a:gd name="connsiteX315" fmla="*/ 1722 w 4694471"/>
              <a:gd name="connsiteY315" fmla="*/ 5598155 h 6855583"/>
              <a:gd name="connsiteX316" fmla="*/ 426 w 4694471"/>
              <a:gd name="connsiteY316" fmla="*/ 5598155 h 6855583"/>
              <a:gd name="connsiteX317" fmla="*/ 426 w 4694471"/>
              <a:gd name="connsiteY317" fmla="*/ 5405390 h 6855583"/>
              <a:gd name="connsiteX318" fmla="*/ 426 w 4694471"/>
              <a:gd name="connsiteY318" fmla="*/ 5379129 h 6855583"/>
              <a:gd name="connsiteX319" fmla="*/ 428 w 4694471"/>
              <a:gd name="connsiteY319" fmla="*/ 4794177 h 6855583"/>
              <a:gd name="connsiteX320" fmla="*/ 428 w 4694471"/>
              <a:gd name="connsiteY320" fmla="*/ 4514790 h 6855583"/>
              <a:gd name="connsiteX321" fmla="*/ 428 w 4694471"/>
              <a:gd name="connsiteY321" fmla="*/ 4437487 h 6855583"/>
              <a:gd name="connsiteX322" fmla="*/ 1710 w 4694471"/>
              <a:gd name="connsiteY322" fmla="*/ 4437487 h 6855583"/>
              <a:gd name="connsiteX323" fmla="*/ 1710 w 4694471"/>
              <a:gd name="connsiteY323" fmla="*/ 4199586 h 6855583"/>
              <a:gd name="connsiteX324" fmla="*/ 0 w 4694471"/>
              <a:gd name="connsiteY324" fmla="*/ 4199586 h 6855583"/>
              <a:gd name="connsiteX325" fmla="*/ 0 w 4694471"/>
              <a:gd name="connsiteY325" fmla="*/ 3265890 h 6855583"/>
              <a:gd name="connsiteX326" fmla="*/ 2738 w 4694471"/>
              <a:gd name="connsiteY326" fmla="*/ 3265890 h 6855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Lst>
            <a:rect l="l" t="t" r="r" b="b"/>
            <a:pathLst>
              <a:path w="4694471" h="6855583">
                <a:moveTo>
                  <a:pt x="2738" y="0"/>
                </a:moveTo>
                <a:lnTo>
                  <a:pt x="961282" y="0"/>
                </a:lnTo>
                <a:lnTo>
                  <a:pt x="1974639" y="0"/>
                </a:lnTo>
                <a:lnTo>
                  <a:pt x="2050909" y="0"/>
                </a:lnTo>
                <a:lnTo>
                  <a:pt x="2600795" y="0"/>
                </a:lnTo>
                <a:lnTo>
                  <a:pt x="2671049" y="0"/>
                </a:lnTo>
                <a:lnTo>
                  <a:pt x="2747320" y="0"/>
                </a:lnTo>
                <a:lnTo>
                  <a:pt x="2933183" y="0"/>
                </a:lnTo>
                <a:lnTo>
                  <a:pt x="3009453" y="0"/>
                </a:lnTo>
                <a:lnTo>
                  <a:pt x="3559339" y="0"/>
                </a:lnTo>
                <a:lnTo>
                  <a:pt x="3559339" y="1"/>
                </a:lnTo>
                <a:lnTo>
                  <a:pt x="3629003" y="1"/>
                </a:lnTo>
                <a:lnTo>
                  <a:pt x="3629584" y="1"/>
                </a:lnTo>
                <a:lnTo>
                  <a:pt x="3629593" y="0"/>
                </a:lnTo>
                <a:lnTo>
                  <a:pt x="3629603" y="1"/>
                </a:lnTo>
                <a:lnTo>
                  <a:pt x="3675909" y="1"/>
                </a:lnTo>
                <a:lnTo>
                  <a:pt x="3705273" y="1"/>
                </a:lnTo>
                <a:lnTo>
                  <a:pt x="3705854" y="1"/>
                </a:lnTo>
                <a:lnTo>
                  <a:pt x="3705864" y="0"/>
                </a:lnTo>
                <a:lnTo>
                  <a:pt x="3705872" y="1"/>
                </a:lnTo>
                <a:lnTo>
                  <a:pt x="3752180" y="1"/>
                </a:lnTo>
                <a:lnTo>
                  <a:pt x="3752180" y="2441"/>
                </a:lnTo>
                <a:lnTo>
                  <a:pt x="3799909" y="4925"/>
                </a:lnTo>
                <a:lnTo>
                  <a:pt x="3802804" y="5380"/>
                </a:lnTo>
                <a:lnTo>
                  <a:pt x="3806663" y="5593"/>
                </a:lnTo>
                <a:cubicBezTo>
                  <a:pt x="3864922" y="12094"/>
                  <a:pt x="3921679" y="24167"/>
                  <a:pt x="3976490" y="41323"/>
                </a:cubicBezTo>
                <a:lnTo>
                  <a:pt x="3980485" y="42781"/>
                </a:lnTo>
                <a:lnTo>
                  <a:pt x="3981173" y="42964"/>
                </a:lnTo>
                <a:lnTo>
                  <a:pt x="3988028" y="45538"/>
                </a:lnTo>
                <a:lnTo>
                  <a:pt x="4057188" y="70802"/>
                </a:lnTo>
                <a:lnTo>
                  <a:pt x="4064286" y="74169"/>
                </a:lnTo>
                <a:lnTo>
                  <a:pt x="4066984" y="75182"/>
                </a:lnTo>
                <a:lnTo>
                  <a:pt x="4081569" y="82367"/>
                </a:lnTo>
                <a:lnTo>
                  <a:pt x="4134626" y="107533"/>
                </a:lnTo>
                <a:lnTo>
                  <a:pt x="4144529" y="113381"/>
                </a:lnTo>
                <a:lnTo>
                  <a:pt x="4149036" y="115600"/>
                </a:lnTo>
                <a:lnTo>
                  <a:pt x="4164861" y="125388"/>
                </a:lnTo>
                <a:lnTo>
                  <a:pt x="4208472" y="151145"/>
                </a:lnTo>
                <a:lnTo>
                  <a:pt x="4220829" y="160005"/>
                </a:lnTo>
                <a:lnTo>
                  <a:pt x="4226920" y="163770"/>
                </a:lnTo>
                <a:lnTo>
                  <a:pt x="4241989" y="175174"/>
                </a:lnTo>
                <a:lnTo>
                  <a:pt x="4278383" y="201267"/>
                </a:lnTo>
                <a:lnTo>
                  <a:pt x="4292804" y="213629"/>
                </a:lnTo>
                <a:lnTo>
                  <a:pt x="4300227" y="219244"/>
                </a:lnTo>
                <a:lnTo>
                  <a:pt x="4313741" y="231573"/>
                </a:lnTo>
                <a:lnTo>
                  <a:pt x="4344028" y="257532"/>
                </a:lnTo>
                <a:lnTo>
                  <a:pt x="4360072" y="273838"/>
                </a:lnTo>
                <a:lnTo>
                  <a:pt x="4368549" y="281570"/>
                </a:lnTo>
                <a:lnTo>
                  <a:pt x="4380176" y="294271"/>
                </a:lnTo>
                <a:lnTo>
                  <a:pt x="4405069" y="319569"/>
                </a:lnTo>
                <a:lnTo>
                  <a:pt x="4422252" y="340225"/>
                </a:lnTo>
                <a:lnTo>
                  <a:pt x="4431478" y="350303"/>
                </a:lnTo>
                <a:lnTo>
                  <a:pt x="4441115" y="362902"/>
                </a:lnTo>
                <a:lnTo>
                  <a:pt x="4461169" y="387010"/>
                </a:lnTo>
                <a:lnTo>
                  <a:pt x="4478966" y="412388"/>
                </a:lnTo>
                <a:lnTo>
                  <a:pt x="4488605" y="424989"/>
                </a:lnTo>
                <a:lnTo>
                  <a:pt x="4496275" y="437070"/>
                </a:lnTo>
                <a:lnTo>
                  <a:pt x="4511991" y="459481"/>
                </a:lnTo>
                <a:lnTo>
                  <a:pt x="4529843" y="489942"/>
                </a:lnTo>
                <a:lnTo>
                  <a:pt x="4539521" y="505184"/>
                </a:lnTo>
                <a:lnTo>
                  <a:pt x="4545336" y="516375"/>
                </a:lnTo>
                <a:lnTo>
                  <a:pt x="4557199" y="536617"/>
                </a:lnTo>
                <a:lnTo>
                  <a:pt x="4574510" y="572526"/>
                </a:lnTo>
                <a:lnTo>
                  <a:pt x="4583819" y="590437"/>
                </a:lnTo>
                <a:lnTo>
                  <a:pt x="4587950" y="600402"/>
                </a:lnTo>
                <a:lnTo>
                  <a:pt x="4596457" y="618045"/>
                </a:lnTo>
                <a:lnTo>
                  <a:pt x="4612602" y="659843"/>
                </a:lnTo>
                <a:lnTo>
                  <a:pt x="4621089" y="680300"/>
                </a:lnTo>
                <a:lnTo>
                  <a:pt x="4623764" y="688731"/>
                </a:lnTo>
                <a:lnTo>
                  <a:pt x="4629429" y="703398"/>
                </a:lnTo>
                <a:lnTo>
                  <a:pt x="4643753" y="751729"/>
                </a:lnTo>
                <a:lnTo>
                  <a:pt x="4650921" y="774321"/>
                </a:lnTo>
                <a:lnTo>
                  <a:pt x="4652412" y="780948"/>
                </a:lnTo>
                <a:lnTo>
                  <a:pt x="4655777" y="792304"/>
                </a:lnTo>
                <a:lnTo>
                  <a:pt x="4667595" y="848440"/>
                </a:lnTo>
                <a:lnTo>
                  <a:pt x="4667828" y="849474"/>
                </a:lnTo>
                <a:lnTo>
                  <a:pt x="4669385" y="849474"/>
                </a:lnTo>
                <a:lnTo>
                  <a:pt x="4674465" y="877139"/>
                </a:lnTo>
                <a:lnTo>
                  <a:pt x="4675087" y="882743"/>
                </a:lnTo>
                <a:lnTo>
                  <a:pt x="4676722" y="892259"/>
                </a:lnTo>
                <a:lnTo>
                  <a:pt x="4685327" y="974994"/>
                </a:lnTo>
                <a:lnTo>
                  <a:pt x="4688200" y="1000874"/>
                </a:lnTo>
                <a:lnTo>
                  <a:pt x="4688301" y="1003598"/>
                </a:lnTo>
                <a:lnTo>
                  <a:pt x="4688815" y="1008533"/>
                </a:lnTo>
                <a:lnTo>
                  <a:pt x="4690833" y="1065916"/>
                </a:lnTo>
                <a:lnTo>
                  <a:pt x="4693293" y="1065916"/>
                </a:lnTo>
                <a:lnTo>
                  <a:pt x="4693293" y="1118819"/>
                </a:lnTo>
                <a:lnTo>
                  <a:pt x="4693293" y="1135849"/>
                </a:lnTo>
                <a:lnTo>
                  <a:pt x="4693293" y="1136246"/>
                </a:lnTo>
                <a:lnTo>
                  <a:pt x="4693293" y="1136247"/>
                </a:lnTo>
                <a:lnTo>
                  <a:pt x="4694471" y="1136247"/>
                </a:lnTo>
                <a:lnTo>
                  <a:pt x="4694471" y="1234853"/>
                </a:lnTo>
                <a:lnTo>
                  <a:pt x="4694471" y="1390429"/>
                </a:lnTo>
                <a:lnTo>
                  <a:pt x="4694471" y="1493422"/>
                </a:lnTo>
                <a:lnTo>
                  <a:pt x="4694471" y="1922616"/>
                </a:lnTo>
                <a:lnTo>
                  <a:pt x="4694471" y="1946509"/>
                </a:lnTo>
                <a:lnTo>
                  <a:pt x="4694471" y="2034790"/>
                </a:lnTo>
                <a:lnTo>
                  <a:pt x="4694471" y="2059094"/>
                </a:lnTo>
                <a:lnTo>
                  <a:pt x="4694471" y="2121885"/>
                </a:lnTo>
                <a:lnTo>
                  <a:pt x="4694471" y="2175446"/>
                </a:lnTo>
                <a:lnTo>
                  <a:pt x="4694471" y="2237497"/>
                </a:lnTo>
                <a:lnTo>
                  <a:pt x="4694471" y="2291981"/>
                </a:lnTo>
                <a:lnTo>
                  <a:pt x="4693305" y="2291981"/>
                </a:lnTo>
                <a:lnTo>
                  <a:pt x="4693305" y="3132833"/>
                </a:lnTo>
                <a:lnTo>
                  <a:pt x="4693305" y="3265888"/>
                </a:lnTo>
                <a:lnTo>
                  <a:pt x="4627092" y="3265888"/>
                </a:lnTo>
                <a:lnTo>
                  <a:pt x="3996894" y="3265888"/>
                </a:lnTo>
                <a:lnTo>
                  <a:pt x="3930683" y="3265888"/>
                </a:lnTo>
                <a:lnTo>
                  <a:pt x="3734761" y="3265888"/>
                </a:lnTo>
                <a:lnTo>
                  <a:pt x="3708022" y="3265888"/>
                </a:lnTo>
                <a:lnTo>
                  <a:pt x="3707441" y="3265888"/>
                </a:lnTo>
                <a:lnTo>
                  <a:pt x="3707431" y="3265888"/>
                </a:lnTo>
                <a:lnTo>
                  <a:pt x="3707422" y="3265888"/>
                </a:lnTo>
                <a:lnTo>
                  <a:pt x="3668548" y="3265888"/>
                </a:lnTo>
                <a:lnTo>
                  <a:pt x="3661115" y="3265888"/>
                </a:lnTo>
                <a:lnTo>
                  <a:pt x="3641811" y="3265888"/>
                </a:lnTo>
                <a:lnTo>
                  <a:pt x="3641229" y="3265888"/>
                </a:lnTo>
                <a:lnTo>
                  <a:pt x="3641220" y="3265888"/>
                </a:lnTo>
                <a:lnTo>
                  <a:pt x="3641210" y="3265888"/>
                </a:lnTo>
                <a:lnTo>
                  <a:pt x="3594904" y="3265888"/>
                </a:lnTo>
                <a:lnTo>
                  <a:pt x="3559339" y="3265888"/>
                </a:lnTo>
                <a:lnTo>
                  <a:pt x="3559339" y="3265890"/>
                </a:lnTo>
                <a:lnTo>
                  <a:pt x="3574921" y="3265890"/>
                </a:lnTo>
                <a:lnTo>
                  <a:pt x="3607197" y="3265890"/>
                </a:lnTo>
                <a:lnTo>
                  <a:pt x="3607836" y="3265890"/>
                </a:lnTo>
                <a:lnTo>
                  <a:pt x="3607845" y="3265889"/>
                </a:lnTo>
                <a:lnTo>
                  <a:pt x="3607855" y="3265890"/>
                </a:lnTo>
                <a:lnTo>
                  <a:pt x="3658753" y="3265890"/>
                </a:lnTo>
                <a:lnTo>
                  <a:pt x="3658753" y="3268571"/>
                </a:lnTo>
                <a:lnTo>
                  <a:pt x="3711215" y="3271301"/>
                </a:lnTo>
                <a:lnTo>
                  <a:pt x="3714398" y="3271802"/>
                </a:lnTo>
                <a:lnTo>
                  <a:pt x="3718640" y="3272037"/>
                </a:lnTo>
                <a:cubicBezTo>
                  <a:pt x="3782673" y="3279182"/>
                  <a:pt x="3845058" y="3292453"/>
                  <a:pt x="3905304" y="3311308"/>
                </a:cubicBezTo>
                <a:lnTo>
                  <a:pt x="3909694" y="3312912"/>
                </a:lnTo>
                <a:lnTo>
                  <a:pt x="3910452" y="3313112"/>
                </a:lnTo>
                <a:lnTo>
                  <a:pt x="3917986" y="3315942"/>
                </a:lnTo>
                <a:lnTo>
                  <a:pt x="3994003" y="3343710"/>
                </a:lnTo>
                <a:lnTo>
                  <a:pt x="4001805" y="3347410"/>
                </a:lnTo>
                <a:lnTo>
                  <a:pt x="4004771" y="3348524"/>
                </a:lnTo>
                <a:lnTo>
                  <a:pt x="4020801" y="3356422"/>
                </a:lnTo>
                <a:lnTo>
                  <a:pt x="4079119" y="3384083"/>
                </a:lnTo>
                <a:lnTo>
                  <a:pt x="4090003" y="3390510"/>
                </a:lnTo>
                <a:lnTo>
                  <a:pt x="4094957" y="3392950"/>
                </a:lnTo>
                <a:lnTo>
                  <a:pt x="4112351" y="3403709"/>
                </a:lnTo>
                <a:lnTo>
                  <a:pt x="4160286" y="3432019"/>
                </a:lnTo>
                <a:lnTo>
                  <a:pt x="4173870" y="3441758"/>
                </a:lnTo>
                <a:lnTo>
                  <a:pt x="4180562" y="3445896"/>
                </a:lnTo>
                <a:lnTo>
                  <a:pt x="4197126" y="3458431"/>
                </a:lnTo>
                <a:lnTo>
                  <a:pt x="4237129" y="3487112"/>
                </a:lnTo>
                <a:lnTo>
                  <a:pt x="4252979" y="3500699"/>
                </a:lnTo>
                <a:lnTo>
                  <a:pt x="4261138" y="3506870"/>
                </a:lnTo>
                <a:lnTo>
                  <a:pt x="4275993" y="3520422"/>
                </a:lnTo>
                <a:lnTo>
                  <a:pt x="4309284" y="3548954"/>
                </a:lnTo>
                <a:lnTo>
                  <a:pt x="4326916" y="3566877"/>
                </a:lnTo>
                <a:lnTo>
                  <a:pt x="4336234" y="3575376"/>
                </a:lnTo>
                <a:lnTo>
                  <a:pt x="4349015" y="3589336"/>
                </a:lnTo>
                <a:lnTo>
                  <a:pt x="4376377" y="3617142"/>
                </a:lnTo>
                <a:lnTo>
                  <a:pt x="4395261" y="3639845"/>
                </a:lnTo>
                <a:lnTo>
                  <a:pt x="4405403" y="3650923"/>
                </a:lnTo>
                <a:lnTo>
                  <a:pt x="4415995" y="3664770"/>
                </a:lnTo>
                <a:lnTo>
                  <a:pt x="4438037" y="3691269"/>
                </a:lnTo>
                <a:lnTo>
                  <a:pt x="4457599" y="3719164"/>
                </a:lnTo>
                <a:lnTo>
                  <a:pt x="4468193" y="3733015"/>
                </a:lnTo>
                <a:lnTo>
                  <a:pt x="4476623" y="3746294"/>
                </a:lnTo>
                <a:lnTo>
                  <a:pt x="4493900" y="3770927"/>
                </a:lnTo>
                <a:lnTo>
                  <a:pt x="4513522" y="3804408"/>
                </a:lnTo>
                <a:lnTo>
                  <a:pt x="4524158" y="3821161"/>
                </a:lnTo>
                <a:lnTo>
                  <a:pt x="4530550" y="3833462"/>
                </a:lnTo>
                <a:lnTo>
                  <a:pt x="4543589" y="3855710"/>
                </a:lnTo>
                <a:lnTo>
                  <a:pt x="4562617" y="3895180"/>
                </a:lnTo>
                <a:lnTo>
                  <a:pt x="4572847" y="3914866"/>
                </a:lnTo>
                <a:lnTo>
                  <a:pt x="4577389" y="3925819"/>
                </a:lnTo>
                <a:lnTo>
                  <a:pt x="4586740" y="3945212"/>
                </a:lnTo>
                <a:lnTo>
                  <a:pt x="4604487" y="3991153"/>
                </a:lnTo>
                <a:lnTo>
                  <a:pt x="4613813" y="4013638"/>
                </a:lnTo>
                <a:lnTo>
                  <a:pt x="4616753" y="4022906"/>
                </a:lnTo>
                <a:lnTo>
                  <a:pt x="4622981" y="4039027"/>
                </a:lnTo>
                <a:lnTo>
                  <a:pt x="4638724" y="4092151"/>
                </a:lnTo>
                <a:lnTo>
                  <a:pt x="4646603" y="4116982"/>
                </a:lnTo>
                <a:lnTo>
                  <a:pt x="4648243" y="4124267"/>
                </a:lnTo>
                <a:lnTo>
                  <a:pt x="4651941" y="4136749"/>
                </a:lnTo>
                <a:lnTo>
                  <a:pt x="4664931" y="4198450"/>
                </a:lnTo>
                <a:lnTo>
                  <a:pt x="4665187" y="4199586"/>
                </a:lnTo>
                <a:lnTo>
                  <a:pt x="4666897" y="4199586"/>
                </a:lnTo>
                <a:lnTo>
                  <a:pt x="4672481" y="4229994"/>
                </a:lnTo>
                <a:lnTo>
                  <a:pt x="4673165" y="4236155"/>
                </a:lnTo>
                <a:lnTo>
                  <a:pt x="4674963" y="4246612"/>
                </a:lnTo>
                <a:lnTo>
                  <a:pt x="4684421" y="4337551"/>
                </a:lnTo>
                <a:lnTo>
                  <a:pt x="4687579" y="4365998"/>
                </a:lnTo>
                <a:lnTo>
                  <a:pt x="4687689" y="4368991"/>
                </a:lnTo>
                <a:lnTo>
                  <a:pt x="4688255" y="4374414"/>
                </a:lnTo>
                <a:lnTo>
                  <a:pt x="4690473" y="4437487"/>
                </a:lnTo>
                <a:lnTo>
                  <a:pt x="4693177" y="4437487"/>
                </a:lnTo>
                <a:lnTo>
                  <a:pt x="4693177" y="4495636"/>
                </a:lnTo>
                <a:lnTo>
                  <a:pt x="4693177" y="4514355"/>
                </a:lnTo>
                <a:lnTo>
                  <a:pt x="4693177" y="4514790"/>
                </a:lnTo>
                <a:lnTo>
                  <a:pt x="4693177" y="4514792"/>
                </a:lnTo>
                <a:lnTo>
                  <a:pt x="4694471" y="4514792"/>
                </a:lnTo>
                <a:lnTo>
                  <a:pt x="4694471" y="4623176"/>
                </a:lnTo>
                <a:lnTo>
                  <a:pt x="4694471" y="4794177"/>
                </a:lnTo>
                <a:lnTo>
                  <a:pt x="4694471" y="4907381"/>
                </a:lnTo>
                <a:lnTo>
                  <a:pt x="4694471" y="5379129"/>
                </a:lnTo>
                <a:lnTo>
                  <a:pt x="4694471" y="5405390"/>
                </a:lnTo>
                <a:lnTo>
                  <a:pt x="4694471" y="5502425"/>
                </a:lnTo>
                <a:lnTo>
                  <a:pt x="4694471" y="5529139"/>
                </a:lnTo>
                <a:lnTo>
                  <a:pt x="4694471" y="5598155"/>
                </a:lnTo>
                <a:lnTo>
                  <a:pt x="4694471" y="5657026"/>
                </a:lnTo>
                <a:lnTo>
                  <a:pt x="4694471" y="5725229"/>
                </a:lnTo>
                <a:lnTo>
                  <a:pt x="4694471" y="5785115"/>
                </a:lnTo>
                <a:lnTo>
                  <a:pt x="4693189" y="5785115"/>
                </a:lnTo>
                <a:lnTo>
                  <a:pt x="4693189" y="6709336"/>
                </a:lnTo>
                <a:lnTo>
                  <a:pt x="4693189" y="6855583"/>
                </a:lnTo>
                <a:lnTo>
                  <a:pt x="4620412" y="6855583"/>
                </a:lnTo>
                <a:lnTo>
                  <a:pt x="3976799" y="6855583"/>
                </a:lnTo>
                <a:lnTo>
                  <a:pt x="3927731" y="6855583"/>
                </a:lnTo>
                <a:lnTo>
                  <a:pt x="3904023" y="6855583"/>
                </a:lnTo>
                <a:lnTo>
                  <a:pt x="3854954" y="6855583"/>
                </a:lnTo>
                <a:lnTo>
                  <a:pt x="3734645" y="6855583"/>
                </a:lnTo>
                <a:lnTo>
                  <a:pt x="3661868" y="6855583"/>
                </a:lnTo>
                <a:lnTo>
                  <a:pt x="3610218" y="6855583"/>
                </a:lnTo>
                <a:lnTo>
                  <a:pt x="3609578" y="6855583"/>
                </a:lnTo>
                <a:lnTo>
                  <a:pt x="3609569" y="6855583"/>
                </a:lnTo>
                <a:lnTo>
                  <a:pt x="3609558" y="6855583"/>
                </a:lnTo>
                <a:lnTo>
                  <a:pt x="3559339" y="6855583"/>
                </a:lnTo>
                <a:lnTo>
                  <a:pt x="3558661" y="6855583"/>
                </a:lnTo>
                <a:lnTo>
                  <a:pt x="3537440" y="6855583"/>
                </a:lnTo>
                <a:lnTo>
                  <a:pt x="3536802" y="6855583"/>
                </a:lnTo>
                <a:lnTo>
                  <a:pt x="3536793" y="6855583"/>
                </a:lnTo>
                <a:lnTo>
                  <a:pt x="3536782" y="6855583"/>
                </a:lnTo>
                <a:lnTo>
                  <a:pt x="3485884" y="6855583"/>
                </a:lnTo>
                <a:lnTo>
                  <a:pt x="3211343" y="6855583"/>
                </a:lnTo>
                <a:lnTo>
                  <a:pt x="3138565" y="6855583"/>
                </a:lnTo>
                <a:lnTo>
                  <a:pt x="3018255" y="6855583"/>
                </a:lnTo>
                <a:lnTo>
                  <a:pt x="2969187" y="6855583"/>
                </a:lnTo>
                <a:lnTo>
                  <a:pt x="2945479" y="6855583"/>
                </a:lnTo>
                <a:lnTo>
                  <a:pt x="2896410" y="6855583"/>
                </a:lnTo>
                <a:lnTo>
                  <a:pt x="2893829" y="6855583"/>
                </a:lnTo>
                <a:lnTo>
                  <a:pt x="2893189" y="6855583"/>
                </a:lnTo>
                <a:lnTo>
                  <a:pt x="2893179" y="6855583"/>
                </a:lnTo>
                <a:lnTo>
                  <a:pt x="2893168" y="6855583"/>
                </a:lnTo>
                <a:lnTo>
                  <a:pt x="2844760" y="6855583"/>
                </a:lnTo>
                <a:lnTo>
                  <a:pt x="2844120" y="6855583"/>
                </a:lnTo>
                <a:lnTo>
                  <a:pt x="2844111" y="6855583"/>
                </a:lnTo>
                <a:lnTo>
                  <a:pt x="2844100" y="6855583"/>
                </a:lnTo>
                <a:lnTo>
                  <a:pt x="2842271" y="6855583"/>
                </a:lnTo>
                <a:lnTo>
                  <a:pt x="2821051" y="6855583"/>
                </a:lnTo>
                <a:lnTo>
                  <a:pt x="2820413" y="6855583"/>
                </a:lnTo>
                <a:lnTo>
                  <a:pt x="2820403" y="6855583"/>
                </a:lnTo>
                <a:lnTo>
                  <a:pt x="2820392" y="6855583"/>
                </a:lnTo>
                <a:lnTo>
                  <a:pt x="2793202" y="6855583"/>
                </a:lnTo>
                <a:lnTo>
                  <a:pt x="2771983" y="6855583"/>
                </a:lnTo>
                <a:lnTo>
                  <a:pt x="2771344" y="6855583"/>
                </a:lnTo>
                <a:lnTo>
                  <a:pt x="2771334" y="6855583"/>
                </a:lnTo>
                <a:lnTo>
                  <a:pt x="2771323" y="6855583"/>
                </a:lnTo>
                <a:lnTo>
                  <a:pt x="2769494" y="6855583"/>
                </a:lnTo>
                <a:lnTo>
                  <a:pt x="2720426" y="6855583"/>
                </a:lnTo>
                <a:lnTo>
                  <a:pt x="2651674" y="6855583"/>
                </a:lnTo>
                <a:lnTo>
                  <a:pt x="2651034" y="6855583"/>
                </a:lnTo>
                <a:lnTo>
                  <a:pt x="2651025" y="6855583"/>
                </a:lnTo>
                <a:lnTo>
                  <a:pt x="2651014" y="6855583"/>
                </a:lnTo>
                <a:lnTo>
                  <a:pt x="2600795" y="6855583"/>
                </a:lnTo>
                <a:lnTo>
                  <a:pt x="2600117" y="6855583"/>
                </a:lnTo>
                <a:lnTo>
                  <a:pt x="2578896" y="6855583"/>
                </a:lnTo>
                <a:lnTo>
                  <a:pt x="2578258" y="6855583"/>
                </a:lnTo>
                <a:lnTo>
                  <a:pt x="2578249" y="6855583"/>
                </a:lnTo>
                <a:lnTo>
                  <a:pt x="2578238" y="6855583"/>
                </a:lnTo>
                <a:lnTo>
                  <a:pt x="2527340" y="6855583"/>
                </a:lnTo>
                <a:lnTo>
                  <a:pt x="2252799" y="6855583"/>
                </a:lnTo>
                <a:lnTo>
                  <a:pt x="2180021" y="6855583"/>
                </a:lnTo>
                <a:lnTo>
                  <a:pt x="2128371" y="6855583"/>
                </a:lnTo>
                <a:lnTo>
                  <a:pt x="2127731" y="6855583"/>
                </a:lnTo>
                <a:lnTo>
                  <a:pt x="2127721" y="6855583"/>
                </a:lnTo>
                <a:lnTo>
                  <a:pt x="2127710" y="6855583"/>
                </a:lnTo>
                <a:lnTo>
                  <a:pt x="2076812" y="6855583"/>
                </a:lnTo>
                <a:lnTo>
                  <a:pt x="2055593" y="6855583"/>
                </a:lnTo>
                <a:lnTo>
                  <a:pt x="2054955" y="6855583"/>
                </a:lnTo>
                <a:lnTo>
                  <a:pt x="2054944" y="6855583"/>
                </a:lnTo>
                <a:lnTo>
                  <a:pt x="2054933" y="6855583"/>
                </a:lnTo>
                <a:lnTo>
                  <a:pt x="2004036" y="6855583"/>
                </a:lnTo>
                <a:lnTo>
                  <a:pt x="1935285" y="6855583"/>
                </a:lnTo>
                <a:lnTo>
                  <a:pt x="1934645" y="6855583"/>
                </a:lnTo>
                <a:lnTo>
                  <a:pt x="1934635" y="6855583"/>
                </a:lnTo>
                <a:lnTo>
                  <a:pt x="1934624" y="6855583"/>
                </a:lnTo>
                <a:lnTo>
                  <a:pt x="1886216" y="6855583"/>
                </a:lnTo>
                <a:lnTo>
                  <a:pt x="1885576" y="6855583"/>
                </a:lnTo>
                <a:lnTo>
                  <a:pt x="1885567" y="6855583"/>
                </a:lnTo>
                <a:lnTo>
                  <a:pt x="1885556" y="6855583"/>
                </a:lnTo>
                <a:lnTo>
                  <a:pt x="1883727" y="6855583"/>
                </a:lnTo>
                <a:lnTo>
                  <a:pt x="1862507" y="6855583"/>
                </a:lnTo>
                <a:lnTo>
                  <a:pt x="1861869" y="6855583"/>
                </a:lnTo>
                <a:lnTo>
                  <a:pt x="1861859" y="6855583"/>
                </a:lnTo>
                <a:lnTo>
                  <a:pt x="1861848" y="6855583"/>
                </a:lnTo>
                <a:lnTo>
                  <a:pt x="1834658" y="6855583"/>
                </a:lnTo>
                <a:lnTo>
                  <a:pt x="1813439" y="6855583"/>
                </a:lnTo>
                <a:lnTo>
                  <a:pt x="1812800" y="6855583"/>
                </a:lnTo>
                <a:lnTo>
                  <a:pt x="1812790" y="6855583"/>
                </a:lnTo>
                <a:lnTo>
                  <a:pt x="1812779" y="6855583"/>
                </a:lnTo>
                <a:lnTo>
                  <a:pt x="1810950" y="6855583"/>
                </a:lnTo>
                <a:lnTo>
                  <a:pt x="1761882" y="6855583"/>
                </a:lnTo>
                <a:lnTo>
                  <a:pt x="1169827" y="6855583"/>
                </a:lnTo>
                <a:lnTo>
                  <a:pt x="1169187" y="6855583"/>
                </a:lnTo>
                <a:lnTo>
                  <a:pt x="1169177" y="6855583"/>
                </a:lnTo>
                <a:lnTo>
                  <a:pt x="1169166" y="6855583"/>
                </a:lnTo>
                <a:lnTo>
                  <a:pt x="1118268" y="6855583"/>
                </a:lnTo>
                <a:lnTo>
                  <a:pt x="1097049" y="6855583"/>
                </a:lnTo>
                <a:lnTo>
                  <a:pt x="1096411" y="6855583"/>
                </a:lnTo>
                <a:lnTo>
                  <a:pt x="1096400" y="6855583"/>
                </a:lnTo>
                <a:lnTo>
                  <a:pt x="1096389" y="6855583"/>
                </a:lnTo>
                <a:lnTo>
                  <a:pt x="1045492" y="6855583"/>
                </a:lnTo>
                <a:lnTo>
                  <a:pt x="961282" y="6855583"/>
                </a:lnTo>
                <a:lnTo>
                  <a:pt x="2738" y="6855583"/>
                </a:lnTo>
                <a:lnTo>
                  <a:pt x="2738" y="5657026"/>
                </a:lnTo>
                <a:lnTo>
                  <a:pt x="1722" y="5657026"/>
                </a:lnTo>
                <a:lnTo>
                  <a:pt x="1722" y="5612741"/>
                </a:lnTo>
                <a:lnTo>
                  <a:pt x="1722" y="5598486"/>
                </a:lnTo>
                <a:lnTo>
                  <a:pt x="1722" y="5598155"/>
                </a:lnTo>
                <a:lnTo>
                  <a:pt x="426" y="5598155"/>
                </a:lnTo>
                <a:lnTo>
                  <a:pt x="426" y="5405390"/>
                </a:lnTo>
                <a:lnTo>
                  <a:pt x="426" y="5379129"/>
                </a:lnTo>
                <a:lnTo>
                  <a:pt x="428" y="4794177"/>
                </a:lnTo>
                <a:lnTo>
                  <a:pt x="428" y="4514790"/>
                </a:lnTo>
                <a:lnTo>
                  <a:pt x="428" y="4437487"/>
                </a:lnTo>
                <a:lnTo>
                  <a:pt x="1710" y="4437487"/>
                </a:lnTo>
                <a:lnTo>
                  <a:pt x="1710" y="4199586"/>
                </a:lnTo>
                <a:lnTo>
                  <a:pt x="0" y="4199586"/>
                </a:lnTo>
                <a:lnTo>
                  <a:pt x="0" y="3265890"/>
                </a:lnTo>
                <a:lnTo>
                  <a:pt x="2738" y="3265890"/>
                </a:lnTo>
                <a:close/>
              </a:path>
            </a:pathLst>
          </a:custGeom>
        </p:spPr>
        <p:txBody>
          <a:bodyPr wrap="square">
            <a:noAutofit/>
          </a:bodyPr>
          <a:lstStyle/>
          <a:p>
            <a:endParaRPr lang="en-US"/>
          </a:p>
        </p:txBody>
      </p:sp>
    </p:spTree>
    <p:extLst>
      <p:ext uri="{BB962C8B-B14F-4D97-AF65-F5344CB8AC3E}">
        <p14:creationId xmlns:p14="http://schemas.microsoft.com/office/powerpoint/2010/main" val="370198238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DE570EC-073C-4640-BFF5-772A5C70DB88}"/>
              </a:ext>
            </a:extLst>
          </p:cNvPr>
          <p:cNvSpPr>
            <a:spLocks noGrp="1"/>
          </p:cNvSpPr>
          <p:nvPr>
            <p:ph type="pic" sz="quarter" idx="10"/>
          </p:nvPr>
        </p:nvSpPr>
        <p:spPr>
          <a:xfrm>
            <a:off x="2" y="2051049"/>
            <a:ext cx="12191999" cy="2570073"/>
          </a:xfrm>
          <a:custGeom>
            <a:avLst/>
            <a:gdLst>
              <a:gd name="connsiteX0" fmla="*/ 1126324 w 12191999"/>
              <a:gd name="connsiteY0" fmla="*/ 0 h 2570073"/>
              <a:gd name="connsiteX1" fmla="*/ 2454730 w 12191999"/>
              <a:gd name="connsiteY1" fmla="*/ 0 h 2570073"/>
              <a:gd name="connsiteX2" fmla="*/ 3481005 w 12191999"/>
              <a:gd name="connsiteY2" fmla="*/ 0 h 2570073"/>
              <a:gd name="connsiteX3" fmla="*/ 3540677 w 12191999"/>
              <a:gd name="connsiteY3" fmla="*/ 0 h 2570073"/>
              <a:gd name="connsiteX4" fmla="*/ 4809411 w 12191999"/>
              <a:gd name="connsiteY4" fmla="*/ 0 h 2570073"/>
              <a:gd name="connsiteX5" fmla="*/ 4869084 w 12191999"/>
              <a:gd name="connsiteY5" fmla="*/ 0 h 2570073"/>
              <a:gd name="connsiteX6" fmla="*/ 4869084 w 12191999"/>
              <a:gd name="connsiteY6" fmla="*/ 1332 h 2570073"/>
              <a:gd name="connsiteX7" fmla="*/ 5935733 w 12191999"/>
              <a:gd name="connsiteY7" fmla="*/ 1332 h 2570073"/>
              <a:gd name="connsiteX8" fmla="*/ 5935733 w 12191999"/>
              <a:gd name="connsiteY8" fmla="*/ 316755 h 2570073"/>
              <a:gd name="connsiteX9" fmla="*/ 5935733 w 12191999"/>
              <a:gd name="connsiteY9" fmla="*/ 1082676 h 2570073"/>
              <a:gd name="connsiteX10" fmla="*/ 5935736 w 12191999"/>
              <a:gd name="connsiteY10" fmla="*/ 1082676 h 2570073"/>
              <a:gd name="connsiteX11" fmla="*/ 5935736 w 12191999"/>
              <a:gd name="connsiteY11" fmla="*/ 1074434 h 2570073"/>
              <a:gd name="connsiteX12" fmla="*/ 5938272 w 12191999"/>
              <a:gd name="connsiteY12" fmla="*/ 1074434 h 2570073"/>
              <a:gd name="connsiteX13" fmla="*/ 5940853 w 12191999"/>
              <a:gd name="connsiteY13" fmla="*/ 1019920 h 2570073"/>
              <a:gd name="connsiteX14" fmla="*/ 5941325 w 12191999"/>
              <a:gd name="connsiteY14" fmla="*/ 1016613 h 2570073"/>
              <a:gd name="connsiteX15" fmla="*/ 5941548 w 12191999"/>
              <a:gd name="connsiteY15" fmla="*/ 1012207 h 2570073"/>
              <a:gd name="connsiteX16" fmla="*/ 5978687 w 12191999"/>
              <a:gd name="connsiteY16" fmla="*/ 818244 h 2570073"/>
              <a:gd name="connsiteX17" fmla="*/ 5980204 w 12191999"/>
              <a:gd name="connsiteY17" fmla="*/ 813682 h 2570073"/>
              <a:gd name="connsiteX18" fmla="*/ 5980394 w 12191999"/>
              <a:gd name="connsiteY18" fmla="*/ 812894 h 2570073"/>
              <a:gd name="connsiteX19" fmla="*/ 5983069 w 12191999"/>
              <a:gd name="connsiteY19" fmla="*/ 805066 h 2570073"/>
              <a:gd name="connsiteX20" fmla="*/ 6009331 w 12191999"/>
              <a:gd name="connsiteY20" fmla="*/ 726078 h 2570073"/>
              <a:gd name="connsiteX21" fmla="*/ 6012831 w 12191999"/>
              <a:gd name="connsiteY21" fmla="*/ 717971 h 2570073"/>
              <a:gd name="connsiteX22" fmla="*/ 6013884 w 12191999"/>
              <a:gd name="connsiteY22" fmla="*/ 714889 h 2570073"/>
              <a:gd name="connsiteX23" fmla="*/ 6021353 w 12191999"/>
              <a:gd name="connsiteY23" fmla="*/ 698231 h 2570073"/>
              <a:gd name="connsiteX24" fmla="*/ 6047512 w 12191999"/>
              <a:gd name="connsiteY24" fmla="*/ 637633 h 2570073"/>
              <a:gd name="connsiteX25" fmla="*/ 6053591 w 12191999"/>
              <a:gd name="connsiteY25" fmla="*/ 626323 h 2570073"/>
              <a:gd name="connsiteX26" fmla="*/ 6055898 w 12191999"/>
              <a:gd name="connsiteY26" fmla="*/ 621176 h 2570073"/>
              <a:gd name="connsiteX27" fmla="*/ 6066073 w 12191999"/>
              <a:gd name="connsiteY27" fmla="*/ 603101 h 2570073"/>
              <a:gd name="connsiteX28" fmla="*/ 6092845 w 12191999"/>
              <a:gd name="connsiteY28" fmla="*/ 553294 h 2570073"/>
              <a:gd name="connsiteX29" fmla="*/ 6102056 w 12191999"/>
              <a:gd name="connsiteY29" fmla="*/ 539178 h 2570073"/>
              <a:gd name="connsiteX30" fmla="*/ 6105971 w 12191999"/>
              <a:gd name="connsiteY30" fmla="*/ 532224 h 2570073"/>
              <a:gd name="connsiteX31" fmla="*/ 6117824 w 12191999"/>
              <a:gd name="connsiteY31" fmla="*/ 515013 h 2570073"/>
              <a:gd name="connsiteX32" fmla="*/ 6144948 w 12191999"/>
              <a:gd name="connsiteY32" fmla="*/ 473445 h 2570073"/>
              <a:gd name="connsiteX33" fmla="*/ 6157796 w 12191999"/>
              <a:gd name="connsiteY33" fmla="*/ 456974 h 2570073"/>
              <a:gd name="connsiteX34" fmla="*/ 6163633 w 12191999"/>
              <a:gd name="connsiteY34" fmla="*/ 448498 h 2570073"/>
              <a:gd name="connsiteX35" fmla="*/ 6176449 w 12191999"/>
              <a:gd name="connsiteY35" fmla="*/ 433062 h 2570073"/>
              <a:gd name="connsiteX36" fmla="*/ 6203434 w 12191999"/>
              <a:gd name="connsiteY36" fmla="*/ 398470 h 2570073"/>
              <a:gd name="connsiteX37" fmla="*/ 6220382 w 12191999"/>
              <a:gd name="connsiteY37" fmla="*/ 380147 h 2570073"/>
              <a:gd name="connsiteX38" fmla="*/ 6228421 w 12191999"/>
              <a:gd name="connsiteY38" fmla="*/ 370466 h 2570073"/>
              <a:gd name="connsiteX39" fmla="*/ 6241622 w 12191999"/>
              <a:gd name="connsiteY39" fmla="*/ 357186 h 2570073"/>
              <a:gd name="connsiteX40" fmla="*/ 6267920 w 12191999"/>
              <a:gd name="connsiteY40" fmla="*/ 328755 h 2570073"/>
              <a:gd name="connsiteX41" fmla="*/ 6289391 w 12191999"/>
              <a:gd name="connsiteY41" fmla="*/ 309131 h 2570073"/>
              <a:gd name="connsiteX42" fmla="*/ 6299866 w 12191999"/>
              <a:gd name="connsiteY42" fmla="*/ 298593 h 2570073"/>
              <a:gd name="connsiteX43" fmla="*/ 6312962 w 12191999"/>
              <a:gd name="connsiteY43" fmla="*/ 287587 h 2570073"/>
              <a:gd name="connsiteX44" fmla="*/ 6338022 w 12191999"/>
              <a:gd name="connsiteY44" fmla="*/ 264683 h 2570073"/>
              <a:gd name="connsiteX45" fmla="*/ 6364404 w 12191999"/>
              <a:gd name="connsiteY45" fmla="*/ 244356 h 2570073"/>
              <a:gd name="connsiteX46" fmla="*/ 6377502 w 12191999"/>
              <a:gd name="connsiteY46" fmla="*/ 233348 h 2570073"/>
              <a:gd name="connsiteX47" fmla="*/ 6390060 w 12191999"/>
              <a:gd name="connsiteY47" fmla="*/ 224587 h 2570073"/>
              <a:gd name="connsiteX48" fmla="*/ 6413355 w 12191999"/>
              <a:gd name="connsiteY48" fmla="*/ 206638 h 2570073"/>
              <a:gd name="connsiteX49" fmla="*/ 6445019 w 12191999"/>
              <a:gd name="connsiteY49" fmla="*/ 186248 h 2570073"/>
              <a:gd name="connsiteX50" fmla="*/ 6460863 w 12191999"/>
              <a:gd name="connsiteY50" fmla="*/ 175195 h 2570073"/>
              <a:gd name="connsiteX51" fmla="*/ 6472496 w 12191999"/>
              <a:gd name="connsiteY51" fmla="*/ 168554 h 2570073"/>
              <a:gd name="connsiteX52" fmla="*/ 6493536 w 12191999"/>
              <a:gd name="connsiteY52" fmla="*/ 155005 h 2570073"/>
              <a:gd name="connsiteX53" fmla="*/ 6530863 w 12191999"/>
              <a:gd name="connsiteY53" fmla="*/ 135232 h 2570073"/>
              <a:gd name="connsiteX54" fmla="*/ 6549482 w 12191999"/>
              <a:gd name="connsiteY54" fmla="*/ 124603 h 2570073"/>
              <a:gd name="connsiteX55" fmla="*/ 6559839 w 12191999"/>
              <a:gd name="connsiteY55" fmla="*/ 119882 h 2570073"/>
              <a:gd name="connsiteX56" fmla="*/ 6578180 w 12191999"/>
              <a:gd name="connsiteY56" fmla="*/ 110167 h 2570073"/>
              <a:gd name="connsiteX57" fmla="*/ 6621627 w 12191999"/>
              <a:gd name="connsiteY57" fmla="*/ 91726 h 2570073"/>
              <a:gd name="connsiteX58" fmla="*/ 6642891 w 12191999"/>
              <a:gd name="connsiteY58" fmla="*/ 82036 h 2570073"/>
              <a:gd name="connsiteX59" fmla="*/ 6651657 w 12191999"/>
              <a:gd name="connsiteY59" fmla="*/ 78980 h 2570073"/>
              <a:gd name="connsiteX60" fmla="*/ 6666902 w 12191999"/>
              <a:gd name="connsiteY60" fmla="*/ 72509 h 2570073"/>
              <a:gd name="connsiteX61" fmla="*/ 6717142 w 12191999"/>
              <a:gd name="connsiteY61" fmla="*/ 56150 h 2570073"/>
              <a:gd name="connsiteX62" fmla="*/ 6740626 w 12191999"/>
              <a:gd name="connsiteY62" fmla="*/ 47963 h 2570073"/>
              <a:gd name="connsiteX63" fmla="*/ 6747514 w 12191999"/>
              <a:gd name="connsiteY63" fmla="*/ 46260 h 2570073"/>
              <a:gd name="connsiteX64" fmla="*/ 6759319 w 12191999"/>
              <a:gd name="connsiteY64" fmla="*/ 42416 h 2570073"/>
              <a:gd name="connsiteX65" fmla="*/ 6817670 w 12191999"/>
              <a:gd name="connsiteY65" fmla="*/ 28918 h 2570073"/>
              <a:gd name="connsiteX66" fmla="*/ 6842218 w 12191999"/>
              <a:gd name="connsiteY66" fmla="*/ 22850 h 2570073"/>
              <a:gd name="connsiteX67" fmla="*/ 6846973 w 12191999"/>
              <a:gd name="connsiteY67" fmla="*/ 22139 h 2570073"/>
              <a:gd name="connsiteX68" fmla="*/ 6855046 w 12191999"/>
              <a:gd name="connsiteY68" fmla="*/ 20272 h 2570073"/>
              <a:gd name="connsiteX69" fmla="*/ 6925243 w 12191999"/>
              <a:gd name="connsiteY69" fmla="*/ 10445 h 2570073"/>
              <a:gd name="connsiteX70" fmla="*/ 6947201 w 12191999"/>
              <a:gd name="connsiteY70" fmla="*/ 7163 h 2570073"/>
              <a:gd name="connsiteX71" fmla="*/ 6949512 w 12191999"/>
              <a:gd name="connsiteY71" fmla="*/ 7047 h 2570073"/>
              <a:gd name="connsiteX72" fmla="*/ 6953699 w 12191999"/>
              <a:gd name="connsiteY72" fmla="*/ 6460 h 2570073"/>
              <a:gd name="connsiteX73" fmla="*/ 7002386 w 12191999"/>
              <a:gd name="connsiteY73" fmla="*/ 4155 h 2570073"/>
              <a:gd name="connsiteX74" fmla="*/ 7002386 w 12191999"/>
              <a:gd name="connsiteY74" fmla="*/ 1346 h 2570073"/>
              <a:gd name="connsiteX75" fmla="*/ 7047272 w 12191999"/>
              <a:gd name="connsiteY75" fmla="*/ 1346 h 2570073"/>
              <a:gd name="connsiteX76" fmla="*/ 7061721 w 12191999"/>
              <a:gd name="connsiteY76" fmla="*/ 1346 h 2570073"/>
              <a:gd name="connsiteX77" fmla="*/ 7062058 w 12191999"/>
              <a:gd name="connsiteY77" fmla="*/ 1346 h 2570073"/>
              <a:gd name="connsiteX78" fmla="*/ 7062058 w 12191999"/>
              <a:gd name="connsiteY78" fmla="*/ 0 h 2570073"/>
              <a:gd name="connsiteX79" fmla="*/ 9416738 w 12191999"/>
              <a:gd name="connsiteY79" fmla="*/ 0 h 2570073"/>
              <a:gd name="connsiteX80" fmla="*/ 9476411 w 12191999"/>
              <a:gd name="connsiteY80" fmla="*/ 0 h 2570073"/>
              <a:gd name="connsiteX81" fmla="*/ 9476411 w 12191999"/>
              <a:gd name="connsiteY81" fmla="*/ 1332 h 2570073"/>
              <a:gd name="connsiteX82" fmla="*/ 9621926 w 12191999"/>
              <a:gd name="connsiteY82" fmla="*/ 1332 h 2570073"/>
              <a:gd name="connsiteX83" fmla="*/ 9621926 w 12191999"/>
              <a:gd name="connsiteY83" fmla="*/ 1232695 h 2570073"/>
              <a:gd name="connsiteX84" fmla="*/ 9621927 w 12191999"/>
              <a:gd name="connsiteY84" fmla="*/ 1232695 h 2570073"/>
              <a:gd name="connsiteX85" fmla="*/ 9621927 w 12191999"/>
              <a:gd name="connsiteY85" fmla="*/ 1224666 h 2570073"/>
              <a:gd name="connsiteX86" fmla="*/ 9624974 w 12191999"/>
              <a:gd name="connsiteY86" fmla="*/ 1224666 h 2570073"/>
              <a:gd name="connsiteX87" fmla="*/ 9628560 w 12191999"/>
              <a:gd name="connsiteY87" fmla="*/ 1153649 h 2570073"/>
              <a:gd name="connsiteX88" fmla="*/ 10906963 w 12191999"/>
              <a:gd name="connsiteY88" fmla="*/ 0 h 2570073"/>
              <a:gd name="connsiteX89" fmla="*/ 12191999 w 12191999"/>
              <a:gd name="connsiteY89" fmla="*/ 1285037 h 2570073"/>
              <a:gd name="connsiteX90" fmla="*/ 11038350 w 12191999"/>
              <a:gd name="connsiteY90" fmla="*/ 2563438 h 2570073"/>
              <a:gd name="connsiteX91" fmla="*/ 10924212 w 12191999"/>
              <a:gd name="connsiteY91" fmla="*/ 2569202 h 2570073"/>
              <a:gd name="connsiteX92" fmla="*/ 10924212 w 12191999"/>
              <a:gd name="connsiteY92" fmla="*/ 2570073 h 2570073"/>
              <a:gd name="connsiteX93" fmla="*/ 10906963 w 12191999"/>
              <a:gd name="connsiteY93" fmla="*/ 2570073 h 2570073"/>
              <a:gd name="connsiteX94" fmla="*/ 10572749 w 12191999"/>
              <a:gd name="connsiteY94" fmla="*/ 2570073 h 2570073"/>
              <a:gd name="connsiteX95" fmla="*/ 9621927 w 12191999"/>
              <a:gd name="connsiteY95" fmla="*/ 2570073 h 2570073"/>
              <a:gd name="connsiteX96" fmla="*/ 9416738 w 12191999"/>
              <a:gd name="connsiteY96" fmla="*/ 2570073 h 2570073"/>
              <a:gd name="connsiteX97" fmla="*/ 7062058 w 12191999"/>
              <a:gd name="connsiteY97" fmla="*/ 2570073 h 2570073"/>
              <a:gd name="connsiteX98" fmla="*/ 7002386 w 12191999"/>
              <a:gd name="connsiteY98" fmla="*/ 2570073 h 2570073"/>
              <a:gd name="connsiteX99" fmla="*/ 6572249 w 12191999"/>
              <a:gd name="connsiteY99" fmla="*/ 2570073 h 2570073"/>
              <a:gd name="connsiteX100" fmla="*/ 6572249 w 12191999"/>
              <a:gd name="connsiteY100" fmla="*/ 2568741 h 2570073"/>
              <a:gd name="connsiteX101" fmla="*/ 5935736 w 12191999"/>
              <a:gd name="connsiteY101" fmla="*/ 2568741 h 2570073"/>
              <a:gd name="connsiteX102" fmla="*/ 5935736 w 12191999"/>
              <a:gd name="connsiteY102" fmla="*/ 2253318 h 2570073"/>
              <a:gd name="connsiteX103" fmla="*/ 5935736 w 12191999"/>
              <a:gd name="connsiteY103" fmla="*/ 1487489 h 2570073"/>
              <a:gd name="connsiteX104" fmla="*/ 5935733 w 12191999"/>
              <a:gd name="connsiteY104" fmla="*/ 1487489 h 2570073"/>
              <a:gd name="connsiteX105" fmla="*/ 5935733 w 12191999"/>
              <a:gd name="connsiteY105" fmla="*/ 1495639 h 2570073"/>
              <a:gd name="connsiteX106" fmla="*/ 5933197 w 12191999"/>
              <a:gd name="connsiteY106" fmla="*/ 1495639 h 2570073"/>
              <a:gd name="connsiteX107" fmla="*/ 5930616 w 12191999"/>
              <a:gd name="connsiteY107" fmla="*/ 1550153 h 2570073"/>
              <a:gd name="connsiteX108" fmla="*/ 5930144 w 12191999"/>
              <a:gd name="connsiteY108" fmla="*/ 1553460 h 2570073"/>
              <a:gd name="connsiteX109" fmla="*/ 5929922 w 12191999"/>
              <a:gd name="connsiteY109" fmla="*/ 1557867 h 2570073"/>
              <a:gd name="connsiteX110" fmla="*/ 5892782 w 12191999"/>
              <a:gd name="connsiteY110" fmla="*/ 1751829 h 2570073"/>
              <a:gd name="connsiteX111" fmla="*/ 5891264 w 12191999"/>
              <a:gd name="connsiteY111" fmla="*/ 1756392 h 2570073"/>
              <a:gd name="connsiteX112" fmla="*/ 5891075 w 12191999"/>
              <a:gd name="connsiteY112" fmla="*/ 1757179 h 2570073"/>
              <a:gd name="connsiteX113" fmla="*/ 5888400 w 12191999"/>
              <a:gd name="connsiteY113" fmla="*/ 1765008 h 2570073"/>
              <a:gd name="connsiteX114" fmla="*/ 5862137 w 12191999"/>
              <a:gd name="connsiteY114" fmla="*/ 1843996 h 2570073"/>
              <a:gd name="connsiteX115" fmla="*/ 5858638 w 12191999"/>
              <a:gd name="connsiteY115" fmla="*/ 1852103 h 2570073"/>
              <a:gd name="connsiteX116" fmla="*/ 5857585 w 12191999"/>
              <a:gd name="connsiteY116" fmla="*/ 1855185 h 2570073"/>
              <a:gd name="connsiteX117" fmla="*/ 5850118 w 12191999"/>
              <a:gd name="connsiteY117" fmla="*/ 1871843 h 2570073"/>
              <a:gd name="connsiteX118" fmla="*/ 5823957 w 12191999"/>
              <a:gd name="connsiteY118" fmla="*/ 1932441 h 2570073"/>
              <a:gd name="connsiteX119" fmla="*/ 5817877 w 12191999"/>
              <a:gd name="connsiteY119" fmla="*/ 1943751 h 2570073"/>
              <a:gd name="connsiteX120" fmla="*/ 5815570 w 12191999"/>
              <a:gd name="connsiteY120" fmla="*/ 1948897 h 2570073"/>
              <a:gd name="connsiteX121" fmla="*/ 5805396 w 12191999"/>
              <a:gd name="connsiteY121" fmla="*/ 1966972 h 2570073"/>
              <a:gd name="connsiteX122" fmla="*/ 5778623 w 12191999"/>
              <a:gd name="connsiteY122" fmla="*/ 2016780 h 2570073"/>
              <a:gd name="connsiteX123" fmla="*/ 5769413 w 12191999"/>
              <a:gd name="connsiteY123" fmla="*/ 2030895 h 2570073"/>
              <a:gd name="connsiteX124" fmla="*/ 5765499 w 12191999"/>
              <a:gd name="connsiteY124" fmla="*/ 2037850 h 2570073"/>
              <a:gd name="connsiteX125" fmla="*/ 5753645 w 12191999"/>
              <a:gd name="connsiteY125" fmla="*/ 2055061 h 2570073"/>
              <a:gd name="connsiteX126" fmla="*/ 5726521 w 12191999"/>
              <a:gd name="connsiteY126" fmla="*/ 2096629 h 2570073"/>
              <a:gd name="connsiteX127" fmla="*/ 5713673 w 12191999"/>
              <a:gd name="connsiteY127" fmla="*/ 2113099 h 2570073"/>
              <a:gd name="connsiteX128" fmla="*/ 5707835 w 12191999"/>
              <a:gd name="connsiteY128" fmla="*/ 2121576 h 2570073"/>
              <a:gd name="connsiteX129" fmla="*/ 5695020 w 12191999"/>
              <a:gd name="connsiteY129" fmla="*/ 2137011 h 2570073"/>
              <a:gd name="connsiteX130" fmla="*/ 5668036 w 12191999"/>
              <a:gd name="connsiteY130" fmla="*/ 2171603 h 2570073"/>
              <a:gd name="connsiteX131" fmla="*/ 5651086 w 12191999"/>
              <a:gd name="connsiteY131" fmla="*/ 2189926 h 2570073"/>
              <a:gd name="connsiteX132" fmla="*/ 5643047 w 12191999"/>
              <a:gd name="connsiteY132" fmla="*/ 2199608 h 2570073"/>
              <a:gd name="connsiteX133" fmla="*/ 5629847 w 12191999"/>
              <a:gd name="connsiteY133" fmla="*/ 2212888 h 2570073"/>
              <a:gd name="connsiteX134" fmla="*/ 5603549 w 12191999"/>
              <a:gd name="connsiteY134" fmla="*/ 2241318 h 2570073"/>
              <a:gd name="connsiteX135" fmla="*/ 5582078 w 12191999"/>
              <a:gd name="connsiteY135" fmla="*/ 2260943 h 2570073"/>
              <a:gd name="connsiteX136" fmla="*/ 5571603 w 12191999"/>
              <a:gd name="connsiteY136" fmla="*/ 2271480 h 2570073"/>
              <a:gd name="connsiteX137" fmla="*/ 5558506 w 12191999"/>
              <a:gd name="connsiteY137" fmla="*/ 2282487 h 2570073"/>
              <a:gd name="connsiteX138" fmla="*/ 5533446 w 12191999"/>
              <a:gd name="connsiteY138" fmla="*/ 2305391 h 2570073"/>
              <a:gd name="connsiteX139" fmla="*/ 5507066 w 12191999"/>
              <a:gd name="connsiteY139" fmla="*/ 2325718 h 2570073"/>
              <a:gd name="connsiteX140" fmla="*/ 5493966 w 12191999"/>
              <a:gd name="connsiteY140" fmla="*/ 2336726 h 2570073"/>
              <a:gd name="connsiteX141" fmla="*/ 5481407 w 12191999"/>
              <a:gd name="connsiteY141" fmla="*/ 2345487 h 2570073"/>
              <a:gd name="connsiteX142" fmla="*/ 5458113 w 12191999"/>
              <a:gd name="connsiteY142" fmla="*/ 2363435 h 2570073"/>
              <a:gd name="connsiteX143" fmla="*/ 5426450 w 12191999"/>
              <a:gd name="connsiteY143" fmla="*/ 2383826 h 2570073"/>
              <a:gd name="connsiteX144" fmla="*/ 5410605 w 12191999"/>
              <a:gd name="connsiteY144" fmla="*/ 2394879 h 2570073"/>
              <a:gd name="connsiteX145" fmla="*/ 5398974 w 12191999"/>
              <a:gd name="connsiteY145" fmla="*/ 2401520 h 2570073"/>
              <a:gd name="connsiteX146" fmla="*/ 5377932 w 12191999"/>
              <a:gd name="connsiteY146" fmla="*/ 2415069 h 2570073"/>
              <a:gd name="connsiteX147" fmla="*/ 5340606 w 12191999"/>
              <a:gd name="connsiteY147" fmla="*/ 2434842 h 2570073"/>
              <a:gd name="connsiteX148" fmla="*/ 5321988 w 12191999"/>
              <a:gd name="connsiteY148" fmla="*/ 2445471 h 2570073"/>
              <a:gd name="connsiteX149" fmla="*/ 5311629 w 12191999"/>
              <a:gd name="connsiteY149" fmla="*/ 2450191 h 2570073"/>
              <a:gd name="connsiteX150" fmla="*/ 5293289 w 12191999"/>
              <a:gd name="connsiteY150" fmla="*/ 2459906 h 2570073"/>
              <a:gd name="connsiteX151" fmla="*/ 5249843 w 12191999"/>
              <a:gd name="connsiteY151" fmla="*/ 2478347 h 2570073"/>
              <a:gd name="connsiteX152" fmla="*/ 5228578 w 12191999"/>
              <a:gd name="connsiteY152" fmla="*/ 2488037 h 2570073"/>
              <a:gd name="connsiteX153" fmla="*/ 5219811 w 12191999"/>
              <a:gd name="connsiteY153" fmla="*/ 2491093 h 2570073"/>
              <a:gd name="connsiteX154" fmla="*/ 5204566 w 12191999"/>
              <a:gd name="connsiteY154" fmla="*/ 2497564 h 2570073"/>
              <a:gd name="connsiteX155" fmla="*/ 5154326 w 12191999"/>
              <a:gd name="connsiteY155" fmla="*/ 2513923 h 2570073"/>
              <a:gd name="connsiteX156" fmla="*/ 5130842 w 12191999"/>
              <a:gd name="connsiteY156" fmla="*/ 2522110 h 2570073"/>
              <a:gd name="connsiteX157" fmla="*/ 5123955 w 12191999"/>
              <a:gd name="connsiteY157" fmla="*/ 2523813 h 2570073"/>
              <a:gd name="connsiteX158" fmla="*/ 5112149 w 12191999"/>
              <a:gd name="connsiteY158" fmla="*/ 2527657 h 2570073"/>
              <a:gd name="connsiteX159" fmla="*/ 5053798 w 12191999"/>
              <a:gd name="connsiteY159" fmla="*/ 2541156 h 2570073"/>
              <a:gd name="connsiteX160" fmla="*/ 5029250 w 12191999"/>
              <a:gd name="connsiteY160" fmla="*/ 2547223 h 2570073"/>
              <a:gd name="connsiteX161" fmla="*/ 5024496 w 12191999"/>
              <a:gd name="connsiteY161" fmla="*/ 2547934 h 2570073"/>
              <a:gd name="connsiteX162" fmla="*/ 5016422 w 12191999"/>
              <a:gd name="connsiteY162" fmla="*/ 2549802 h 2570073"/>
              <a:gd name="connsiteX163" fmla="*/ 4946225 w 12191999"/>
              <a:gd name="connsiteY163" fmla="*/ 2559629 h 2570073"/>
              <a:gd name="connsiteX164" fmla="*/ 4924267 w 12191999"/>
              <a:gd name="connsiteY164" fmla="*/ 2562910 h 2570073"/>
              <a:gd name="connsiteX165" fmla="*/ 4921957 w 12191999"/>
              <a:gd name="connsiteY165" fmla="*/ 2563027 h 2570073"/>
              <a:gd name="connsiteX166" fmla="*/ 4917769 w 12191999"/>
              <a:gd name="connsiteY166" fmla="*/ 2563613 h 2570073"/>
              <a:gd name="connsiteX167" fmla="*/ 4869084 w 12191999"/>
              <a:gd name="connsiteY167" fmla="*/ 2565918 h 2570073"/>
              <a:gd name="connsiteX168" fmla="*/ 4869084 w 12191999"/>
              <a:gd name="connsiteY168" fmla="*/ 2568728 h 2570073"/>
              <a:gd name="connsiteX169" fmla="*/ 4824196 w 12191999"/>
              <a:gd name="connsiteY169" fmla="*/ 2568728 h 2570073"/>
              <a:gd name="connsiteX170" fmla="*/ 4809749 w 12191999"/>
              <a:gd name="connsiteY170" fmla="*/ 2568728 h 2570073"/>
              <a:gd name="connsiteX171" fmla="*/ 4809411 w 12191999"/>
              <a:gd name="connsiteY171" fmla="*/ 2568728 h 2570073"/>
              <a:gd name="connsiteX172" fmla="*/ 4809411 w 12191999"/>
              <a:gd name="connsiteY172" fmla="*/ 2570073 h 2570073"/>
              <a:gd name="connsiteX173" fmla="*/ 3481005 w 12191999"/>
              <a:gd name="connsiteY173" fmla="*/ 2570073 h 2570073"/>
              <a:gd name="connsiteX174" fmla="*/ 2454730 w 12191999"/>
              <a:gd name="connsiteY174" fmla="*/ 2570073 h 2570073"/>
              <a:gd name="connsiteX175" fmla="*/ 2395058 w 12191999"/>
              <a:gd name="connsiteY175" fmla="*/ 2570073 h 2570073"/>
              <a:gd name="connsiteX176" fmla="*/ 1126324 w 12191999"/>
              <a:gd name="connsiteY176" fmla="*/ 2570073 h 2570073"/>
              <a:gd name="connsiteX177" fmla="*/ 1066652 w 12191999"/>
              <a:gd name="connsiteY177" fmla="*/ 2570073 h 2570073"/>
              <a:gd name="connsiteX178" fmla="*/ 1066652 w 12191999"/>
              <a:gd name="connsiteY178" fmla="*/ 2568741 h 2570073"/>
              <a:gd name="connsiteX179" fmla="*/ 1 w 12191999"/>
              <a:gd name="connsiteY179" fmla="*/ 2568741 h 2570073"/>
              <a:gd name="connsiteX180" fmla="*/ 1 w 12191999"/>
              <a:gd name="connsiteY180" fmla="*/ 2253318 h 2570073"/>
              <a:gd name="connsiteX181" fmla="*/ 1 w 12191999"/>
              <a:gd name="connsiteY181" fmla="*/ 1443429 h 2570073"/>
              <a:gd name="connsiteX182" fmla="*/ 1 w 12191999"/>
              <a:gd name="connsiteY182" fmla="*/ 1442766 h 2570073"/>
              <a:gd name="connsiteX183" fmla="*/ 0 w 12191999"/>
              <a:gd name="connsiteY183" fmla="*/ 1442755 h 2570073"/>
              <a:gd name="connsiteX184" fmla="*/ 1 w 12191999"/>
              <a:gd name="connsiteY184" fmla="*/ 1442744 h 2570073"/>
              <a:gd name="connsiteX185" fmla="*/ 1 w 12191999"/>
              <a:gd name="connsiteY185" fmla="*/ 1389857 h 2570073"/>
              <a:gd name="connsiteX186" fmla="*/ 1 w 12191999"/>
              <a:gd name="connsiteY186" fmla="*/ 1128007 h 2570073"/>
              <a:gd name="connsiteX187" fmla="*/ 1 w 12191999"/>
              <a:gd name="connsiteY187" fmla="*/ 1127343 h 2570073"/>
              <a:gd name="connsiteX188" fmla="*/ 0 w 12191999"/>
              <a:gd name="connsiteY188" fmla="*/ 1127332 h 2570073"/>
              <a:gd name="connsiteX189" fmla="*/ 1 w 12191999"/>
              <a:gd name="connsiteY189" fmla="*/ 1127322 h 2570073"/>
              <a:gd name="connsiteX190" fmla="*/ 1 w 12191999"/>
              <a:gd name="connsiteY190" fmla="*/ 1074434 h 2570073"/>
              <a:gd name="connsiteX191" fmla="*/ 2538 w 12191999"/>
              <a:gd name="connsiteY191" fmla="*/ 1074434 h 2570073"/>
              <a:gd name="connsiteX192" fmla="*/ 5119 w 12191999"/>
              <a:gd name="connsiteY192" fmla="*/ 1019920 h 2570073"/>
              <a:gd name="connsiteX193" fmla="*/ 5592 w 12191999"/>
              <a:gd name="connsiteY193" fmla="*/ 1016613 h 2570073"/>
              <a:gd name="connsiteX194" fmla="*/ 5814 w 12191999"/>
              <a:gd name="connsiteY194" fmla="*/ 1012207 h 2570073"/>
              <a:gd name="connsiteX195" fmla="*/ 42953 w 12191999"/>
              <a:gd name="connsiteY195" fmla="*/ 818244 h 2570073"/>
              <a:gd name="connsiteX196" fmla="*/ 44470 w 12191999"/>
              <a:gd name="connsiteY196" fmla="*/ 813682 h 2570073"/>
              <a:gd name="connsiteX197" fmla="*/ 44660 w 12191999"/>
              <a:gd name="connsiteY197" fmla="*/ 812894 h 2570073"/>
              <a:gd name="connsiteX198" fmla="*/ 47335 w 12191999"/>
              <a:gd name="connsiteY198" fmla="*/ 805066 h 2570073"/>
              <a:gd name="connsiteX199" fmla="*/ 73597 w 12191999"/>
              <a:gd name="connsiteY199" fmla="*/ 726078 h 2570073"/>
              <a:gd name="connsiteX200" fmla="*/ 77097 w 12191999"/>
              <a:gd name="connsiteY200" fmla="*/ 717971 h 2570073"/>
              <a:gd name="connsiteX201" fmla="*/ 78150 w 12191999"/>
              <a:gd name="connsiteY201" fmla="*/ 714889 h 2570073"/>
              <a:gd name="connsiteX202" fmla="*/ 85619 w 12191999"/>
              <a:gd name="connsiteY202" fmla="*/ 698231 h 2570073"/>
              <a:gd name="connsiteX203" fmla="*/ 111778 w 12191999"/>
              <a:gd name="connsiteY203" fmla="*/ 637633 h 2570073"/>
              <a:gd name="connsiteX204" fmla="*/ 117857 w 12191999"/>
              <a:gd name="connsiteY204" fmla="*/ 626323 h 2570073"/>
              <a:gd name="connsiteX205" fmla="*/ 120165 w 12191999"/>
              <a:gd name="connsiteY205" fmla="*/ 621176 h 2570073"/>
              <a:gd name="connsiteX206" fmla="*/ 130339 w 12191999"/>
              <a:gd name="connsiteY206" fmla="*/ 603101 h 2570073"/>
              <a:gd name="connsiteX207" fmla="*/ 157112 w 12191999"/>
              <a:gd name="connsiteY207" fmla="*/ 553294 h 2570073"/>
              <a:gd name="connsiteX208" fmla="*/ 166322 w 12191999"/>
              <a:gd name="connsiteY208" fmla="*/ 539178 h 2570073"/>
              <a:gd name="connsiteX209" fmla="*/ 170237 w 12191999"/>
              <a:gd name="connsiteY209" fmla="*/ 532224 h 2570073"/>
              <a:gd name="connsiteX210" fmla="*/ 182090 w 12191999"/>
              <a:gd name="connsiteY210" fmla="*/ 515013 h 2570073"/>
              <a:gd name="connsiteX211" fmla="*/ 209214 w 12191999"/>
              <a:gd name="connsiteY211" fmla="*/ 473445 h 2570073"/>
              <a:gd name="connsiteX212" fmla="*/ 222062 w 12191999"/>
              <a:gd name="connsiteY212" fmla="*/ 456974 h 2570073"/>
              <a:gd name="connsiteX213" fmla="*/ 227900 w 12191999"/>
              <a:gd name="connsiteY213" fmla="*/ 448498 h 2570073"/>
              <a:gd name="connsiteX214" fmla="*/ 240715 w 12191999"/>
              <a:gd name="connsiteY214" fmla="*/ 433062 h 2570073"/>
              <a:gd name="connsiteX215" fmla="*/ 267700 w 12191999"/>
              <a:gd name="connsiteY215" fmla="*/ 398470 h 2570073"/>
              <a:gd name="connsiteX216" fmla="*/ 284649 w 12191999"/>
              <a:gd name="connsiteY216" fmla="*/ 380147 h 2570073"/>
              <a:gd name="connsiteX217" fmla="*/ 292687 w 12191999"/>
              <a:gd name="connsiteY217" fmla="*/ 370466 h 2570073"/>
              <a:gd name="connsiteX218" fmla="*/ 305888 w 12191999"/>
              <a:gd name="connsiteY218" fmla="*/ 357186 h 2570073"/>
              <a:gd name="connsiteX219" fmla="*/ 332186 w 12191999"/>
              <a:gd name="connsiteY219" fmla="*/ 328755 h 2570073"/>
              <a:gd name="connsiteX220" fmla="*/ 353657 w 12191999"/>
              <a:gd name="connsiteY220" fmla="*/ 309131 h 2570073"/>
              <a:gd name="connsiteX221" fmla="*/ 364133 w 12191999"/>
              <a:gd name="connsiteY221" fmla="*/ 298593 h 2570073"/>
              <a:gd name="connsiteX222" fmla="*/ 377228 w 12191999"/>
              <a:gd name="connsiteY222" fmla="*/ 287587 h 2570073"/>
              <a:gd name="connsiteX223" fmla="*/ 402288 w 12191999"/>
              <a:gd name="connsiteY223" fmla="*/ 264683 h 2570073"/>
              <a:gd name="connsiteX224" fmla="*/ 428670 w 12191999"/>
              <a:gd name="connsiteY224" fmla="*/ 244356 h 2570073"/>
              <a:gd name="connsiteX225" fmla="*/ 441769 w 12191999"/>
              <a:gd name="connsiteY225" fmla="*/ 233348 h 2570073"/>
              <a:gd name="connsiteX226" fmla="*/ 454327 w 12191999"/>
              <a:gd name="connsiteY226" fmla="*/ 224587 h 2570073"/>
              <a:gd name="connsiteX227" fmla="*/ 477622 w 12191999"/>
              <a:gd name="connsiteY227" fmla="*/ 206638 h 2570073"/>
              <a:gd name="connsiteX228" fmla="*/ 509285 w 12191999"/>
              <a:gd name="connsiteY228" fmla="*/ 186248 h 2570073"/>
              <a:gd name="connsiteX229" fmla="*/ 525129 w 12191999"/>
              <a:gd name="connsiteY229" fmla="*/ 175195 h 2570073"/>
              <a:gd name="connsiteX230" fmla="*/ 536762 w 12191999"/>
              <a:gd name="connsiteY230" fmla="*/ 168554 h 2570073"/>
              <a:gd name="connsiteX231" fmla="*/ 557803 w 12191999"/>
              <a:gd name="connsiteY231" fmla="*/ 155005 h 2570073"/>
              <a:gd name="connsiteX232" fmla="*/ 595129 w 12191999"/>
              <a:gd name="connsiteY232" fmla="*/ 135232 h 2570073"/>
              <a:gd name="connsiteX233" fmla="*/ 613748 w 12191999"/>
              <a:gd name="connsiteY233" fmla="*/ 124603 h 2570073"/>
              <a:gd name="connsiteX234" fmla="*/ 624106 w 12191999"/>
              <a:gd name="connsiteY234" fmla="*/ 119882 h 2570073"/>
              <a:gd name="connsiteX235" fmla="*/ 642446 w 12191999"/>
              <a:gd name="connsiteY235" fmla="*/ 110167 h 2570073"/>
              <a:gd name="connsiteX236" fmla="*/ 685893 w 12191999"/>
              <a:gd name="connsiteY236" fmla="*/ 91726 h 2570073"/>
              <a:gd name="connsiteX237" fmla="*/ 707157 w 12191999"/>
              <a:gd name="connsiteY237" fmla="*/ 82036 h 2570073"/>
              <a:gd name="connsiteX238" fmla="*/ 715923 w 12191999"/>
              <a:gd name="connsiteY238" fmla="*/ 78980 h 2570073"/>
              <a:gd name="connsiteX239" fmla="*/ 731168 w 12191999"/>
              <a:gd name="connsiteY239" fmla="*/ 72509 h 2570073"/>
              <a:gd name="connsiteX240" fmla="*/ 781408 w 12191999"/>
              <a:gd name="connsiteY240" fmla="*/ 56150 h 2570073"/>
              <a:gd name="connsiteX241" fmla="*/ 804892 w 12191999"/>
              <a:gd name="connsiteY241" fmla="*/ 47963 h 2570073"/>
              <a:gd name="connsiteX242" fmla="*/ 811780 w 12191999"/>
              <a:gd name="connsiteY242" fmla="*/ 46260 h 2570073"/>
              <a:gd name="connsiteX243" fmla="*/ 823585 w 12191999"/>
              <a:gd name="connsiteY243" fmla="*/ 42416 h 2570073"/>
              <a:gd name="connsiteX244" fmla="*/ 881937 w 12191999"/>
              <a:gd name="connsiteY244" fmla="*/ 28918 h 2570073"/>
              <a:gd name="connsiteX245" fmla="*/ 906484 w 12191999"/>
              <a:gd name="connsiteY245" fmla="*/ 22850 h 2570073"/>
              <a:gd name="connsiteX246" fmla="*/ 911239 w 12191999"/>
              <a:gd name="connsiteY246" fmla="*/ 22139 h 2570073"/>
              <a:gd name="connsiteX247" fmla="*/ 919312 w 12191999"/>
              <a:gd name="connsiteY247" fmla="*/ 20272 h 2570073"/>
              <a:gd name="connsiteX248" fmla="*/ 989509 w 12191999"/>
              <a:gd name="connsiteY248" fmla="*/ 10445 h 2570073"/>
              <a:gd name="connsiteX249" fmla="*/ 1011467 w 12191999"/>
              <a:gd name="connsiteY249" fmla="*/ 7163 h 2570073"/>
              <a:gd name="connsiteX250" fmla="*/ 1013779 w 12191999"/>
              <a:gd name="connsiteY250" fmla="*/ 7047 h 2570073"/>
              <a:gd name="connsiteX251" fmla="*/ 1017965 w 12191999"/>
              <a:gd name="connsiteY251" fmla="*/ 6460 h 2570073"/>
              <a:gd name="connsiteX252" fmla="*/ 1066652 w 12191999"/>
              <a:gd name="connsiteY252" fmla="*/ 4155 h 2570073"/>
              <a:gd name="connsiteX253" fmla="*/ 1066652 w 12191999"/>
              <a:gd name="connsiteY253" fmla="*/ 1346 h 2570073"/>
              <a:gd name="connsiteX254" fmla="*/ 1111538 w 12191999"/>
              <a:gd name="connsiteY254" fmla="*/ 1346 h 2570073"/>
              <a:gd name="connsiteX255" fmla="*/ 1125987 w 12191999"/>
              <a:gd name="connsiteY255" fmla="*/ 1346 h 2570073"/>
              <a:gd name="connsiteX256" fmla="*/ 1126324 w 12191999"/>
              <a:gd name="connsiteY256" fmla="*/ 1346 h 257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Lst>
            <a:rect l="l" t="t" r="r" b="b"/>
            <a:pathLst>
              <a:path w="12191999" h="2570073">
                <a:moveTo>
                  <a:pt x="1126324" y="0"/>
                </a:moveTo>
                <a:lnTo>
                  <a:pt x="2454730" y="0"/>
                </a:lnTo>
                <a:lnTo>
                  <a:pt x="3481005" y="0"/>
                </a:lnTo>
                <a:lnTo>
                  <a:pt x="3540677" y="0"/>
                </a:lnTo>
                <a:lnTo>
                  <a:pt x="4809411" y="0"/>
                </a:lnTo>
                <a:lnTo>
                  <a:pt x="4869084" y="0"/>
                </a:lnTo>
                <a:lnTo>
                  <a:pt x="4869084" y="1332"/>
                </a:lnTo>
                <a:lnTo>
                  <a:pt x="5935733" y="1332"/>
                </a:lnTo>
                <a:lnTo>
                  <a:pt x="5935733" y="316755"/>
                </a:lnTo>
                <a:lnTo>
                  <a:pt x="5935733" y="1082676"/>
                </a:lnTo>
                <a:lnTo>
                  <a:pt x="5935736" y="1082676"/>
                </a:lnTo>
                <a:lnTo>
                  <a:pt x="5935736" y="1074434"/>
                </a:lnTo>
                <a:lnTo>
                  <a:pt x="5938272" y="1074434"/>
                </a:lnTo>
                <a:lnTo>
                  <a:pt x="5940853" y="1019920"/>
                </a:lnTo>
                <a:lnTo>
                  <a:pt x="5941325" y="1016613"/>
                </a:lnTo>
                <a:lnTo>
                  <a:pt x="5941548" y="1012207"/>
                </a:lnTo>
                <a:cubicBezTo>
                  <a:pt x="5948305" y="945669"/>
                  <a:pt x="5960856" y="880845"/>
                  <a:pt x="5978687" y="818244"/>
                </a:cubicBezTo>
                <a:lnTo>
                  <a:pt x="5980204" y="813682"/>
                </a:lnTo>
                <a:lnTo>
                  <a:pt x="5980394" y="812894"/>
                </a:lnTo>
                <a:lnTo>
                  <a:pt x="5983069" y="805066"/>
                </a:lnTo>
                <a:lnTo>
                  <a:pt x="6009331" y="726078"/>
                </a:lnTo>
                <a:lnTo>
                  <a:pt x="6012831" y="717971"/>
                </a:lnTo>
                <a:lnTo>
                  <a:pt x="6013884" y="714889"/>
                </a:lnTo>
                <a:lnTo>
                  <a:pt x="6021353" y="698231"/>
                </a:lnTo>
                <a:lnTo>
                  <a:pt x="6047512" y="637633"/>
                </a:lnTo>
                <a:lnTo>
                  <a:pt x="6053591" y="626323"/>
                </a:lnTo>
                <a:lnTo>
                  <a:pt x="6055898" y="621176"/>
                </a:lnTo>
                <a:lnTo>
                  <a:pt x="6066073" y="603101"/>
                </a:lnTo>
                <a:lnTo>
                  <a:pt x="6092845" y="553294"/>
                </a:lnTo>
                <a:lnTo>
                  <a:pt x="6102056" y="539178"/>
                </a:lnTo>
                <a:lnTo>
                  <a:pt x="6105971" y="532224"/>
                </a:lnTo>
                <a:lnTo>
                  <a:pt x="6117824" y="515013"/>
                </a:lnTo>
                <a:lnTo>
                  <a:pt x="6144948" y="473445"/>
                </a:lnTo>
                <a:lnTo>
                  <a:pt x="6157796" y="456974"/>
                </a:lnTo>
                <a:lnTo>
                  <a:pt x="6163633" y="448498"/>
                </a:lnTo>
                <a:lnTo>
                  <a:pt x="6176449" y="433062"/>
                </a:lnTo>
                <a:lnTo>
                  <a:pt x="6203434" y="398470"/>
                </a:lnTo>
                <a:lnTo>
                  <a:pt x="6220382" y="380147"/>
                </a:lnTo>
                <a:lnTo>
                  <a:pt x="6228421" y="370466"/>
                </a:lnTo>
                <a:lnTo>
                  <a:pt x="6241622" y="357186"/>
                </a:lnTo>
                <a:lnTo>
                  <a:pt x="6267920" y="328755"/>
                </a:lnTo>
                <a:lnTo>
                  <a:pt x="6289391" y="309131"/>
                </a:lnTo>
                <a:lnTo>
                  <a:pt x="6299866" y="298593"/>
                </a:lnTo>
                <a:lnTo>
                  <a:pt x="6312962" y="287587"/>
                </a:lnTo>
                <a:lnTo>
                  <a:pt x="6338022" y="264683"/>
                </a:lnTo>
                <a:lnTo>
                  <a:pt x="6364404" y="244356"/>
                </a:lnTo>
                <a:lnTo>
                  <a:pt x="6377502" y="233348"/>
                </a:lnTo>
                <a:lnTo>
                  <a:pt x="6390060" y="224587"/>
                </a:lnTo>
                <a:lnTo>
                  <a:pt x="6413355" y="206638"/>
                </a:lnTo>
                <a:lnTo>
                  <a:pt x="6445019" y="186248"/>
                </a:lnTo>
                <a:lnTo>
                  <a:pt x="6460863" y="175195"/>
                </a:lnTo>
                <a:lnTo>
                  <a:pt x="6472496" y="168554"/>
                </a:lnTo>
                <a:lnTo>
                  <a:pt x="6493536" y="155005"/>
                </a:lnTo>
                <a:lnTo>
                  <a:pt x="6530863" y="135232"/>
                </a:lnTo>
                <a:lnTo>
                  <a:pt x="6549482" y="124603"/>
                </a:lnTo>
                <a:lnTo>
                  <a:pt x="6559839" y="119882"/>
                </a:lnTo>
                <a:lnTo>
                  <a:pt x="6578180" y="110167"/>
                </a:lnTo>
                <a:lnTo>
                  <a:pt x="6621627" y="91726"/>
                </a:lnTo>
                <a:lnTo>
                  <a:pt x="6642891" y="82036"/>
                </a:lnTo>
                <a:lnTo>
                  <a:pt x="6651657" y="78980"/>
                </a:lnTo>
                <a:lnTo>
                  <a:pt x="6666902" y="72509"/>
                </a:lnTo>
                <a:lnTo>
                  <a:pt x="6717142" y="56150"/>
                </a:lnTo>
                <a:lnTo>
                  <a:pt x="6740626" y="47963"/>
                </a:lnTo>
                <a:lnTo>
                  <a:pt x="6747514" y="46260"/>
                </a:lnTo>
                <a:lnTo>
                  <a:pt x="6759319" y="42416"/>
                </a:lnTo>
                <a:lnTo>
                  <a:pt x="6817670" y="28918"/>
                </a:lnTo>
                <a:lnTo>
                  <a:pt x="6842218" y="22850"/>
                </a:lnTo>
                <a:lnTo>
                  <a:pt x="6846973" y="22139"/>
                </a:lnTo>
                <a:lnTo>
                  <a:pt x="6855046" y="20272"/>
                </a:lnTo>
                <a:lnTo>
                  <a:pt x="6925243" y="10445"/>
                </a:lnTo>
                <a:lnTo>
                  <a:pt x="6947201" y="7163"/>
                </a:lnTo>
                <a:lnTo>
                  <a:pt x="6949512" y="7047"/>
                </a:lnTo>
                <a:lnTo>
                  <a:pt x="6953699" y="6460"/>
                </a:lnTo>
                <a:lnTo>
                  <a:pt x="7002386" y="4155"/>
                </a:lnTo>
                <a:lnTo>
                  <a:pt x="7002386" y="1346"/>
                </a:lnTo>
                <a:lnTo>
                  <a:pt x="7047272" y="1346"/>
                </a:lnTo>
                <a:lnTo>
                  <a:pt x="7061721" y="1346"/>
                </a:lnTo>
                <a:lnTo>
                  <a:pt x="7062058" y="1346"/>
                </a:lnTo>
                <a:lnTo>
                  <a:pt x="7062058" y="0"/>
                </a:lnTo>
                <a:lnTo>
                  <a:pt x="9416738" y="0"/>
                </a:lnTo>
                <a:lnTo>
                  <a:pt x="9476411" y="0"/>
                </a:lnTo>
                <a:lnTo>
                  <a:pt x="9476411" y="1332"/>
                </a:lnTo>
                <a:lnTo>
                  <a:pt x="9621926" y="1332"/>
                </a:lnTo>
                <a:lnTo>
                  <a:pt x="9621926" y="1232695"/>
                </a:lnTo>
                <a:lnTo>
                  <a:pt x="9621927" y="1232695"/>
                </a:lnTo>
                <a:lnTo>
                  <a:pt x="9621927" y="1224666"/>
                </a:lnTo>
                <a:lnTo>
                  <a:pt x="9624974" y="1224666"/>
                </a:lnTo>
                <a:lnTo>
                  <a:pt x="9628560" y="1153649"/>
                </a:lnTo>
                <a:cubicBezTo>
                  <a:pt x="9694367" y="505662"/>
                  <a:pt x="10241613" y="0"/>
                  <a:pt x="10906963" y="0"/>
                </a:cubicBezTo>
                <a:cubicBezTo>
                  <a:pt x="11616669" y="0"/>
                  <a:pt x="12191999" y="575331"/>
                  <a:pt x="12191999" y="1285037"/>
                </a:cubicBezTo>
                <a:cubicBezTo>
                  <a:pt x="12191999" y="1950386"/>
                  <a:pt x="11686337" y="2497632"/>
                  <a:pt x="11038350" y="2563438"/>
                </a:cubicBezTo>
                <a:lnTo>
                  <a:pt x="10924212" y="2569202"/>
                </a:lnTo>
                <a:lnTo>
                  <a:pt x="10924212" y="2570073"/>
                </a:lnTo>
                <a:lnTo>
                  <a:pt x="10906963" y="2570073"/>
                </a:lnTo>
                <a:lnTo>
                  <a:pt x="10572749" y="2570073"/>
                </a:lnTo>
                <a:lnTo>
                  <a:pt x="9621927" y="2570073"/>
                </a:lnTo>
                <a:lnTo>
                  <a:pt x="9416738" y="2570073"/>
                </a:lnTo>
                <a:lnTo>
                  <a:pt x="7062058" y="2570073"/>
                </a:lnTo>
                <a:lnTo>
                  <a:pt x="7002386" y="2570073"/>
                </a:lnTo>
                <a:lnTo>
                  <a:pt x="6572249" y="2570073"/>
                </a:lnTo>
                <a:lnTo>
                  <a:pt x="6572249" y="2568741"/>
                </a:lnTo>
                <a:lnTo>
                  <a:pt x="5935736" y="2568741"/>
                </a:lnTo>
                <a:lnTo>
                  <a:pt x="5935736" y="2253318"/>
                </a:lnTo>
                <a:lnTo>
                  <a:pt x="5935736" y="1487489"/>
                </a:lnTo>
                <a:lnTo>
                  <a:pt x="5935733" y="1487489"/>
                </a:lnTo>
                <a:lnTo>
                  <a:pt x="5935733" y="1495639"/>
                </a:lnTo>
                <a:lnTo>
                  <a:pt x="5933197" y="1495639"/>
                </a:lnTo>
                <a:lnTo>
                  <a:pt x="5930616" y="1550153"/>
                </a:lnTo>
                <a:lnTo>
                  <a:pt x="5930144" y="1553460"/>
                </a:lnTo>
                <a:lnTo>
                  <a:pt x="5929922" y="1557867"/>
                </a:lnTo>
                <a:cubicBezTo>
                  <a:pt x="5923163" y="1624404"/>
                  <a:pt x="5910612" y="1689229"/>
                  <a:pt x="5892782" y="1751829"/>
                </a:cubicBezTo>
                <a:lnTo>
                  <a:pt x="5891264" y="1756392"/>
                </a:lnTo>
                <a:lnTo>
                  <a:pt x="5891075" y="1757179"/>
                </a:lnTo>
                <a:lnTo>
                  <a:pt x="5888400" y="1765008"/>
                </a:lnTo>
                <a:lnTo>
                  <a:pt x="5862137" y="1843996"/>
                </a:lnTo>
                <a:lnTo>
                  <a:pt x="5858638" y="1852103"/>
                </a:lnTo>
                <a:lnTo>
                  <a:pt x="5857585" y="1855185"/>
                </a:lnTo>
                <a:lnTo>
                  <a:pt x="5850118" y="1871843"/>
                </a:lnTo>
                <a:lnTo>
                  <a:pt x="5823957" y="1932441"/>
                </a:lnTo>
                <a:lnTo>
                  <a:pt x="5817877" y="1943751"/>
                </a:lnTo>
                <a:lnTo>
                  <a:pt x="5815570" y="1948897"/>
                </a:lnTo>
                <a:lnTo>
                  <a:pt x="5805396" y="1966972"/>
                </a:lnTo>
                <a:lnTo>
                  <a:pt x="5778623" y="2016780"/>
                </a:lnTo>
                <a:lnTo>
                  <a:pt x="5769413" y="2030895"/>
                </a:lnTo>
                <a:lnTo>
                  <a:pt x="5765499" y="2037850"/>
                </a:lnTo>
                <a:lnTo>
                  <a:pt x="5753645" y="2055061"/>
                </a:lnTo>
                <a:lnTo>
                  <a:pt x="5726521" y="2096629"/>
                </a:lnTo>
                <a:lnTo>
                  <a:pt x="5713673" y="2113099"/>
                </a:lnTo>
                <a:lnTo>
                  <a:pt x="5707835" y="2121576"/>
                </a:lnTo>
                <a:lnTo>
                  <a:pt x="5695020" y="2137011"/>
                </a:lnTo>
                <a:lnTo>
                  <a:pt x="5668036" y="2171603"/>
                </a:lnTo>
                <a:lnTo>
                  <a:pt x="5651086" y="2189926"/>
                </a:lnTo>
                <a:lnTo>
                  <a:pt x="5643047" y="2199608"/>
                </a:lnTo>
                <a:lnTo>
                  <a:pt x="5629847" y="2212888"/>
                </a:lnTo>
                <a:lnTo>
                  <a:pt x="5603549" y="2241318"/>
                </a:lnTo>
                <a:lnTo>
                  <a:pt x="5582078" y="2260943"/>
                </a:lnTo>
                <a:lnTo>
                  <a:pt x="5571603" y="2271480"/>
                </a:lnTo>
                <a:lnTo>
                  <a:pt x="5558506" y="2282487"/>
                </a:lnTo>
                <a:lnTo>
                  <a:pt x="5533446" y="2305391"/>
                </a:lnTo>
                <a:lnTo>
                  <a:pt x="5507066" y="2325718"/>
                </a:lnTo>
                <a:lnTo>
                  <a:pt x="5493966" y="2336726"/>
                </a:lnTo>
                <a:lnTo>
                  <a:pt x="5481407" y="2345487"/>
                </a:lnTo>
                <a:lnTo>
                  <a:pt x="5458113" y="2363435"/>
                </a:lnTo>
                <a:lnTo>
                  <a:pt x="5426450" y="2383826"/>
                </a:lnTo>
                <a:lnTo>
                  <a:pt x="5410605" y="2394879"/>
                </a:lnTo>
                <a:lnTo>
                  <a:pt x="5398974" y="2401520"/>
                </a:lnTo>
                <a:lnTo>
                  <a:pt x="5377932" y="2415069"/>
                </a:lnTo>
                <a:lnTo>
                  <a:pt x="5340606" y="2434842"/>
                </a:lnTo>
                <a:lnTo>
                  <a:pt x="5321988" y="2445471"/>
                </a:lnTo>
                <a:lnTo>
                  <a:pt x="5311629" y="2450191"/>
                </a:lnTo>
                <a:lnTo>
                  <a:pt x="5293289" y="2459906"/>
                </a:lnTo>
                <a:lnTo>
                  <a:pt x="5249843" y="2478347"/>
                </a:lnTo>
                <a:lnTo>
                  <a:pt x="5228578" y="2488037"/>
                </a:lnTo>
                <a:lnTo>
                  <a:pt x="5219811" y="2491093"/>
                </a:lnTo>
                <a:lnTo>
                  <a:pt x="5204566" y="2497564"/>
                </a:lnTo>
                <a:lnTo>
                  <a:pt x="5154326" y="2513923"/>
                </a:lnTo>
                <a:lnTo>
                  <a:pt x="5130842" y="2522110"/>
                </a:lnTo>
                <a:lnTo>
                  <a:pt x="5123955" y="2523813"/>
                </a:lnTo>
                <a:lnTo>
                  <a:pt x="5112149" y="2527657"/>
                </a:lnTo>
                <a:lnTo>
                  <a:pt x="5053798" y="2541156"/>
                </a:lnTo>
                <a:lnTo>
                  <a:pt x="5029250" y="2547223"/>
                </a:lnTo>
                <a:lnTo>
                  <a:pt x="5024496" y="2547934"/>
                </a:lnTo>
                <a:lnTo>
                  <a:pt x="5016422" y="2549802"/>
                </a:lnTo>
                <a:lnTo>
                  <a:pt x="4946225" y="2559629"/>
                </a:lnTo>
                <a:lnTo>
                  <a:pt x="4924267" y="2562910"/>
                </a:lnTo>
                <a:lnTo>
                  <a:pt x="4921957" y="2563027"/>
                </a:lnTo>
                <a:lnTo>
                  <a:pt x="4917769" y="2563613"/>
                </a:lnTo>
                <a:lnTo>
                  <a:pt x="4869084" y="2565918"/>
                </a:lnTo>
                <a:lnTo>
                  <a:pt x="4869084" y="2568728"/>
                </a:lnTo>
                <a:lnTo>
                  <a:pt x="4824196" y="2568728"/>
                </a:lnTo>
                <a:lnTo>
                  <a:pt x="4809749" y="2568728"/>
                </a:lnTo>
                <a:lnTo>
                  <a:pt x="4809411" y="2568728"/>
                </a:lnTo>
                <a:lnTo>
                  <a:pt x="4809411" y="2570073"/>
                </a:lnTo>
                <a:lnTo>
                  <a:pt x="3481005" y="2570073"/>
                </a:lnTo>
                <a:lnTo>
                  <a:pt x="2454730" y="2570073"/>
                </a:lnTo>
                <a:lnTo>
                  <a:pt x="2395058" y="2570073"/>
                </a:lnTo>
                <a:lnTo>
                  <a:pt x="1126324" y="2570073"/>
                </a:lnTo>
                <a:lnTo>
                  <a:pt x="1066652" y="2570073"/>
                </a:lnTo>
                <a:lnTo>
                  <a:pt x="1066652" y="2568741"/>
                </a:lnTo>
                <a:lnTo>
                  <a:pt x="1" y="2568741"/>
                </a:lnTo>
                <a:lnTo>
                  <a:pt x="1" y="2253318"/>
                </a:lnTo>
                <a:lnTo>
                  <a:pt x="1" y="1443429"/>
                </a:lnTo>
                <a:lnTo>
                  <a:pt x="1" y="1442766"/>
                </a:lnTo>
                <a:lnTo>
                  <a:pt x="0" y="1442755"/>
                </a:lnTo>
                <a:lnTo>
                  <a:pt x="1" y="1442744"/>
                </a:lnTo>
                <a:lnTo>
                  <a:pt x="1" y="1389857"/>
                </a:lnTo>
                <a:lnTo>
                  <a:pt x="1" y="1128007"/>
                </a:lnTo>
                <a:lnTo>
                  <a:pt x="1" y="1127343"/>
                </a:lnTo>
                <a:lnTo>
                  <a:pt x="0" y="1127332"/>
                </a:lnTo>
                <a:lnTo>
                  <a:pt x="1" y="1127322"/>
                </a:lnTo>
                <a:lnTo>
                  <a:pt x="1" y="1074434"/>
                </a:lnTo>
                <a:lnTo>
                  <a:pt x="2538" y="1074434"/>
                </a:lnTo>
                <a:lnTo>
                  <a:pt x="5119" y="1019920"/>
                </a:lnTo>
                <a:lnTo>
                  <a:pt x="5592" y="1016613"/>
                </a:lnTo>
                <a:lnTo>
                  <a:pt x="5814" y="1012207"/>
                </a:lnTo>
                <a:cubicBezTo>
                  <a:pt x="12572" y="945669"/>
                  <a:pt x="25122" y="880845"/>
                  <a:pt x="42953" y="818244"/>
                </a:cubicBezTo>
                <a:lnTo>
                  <a:pt x="44470" y="813682"/>
                </a:lnTo>
                <a:lnTo>
                  <a:pt x="44660" y="812894"/>
                </a:lnTo>
                <a:lnTo>
                  <a:pt x="47335" y="805066"/>
                </a:lnTo>
                <a:lnTo>
                  <a:pt x="73597" y="726078"/>
                </a:lnTo>
                <a:lnTo>
                  <a:pt x="77097" y="717971"/>
                </a:lnTo>
                <a:lnTo>
                  <a:pt x="78150" y="714889"/>
                </a:lnTo>
                <a:lnTo>
                  <a:pt x="85619" y="698231"/>
                </a:lnTo>
                <a:lnTo>
                  <a:pt x="111778" y="637633"/>
                </a:lnTo>
                <a:lnTo>
                  <a:pt x="117857" y="626323"/>
                </a:lnTo>
                <a:lnTo>
                  <a:pt x="120165" y="621176"/>
                </a:lnTo>
                <a:lnTo>
                  <a:pt x="130339" y="603101"/>
                </a:lnTo>
                <a:lnTo>
                  <a:pt x="157112" y="553294"/>
                </a:lnTo>
                <a:lnTo>
                  <a:pt x="166322" y="539178"/>
                </a:lnTo>
                <a:lnTo>
                  <a:pt x="170237" y="532224"/>
                </a:lnTo>
                <a:lnTo>
                  <a:pt x="182090" y="515013"/>
                </a:lnTo>
                <a:lnTo>
                  <a:pt x="209214" y="473445"/>
                </a:lnTo>
                <a:lnTo>
                  <a:pt x="222062" y="456974"/>
                </a:lnTo>
                <a:lnTo>
                  <a:pt x="227900" y="448498"/>
                </a:lnTo>
                <a:lnTo>
                  <a:pt x="240715" y="433062"/>
                </a:lnTo>
                <a:lnTo>
                  <a:pt x="267700" y="398470"/>
                </a:lnTo>
                <a:lnTo>
                  <a:pt x="284649" y="380147"/>
                </a:lnTo>
                <a:lnTo>
                  <a:pt x="292687" y="370466"/>
                </a:lnTo>
                <a:lnTo>
                  <a:pt x="305888" y="357186"/>
                </a:lnTo>
                <a:lnTo>
                  <a:pt x="332186" y="328755"/>
                </a:lnTo>
                <a:lnTo>
                  <a:pt x="353657" y="309131"/>
                </a:lnTo>
                <a:lnTo>
                  <a:pt x="364133" y="298593"/>
                </a:lnTo>
                <a:lnTo>
                  <a:pt x="377228" y="287587"/>
                </a:lnTo>
                <a:lnTo>
                  <a:pt x="402288" y="264683"/>
                </a:lnTo>
                <a:lnTo>
                  <a:pt x="428670" y="244356"/>
                </a:lnTo>
                <a:lnTo>
                  <a:pt x="441769" y="233348"/>
                </a:lnTo>
                <a:lnTo>
                  <a:pt x="454327" y="224587"/>
                </a:lnTo>
                <a:lnTo>
                  <a:pt x="477622" y="206638"/>
                </a:lnTo>
                <a:lnTo>
                  <a:pt x="509285" y="186248"/>
                </a:lnTo>
                <a:lnTo>
                  <a:pt x="525129" y="175195"/>
                </a:lnTo>
                <a:lnTo>
                  <a:pt x="536762" y="168554"/>
                </a:lnTo>
                <a:lnTo>
                  <a:pt x="557803" y="155005"/>
                </a:lnTo>
                <a:lnTo>
                  <a:pt x="595129" y="135232"/>
                </a:lnTo>
                <a:lnTo>
                  <a:pt x="613748" y="124603"/>
                </a:lnTo>
                <a:lnTo>
                  <a:pt x="624106" y="119882"/>
                </a:lnTo>
                <a:lnTo>
                  <a:pt x="642446" y="110167"/>
                </a:lnTo>
                <a:lnTo>
                  <a:pt x="685893" y="91726"/>
                </a:lnTo>
                <a:lnTo>
                  <a:pt x="707157" y="82036"/>
                </a:lnTo>
                <a:lnTo>
                  <a:pt x="715923" y="78980"/>
                </a:lnTo>
                <a:lnTo>
                  <a:pt x="731168" y="72509"/>
                </a:lnTo>
                <a:lnTo>
                  <a:pt x="781408" y="56150"/>
                </a:lnTo>
                <a:lnTo>
                  <a:pt x="804892" y="47963"/>
                </a:lnTo>
                <a:lnTo>
                  <a:pt x="811780" y="46260"/>
                </a:lnTo>
                <a:lnTo>
                  <a:pt x="823585" y="42416"/>
                </a:lnTo>
                <a:lnTo>
                  <a:pt x="881937" y="28918"/>
                </a:lnTo>
                <a:lnTo>
                  <a:pt x="906484" y="22850"/>
                </a:lnTo>
                <a:lnTo>
                  <a:pt x="911239" y="22139"/>
                </a:lnTo>
                <a:lnTo>
                  <a:pt x="919312" y="20272"/>
                </a:lnTo>
                <a:lnTo>
                  <a:pt x="989509" y="10445"/>
                </a:lnTo>
                <a:lnTo>
                  <a:pt x="1011467" y="7163"/>
                </a:lnTo>
                <a:lnTo>
                  <a:pt x="1013779" y="7047"/>
                </a:lnTo>
                <a:lnTo>
                  <a:pt x="1017965" y="6460"/>
                </a:lnTo>
                <a:lnTo>
                  <a:pt x="1066652" y="4155"/>
                </a:lnTo>
                <a:lnTo>
                  <a:pt x="1066652" y="1346"/>
                </a:lnTo>
                <a:lnTo>
                  <a:pt x="1111538" y="1346"/>
                </a:lnTo>
                <a:lnTo>
                  <a:pt x="1125987" y="1346"/>
                </a:lnTo>
                <a:lnTo>
                  <a:pt x="1126324" y="1346"/>
                </a:lnTo>
                <a:close/>
              </a:path>
            </a:pathLst>
          </a:custGeom>
        </p:spPr>
        <p:txBody>
          <a:bodyPr wrap="square">
            <a:noAutofit/>
          </a:bodyPr>
          <a:lstStyle/>
          <a:p>
            <a:endParaRPr lang="en-US"/>
          </a:p>
        </p:txBody>
      </p:sp>
    </p:spTree>
    <p:extLst>
      <p:ext uri="{BB962C8B-B14F-4D97-AF65-F5344CB8AC3E}">
        <p14:creationId xmlns:p14="http://schemas.microsoft.com/office/powerpoint/2010/main" val="288476814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7C4926E-FE39-4D92-B15E-E7E846875059}"/>
              </a:ext>
            </a:extLst>
          </p:cNvPr>
          <p:cNvSpPr>
            <a:spLocks noGrp="1"/>
          </p:cNvSpPr>
          <p:nvPr>
            <p:ph type="pic" sz="quarter" idx="12"/>
          </p:nvPr>
        </p:nvSpPr>
        <p:spPr>
          <a:xfrm>
            <a:off x="7500496" y="3967737"/>
            <a:ext cx="2187798" cy="2187798"/>
          </a:xfrm>
          <a:custGeom>
            <a:avLst/>
            <a:gdLst>
              <a:gd name="connsiteX0" fmla="*/ 1079216 w 2187798"/>
              <a:gd name="connsiteY0" fmla="*/ 0 h 2187798"/>
              <a:gd name="connsiteX1" fmla="*/ 1093899 w 2187798"/>
              <a:gd name="connsiteY1" fmla="*/ 0 h 2187798"/>
              <a:gd name="connsiteX2" fmla="*/ 2187798 w 2187798"/>
              <a:gd name="connsiteY2" fmla="*/ 0 h 2187798"/>
              <a:gd name="connsiteX3" fmla="*/ 2187798 w 2187798"/>
              <a:gd name="connsiteY3" fmla="*/ 1093889 h 2187798"/>
              <a:gd name="connsiteX4" fmla="*/ 2187798 w 2187798"/>
              <a:gd name="connsiteY4" fmla="*/ 1093899 h 2187798"/>
              <a:gd name="connsiteX5" fmla="*/ 2187798 w 2187798"/>
              <a:gd name="connsiteY5" fmla="*/ 1093910 h 2187798"/>
              <a:gd name="connsiteX6" fmla="*/ 2187798 w 2187798"/>
              <a:gd name="connsiteY6" fmla="*/ 1145290 h 2187798"/>
              <a:gd name="connsiteX7" fmla="*/ 2185204 w 2187798"/>
              <a:gd name="connsiteY7" fmla="*/ 1145290 h 2187798"/>
              <a:gd name="connsiteX8" fmla="*/ 2182151 w 2187798"/>
              <a:gd name="connsiteY8" fmla="*/ 1205743 h 2187798"/>
              <a:gd name="connsiteX9" fmla="*/ 1093899 w 2187798"/>
              <a:gd name="connsiteY9" fmla="*/ 2187798 h 2187798"/>
              <a:gd name="connsiteX10" fmla="*/ 0 w 2187798"/>
              <a:gd name="connsiteY10" fmla="*/ 1093899 h 2187798"/>
              <a:gd name="connsiteX11" fmla="*/ 982055 w 2187798"/>
              <a:gd name="connsiteY11" fmla="*/ 5647 h 2187798"/>
              <a:gd name="connsiteX12" fmla="*/ 1079216 w 2187798"/>
              <a:gd name="connsiteY12" fmla="*/ 741 h 2187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87798" h="2187798">
                <a:moveTo>
                  <a:pt x="1079216" y="0"/>
                </a:moveTo>
                <a:lnTo>
                  <a:pt x="1093899" y="0"/>
                </a:lnTo>
                <a:lnTo>
                  <a:pt x="2187798" y="0"/>
                </a:lnTo>
                <a:lnTo>
                  <a:pt x="2187798" y="1093889"/>
                </a:lnTo>
                <a:lnTo>
                  <a:pt x="2187798" y="1093899"/>
                </a:lnTo>
                <a:lnTo>
                  <a:pt x="2187798" y="1093910"/>
                </a:lnTo>
                <a:lnTo>
                  <a:pt x="2187798" y="1145290"/>
                </a:lnTo>
                <a:lnTo>
                  <a:pt x="2185204" y="1145290"/>
                </a:lnTo>
                <a:lnTo>
                  <a:pt x="2182151" y="1205743"/>
                </a:lnTo>
                <a:cubicBezTo>
                  <a:pt x="2126132" y="1757349"/>
                  <a:pt x="1660284" y="2187798"/>
                  <a:pt x="1093899" y="2187798"/>
                </a:cubicBezTo>
                <a:cubicBezTo>
                  <a:pt x="489755" y="2187798"/>
                  <a:pt x="0" y="1698043"/>
                  <a:pt x="0" y="1093899"/>
                </a:cubicBezTo>
                <a:cubicBezTo>
                  <a:pt x="0" y="527514"/>
                  <a:pt x="430449" y="61666"/>
                  <a:pt x="982055" y="5647"/>
                </a:cubicBezTo>
                <a:lnTo>
                  <a:pt x="1079216" y="741"/>
                </a:lnTo>
                <a:close/>
              </a:path>
            </a:pathLst>
          </a:custGeom>
        </p:spPr>
        <p:txBody>
          <a:bodyPr wrap="square">
            <a:noAutofit/>
          </a:bodyPr>
          <a:lstStyle/>
          <a:p>
            <a:endParaRPr lang="en-US"/>
          </a:p>
        </p:txBody>
      </p:sp>
      <p:sp>
        <p:nvSpPr>
          <p:cNvPr id="12" name="Picture Placeholder 11">
            <a:extLst>
              <a:ext uri="{FF2B5EF4-FFF2-40B4-BE49-F238E27FC236}">
                <a16:creationId xmlns:a16="http://schemas.microsoft.com/office/drawing/2014/main" id="{4267D55D-E2CE-493C-9AC4-CAFC21A69480}"/>
              </a:ext>
            </a:extLst>
          </p:cNvPr>
          <p:cNvSpPr>
            <a:spLocks noGrp="1"/>
          </p:cNvSpPr>
          <p:nvPr>
            <p:ph type="pic" sz="quarter" idx="11"/>
          </p:nvPr>
        </p:nvSpPr>
        <p:spPr>
          <a:xfrm>
            <a:off x="9817164" y="722543"/>
            <a:ext cx="1892234" cy="3082398"/>
          </a:xfrm>
          <a:custGeom>
            <a:avLst/>
            <a:gdLst>
              <a:gd name="connsiteX0" fmla="*/ 946123 w 1892234"/>
              <a:gd name="connsiteY0" fmla="*/ 0 h 3082398"/>
              <a:gd name="connsiteX1" fmla="*/ 946132 w 1892234"/>
              <a:gd name="connsiteY1" fmla="*/ 1 h 3082398"/>
              <a:gd name="connsiteX2" fmla="*/ 946689 w 1892234"/>
              <a:gd name="connsiteY2" fmla="*/ 1 h 3082398"/>
              <a:gd name="connsiteX3" fmla="*/ 1891116 w 1892234"/>
              <a:gd name="connsiteY3" fmla="*/ 1 h 3082398"/>
              <a:gd name="connsiteX4" fmla="*/ 1891116 w 1892234"/>
              <a:gd name="connsiteY4" fmla="*/ 243844 h 3082398"/>
              <a:gd name="connsiteX5" fmla="*/ 1891116 w 1892234"/>
              <a:gd name="connsiteY5" fmla="*/ 880579 h 3082398"/>
              <a:gd name="connsiteX6" fmla="*/ 1891105 w 1892234"/>
              <a:gd name="connsiteY6" fmla="*/ 880579 h 3082398"/>
              <a:gd name="connsiteX7" fmla="*/ 1891105 w 1892234"/>
              <a:gd name="connsiteY7" fmla="*/ 881891 h 3082398"/>
              <a:gd name="connsiteX8" fmla="*/ 1888747 w 1892234"/>
              <a:gd name="connsiteY8" fmla="*/ 881891 h 3082398"/>
              <a:gd name="connsiteX9" fmla="*/ 1886812 w 1892234"/>
              <a:gd name="connsiteY9" fmla="*/ 922752 h 3082398"/>
              <a:gd name="connsiteX10" fmla="*/ 1886320 w 1892234"/>
              <a:gd name="connsiteY10" fmla="*/ 926265 h 3082398"/>
              <a:gd name="connsiteX11" fmla="*/ 1886222 w 1892234"/>
              <a:gd name="connsiteY11" fmla="*/ 928206 h 3082398"/>
              <a:gd name="connsiteX12" fmla="*/ 1883469 w 1892234"/>
              <a:gd name="connsiteY12" fmla="*/ 946634 h 3082398"/>
              <a:gd name="connsiteX13" fmla="*/ 1875221 w 1892234"/>
              <a:gd name="connsiteY13" fmla="*/ 1005547 h 3082398"/>
              <a:gd name="connsiteX14" fmla="*/ 1873654 w 1892234"/>
              <a:gd name="connsiteY14" fmla="*/ 1012323 h 3082398"/>
              <a:gd name="connsiteX15" fmla="*/ 1873058 w 1892234"/>
              <a:gd name="connsiteY15" fmla="*/ 1016314 h 3082398"/>
              <a:gd name="connsiteX16" fmla="*/ 1867964 w 1892234"/>
              <a:gd name="connsiteY16" fmla="*/ 1036915 h 3082398"/>
              <a:gd name="connsiteX17" fmla="*/ 1856636 w 1892234"/>
              <a:gd name="connsiteY17" fmla="*/ 1085888 h 3082398"/>
              <a:gd name="connsiteX18" fmla="*/ 1853410 w 1892234"/>
              <a:gd name="connsiteY18" fmla="*/ 1095794 h 3082398"/>
              <a:gd name="connsiteX19" fmla="*/ 1851981 w 1892234"/>
              <a:gd name="connsiteY19" fmla="*/ 1101576 h 3082398"/>
              <a:gd name="connsiteX20" fmla="*/ 1845110 w 1892234"/>
              <a:gd name="connsiteY20" fmla="*/ 1121285 h 3082398"/>
              <a:gd name="connsiteX21" fmla="*/ 1831381 w 1892234"/>
              <a:gd name="connsiteY21" fmla="*/ 1163449 h 3082398"/>
              <a:gd name="connsiteX22" fmla="*/ 1825950 w 1892234"/>
              <a:gd name="connsiteY22" fmla="*/ 1176243 h 3082398"/>
              <a:gd name="connsiteX23" fmla="*/ 1823385 w 1892234"/>
              <a:gd name="connsiteY23" fmla="*/ 1183600 h 3082398"/>
              <a:gd name="connsiteX24" fmla="*/ 1815252 w 1892234"/>
              <a:gd name="connsiteY24" fmla="*/ 1201446 h 3082398"/>
              <a:gd name="connsiteX25" fmla="*/ 1799775 w 1892234"/>
              <a:gd name="connsiteY25" fmla="*/ 1237910 h 3082398"/>
              <a:gd name="connsiteX26" fmla="*/ 1791622 w 1892234"/>
              <a:gd name="connsiteY26" fmla="*/ 1253302 h 3082398"/>
              <a:gd name="connsiteX27" fmla="*/ 1787661 w 1892234"/>
              <a:gd name="connsiteY27" fmla="*/ 1261995 h 3082398"/>
              <a:gd name="connsiteX28" fmla="*/ 1778740 w 1892234"/>
              <a:gd name="connsiteY28" fmla="*/ 1277620 h 3082398"/>
              <a:gd name="connsiteX29" fmla="*/ 1762146 w 1892234"/>
              <a:gd name="connsiteY29" fmla="*/ 1308948 h 3082398"/>
              <a:gd name="connsiteX30" fmla="*/ 1750774 w 1892234"/>
              <a:gd name="connsiteY30" fmla="*/ 1326606 h 3082398"/>
              <a:gd name="connsiteX31" fmla="*/ 1745201 w 1892234"/>
              <a:gd name="connsiteY31" fmla="*/ 1336369 h 3082398"/>
              <a:gd name="connsiteX32" fmla="*/ 1735924 w 1892234"/>
              <a:gd name="connsiteY32" fmla="*/ 1349666 h 3082398"/>
              <a:gd name="connsiteX33" fmla="*/ 1718812 w 1892234"/>
              <a:gd name="connsiteY33" fmla="*/ 1376240 h 3082398"/>
              <a:gd name="connsiteX34" fmla="*/ 1703748 w 1892234"/>
              <a:gd name="connsiteY34" fmla="*/ 1395790 h 3082398"/>
              <a:gd name="connsiteX35" fmla="*/ 1696396 w 1892234"/>
              <a:gd name="connsiteY35" fmla="*/ 1406330 h 3082398"/>
              <a:gd name="connsiteX36" fmla="*/ 1687157 w 1892234"/>
              <a:gd name="connsiteY36" fmla="*/ 1417324 h 3082398"/>
              <a:gd name="connsiteX37" fmla="*/ 1670097 w 1892234"/>
              <a:gd name="connsiteY37" fmla="*/ 1439464 h 3082398"/>
              <a:gd name="connsiteX38" fmla="*/ 1650874 w 1892234"/>
              <a:gd name="connsiteY38" fmla="*/ 1460496 h 3082398"/>
              <a:gd name="connsiteX39" fmla="*/ 1641638 w 1892234"/>
              <a:gd name="connsiteY39" fmla="*/ 1471486 h 3082398"/>
              <a:gd name="connsiteX40" fmla="*/ 1632794 w 1892234"/>
              <a:gd name="connsiteY40" fmla="*/ 1480278 h 3082398"/>
              <a:gd name="connsiteX41" fmla="*/ 1616324 w 1892234"/>
              <a:gd name="connsiteY41" fmla="*/ 1498298 h 3082398"/>
              <a:gd name="connsiteX42" fmla="*/ 1592464 w 1892234"/>
              <a:gd name="connsiteY42" fmla="*/ 1520368 h 3082398"/>
              <a:gd name="connsiteX43" fmla="*/ 1581318 w 1892234"/>
              <a:gd name="connsiteY43" fmla="*/ 1531448 h 3082398"/>
              <a:gd name="connsiteX44" fmla="*/ 1573192 w 1892234"/>
              <a:gd name="connsiteY44" fmla="*/ 1538194 h 3082398"/>
              <a:gd name="connsiteX45" fmla="*/ 1557815 w 1892234"/>
              <a:gd name="connsiteY45" fmla="*/ 1552419 h 3082398"/>
              <a:gd name="connsiteX46" fmla="*/ 1528783 w 1892234"/>
              <a:gd name="connsiteY46" fmla="*/ 1575065 h 3082398"/>
              <a:gd name="connsiteX47" fmla="*/ 1515829 w 1892234"/>
              <a:gd name="connsiteY47" fmla="*/ 1585822 h 3082398"/>
              <a:gd name="connsiteX48" fmla="*/ 1508716 w 1892234"/>
              <a:gd name="connsiteY48" fmla="*/ 1590720 h 3082398"/>
              <a:gd name="connsiteX49" fmla="*/ 1494892 w 1892234"/>
              <a:gd name="connsiteY49" fmla="*/ 1601503 h 3082398"/>
              <a:gd name="connsiteX50" fmla="*/ 1460006 w 1892234"/>
              <a:gd name="connsiteY50" fmla="*/ 1624267 h 3082398"/>
              <a:gd name="connsiteX51" fmla="*/ 1445562 w 1892234"/>
              <a:gd name="connsiteY51" fmla="*/ 1634216 h 3082398"/>
              <a:gd name="connsiteX52" fmla="*/ 1439724 w 1892234"/>
              <a:gd name="connsiteY52" fmla="*/ 1637500 h 3082398"/>
              <a:gd name="connsiteX53" fmla="*/ 1427878 w 1892234"/>
              <a:gd name="connsiteY53" fmla="*/ 1645231 h 3082398"/>
              <a:gd name="connsiteX54" fmla="*/ 1386077 w 1892234"/>
              <a:gd name="connsiteY54" fmla="*/ 1667699 h 3082398"/>
              <a:gd name="connsiteX55" fmla="*/ 1370907 w 1892234"/>
              <a:gd name="connsiteY55" fmla="*/ 1676239 h 3082398"/>
              <a:gd name="connsiteX56" fmla="*/ 1366588 w 1892234"/>
              <a:gd name="connsiteY56" fmla="*/ 1678176 h 3082398"/>
              <a:gd name="connsiteX57" fmla="*/ 1357095 w 1892234"/>
              <a:gd name="connsiteY57" fmla="*/ 1683278 h 3082398"/>
              <a:gd name="connsiteX58" fmla="*/ 1306238 w 1892234"/>
              <a:gd name="connsiteY58" fmla="*/ 1705232 h 3082398"/>
              <a:gd name="connsiteX59" fmla="*/ 1292258 w 1892234"/>
              <a:gd name="connsiteY59" fmla="*/ 1711500 h 3082398"/>
              <a:gd name="connsiteX60" fmla="*/ 1289672 w 1892234"/>
              <a:gd name="connsiteY60" fmla="*/ 1712383 h 3082398"/>
              <a:gd name="connsiteX61" fmla="*/ 1282867 w 1892234"/>
              <a:gd name="connsiteY61" fmla="*/ 1715321 h 3082398"/>
              <a:gd name="connsiteX62" fmla="*/ 1216576 w 1892234"/>
              <a:gd name="connsiteY62" fmla="*/ 1737360 h 3082398"/>
              <a:gd name="connsiteX63" fmla="*/ 1210005 w 1892234"/>
              <a:gd name="connsiteY63" fmla="*/ 1739607 h 3082398"/>
              <a:gd name="connsiteX64" fmla="*/ 1209346 w 1892234"/>
              <a:gd name="connsiteY64" fmla="*/ 1739766 h 3082398"/>
              <a:gd name="connsiteX65" fmla="*/ 1205516 w 1892234"/>
              <a:gd name="connsiteY65" fmla="*/ 1741039 h 3082398"/>
              <a:gd name="connsiteX66" fmla="*/ 1054134 w 1892234"/>
              <a:gd name="connsiteY66" fmla="*/ 1770025 h 3082398"/>
              <a:gd name="connsiteX67" fmla="*/ 1891117 w 1892234"/>
              <a:gd name="connsiteY67" fmla="*/ 1770025 h 3082398"/>
              <a:gd name="connsiteX68" fmla="*/ 1891117 w 1892234"/>
              <a:gd name="connsiteY68" fmla="*/ 1789112 h 3082398"/>
              <a:gd name="connsiteX69" fmla="*/ 1892234 w 1892234"/>
              <a:gd name="connsiteY69" fmla="*/ 1789112 h 3082398"/>
              <a:gd name="connsiteX70" fmla="*/ 1892234 w 1892234"/>
              <a:gd name="connsiteY70" fmla="*/ 1839193 h 3082398"/>
              <a:gd name="connsiteX71" fmla="*/ 1892234 w 1892234"/>
              <a:gd name="connsiteY71" fmla="*/ 1853486 h 3082398"/>
              <a:gd name="connsiteX72" fmla="*/ 1892234 w 1892234"/>
              <a:gd name="connsiteY72" fmla="*/ 1956126 h 3082398"/>
              <a:gd name="connsiteX73" fmla="*/ 1892234 w 1892234"/>
              <a:gd name="connsiteY73" fmla="*/ 2013863 h 3082398"/>
              <a:gd name="connsiteX74" fmla="*/ 1892234 w 1892234"/>
              <a:gd name="connsiteY74" fmla="*/ 2137122 h 3082398"/>
              <a:gd name="connsiteX75" fmla="*/ 1891105 w 1892234"/>
              <a:gd name="connsiteY75" fmla="*/ 2137122 h 3082398"/>
              <a:gd name="connsiteX76" fmla="*/ 1891105 w 1892234"/>
              <a:gd name="connsiteY76" fmla="*/ 2137122 h 3082398"/>
              <a:gd name="connsiteX77" fmla="*/ 1891105 w 1892234"/>
              <a:gd name="connsiteY77" fmla="*/ 2137404 h 3082398"/>
              <a:gd name="connsiteX78" fmla="*/ 1891105 w 1892234"/>
              <a:gd name="connsiteY78" fmla="*/ 2149531 h 3082398"/>
              <a:gd name="connsiteX79" fmla="*/ 1891105 w 1892234"/>
              <a:gd name="connsiteY79" fmla="*/ 2187202 h 3082398"/>
              <a:gd name="connsiteX80" fmla="*/ 1888748 w 1892234"/>
              <a:gd name="connsiteY80" fmla="*/ 2187202 h 3082398"/>
              <a:gd name="connsiteX81" fmla="*/ 1886812 w 1892234"/>
              <a:gd name="connsiteY81" fmla="*/ 2228063 h 3082398"/>
              <a:gd name="connsiteX82" fmla="*/ 1886321 w 1892234"/>
              <a:gd name="connsiteY82" fmla="*/ 2231576 h 3082398"/>
              <a:gd name="connsiteX83" fmla="*/ 1886223 w 1892234"/>
              <a:gd name="connsiteY83" fmla="*/ 2233517 h 3082398"/>
              <a:gd name="connsiteX84" fmla="*/ 1883469 w 1892234"/>
              <a:gd name="connsiteY84" fmla="*/ 2251944 h 3082398"/>
              <a:gd name="connsiteX85" fmla="*/ 1875221 w 1892234"/>
              <a:gd name="connsiteY85" fmla="*/ 2310858 h 3082398"/>
              <a:gd name="connsiteX86" fmla="*/ 1873654 w 1892234"/>
              <a:gd name="connsiteY86" fmla="*/ 2317633 h 3082398"/>
              <a:gd name="connsiteX87" fmla="*/ 1873058 w 1892234"/>
              <a:gd name="connsiteY87" fmla="*/ 2321625 h 3082398"/>
              <a:gd name="connsiteX88" fmla="*/ 1867964 w 1892234"/>
              <a:gd name="connsiteY88" fmla="*/ 2342225 h 3082398"/>
              <a:gd name="connsiteX89" fmla="*/ 1856636 w 1892234"/>
              <a:gd name="connsiteY89" fmla="*/ 2391197 h 3082398"/>
              <a:gd name="connsiteX90" fmla="*/ 1853410 w 1892234"/>
              <a:gd name="connsiteY90" fmla="*/ 2401106 h 3082398"/>
              <a:gd name="connsiteX91" fmla="*/ 1851981 w 1892234"/>
              <a:gd name="connsiteY91" fmla="*/ 2406886 h 3082398"/>
              <a:gd name="connsiteX92" fmla="*/ 1845110 w 1892234"/>
              <a:gd name="connsiteY92" fmla="*/ 2426596 h 3082398"/>
              <a:gd name="connsiteX93" fmla="*/ 1831381 w 1892234"/>
              <a:gd name="connsiteY93" fmla="*/ 2468760 h 3082398"/>
              <a:gd name="connsiteX94" fmla="*/ 1825950 w 1892234"/>
              <a:gd name="connsiteY94" fmla="*/ 2481555 h 3082398"/>
              <a:gd name="connsiteX95" fmla="*/ 1823386 w 1892234"/>
              <a:gd name="connsiteY95" fmla="*/ 2488910 h 3082398"/>
              <a:gd name="connsiteX96" fmla="*/ 1815252 w 1892234"/>
              <a:gd name="connsiteY96" fmla="*/ 2506756 h 3082398"/>
              <a:gd name="connsiteX97" fmla="*/ 1799776 w 1892234"/>
              <a:gd name="connsiteY97" fmla="*/ 2543220 h 3082398"/>
              <a:gd name="connsiteX98" fmla="*/ 1791622 w 1892234"/>
              <a:gd name="connsiteY98" fmla="*/ 2558613 h 3082398"/>
              <a:gd name="connsiteX99" fmla="*/ 1787661 w 1892234"/>
              <a:gd name="connsiteY99" fmla="*/ 2567306 h 3082398"/>
              <a:gd name="connsiteX100" fmla="*/ 1778740 w 1892234"/>
              <a:gd name="connsiteY100" fmla="*/ 2582931 h 3082398"/>
              <a:gd name="connsiteX101" fmla="*/ 1762146 w 1892234"/>
              <a:gd name="connsiteY101" fmla="*/ 2614258 h 3082398"/>
              <a:gd name="connsiteX102" fmla="*/ 1750775 w 1892234"/>
              <a:gd name="connsiteY102" fmla="*/ 2631917 h 3082398"/>
              <a:gd name="connsiteX103" fmla="*/ 1745202 w 1892234"/>
              <a:gd name="connsiteY103" fmla="*/ 2641680 h 3082398"/>
              <a:gd name="connsiteX104" fmla="*/ 1735924 w 1892234"/>
              <a:gd name="connsiteY104" fmla="*/ 2654977 h 3082398"/>
              <a:gd name="connsiteX105" fmla="*/ 1718812 w 1892234"/>
              <a:gd name="connsiteY105" fmla="*/ 2681551 h 3082398"/>
              <a:gd name="connsiteX106" fmla="*/ 1703748 w 1892234"/>
              <a:gd name="connsiteY106" fmla="*/ 2701101 h 3082398"/>
              <a:gd name="connsiteX107" fmla="*/ 1696396 w 1892234"/>
              <a:gd name="connsiteY107" fmla="*/ 2711641 h 3082398"/>
              <a:gd name="connsiteX108" fmla="*/ 1687157 w 1892234"/>
              <a:gd name="connsiteY108" fmla="*/ 2722633 h 3082398"/>
              <a:gd name="connsiteX109" fmla="*/ 1670098 w 1892234"/>
              <a:gd name="connsiteY109" fmla="*/ 2744774 h 3082398"/>
              <a:gd name="connsiteX110" fmla="*/ 1650874 w 1892234"/>
              <a:gd name="connsiteY110" fmla="*/ 2765807 h 3082398"/>
              <a:gd name="connsiteX111" fmla="*/ 1641638 w 1892234"/>
              <a:gd name="connsiteY111" fmla="*/ 2776797 h 3082398"/>
              <a:gd name="connsiteX112" fmla="*/ 1632794 w 1892234"/>
              <a:gd name="connsiteY112" fmla="*/ 2785589 h 3082398"/>
              <a:gd name="connsiteX113" fmla="*/ 1616324 w 1892234"/>
              <a:gd name="connsiteY113" fmla="*/ 2803608 h 3082398"/>
              <a:gd name="connsiteX114" fmla="*/ 1592464 w 1892234"/>
              <a:gd name="connsiteY114" fmla="*/ 2825679 h 3082398"/>
              <a:gd name="connsiteX115" fmla="*/ 1581318 w 1892234"/>
              <a:gd name="connsiteY115" fmla="*/ 2836758 h 3082398"/>
              <a:gd name="connsiteX116" fmla="*/ 1573192 w 1892234"/>
              <a:gd name="connsiteY116" fmla="*/ 2843504 h 3082398"/>
              <a:gd name="connsiteX117" fmla="*/ 1557815 w 1892234"/>
              <a:gd name="connsiteY117" fmla="*/ 2857728 h 3082398"/>
              <a:gd name="connsiteX118" fmla="*/ 1528783 w 1892234"/>
              <a:gd name="connsiteY118" fmla="*/ 2880377 h 3082398"/>
              <a:gd name="connsiteX119" fmla="*/ 1515829 w 1892234"/>
              <a:gd name="connsiteY119" fmla="*/ 2891132 h 3082398"/>
              <a:gd name="connsiteX120" fmla="*/ 1508715 w 1892234"/>
              <a:gd name="connsiteY120" fmla="*/ 2896031 h 3082398"/>
              <a:gd name="connsiteX121" fmla="*/ 1494892 w 1892234"/>
              <a:gd name="connsiteY121" fmla="*/ 2906814 h 3082398"/>
              <a:gd name="connsiteX122" fmla="*/ 1460006 w 1892234"/>
              <a:gd name="connsiteY122" fmla="*/ 2929578 h 3082398"/>
              <a:gd name="connsiteX123" fmla="*/ 1445562 w 1892234"/>
              <a:gd name="connsiteY123" fmla="*/ 2939527 h 3082398"/>
              <a:gd name="connsiteX124" fmla="*/ 1439724 w 1892234"/>
              <a:gd name="connsiteY124" fmla="*/ 2942811 h 3082398"/>
              <a:gd name="connsiteX125" fmla="*/ 1427878 w 1892234"/>
              <a:gd name="connsiteY125" fmla="*/ 2950541 h 3082398"/>
              <a:gd name="connsiteX126" fmla="*/ 1386077 w 1892234"/>
              <a:gd name="connsiteY126" fmla="*/ 2973010 h 3082398"/>
              <a:gd name="connsiteX127" fmla="*/ 1370907 w 1892234"/>
              <a:gd name="connsiteY127" fmla="*/ 2981550 h 3082398"/>
              <a:gd name="connsiteX128" fmla="*/ 1366588 w 1892234"/>
              <a:gd name="connsiteY128" fmla="*/ 2983486 h 3082398"/>
              <a:gd name="connsiteX129" fmla="*/ 1357095 w 1892234"/>
              <a:gd name="connsiteY129" fmla="*/ 2988588 h 3082398"/>
              <a:gd name="connsiteX130" fmla="*/ 1306238 w 1892234"/>
              <a:gd name="connsiteY130" fmla="*/ 3010542 h 3082398"/>
              <a:gd name="connsiteX131" fmla="*/ 1292258 w 1892234"/>
              <a:gd name="connsiteY131" fmla="*/ 3016810 h 3082398"/>
              <a:gd name="connsiteX132" fmla="*/ 1289672 w 1892234"/>
              <a:gd name="connsiteY132" fmla="*/ 3017694 h 3082398"/>
              <a:gd name="connsiteX133" fmla="*/ 1282867 w 1892234"/>
              <a:gd name="connsiteY133" fmla="*/ 3020632 h 3082398"/>
              <a:gd name="connsiteX134" fmla="*/ 1216576 w 1892234"/>
              <a:gd name="connsiteY134" fmla="*/ 3042672 h 3082398"/>
              <a:gd name="connsiteX135" fmla="*/ 1210005 w 1892234"/>
              <a:gd name="connsiteY135" fmla="*/ 3044917 h 3082398"/>
              <a:gd name="connsiteX136" fmla="*/ 1209346 w 1892234"/>
              <a:gd name="connsiteY136" fmla="*/ 3045077 h 3082398"/>
              <a:gd name="connsiteX137" fmla="*/ 1205516 w 1892234"/>
              <a:gd name="connsiteY137" fmla="*/ 3046349 h 3082398"/>
              <a:gd name="connsiteX138" fmla="*/ 1042731 w 1892234"/>
              <a:gd name="connsiteY138" fmla="*/ 3077519 h 3082398"/>
              <a:gd name="connsiteX139" fmla="*/ 1039034 w 1892234"/>
              <a:gd name="connsiteY139" fmla="*/ 3077705 h 3082398"/>
              <a:gd name="connsiteX140" fmla="*/ 1036258 w 1892234"/>
              <a:gd name="connsiteY140" fmla="*/ 3078102 h 3082398"/>
              <a:gd name="connsiteX141" fmla="*/ 990506 w 1892234"/>
              <a:gd name="connsiteY141" fmla="*/ 3080270 h 3082398"/>
              <a:gd name="connsiteX142" fmla="*/ 990506 w 1892234"/>
              <a:gd name="connsiteY142" fmla="*/ 3082397 h 3082398"/>
              <a:gd name="connsiteX143" fmla="*/ 946121 w 1892234"/>
              <a:gd name="connsiteY143" fmla="*/ 3082397 h 3082398"/>
              <a:gd name="connsiteX144" fmla="*/ 946111 w 1892234"/>
              <a:gd name="connsiteY144" fmla="*/ 3082398 h 3082398"/>
              <a:gd name="connsiteX145" fmla="*/ 946102 w 1892234"/>
              <a:gd name="connsiteY145" fmla="*/ 3082397 h 3082398"/>
              <a:gd name="connsiteX146" fmla="*/ 945545 w 1892234"/>
              <a:gd name="connsiteY146" fmla="*/ 3082397 h 3082398"/>
              <a:gd name="connsiteX147" fmla="*/ 1118 w 1892234"/>
              <a:gd name="connsiteY147" fmla="*/ 3082397 h 3082398"/>
              <a:gd name="connsiteX148" fmla="*/ 1118 w 1892234"/>
              <a:gd name="connsiteY148" fmla="*/ 2187202 h 3082398"/>
              <a:gd name="connsiteX149" fmla="*/ 0 w 1892234"/>
              <a:gd name="connsiteY149" fmla="*/ 2187202 h 3082398"/>
              <a:gd name="connsiteX150" fmla="*/ 0 w 1892234"/>
              <a:gd name="connsiteY150" fmla="*/ 2137122 h 3082398"/>
              <a:gd name="connsiteX151" fmla="*/ 0 w 1892234"/>
              <a:gd name="connsiteY151" fmla="*/ 2013863 h 3082398"/>
              <a:gd name="connsiteX152" fmla="*/ 0 w 1892234"/>
              <a:gd name="connsiteY152" fmla="*/ 1956126 h 3082398"/>
              <a:gd name="connsiteX153" fmla="*/ 0 w 1892234"/>
              <a:gd name="connsiteY153" fmla="*/ 1853486 h 3082398"/>
              <a:gd name="connsiteX154" fmla="*/ 0 w 1892234"/>
              <a:gd name="connsiteY154" fmla="*/ 1839193 h 3082398"/>
              <a:gd name="connsiteX155" fmla="*/ 1129 w 1892234"/>
              <a:gd name="connsiteY155" fmla="*/ 1839193 h 3082398"/>
              <a:gd name="connsiteX156" fmla="*/ 1129 w 1892234"/>
              <a:gd name="connsiteY156" fmla="*/ 1838909 h 3082398"/>
              <a:gd name="connsiteX157" fmla="*/ 1129 w 1892234"/>
              <a:gd name="connsiteY157" fmla="*/ 1826783 h 3082398"/>
              <a:gd name="connsiteX158" fmla="*/ 1129 w 1892234"/>
              <a:gd name="connsiteY158" fmla="*/ 1789112 h 3082398"/>
              <a:gd name="connsiteX159" fmla="*/ 3487 w 1892234"/>
              <a:gd name="connsiteY159" fmla="*/ 1789112 h 3082398"/>
              <a:gd name="connsiteX160" fmla="*/ 4057 w 1892234"/>
              <a:gd name="connsiteY160" fmla="*/ 1777087 h 3082398"/>
              <a:gd name="connsiteX161" fmla="*/ 1118 w 1892234"/>
              <a:gd name="connsiteY161" fmla="*/ 1777087 h 3082398"/>
              <a:gd name="connsiteX162" fmla="*/ 1118 w 1892234"/>
              <a:gd name="connsiteY162" fmla="*/ 1533244 h 3082398"/>
              <a:gd name="connsiteX163" fmla="*/ 1118 w 1892234"/>
              <a:gd name="connsiteY163" fmla="*/ 881891 h 3082398"/>
              <a:gd name="connsiteX164" fmla="*/ 0 w 1892234"/>
              <a:gd name="connsiteY164" fmla="*/ 881891 h 3082398"/>
              <a:gd name="connsiteX165" fmla="*/ 0 w 1892234"/>
              <a:gd name="connsiteY165" fmla="*/ 880579 h 3082398"/>
              <a:gd name="connsiteX166" fmla="*/ 4179 w 1892234"/>
              <a:gd name="connsiteY166" fmla="*/ 880579 h 3082398"/>
              <a:gd name="connsiteX167" fmla="*/ 5421 w 1892234"/>
              <a:gd name="connsiteY167" fmla="*/ 854335 h 3082398"/>
              <a:gd name="connsiteX168" fmla="*/ 5913 w 1892234"/>
              <a:gd name="connsiteY168" fmla="*/ 850822 h 3082398"/>
              <a:gd name="connsiteX169" fmla="*/ 6011 w 1892234"/>
              <a:gd name="connsiteY169" fmla="*/ 848881 h 3082398"/>
              <a:gd name="connsiteX170" fmla="*/ 8765 w 1892234"/>
              <a:gd name="connsiteY170" fmla="*/ 830453 h 3082398"/>
              <a:gd name="connsiteX171" fmla="*/ 17013 w 1892234"/>
              <a:gd name="connsiteY171" fmla="*/ 771540 h 3082398"/>
              <a:gd name="connsiteX172" fmla="*/ 18581 w 1892234"/>
              <a:gd name="connsiteY172" fmla="*/ 764764 h 3082398"/>
              <a:gd name="connsiteX173" fmla="*/ 19177 w 1892234"/>
              <a:gd name="connsiteY173" fmla="*/ 760774 h 3082398"/>
              <a:gd name="connsiteX174" fmla="*/ 24270 w 1892234"/>
              <a:gd name="connsiteY174" fmla="*/ 740172 h 3082398"/>
              <a:gd name="connsiteX175" fmla="*/ 35598 w 1892234"/>
              <a:gd name="connsiteY175" fmla="*/ 691201 h 3082398"/>
              <a:gd name="connsiteX176" fmla="*/ 38824 w 1892234"/>
              <a:gd name="connsiteY176" fmla="*/ 681293 h 3082398"/>
              <a:gd name="connsiteX177" fmla="*/ 40253 w 1892234"/>
              <a:gd name="connsiteY177" fmla="*/ 675511 h 3082398"/>
              <a:gd name="connsiteX178" fmla="*/ 47124 w 1892234"/>
              <a:gd name="connsiteY178" fmla="*/ 655802 h 3082398"/>
              <a:gd name="connsiteX179" fmla="*/ 60853 w 1892234"/>
              <a:gd name="connsiteY179" fmla="*/ 613639 h 3082398"/>
              <a:gd name="connsiteX180" fmla="*/ 66284 w 1892234"/>
              <a:gd name="connsiteY180" fmla="*/ 600844 h 3082398"/>
              <a:gd name="connsiteX181" fmla="*/ 68849 w 1892234"/>
              <a:gd name="connsiteY181" fmla="*/ 593488 h 3082398"/>
              <a:gd name="connsiteX182" fmla="*/ 76982 w 1892234"/>
              <a:gd name="connsiteY182" fmla="*/ 575641 h 3082398"/>
              <a:gd name="connsiteX183" fmla="*/ 92458 w 1892234"/>
              <a:gd name="connsiteY183" fmla="*/ 539178 h 3082398"/>
              <a:gd name="connsiteX184" fmla="*/ 100612 w 1892234"/>
              <a:gd name="connsiteY184" fmla="*/ 523785 h 3082398"/>
              <a:gd name="connsiteX185" fmla="*/ 104574 w 1892234"/>
              <a:gd name="connsiteY185" fmla="*/ 515093 h 3082398"/>
              <a:gd name="connsiteX186" fmla="*/ 113494 w 1892234"/>
              <a:gd name="connsiteY186" fmla="*/ 499467 h 3082398"/>
              <a:gd name="connsiteX187" fmla="*/ 130088 w 1892234"/>
              <a:gd name="connsiteY187" fmla="*/ 468140 h 3082398"/>
              <a:gd name="connsiteX188" fmla="*/ 141460 w 1892234"/>
              <a:gd name="connsiteY188" fmla="*/ 450482 h 3082398"/>
              <a:gd name="connsiteX189" fmla="*/ 147033 w 1892234"/>
              <a:gd name="connsiteY189" fmla="*/ 440718 h 3082398"/>
              <a:gd name="connsiteX190" fmla="*/ 156310 w 1892234"/>
              <a:gd name="connsiteY190" fmla="*/ 427422 h 3082398"/>
              <a:gd name="connsiteX191" fmla="*/ 173421 w 1892234"/>
              <a:gd name="connsiteY191" fmla="*/ 400847 h 3082398"/>
              <a:gd name="connsiteX192" fmla="*/ 188487 w 1892234"/>
              <a:gd name="connsiteY192" fmla="*/ 381297 h 3082398"/>
              <a:gd name="connsiteX193" fmla="*/ 195838 w 1892234"/>
              <a:gd name="connsiteY193" fmla="*/ 370757 h 3082398"/>
              <a:gd name="connsiteX194" fmla="*/ 205077 w 1892234"/>
              <a:gd name="connsiteY194" fmla="*/ 359764 h 3082398"/>
              <a:gd name="connsiteX195" fmla="*/ 222137 w 1892234"/>
              <a:gd name="connsiteY195" fmla="*/ 337623 h 3082398"/>
              <a:gd name="connsiteX196" fmla="*/ 241360 w 1892234"/>
              <a:gd name="connsiteY196" fmla="*/ 316591 h 3082398"/>
              <a:gd name="connsiteX197" fmla="*/ 250596 w 1892234"/>
              <a:gd name="connsiteY197" fmla="*/ 305601 h 3082398"/>
              <a:gd name="connsiteX198" fmla="*/ 259441 w 1892234"/>
              <a:gd name="connsiteY198" fmla="*/ 296809 h 3082398"/>
              <a:gd name="connsiteX199" fmla="*/ 275910 w 1892234"/>
              <a:gd name="connsiteY199" fmla="*/ 278790 h 3082398"/>
              <a:gd name="connsiteX200" fmla="*/ 299770 w 1892234"/>
              <a:gd name="connsiteY200" fmla="*/ 256718 h 3082398"/>
              <a:gd name="connsiteX201" fmla="*/ 310917 w 1892234"/>
              <a:gd name="connsiteY201" fmla="*/ 245640 h 3082398"/>
              <a:gd name="connsiteX202" fmla="*/ 319042 w 1892234"/>
              <a:gd name="connsiteY202" fmla="*/ 238894 h 3082398"/>
              <a:gd name="connsiteX203" fmla="*/ 334419 w 1892234"/>
              <a:gd name="connsiteY203" fmla="*/ 224670 h 3082398"/>
              <a:gd name="connsiteX204" fmla="*/ 363451 w 1892234"/>
              <a:gd name="connsiteY204" fmla="*/ 202021 h 3082398"/>
              <a:gd name="connsiteX205" fmla="*/ 376405 w 1892234"/>
              <a:gd name="connsiteY205" fmla="*/ 191265 h 3082398"/>
              <a:gd name="connsiteX206" fmla="*/ 383520 w 1892234"/>
              <a:gd name="connsiteY206" fmla="*/ 186367 h 3082398"/>
              <a:gd name="connsiteX207" fmla="*/ 397342 w 1892234"/>
              <a:gd name="connsiteY207" fmla="*/ 175584 h 3082398"/>
              <a:gd name="connsiteX208" fmla="*/ 432228 w 1892234"/>
              <a:gd name="connsiteY208" fmla="*/ 152820 h 3082398"/>
              <a:gd name="connsiteX209" fmla="*/ 446672 w 1892234"/>
              <a:gd name="connsiteY209" fmla="*/ 142871 h 3082398"/>
              <a:gd name="connsiteX210" fmla="*/ 452509 w 1892234"/>
              <a:gd name="connsiteY210" fmla="*/ 139587 h 3082398"/>
              <a:gd name="connsiteX211" fmla="*/ 464357 w 1892234"/>
              <a:gd name="connsiteY211" fmla="*/ 131856 h 3082398"/>
              <a:gd name="connsiteX212" fmla="*/ 506157 w 1892234"/>
              <a:gd name="connsiteY212" fmla="*/ 109388 h 3082398"/>
              <a:gd name="connsiteX213" fmla="*/ 521327 w 1892234"/>
              <a:gd name="connsiteY213" fmla="*/ 100848 h 3082398"/>
              <a:gd name="connsiteX214" fmla="*/ 525647 w 1892234"/>
              <a:gd name="connsiteY214" fmla="*/ 98911 h 3082398"/>
              <a:gd name="connsiteX215" fmla="*/ 535138 w 1892234"/>
              <a:gd name="connsiteY215" fmla="*/ 93810 h 3082398"/>
              <a:gd name="connsiteX216" fmla="*/ 585996 w 1892234"/>
              <a:gd name="connsiteY216" fmla="*/ 71856 h 3082398"/>
              <a:gd name="connsiteX217" fmla="*/ 599976 w 1892234"/>
              <a:gd name="connsiteY217" fmla="*/ 65587 h 3082398"/>
              <a:gd name="connsiteX218" fmla="*/ 602562 w 1892234"/>
              <a:gd name="connsiteY218" fmla="*/ 64704 h 3082398"/>
              <a:gd name="connsiteX219" fmla="*/ 609367 w 1892234"/>
              <a:gd name="connsiteY219" fmla="*/ 61766 h 3082398"/>
              <a:gd name="connsiteX220" fmla="*/ 675658 w 1892234"/>
              <a:gd name="connsiteY220" fmla="*/ 39725 h 3082398"/>
              <a:gd name="connsiteX221" fmla="*/ 682229 w 1892234"/>
              <a:gd name="connsiteY221" fmla="*/ 37481 h 3082398"/>
              <a:gd name="connsiteX222" fmla="*/ 682888 w 1892234"/>
              <a:gd name="connsiteY222" fmla="*/ 37321 h 3082398"/>
              <a:gd name="connsiteX223" fmla="*/ 686718 w 1892234"/>
              <a:gd name="connsiteY223" fmla="*/ 36049 h 3082398"/>
              <a:gd name="connsiteX224" fmla="*/ 849503 w 1892234"/>
              <a:gd name="connsiteY224" fmla="*/ 4878 h 3082398"/>
              <a:gd name="connsiteX225" fmla="*/ 853201 w 1892234"/>
              <a:gd name="connsiteY225" fmla="*/ 4692 h 3082398"/>
              <a:gd name="connsiteX226" fmla="*/ 855977 w 1892234"/>
              <a:gd name="connsiteY226" fmla="*/ 4296 h 3082398"/>
              <a:gd name="connsiteX227" fmla="*/ 901728 w 1892234"/>
              <a:gd name="connsiteY227" fmla="*/ 2129 h 3082398"/>
              <a:gd name="connsiteX228" fmla="*/ 901728 w 1892234"/>
              <a:gd name="connsiteY228" fmla="*/ 1 h 3082398"/>
              <a:gd name="connsiteX229" fmla="*/ 946114 w 1892234"/>
              <a:gd name="connsiteY229" fmla="*/ 1 h 3082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892234" h="3082398">
                <a:moveTo>
                  <a:pt x="946123" y="0"/>
                </a:moveTo>
                <a:lnTo>
                  <a:pt x="946132" y="1"/>
                </a:lnTo>
                <a:lnTo>
                  <a:pt x="946689" y="1"/>
                </a:lnTo>
                <a:lnTo>
                  <a:pt x="1891116" y="1"/>
                </a:lnTo>
                <a:lnTo>
                  <a:pt x="1891116" y="243844"/>
                </a:lnTo>
                <a:lnTo>
                  <a:pt x="1891116" y="880579"/>
                </a:lnTo>
                <a:lnTo>
                  <a:pt x="1891105" y="880579"/>
                </a:lnTo>
                <a:lnTo>
                  <a:pt x="1891105" y="881891"/>
                </a:lnTo>
                <a:lnTo>
                  <a:pt x="1888747" y="881891"/>
                </a:lnTo>
                <a:lnTo>
                  <a:pt x="1886812" y="922752"/>
                </a:lnTo>
                <a:lnTo>
                  <a:pt x="1886320" y="926265"/>
                </a:lnTo>
                <a:lnTo>
                  <a:pt x="1886222" y="928206"/>
                </a:lnTo>
                <a:lnTo>
                  <a:pt x="1883469" y="946634"/>
                </a:lnTo>
                <a:lnTo>
                  <a:pt x="1875221" y="1005547"/>
                </a:lnTo>
                <a:lnTo>
                  <a:pt x="1873654" y="1012323"/>
                </a:lnTo>
                <a:lnTo>
                  <a:pt x="1873058" y="1016314"/>
                </a:lnTo>
                <a:lnTo>
                  <a:pt x="1867964" y="1036915"/>
                </a:lnTo>
                <a:lnTo>
                  <a:pt x="1856636" y="1085888"/>
                </a:lnTo>
                <a:lnTo>
                  <a:pt x="1853410" y="1095794"/>
                </a:lnTo>
                <a:lnTo>
                  <a:pt x="1851981" y="1101576"/>
                </a:lnTo>
                <a:lnTo>
                  <a:pt x="1845110" y="1121285"/>
                </a:lnTo>
                <a:lnTo>
                  <a:pt x="1831381" y="1163449"/>
                </a:lnTo>
                <a:lnTo>
                  <a:pt x="1825950" y="1176243"/>
                </a:lnTo>
                <a:lnTo>
                  <a:pt x="1823385" y="1183600"/>
                </a:lnTo>
                <a:lnTo>
                  <a:pt x="1815252" y="1201446"/>
                </a:lnTo>
                <a:lnTo>
                  <a:pt x="1799775" y="1237910"/>
                </a:lnTo>
                <a:lnTo>
                  <a:pt x="1791622" y="1253302"/>
                </a:lnTo>
                <a:lnTo>
                  <a:pt x="1787661" y="1261995"/>
                </a:lnTo>
                <a:lnTo>
                  <a:pt x="1778740" y="1277620"/>
                </a:lnTo>
                <a:lnTo>
                  <a:pt x="1762146" y="1308948"/>
                </a:lnTo>
                <a:lnTo>
                  <a:pt x="1750774" y="1326606"/>
                </a:lnTo>
                <a:lnTo>
                  <a:pt x="1745201" y="1336369"/>
                </a:lnTo>
                <a:lnTo>
                  <a:pt x="1735924" y="1349666"/>
                </a:lnTo>
                <a:lnTo>
                  <a:pt x="1718812" y="1376240"/>
                </a:lnTo>
                <a:lnTo>
                  <a:pt x="1703748" y="1395790"/>
                </a:lnTo>
                <a:lnTo>
                  <a:pt x="1696396" y="1406330"/>
                </a:lnTo>
                <a:lnTo>
                  <a:pt x="1687157" y="1417324"/>
                </a:lnTo>
                <a:lnTo>
                  <a:pt x="1670097" y="1439464"/>
                </a:lnTo>
                <a:lnTo>
                  <a:pt x="1650874" y="1460496"/>
                </a:lnTo>
                <a:lnTo>
                  <a:pt x="1641638" y="1471486"/>
                </a:lnTo>
                <a:lnTo>
                  <a:pt x="1632794" y="1480278"/>
                </a:lnTo>
                <a:lnTo>
                  <a:pt x="1616324" y="1498298"/>
                </a:lnTo>
                <a:lnTo>
                  <a:pt x="1592464" y="1520368"/>
                </a:lnTo>
                <a:lnTo>
                  <a:pt x="1581318" y="1531448"/>
                </a:lnTo>
                <a:lnTo>
                  <a:pt x="1573192" y="1538194"/>
                </a:lnTo>
                <a:lnTo>
                  <a:pt x="1557815" y="1552419"/>
                </a:lnTo>
                <a:lnTo>
                  <a:pt x="1528783" y="1575065"/>
                </a:lnTo>
                <a:lnTo>
                  <a:pt x="1515829" y="1585822"/>
                </a:lnTo>
                <a:lnTo>
                  <a:pt x="1508716" y="1590720"/>
                </a:lnTo>
                <a:lnTo>
                  <a:pt x="1494892" y="1601503"/>
                </a:lnTo>
                <a:lnTo>
                  <a:pt x="1460006" y="1624267"/>
                </a:lnTo>
                <a:lnTo>
                  <a:pt x="1445562" y="1634216"/>
                </a:lnTo>
                <a:lnTo>
                  <a:pt x="1439724" y="1637500"/>
                </a:lnTo>
                <a:lnTo>
                  <a:pt x="1427878" y="1645231"/>
                </a:lnTo>
                <a:lnTo>
                  <a:pt x="1386077" y="1667699"/>
                </a:lnTo>
                <a:lnTo>
                  <a:pt x="1370907" y="1676239"/>
                </a:lnTo>
                <a:lnTo>
                  <a:pt x="1366588" y="1678176"/>
                </a:lnTo>
                <a:lnTo>
                  <a:pt x="1357095" y="1683278"/>
                </a:lnTo>
                <a:lnTo>
                  <a:pt x="1306238" y="1705232"/>
                </a:lnTo>
                <a:lnTo>
                  <a:pt x="1292258" y="1711500"/>
                </a:lnTo>
                <a:lnTo>
                  <a:pt x="1289672" y="1712383"/>
                </a:lnTo>
                <a:lnTo>
                  <a:pt x="1282867" y="1715321"/>
                </a:lnTo>
                <a:lnTo>
                  <a:pt x="1216576" y="1737360"/>
                </a:lnTo>
                <a:lnTo>
                  <a:pt x="1210005" y="1739607"/>
                </a:lnTo>
                <a:lnTo>
                  <a:pt x="1209346" y="1739766"/>
                </a:lnTo>
                <a:lnTo>
                  <a:pt x="1205516" y="1741039"/>
                </a:lnTo>
                <a:lnTo>
                  <a:pt x="1054134" y="1770025"/>
                </a:lnTo>
                <a:lnTo>
                  <a:pt x="1891117" y="1770025"/>
                </a:lnTo>
                <a:lnTo>
                  <a:pt x="1891117" y="1789112"/>
                </a:lnTo>
                <a:lnTo>
                  <a:pt x="1892234" y="1789112"/>
                </a:lnTo>
                <a:lnTo>
                  <a:pt x="1892234" y="1839193"/>
                </a:lnTo>
                <a:lnTo>
                  <a:pt x="1892234" y="1853486"/>
                </a:lnTo>
                <a:lnTo>
                  <a:pt x="1892234" y="1956126"/>
                </a:lnTo>
                <a:lnTo>
                  <a:pt x="1892234" y="2013863"/>
                </a:lnTo>
                <a:lnTo>
                  <a:pt x="1892234" y="2137122"/>
                </a:lnTo>
                <a:lnTo>
                  <a:pt x="1891105" y="2137122"/>
                </a:lnTo>
                <a:lnTo>
                  <a:pt x="1891105" y="2137122"/>
                </a:lnTo>
                <a:lnTo>
                  <a:pt x="1891105" y="2137404"/>
                </a:lnTo>
                <a:lnTo>
                  <a:pt x="1891105" y="2149531"/>
                </a:lnTo>
                <a:lnTo>
                  <a:pt x="1891105" y="2187202"/>
                </a:lnTo>
                <a:lnTo>
                  <a:pt x="1888748" y="2187202"/>
                </a:lnTo>
                <a:lnTo>
                  <a:pt x="1886812" y="2228063"/>
                </a:lnTo>
                <a:lnTo>
                  <a:pt x="1886321" y="2231576"/>
                </a:lnTo>
                <a:lnTo>
                  <a:pt x="1886223" y="2233517"/>
                </a:lnTo>
                <a:lnTo>
                  <a:pt x="1883469" y="2251944"/>
                </a:lnTo>
                <a:lnTo>
                  <a:pt x="1875221" y="2310858"/>
                </a:lnTo>
                <a:lnTo>
                  <a:pt x="1873654" y="2317633"/>
                </a:lnTo>
                <a:lnTo>
                  <a:pt x="1873058" y="2321625"/>
                </a:lnTo>
                <a:lnTo>
                  <a:pt x="1867964" y="2342225"/>
                </a:lnTo>
                <a:lnTo>
                  <a:pt x="1856636" y="2391197"/>
                </a:lnTo>
                <a:lnTo>
                  <a:pt x="1853410" y="2401106"/>
                </a:lnTo>
                <a:lnTo>
                  <a:pt x="1851981" y="2406886"/>
                </a:lnTo>
                <a:lnTo>
                  <a:pt x="1845110" y="2426596"/>
                </a:lnTo>
                <a:lnTo>
                  <a:pt x="1831381" y="2468760"/>
                </a:lnTo>
                <a:lnTo>
                  <a:pt x="1825950" y="2481555"/>
                </a:lnTo>
                <a:lnTo>
                  <a:pt x="1823386" y="2488910"/>
                </a:lnTo>
                <a:lnTo>
                  <a:pt x="1815252" y="2506756"/>
                </a:lnTo>
                <a:lnTo>
                  <a:pt x="1799776" y="2543220"/>
                </a:lnTo>
                <a:lnTo>
                  <a:pt x="1791622" y="2558613"/>
                </a:lnTo>
                <a:lnTo>
                  <a:pt x="1787661" y="2567306"/>
                </a:lnTo>
                <a:lnTo>
                  <a:pt x="1778740" y="2582931"/>
                </a:lnTo>
                <a:lnTo>
                  <a:pt x="1762146" y="2614258"/>
                </a:lnTo>
                <a:lnTo>
                  <a:pt x="1750775" y="2631917"/>
                </a:lnTo>
                <a:lnTo>
                  <a:pt x="1745202" y="2641680"/>
                </a:lnTo>
                <a:lnTo>
                  <a:pt x="1735924" y="2654977"/>
                </a:lnTo>
                <a:lnTo>
                  <a:pt x="1718812" y="2681551"/>
                </a:lnTo>
                <a:lnTo>
                  <a:pt x="1703748" y="2701101"/>
                </a:lnTo>
                <a:lnTo>
                  <a:pt x="1696396" y="2711641"/>
                </a:lnTo>
                <a:lnTo>
                  <a:pt x="1687157" y="2722633"/>
                </a:lnTo>
                <a:lnTo>
                  <a:pt x="1670098" y="2744774"/>
                </a:lnTo>
                <a:lnTo>
                  <a:pt x="1650874" y="2765807"/>
                </a:lnTo>
                <a:lnTo>
                  <a:pt x="1641638" y="2776797"/>
                </a:lnTo>
                <a:lnTo>
                  <a:pt x="1632794" y="2785589"/>
                </a:lnTo>
                <a:lnTo>
                  <a:pt x="1616324" y="2803608"/>
                </a:lnTo>
                <a:lnTo>
                  <a:pt x="1592464" y="2825679"/>
                </a:lnTo>
                <a:lnTo>
                  <a:pt x="1581318" y="2836758"/>
                </a:lnTo>
                <a:lnTo>
                  <a:pt x="1573192" y="2843504"/>
                </a:lnTo>
                <a:lnTo>
                  <a:pt x="1557815" y="2857728"/>
                </a:lnTo>
                <a:lnTo>
                  <a:pt x="1528783" y="2880377"/>
                </a:lnTo>
                <a:lnTo>
                  <a:pt x="1515829" y="2891132"/>
                </a:lnTo>
                <a:lnTo>
                  <a:pt x="1508715" y="2896031"/>
                </a:lnTo>
                <a:lnTo>
                  <a:pt x="1494892" y="2906814"/>
                </a:lnTo>
                <a:lnTo>
                  <a:pt x="1460006" y="2929578"/>
                </a:lnTo>
                <a:lnTo>
                  <a:pt x="1445562" y="2939527"/>
                </a:lnTo>
                <a:lnTo>
                  <a:pt x="1439724" y="2942811"/>
                </a:lnTo>
                <a:lnTo>
                  <a:pt x="1427878" y="2950541"/>
                </a:lnTo>
                <a:lnTo>
                  <a:pt x="1386077" y="2973010"/>
                </a:lnTo>
                <a:lnTo>
                  <a:pt x="1370907" y="2981550"/>
                </a:lnTo>
                <a:lnTo>
                  <a:pt x="1366588" y="2983486"/>
                </a:lnTo>
                <a:lnTo>
                  <a:pt x="1357095" y="2988588"/>
                </a:lnTo>
                <a:lnTo>
                  <a:pt x="1306238" y="3010542"/>
                </a:lnTo>
                <a:lnTo>
                  <a:pt x="1292258" y="3016810"/>
                </a:lnTo>
                <a:lnTo>
                  <a:pt x="1289672" y="3017694"/>
                </a:lnTo>
                <a:lnTo>
                  <a:pt x="1282867" y="3020632"/>
                </a:lnTo>
                <a:lnTo>
                  <a:pt x="1216576" y="3042672"/>
                </a:lnTo>
                <a:lnTo>
                  <a:pt x="1210005" y="3044917"/>
                </a:lnTo>
                <a:lnTo>
                  <a:pt x="1209346" y="3045077"/>
                </a:lnTo>
                <a:lnTo>
                  <a:pt x="1205516" y="3046349"/>
                </a:lnTo>
                <a:cubicBezTo>
                  <a:pt x="1152978" y="3061315"/>
                  <a:pt x="1098574" y="3071848"/>
                  <a:pt x="1042731" y="3077519"/>
                </a:cubicBezTo>
                <a:lnTo>
                  <a:pt x="1039034" y="3077705"/>
                </a:lnTo>
                <a:lnTo>
                  <a:pt x="1036258" y="3078102"/>
                </a:lnTo>
                <a:lnTo>
                  <a:pt x="990506" y="3080270"/>
                </a:lnTo>
                <a:lnTo>
                  <a:pt x="990506" y="3082397"/>
                </a:lnTo>
                <a:lnTo>
                  <a:pt x="946121" y="3082397"/>
                </a:lnTo>
                <a:lnTo>
                  <a:pt x="946111" y="3082398"/>
                </a:lnTo>
                <a:lnTo>
                  <a:pt x="946102" y="3082397"/>
                </a:lnTo>
                <a:lnTo>
                  <a:pt x="945545" y="3082397"/>
                </a:lnTo>
                <a:lnTo>
                  <a:pt x="1118" y="3082397"/>
                </a:lnTo>
                <a:lnTo>
                  <a:pt x="1118" y="2187202"/>
                </a:lnTo>
                <a:lnTo>
                  <a:pt x="0" y="2187202"/>
                </a:lnTo>
                <a:lnTo>
                  <a:pt x="0" y="2137122"/>
                </a:lnTo>
                <a:lnTo>
                  <a:pt x="0" y="2013863"/>
                </a:lnTo>
                <a:lnTo>
                  <a:pt x="0" y="1956126"/>
                </a:lnTo>
                <a:lnTo>
                  <a:pt x="0" y="1853486"/>
                </a:lnTo>
                <a:lnTo>
                  <a:pt x="0" y="1839193"/>
                </a:lnTo>
                <a:lnTo>
                  <a:pt x="1129" y="1839193"/>
                </a:lnTo>
                <a:lnTo>
                  <a:pt x="1129" y="1838909"/>
                </a:lnTo>
                <a:lnTo>
                  <a:pt x="1129" y="1826783"/>
                </a:lnTo>
                <a:lnTo>
                  <a:pt x="1129" y="1789112"/>
                </a:lnTo>
                <a:lnTo>
                  <a:pt x="3487" y="1789112"/>
                </a:lnTo>
                <a:lnTo>
                  <a:pt x="4057" y="1777087"/>
                </a:lnTo>
                <a:lnTo>
                  <a:pt x="1118" y="1777087"/>
                </a:lnTo>
                <a:lnTo>
                  <a:pt x="1118" y="1533244"/>
                </a:lnTo>
                <a:lnTo>
                  <a:pt x="1118" y="881891"/>
                </a:lnTo>
                <a:lnTo>
                  <a:pt x="0" y="881891"/>
                </a:lnTo>
                <a:lnTo>
                  <a:pt x="0" y="880579"/>
                </a:lnTo>
                <a:lnTo>
                  <a:pt x="4179" y="880579"/>
                </a:lnTo>
                <a:lnTo>
                  <a:pt x="5421" y="854335"/>
                </a:lnTo>
                <a:lnTo>
                  <a:pt x="5913" y="850822"/>
                </a:lnTo>
                <a:lnTo>
                  <a:pt x="6011" y="848881"/>
                </a:lnTo>
                <a:lnTo>
                  <a:pt x="8765" y="830453"/>
                </a:lnTo>
                <a:lnTo>
                  <a:pt x="17013" y="771540"/>
                </a:lnTo>
                <a:lnTo>
                  <a:pt x="18581" y="764764"/>
                </a:lnTo>
                <a:lnTo>
                  <a:pt x="19177" y="760774"/>
                </a:lnTo>
                <a:lnTo>
                  <a:pt x="24270" y="740172"/>
                </a:lnTo>
                <a:lnTo>
                  <a:pt x="35598" y="691201"/>
                </a:lnTo>
                <a:lnTo>
                  <a:pt x="38824" y="681293"/>
                </a:lnTo>
                <a:lnTo>
                  <a:pt x="40253" y="675511"/>
                </a:lnTo>
                <a:lnTo>
                  <a:pt x="47124" y="655802"/>
                </a:lnTo>
                <a:lnTo>
                  <a:pt x="60853" y="613639"/>
                </a:lnTo>
                <a:lnTo>
                  <a:pt x="66284" y="600844"/>
                </a:lnTo>
                <a:lnTo>
                  <a:pt x="68849" y="593488"/>
                </a:lnTo>
                <a:lnTo>
                  <a:pt x="76982" y="575641"/>
                </a:lnTo>
                <a:lnTo>
                  <a:pt x="92458" y="539178"/>
                </a:lnTo>
                <a:lnTo>
                  <a:pt x="100612" y="523785"/>
                </a:lnTo>
                <a:lnTo>
                  <a:pt x="104574" y="515093"/>
                </a:lnTo>
                <a:lnTo>
                  <a:pt x="113494" y="499467"/>
                </a:lnTo>
                <a:lnTo>
                  <a:pt x="130088" y="468140"/>
                </a:lnTo>
                <a:lnTo>
                  <a:pt x="141460" y="450482"/>
                </a:lnTo>
                <a:lnTo>
                  <a:pt x="147033" y="440718"/>
                </a:lnTo>
                <a:lnTo>
                  <a:pt x="156310" y="427422"/>
                </a:lnTo>
                <a:lnTo>
                  <a:pt x="173421" y="400847"/>
                </a:lnTo>
                <a:lnTo>
                  <a:pt x="188487" y="381297"/>
                </a:lnTo>
                <a:lnTo>
                  <a:pt x="195838" y="370757"/>
                </a:lnTo>
                <a:lnTo>
                  <a:pt x="205077" y="359764"/>
                </a:lnTo>
                <a:lnTo>
                  <a:pt x="222137" y="337623"/>
                </a:lnTo>
                <a:lnTo>
                  <a:pt x="241360" y="316591"/>
                </a:lnTo>
                <a:lnTo>
                  <a:pt x="250596" y="305601"/>
                </a:lnTo>
                <a:lnTo>
                  <a:pt x="259441" y="296809"/>
                </a:lnTo>
                <a:lnTo>
                  <a:pt x="275910" y="278790"/>
                </a:lnTo>
                <a:lnTo>
                  <a:pt x="299770" y="256718"/>
                </a:lnTo>
                <a:lnTo>
                  <a:pt x="310917" y="245640"/>
                </a:lnTo>
                <a:lnTo>
                  <a:pt x="319042" y="238894"/>
                </a:lnTo>
                <a:lnTo>
                  <a:pt x="334419" y="224670"/>
                </a:lnTo>
                <a:lnTo>
                  <a:pt x="363451" y="202021"/>
                </a:lnTo>
                <a:lnTo>
                  <a:pt x="376405" y="191265"/>
                </a:lnTo>
                <a:lnTo>
                  <a:pt x="383520" y="186367"/>
                </a:lnTo>
                <a:lnTo>
                  <a:pt x="397342" y="175584"/>
                </a:lnTo>
                <a:lnTo>
                  <a:pt x="432228" y="152820"/>
                </a:lnTo>
                <a:lnTo>
                  <a:pt x="446672" y="142871"/>
                </a:lnTo>
                <a:lnTo>
                  <a:pt x="452509" y="139587"/>
                </a:lnTo>
                <a:lnTo>
                  <a:pt x="464357" y="131856"/>
                </a:lnTo>
                <a:lnTo>
                  <a:pt x="506157" y="109388"/>
                </a:lnTo>
                <a:lnTo>
                  <a:pt x="521327" y="100848"/>
                </a:lnTo>
                <a:lnTo>
                  <a:pt x="525647" y="98911"/>
                </a:lnTo>
                <a:lnTo>
                  <a:pt x="535138" y="93810"/>
                </a:lnTo>
                <a:lnTo>
                  <a:pt x="585996" y="71856"/>
                </a:lnTo>
                <a:lnTo>
                  <a:pt x="599976" y="65587"/>
                </a:lnTo>
                <a:lnTo>
                  <a:pt x="602562" y="64704"/>
                </a:lnTo>
                <a:lnTo>
                  <a:pt x="609367" y="61766"/>
                </a:lnTo>
                <a:lnTo>
                  <a:pt x="675658" y="39725"/>
                </a:lnTo>
                <a:lnTo>
                  <a:pt x="682229" y="37481"/>
                </a:lnTo>
                <a:lnTo>
                  <a:pt x="682888" y="37321"/>
                </a:lnTo>
                <a:lnTo>
                  <a:pt x="686718" y="36049"/>
                </a:lnTo>
                <a:cubicBezTo>
                  <a:pt x="739256" y="21083"/>
                  <a:pt x="793661" y="10550"/>
                  <a:pt x="849503" y="4878"/>
                </a:cubicBezTo>
                <a:lnTo>
                  <a:pt x="853201" y="4692"/>
                </a:lnTo>
                <a:lnTo>
                  <a:pt x="855977" y="4296"/>
                </a:lnTo>
                <a:lnTo>
                  <a:pt x="901728" y="2129"/>
                </a:lnTo>
                <a:lnTo>
                  <a:pt x="901728" y="1"/>
                </a:lnTo>
                <a:lnTo>
                  <a:pt x="946114" y="1"/>
                </a:lnTo>
                <a:close/>
              </a:path>
            </a:pathLst>
          </a:custGeom>
        </p:spPr>
        <p:txBody>
          <a:bodyPr wrap="square">
            <a:noAutofit/>
          </a:bodyPr>
          <a:lstStyle/>
          <a:p>
            <a:endParaRPr lang="en-US"/>
          </a:p>
        </p:txBody>
      </p:sp>
      <p:sp>
        <p:nvSpPr>
          <p:cNvPr id="9" name="Picture Placeholder 8">
            <a:extLst>
              <a:ext uri="{FF2B5EF4-FFF2-40B4-BE49-F238E27FC236}">
                <a16:creationId xmlns:a16="http://schemas.microsoft.com/office/drawing/2014/main" id="{A081BAE9-DA5F-4164-A88D-A73E8A30973E}"/>
              </a:ext>
            </a:extLst>
          </p:cNvPr>
          <p:cNvSpPr>
            <a:spLocks noGrp="1"/>
          </p:cNvSpPr>
          <p:nvPr>
            <p:ph type="pic" sz="quarter" idx="10"/>
          </p:nvPr>
        </p:nvSpPr>
        <p:spPr>
          <a:xfrm>
            <a:off x="6605896" y="740780"/>
            <a:ext cx="3082396" cy="3082397"/>
          </a:xfrm>
          <a:custGeom>
            <a:avLst/>
            <a:gdLst>
              <a:gd name="connsiteX0" fmla="*/ 1541197 w 3082396"/>
              <a:gd name="connsiteY0" fmla="*/ 0 h 3082397"/>
              <a:gd name="connsiteX1" fmla="*/ 3074439 w 3082396"/>
              <a:gd name="connsiteY1" fmla="*/ 1383621 h 3082397"/>
              <a:gd name="connsiteX2" fmla="*/ 3081351 w 3082396"/>
              <a:gd name="connsiteY2" fmla="*/ 1520511 h 3082397"/>
              <a:gd name="connsiteX3" fmla="*/ 3082396 w 3082396"/>
              <a:gd name="connsiteY3" fmla="*/ 1520511 h 3082397"/>
              <a:gd name="connsiteX4" fmla="*/ 3082396 w 3082396"/>
              <a:gd name="connsiteY4" fmla="*/ 1541199 h 3082397"/>
              <a:gd name="connsiteX5" fmla="*/ 3082396 w 3082396"/>
              <a:gd name="connsiteY5" fmla="*/ 3082396 h 3082397"/>
              <a:gd name="connsiteX6" fmla="*/ 1541212 w 3082396"/>
              <a:gd name="connsiteY6" fmla="*/ 3082396 h 3082397"/>
              <a:gd name="connsiteX7" fmla="*/ 1541198 w 3082396"/>
              <a:gd name="connsiteY7" fmla="*/ 3082397 h 3082397"/>
              <a:gd name="connsiteX8" fmla="*/ 1541183 w 3082396"/>
              <a:gd name="connsiteY8" fmla="*/ 3082396 h 3082397"/>
              <a:gd name="connsiteX9" fmla="*/ 1468793 w 3082396"/>
              <a:gd name="connsiteY9" fmla="*/ 3082396 h 3082397"/>
              <a:gd name="connsiteX10" fmla="*/ 1468793 w 3082396"/>
              <a:gd name="connsiteY10" fmla="*/ 3078741 h 3082397"/>
              <a:gd name="connsiteX11" fmla="*/ 1383621 w 3082396"/>
              <a:gd name="connsiteY11" fmla="*/ 3074441 h 3082397"/>
              <a:gd name="connsiteX12" fmla="*/ 0 w 3082396"/>
              <a:gd name="connsiteY12" fmla="*/ 1541198 h 3082397"/>
              <a:gd name="connsiteX13" fmla="*/ 1541197 w 3082396"/>
              <a:gd name="connsiteY13" fmla="*/ 0 h 3082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82396" h="3082397">
                <a:moveTo>
                  <a:pt x="1541197" y="0"/>
                </a:moveTo>
                <a:cubicBezTo>
                  <a:pt x="2339179" y="0"/>
                  <a:pt x="2995514" y="606461"/>
                  <a:pt x="3074439" y="1383621"/>
                </a:cubicBezTo>
                <a:lnTo>
                  <a:pt x="3081351" y="1520511"/>
                </a:lnTo>
                <a:lnTo>
                  <a:pt x="3082396" y="1520511"/>
                </a:lnTo>
                <a:lnTo>
                  <a:pt x="3082396" y="1541199"/>
                </a:lnTo>
                <a:lnTo>
                  <a:pt x="3082396" y="3082396"/>
                </a:lnTo>
                <a:lnTo>
                  <a:pt x="1541212" y="3082396"/>
                </a:lnTo>
                <a:lnTo>
                  <a:pt x="1541198" y="3082397"/>
                </a:lnTo>
                <a:lnTo>
                  <a:pt x="1541183" y="3082396"/>
                </a:lnTo>
                <a:lnTo>
                  <a:pt x="1468793" y="3082396"/>
                </a:lnTo>
                <a:lnTo>
                  <a:pt x="1468793" y="3078741"/>
                </a:lnTo>
                <a:lnTo>
                  <a:pt x="1383621" y="3074441"/>
                </a:lnTo>
                <a:cubicBezTo>
                  <a:pt x="606461" y="2995515"/>
                  <a:pt x="0" y="2339180"/>
                  <a:pt x="0" y="1541198"/>
                </a:cubicBezTo>
                <a:cubicBezTo>
                  <a:pt x="0" y="690018"/>
                  <a:pt x="690017" y="0"/>
                  <a:pt x="1541197"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2300754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C656358-89EF-4084-ADF6-0BE45ED82F91}"/>
              </a:ext>
            </a:extLst>
          </p:cNvPr>
          <p:cNvSpPr>
            <a:spLocks noGrp="1"/>
          </p:cNvSpPr>
          <p:nvPr>
            <p:ph type="pic" sz="quarter" idx="10"/>
          </p:nvPr>
        </p:nvSpPr>
        <p:spPr>
          <a:xfrm>
            <a:off x="1" y="0"/>
            <a:ext cx="5410553" cy="6858000"/>
          </a:xfrm>
          <a:custGeom>
            <a:avLst/>
            <a:gdLst>
              <a:gd name="connsiteX0" fmla="*/ 0 w 5410553"/>
              <a:gd name="connsiteY0" fmla="*/ 0 h 6858000"/>
              <a:gd name="connsiteX1" fmla="*/ 1627873 w 5410553"/>
              <a:gd name="connsiteY1" fmla="*/ 0 h 6858000"/>
              <a:gd name="connsiteX2" fmla="*/ 2168929 w 5410553"/>
              <a:gd name="connsiteY2" fmla="*/ 0 h 6858000"/>
              <a:gd name="connsiteX3" fmla="*/ 3241609 w 5410553"/>
              <a:gd name="connsiteY3" fmla="*/ 0 h 6858000"/>
              <a:gd name="connsiteX4" fmla="*/ 3782664 w 5410553"/>
              <a:gd name="connsiteY4" fmla="*/ 0 h 6858000"/>
              <a:gd name="connsiteX5" fmla="*/ 3825750 w 5410553"/>
              <a:gd name="connsiteY5" fmla="*/ 0 h 6858000"/>
              <a:gd name="connsiteX6" fmla="*/ 3825750 w 5410553"/>
              <a:gd name="connsiteY6" fmla="*/ 1 h 6858000"/>
              <a:gd name="connsiteX7" fmla="*/ 3859050 w 5410553"/>
              <a:gd name="connsiteY7" fmla="*/ 1 h 6858000"/>
              <a:gd name="connsiteX8" fmla="*/ 3859050 w 5410553"/>
              <a:gd name="connsiteY8" fmla="*/ 3976 h 6858000"/>
              <a:gd name="connsiteX9" fmla="*/ 3937767 w 5410553"/>
              <a:gd name="connsiteY9" fmla="*/ 8022 h 6858000"/>
              <a:gd name="connsiteX10" fmla="*/ 3942543 w 5410553"/>
              <a:gd name="connsiteY10" fmla="*/ 8764 h 6858000"/>
              <a:gd name="connsiteX11" fmla="*/ 3948907 w 5410553"/>
              <a:gd name="connsiteY11" fmla="*/ 9111 h 6858000"/>
              <a:gd name="connsiteX12" fmla="*/ 4228992 w 5410553"/>
              <a:gd name="connsiteY12" fmla="*/ 67312 h 6858000"/>
              <a:gd name="connsiteX13" fmla="*/ 4235582 w 5410553"/>
              <a:gd name="connsiteY13" fmla="*/ 69688 h 6858000"/>
              <a:gd name="connsiteX14" fmla="*/ 4236717 w 5410553"/>
              <a:gd name="connsiteY14" fmla="*/ 69985 h 6858000"/>
              <a:gd name="connsiteX15" fmla="*/ 4248022 w 5410553"/>
              <a:gd name="connsiteY15" fmla="*/ 74178 h 6858000"/>
              <a:gd name="connsiteX16" fmla="*/ 4362084 w 5410553"/>
              <a:gd name="connsiteY16" fmla="*/ 115332 h 6858000"/>
              <a:gd name="connsiteX17" fmla="*/ 4373791 w 5410553"/>
              <a:gd name="connsiteY17" fmla="*/ 120816 h 6858000"/>
              <a:gd name="connsiteX18" fmla="*/ 4378240 w 5410553"/>
              <a:gd name="connsiteY18" fmla="*/ 122467 h 6858000"/>
              <a:gd name="connsiteX19" fmla="*/ 4402294 w 5410553"/>
              <a:gd name="connsiteY19" fmla="*/ 134171 h 6858000"/>
              <a:gd name="connsiteX20" fmla="*/ 4489799 w 5410553"/>
              <a:gd name="connsiteY20" fmla="*/ 175163 h 6858000"/>
              <a:gd name="connsiteX21" fmla="*/ 4506131 w 5410553"/>
              <a:gd name="connsiteY21" fmla="*/ 184690 h 6858000"/>
              <a:gd name="connsiteX22" fmla="*/ 4513564 w 5410553"/>
              <a:gd name="connsiteY22" fmla="*/ 188306 h 6858000"/>
              <a:gd name="connsiteX23" fmla="*/ 4539665 w 5410553"/>
              <a:gd name="connsiteY23" fmla="*/ 204251 h 6858000"/>
              <a:gd name="connsiteX24" fmla="*/ 4611586 w 5410553"/>
              <a:gd name="connsiteY24" fmla="*/ 246206 h 6858000"/>
              <a:gd name="connsiteX25" fmla="*/ 4631969 w 5410553"/>
              <a:gd name="connsiteY25" fmla="*/ 260639 h 6858000"/>
              <a:gd name="connsiteX26" fmla="*/ 4642014 w 5410553"/>
              <a:gd name="connsiteY26" fmla="*/ 266773 h 6858000"/>
              <a:gd name="connsiteX27" fmla="*/ 4666865 w 5410553"/>
              <a:gd name="connsiteY27" fmla="*/ 285348 h 6858000"/>
              <a:gd name="connsiteX28" fmla="*/ 4726890 w 5410553"/>
              <a:gd name="connsiteY28" fmla="*/ 327853 h 6858000"/>
              <a:gd name="connsiteX29" fmla="*/ 4750674 w 5410553"/>
              <a:gd name="connsiteY29" fmla="*/ 347987 h 6858000"/>
              <a:gd name="connsiteX30" fmla="*/ 4762915 w 5410553"/>
              <a:gd name="connsiteY30" fmla="*/ 357135 h 6858000"/>
              <a:gd name="connsiteX31" fmla="*/ 4785202 w 5410553"/>
              <a:gd name="connsiteY31" fmla="*/ 377217 h 6858000"/>
              <a:gd name="connsiteX32" fmla="*/ 4835155 w 5410553"/>
              <a:gd name="connsiteY32" fmla="*/ 419505 h 6858000"/>
              <a:gd name="connsiteX33" fmla="*/ 4861614 w 5410553"/>
              <a:gd name="connsiteY33" fmla="*/ 446067 h 6858000"/>
              <a:gd name="connsiteX34" fmla="*/ 4875593 w 5410553"/>
              <a:gd name="connsiteY34" fmla="*/ 458661 h 6858000"/>
              <a:gd name="connsiteX35" fmla="*/ 4894771 w 5410553"/>
              <a:gd name="connsiteY35" fmla="*/ 479349 h 6858000"/>
              <a:gd name="connsiteX36" fmla="*/ 4935827 w 5410553"/>
              <a:gd name="connsiteY36" fmla="*/ 520560 h 6858000"/>
              <a:gd name="connsiteX37" fmla="*/ 4964164 w 5410553"/>
              <a:gd name="connsiteY37" fmla="*/ 554208 h 6858000"/>
              <a:gd name="connsiteX38" fmla="*/ 4979380 w 5410553"/>
              <a:gd name="connsiteY38" fmla="*/ 570622 h 6858000"/>
              <a:gd name="connsiteX39" fmla="*/ 4995273 w 5410553"/>
              <a:gd name="connsiteY39" fmla="*/ 591145 h 6858000"/>
              <a:gd name="connsiteX40" fmla="*/ 5028346 w 5410553"/>
              <a:gd name="connsiteY40" fmla="*/ 630415 h 6858000"/>
              <a:gd name="connsiteX41" fmla="*/ 5057701 w 5410553"/>
              <a:gd name="connsiteY41" fmla="*/ 671758 h 6858000"/>
              <a:gd name="connsiteX42" fmla="*/ 5073596 w 5410553"/>
              <a:gd name="connsiteY42" fmla="*/ 692284 h 6858000"/>
              <a:gd name="connsiteX43" fmla="*/ 5086246 w 5410553"/>
              <a:gd name="connsiteY43" fmla="*/ 711964 h 6858000"/>
              <a:gd name="connsiteX44" fmla="*/ 5112165 w 5410553"/>
              <a:gd name="connsiteY44" fmla="*/ 748469 h 6858000"/>
              <a:gd name="connsiteX45" fmla="*/ 5141608 w 5410553"/>
              <a:gd name="connsiteY45" fmla="*/ 798086 h 6858000"/>
              <a:gd name="connsiteX46" fmla="*/ 5157568 w 5410553"/>
              <a:gd name="connsiteY46" fmla="*/ 822915 h 6858000"/>
              <a:gd name="connsiteX47" fmla="*/ 5167158 w 5410553"/>
              <a:gd name="connsiteY47" fmla="*/ 841145 h 6858000"/>
              <a:gd name="connsiteX48" fmla="*/ 5186726 w 5410553"/>
              <a:gd name="connsiteY48" fmla="*/ 874117 h 6858000"/>
              <a:gd name="connsiteX49" fmla="*/ 5215275 w 5410553"/>
              <a:gd name="connsiteY49" fmla="*/ 932612 h 6858000"/>
              <a:gd name="connsiteX50" fmla="*/ 5230626 w 5410553"/>
              <a:gd name="connsiteY50" fmla="*/ 961788 h 6858000"/>
              <a:gd name="connsiteX51" fmla="*/ 5237440 w 5410553"/>
              <a:gd name="connsiteY51" fmla="*/ 978019 h 6858000"/>
              <a:gd name="connsiteX52" fmla="*/ 5251470 w 5410553"/>
              <a:gd name="connsiteY52" fmla="*/ 1006759 h 6858000"/>
              <a:gd name="connsiteX53" fmla="*/ 5278100 w 5410553"/>
              <a:gd name="connsiteY53" fmla="*/ 1074845 h 6858000"/>
              <a:gd name="connsiteX54" fmla="*/ 5292092 w 5410553"/>
              <a:gd name="connsiteY54" fmla="*/ 1108170 h 6858000"/>
              <a:gd name="connsiteX55" fmla="*/ 5296506 w 5410553"/>
              <a:gd name="connsiteY55" fmla="*/ 1121904 h 6858000"/>
              <a:gd name="connsiteX56" fmla="*/ 5305849 w 5410553"/>
              <a:gd name="connsiteY56" fmla="*/ 1145796 h 6858000"/>
              <a:gd name="connsiteX57" fmla="*/ 5329473 w 5410553"/>
              <a:gd name="connsiteY57" fmla="*/ 1224524 h 6858000"/>
              <a:gd name="connsiteX58" fmla="*/ 5341296 w 5410553"/>
              <a:gd name="connsiteY58" fmla="*/ 1261324 h 6858000"/>
              <a:gd name="connsiteX59" fmla="*/ 5343755 w 5410553"/>
              <a:gd name="connsiteY59" fmla="*/ 1272119 h 6858000"/>
              <a:gd name="connsiteX60" fmla="*/ 5349304 w 5410553"/>
              <a:gd name="connsiteY60" fmla="*/ 1290618 h 6858000"/>
              <a:gd name="connsiteX61" fmla="*/ 5368796 w 5410553"/>
              <a:gd name="connsiteY61" fmla="*/ 1382061 h 6858000"/>
              <a:gd name="connsiteX62" fmla="*/ 5377559 w 5410553"/>
              <a:gd name="connsiteY62" fmla="*/ 1420528 h 6858000"/>
              <a:gd name="connsiteX63" fmla="*/ 5378584 w 5410553"/>
              <a:gd name="connsiteY63" fmla="*/ 1427980 h 6858000"/>
              <a:gd name="connsiteX64" fmla="*/ 5381281 w 5410553"/>
              <a:gd name="connsiteY64" fmla="*/ 1440629 h 6858000"/>
              <a:gd name="connsiteX65" fmla="*/ 5395472 w 5410553"/>
              <a:gd name="connsiteY65" fmla="*/ 1550634 h 6858000"/>
              <a:gd name="connsiteX66" fmla="*/ 5400211 w 5410553"/>
              <a:gd name="connsiteY66" fmla="*/ 1585042 h 6858000"/>
              <a:gd name="connsiteX67" fmla="*/ 5400379 w 5410553"/>
              <a:gd name="connsiteY67" fmla="*/ 1588666 h 6858000"/>
              <a:gd name="connsiteX68" fmla="*/ 5401224 w 5410553"/>
              <a:gd name="connsiteY68" fmla="*/ 1595226 h 6858000"/>
              <a:gd name="connsiteX69" fmla="*/ 5404555 w 5410553"/>
              <a:gd name="connsiteY69" fmla="*/ 1671522 h 6858000"/>
              <a:gd name="connsiteX70" fmla="*/ 5408611 w 5410553"/>
              <a:gd name="connsiteY70" fmla="*/ 1671522 h 6858000"/>
              <a:gd name="connsiteX71" fmla="*/ 5408611 w 5410553"/>
              <a:gd name="connsiteY71" fmla="*/ 1741862 h 6858000"/>
              <a:gd name="connsiteX72" fmla="*/ 5408611 w 5410553"/>
              <a:gd name="connsiteY72" fmla="*/ 1764504 h 6858000"/>
              <a:gd name="connsiteX73" fmla="*/ 5408611 w 5410553"/>
              <a:gd name="connsiteY73" fmla="*/ 1765033 h 6858000"/>
              <a:gd name="connsiteX74" fmla="*/ 5410553 w 5410553"/>
              <a:gd name="connsiteY74" fmla="*/ 1765033 h 6858000"/>
              <a:gd name="connsiteX75" fmla="*/ 5410553 w 5410553"/>
              <a:gd name="connsiteY75" fmla="*/ 1944433 h 6858000"/>
              <a:gd name="connsiteX76" fmla="*/ 3825750 w 5410553"/>
              <a:gd name="connsiteY76" fmla="*/ 1944433 h 6858000"/>
              <a:gd name="connsiteX77" fmla="*/ 3825750 w 5410553"/>
              <a:gd name="connsiteY77" fmla="*/ 1944434 h 6858000"/>
              <a:gd name="connsiteX78" fmla="*/ 3859049 w 5410553"/>
              <a:gd name="connsiteY78" fmla="*/ 1944434 h 6858000"/>
              <a:gd name="connsiteX79" fmla="*/ 3859049 w 5410553"/>
              <a:gd name="connsiteY79" fmla="*/ 1948409 h 6858000"/>
              <a:gd name="connsiteX80" fmla="*/ 3937767 w 5410553"/>
              <a:gd name="connsiteY80" fmla="*/ 1952454 h 6858000"/>
              <a:gd name="connsiteX81" fmla="*/ 3942543 w 5410553"/>
              <a:gd name="connsiteY81" fmla="*/ 1953195 h 6858000"/>
              <a:gd name="connsiteX82" fmla="*/ 3948906 w 5410553"/>
              <a:gd name="connsiteY82" fmla="*/ 1953545 h 6858000"/>
              <a:gd name="connsiteX83" fmla="*/ 4228992 w 5410553"/>
              <a:gd name="connsiteY83" fmla="*/ 2011744 h 6858000"/>
              <a:gd name="connsiteX84" fmla="*/ 4235581 w 5410553"/>
              <a:gd name="connsiteY84" fmla="*/ 2014120 h 6858000"/>
              <a:gd name="connsiteX85" fmla="*/ 4236717 w 5410553"/>
              <a:gd name="connsiteY85" fmla="*/ 2014418 h 6858000"/>
              <a:gd name="connsiteX86" fmla="*/ 4248022 w 5410553"/>
              <a:gd name="connsiteY86" fmla="*/ 2018611 h 6858000"/>
              <a:gd name="connsiteX87" fmla="*/ 4362083 w 5410553"/>
              <a:gd name="connsiteY87" fmla="*/ 2059764 h 6858000"/>
              <a:gd name="connsiteX88" fmla="*/ 4373790 w 5410553"/>
              <a:gd name="connsiteY88" fmla="*/ 2065249 h 6858000"/>
              <a:gd name="connsiteX89" fmla="*/ 4378239 w 5410553"/>
              <a:gd name="connsiteY89" fmla="*/ 2066899 h 6858000"/>
              <a:gd name="connsiteX90" fmla="*/ 4402293 w 5410553"/>
              <a:gd name="connsiteY90" fmla="*/ 2078604 h 6858000"/>
              <a:gd name="connsiteX91" fmla="*/ 4489798 w 5410553"/>
              <a:gd name="connsiteY91" fmla="*/ 2119596 h 6858000"/>
              <a:gd name="connsiteX92" fmla="*/ 4506130 w 5410553"/>
              <a:gd name="connsiteY92" fmla="*/ 2129123 h 6858000"/>
              <a:gd name="connsiteX93" fmla="*/ 4513563 w 5410553"/>
              <a:gd name="connsiteY93" fmla="*/ 2132739 h 6858000"/>
              <a:gd name="connsiteX94" fmla="*/ 4539663 w 5410553"/>
              <a:gd name="connsiteY94" fmla="*/ 2148684 h 6858000"/>
              <a:gd name="connsiteX95" fmla="*/ 4611586 w 5410553"/>
              <a:gd name="connsiteY95" fmla="*/ 2190639 h 6858000"/>
              <a:gd name="connsiteX96" fmla="*/ 4631969 w 5410553"/>
              <a:gd name="connsiteY96" fmla="*/ 2205072 h 6858000"/>
              <a:gd name="connsiteX97" fmla="*/ 4642011 w 5410553"/>
              <a:gd name="connsiteY97" fmla="*/ 2211205 h 6858000"/>
              <a:gd name="connsiteX98" fmla="*/ 4666865 w 5410553"/>
              <a:gd name="connsiteY98" fmla="*/ 2229781 h 6858000"/>
              <a:gd name="connsiteX99" fmla="*/ 4726888 w 5410553"/>
              <a:gd name="connsiteY99" fmla="*/ 2272285 h 6858000"/>
              <a:gd name="connsiteX100" fmla="*/ 4750674 w 5410553"/>
              <a:gd name="connsiteY100" fmla="*/ 2292420 h 6858000"/>
              <a:gd name="connsiteX101" fmla="*/ 4762912 w 5410553"/>
              <a:gd name="connsiteY101" fmla="*/ 2301568 h 6858000"/>
              <a:gd name="connsiteX102" fmla="*/ 4785201 w 5410553"/>
              <a:gd name="connsiteY102" fmla="*/ 2321651 h 6858000"/>
              <a:gd name="connsiteX103" fmla="*/ 4835155 w 5410553"/>
              <a:gd name="connsiteY103" fmla="*/ 2363938 h 6858000"/>
              <a:gd name="connsiteX104" fmla="*/ 4861613 w 5410553"/>
              <a:gd name="connsiteY104" fmla="*/ 2390499 h 6858000"/>
              <a:gd name="connsiteX105" fmla="*/ 4875593 w 5410553"/>
              <a:gd name="connsiteY105" fmla="*/ 2403094 h 6858000"/>
              <a:gd name="connsiteX106" fmla="*/ 4894769 w 5410553"/>
              <a:gd name="connsiteY106" fmla="*/ 2423782 h 6858000"/>
              <a:gd name="connsiteX107" fmla="*/ 4935824 w 5410553"/>
              <a:gd name="connsiteY107" fmla="*/ 2464992 h 6858000"/>
              <a:gd name="connsiteX108" fmla="*/ 4964163 w 5410553"/>
              <a:gd name="connsiteY108" fmla="*/ 2498639 h 6858000"/>
              <a:gd name="connsiteX109" fmla="*/ 4979380 w 5410553"/>
              <a:gd name="connsiteY109" fmla="*/ 2515055 h 6858000"/>
              <a:gd name="connsiteX110" fmla="*/ 4995273 w 5410553"/>
              <a:gd name="connsiteY110" fmla="*/ 2535578 h 6858000"/>
              <a:gd name="connsiteX111" fmla="*/ 5028344 w 5410553"/>
              <a:gd name="connsiteY111" fmla="*/ 2574846 h 6858000"/>
              <a:gd name="connsiteX112" fmla="*/ 5057698 w 5410553"/>
              <a:gd name="connsiteY112" fmla="*/ 2616189 h 6858000"/>
              <a:gd name="connsiteX113" fmla="*/ 5073596 w 5410553"/>
              <a:gd name="connsiteY113" fmla="*/ 2636717 h 6858000"/>
              <a:gd name="connsiteX114" fmla="*/ 5086244 w 5410553"/>
              <a:gd name="connsiteY114" fmla="*/ 2656395 h 6858000"/>
              <a:gd name="connsiteX115" fmla="*/ 5112164 w 5410553"/>
              <a:gd name="connsiteY115" fmla="*/ 2692902 h 6858000"/>
              <a:gd name="connsiteX116" fmla="*/ 5141608 w 5410553"/>
              <a:gd name="connsiteY116" fmla="*/ 2742519 h 6858000"/>
              <a:gd name="connsiteX117" fmla="*/ 5157568 w 5410553"/>
              <a:gd name="connsiteY117" fmla="*/ 2767348 h 6858000"/>
              <a:gd name="connsiteX118" fmla="*/ 5167158 w 5410553"/>
              <a:gd name="connsiteY118" fmla="*/ 2785577 h 6858000"/>
              <a:gd name="connsiteX119" fmla="*/ 5186724 w 5410553"/>
              <a:gd name="connsiteY119" fmla="*/ 2818550 h 6858000"/>
              <a:gd name="connsiteX120" fmla="*/ 5215275 w 5410553"/>
              <a:gd name="connsiteY120" fmla="*/ 2877044 h 6858000"/>
              <a:gd name="connsiteX121" fmla="*/ 5230624 w 5410553"/>
              <a:gd name="connsiteY121" fmla="*/ 2906220 h 6858000"/>
              <a:gd name="connsiteX122" fmla="*/ 5237439 w 5410553"/>
              <a:gd name="connsiteY122" fmla="*/ 2922452 h 6858000"/>
              <a:gd name="connsiteX123" fmla="*/ 5251470 w 5410553"/>
              <a:gd name="connsiteY123" fmla="*/ 2951192 h 6858000"/>
              <a:gd name="connsiteX124" fmla="*/ 5278100 w 5410553"/>
              <a:gd name="connsiteY124" fmla="*/ 3019278 h 6858000"/>
              <a:gd name="connsiteX125" fmla="*/ 5292092 w 5410553"/>
              <a:gd name="connsiteY125" fmla="*/ 3052600 h 6858000"/>
              <a:gd name="connsiteX126" fmla="*/ 5296504 w 5410553"/>
              <a:gd name="connsiteY126" fmla="*/ 3066337 h 6858000"/>
              <a:gd name="connsiteX127" fmla="*/ 5305849 w 5410553"/>
              <a:gd name="connsiteY127" fmla="*/ 3090227 h 6858000"/>
              <a:gd name="connsiteX128" fmla="*/ 5329471 w 5410553"/>
              <a:gd name="connsiteY128" fmla="*/ 3168956 h 6858000"/>
              <a:gd name="connsiteX129" fmla="*/ 5341293 w 5410553"/>
              <a:gd name="connsiteY129" fmla="*/ 3205756 h 6858000"/>
              <a:gd name="connsiteX130" fmla="*/ 5343751 w 5410553"/>
              <a:gd name="connsiteY130" fmla="*/ 3216552 h 6858000"/>
              <a:gd name="connsiteX131" fmla="*/ 5349304 w 5410553"/>
              <a:gd name="connsiteY131" fmla="*/ 3235051 h 6858000"/>
              <a:gd name="connsiteX132" fmla="*/ 5368795 w 5410553"/>
              <a:gd name="connsiteY132" fmla="*/ 3326492 h 6858000"/>
              <a:gd name="connsiteX133" fmla="*/ 5377557 w 5410553"/>
              <a:gd name="connsiteY133" fmla="*/ 3364959 h 6858000"/>
              <a:gd name="connsiteX134" fmla="*/ 5378582 w 5410553"/>
              <a:gd name="connsiteY134" fmla="*/ 3372411 h 6858000"/>
              <a:gd name="connsiteX135" fmla="*/ 5381281 w 5410553"/>
              <a:gd name="connsiteY135" fmla="*/ 3385062 h 6858000"/>
              <a:gd name="connsiteX136" fmla="*/ 5395472 w 5410553"/>
              <a:gd name="connsiteY136" fmla="*/ 3495066 h 6858000"/>
              <a:gd name="connsiteX137" fmla="*/ 5400210 w 5410553"/>
              <a:gd name="connsiteY137" fmla="*/ 3529474 h 6858000"/>
              <a:gd name="connsiteX138" fmla="*/ 5400377 w 5410553"/>
              <a:gd name="connsiteY138" fmla="*/ 3533097 h 6858000"/>
              <a:gd name="connsiteX139" fmla="*/ 5401224 w 5410553"/>
              <a:gd name="connsiteY139" fmla="*/ 3539659 h 6858000"/>
              <a:gd name="connsiteX140" fmla="*/ 5404554 w 5410553"/>
              <a:gd name="connsiteY140" fmla="*/ 3615954 h 6858000"/>
              <a:gd name="connsiteX141" fmla="*/ 5408611 w 5410553"/>
              <a:gd name="connsiteY141" fmla="*/ 3615954 h 6858000"/>
              <a:gd name="connsiteX142" fmla="*/ 5408611 w 5410553"/>
              <a:gd name="connsiteY142" fmla="*/ 3686294 h 6858000"/>
              <a:gd name="connsiteX143" fmla="*/ 5408611 w 5410553"/>
              <a:gd name="connsiteY143" fmla="*/ 3708935 h 6858000"/>
              <a:gd name="connsiteX144" fmla="*/ 5408611 w 5410553"/>
              <a:gd name="connsiteY144" fmla="*/ 3709464 h 6858000"/>
              <a:gd name="connsiteX145" fmla="*/ 5410552 w 5410553"/>
              <a:gd name="connsiteY145" fmla="*/ 3709464 h 6858000"/>
              <a:gd name="connsiteX146" fmla="*/ 5410552 w 5410553"/>
              <a:gd name="connsiteY146" fmla="*/ 4047423 h 6858000"/>
              <a:gd name="connsiteX147" fmla="*/ 5410552 w 5410553"/>
              <a:gd name="connsiteY147" fmla="*/ 4755011 h 6858000"/>
              <a:gd name="connsiteX148" fmla="*/ 5410552 w 5410553"/>
              <a:gd name="connsiteY148" fmla="*/ 5092970 h 6858000"/>
              <a:gd name="connsiteX149" fmla="*/ 5410552 w 5410553"/>
              <a:gd name="connsiteY149" fmla="*/ 5186482 h 6858000"/>
              <a:gd name="connsiteX150" fmla="*/ 5408629 w 5410553"/>
              <a:gd name="connsiteY150" fmla="*/ 5186482 h 6858000"/>
              <a:gd name="connsiteX151" fmla="*/ 5408629 w 5410553"/>
              <a:gd name="connsiteY151" fmla="*/ 6857999 h 6858000"/>
              <a:gd name="connsiteX152" fmla="*/ 4867572 w 5410553"/>
              <a:gd name="connsiteY152" fmla="*/ 6857999 h 6858000"/>
              <a:gd name="connsiteX153" fmla="*/ 3794895 w 5410553"/>
              <a:gd name="connsiteY153" fmla="*/ 6857999 h 6858000"/>
              <a:gd name="connsiteX154" fmla="*/ 3783656 w 5410553"/>
              <a:gd name="connsiteY154" fmla="*/ 6857999 h 6858000"/>
              <a:gd name="connsiteX155" fmla="*/ 3782698 w 5410553"/>
              <a:gd name="connsiteY155" fmla="*/ 6857999 h 6858000"/>
              <a:gd name="connsiteX156" fmla="*/ 3782682 w 5410553"/>
              <a:gd name="connsiteY156" fmla="*/ 6858000 h 6858000"/>
              <a:gd name="connsiteX157" fmla="*/ 3782667 w 5410553"/>
              <a:gd name="connsiteY157" fmla="*/ 6857999 h 6858000"/>
              <a:gd name="connsiteX158" fmla="*/ 3706296 w 5410553"/>
              <a:gd name="connsiteY158" fmla="*/ 6857999 h 6858000"/>
              <a:gd name="connsiteX159" fmla="*/ 3253837 w 5410553"/>
              <a:gd name="connsiteY159" fmla="*/ 6857999 h 6858000"/>
              <a:gd name="connsiteX160" fmla="*/ 3242599 w 5410553"/>
              <a:gd name="connsiteY160" fmla="*/ 6857999 h 6858000"/>
              <a:gd name="connsiteX161" fmla="*/ 3241641 w 5410553"/>
              <a:gd name="connsiteY161" fmla="*/ 6857999 h 6858000"/>
              <a:gd name="connsiteX162" fmla="*/ 3241626 w 5410553"/>
              <a:gd name="connsiteY162" fmla="*/ 6858000 h 6858000"/>
              <a:gd name="connsiteX163" fmla="*/ 3241609 w 5410553"/>
              <a:gd name="connsiteY163" fmla="*/ 6857999 h 6858000"/>
              <a:gd name="connsiteX164" fmla="*/ 3165240 w 5410553"/>
              <a:gd name="connsiteY164" fmla="*/ 6857999 h 6858000"/>
              <a:gd name="connsiteX165" fmla="*/ 2169922 w 5410553"/>
              <a:gd name="connsiteY165" fmla="*/ 6857999 h 6858000"/>
              <a:gd name="connsiteX166" fmla="*/ 2168963 w 5410553"/>
              <a:gd name="connsiteY166" fmla="*/ 6857999 h 6858000"/>
              <a:gd name="connsiteX167" fmla="*/ 2168947 w 5410553"/>
              <a:gd name="connsiteY167" fmla="*/ 6858000 h 6858000"/>
              <a:gd name="connsiteX168" fmla="*/ 2168931 w 5410553"/>
              <a:gd name="connsiteY168" fmla="*/ 6857999 h 6858000"/>
              <a:gd name="connsiteX169" fmla="*/ 2092561 w 5410553"/>
              <a:gd name="connsiteY169" fmla="*/ 6857999 h 6858000"/>
              <a:gd name="connsiteX170" fmla="*/ 1628865 w 5410553"/>
              <a:gd name="connsiteY170" fmla="*/ 6857999 h 6858000"/>
              <a:gd name="connsiteX171" fmla="*/ 1627906 w 5410553"/>
              <a:gd name="connsiteY171" fmla="*/ 6857999 h 6858000"/>
              <a:gd name="connsiteX172" fmla="*/ 1627892 w 5410553"/>
              <a:gd name="connsiteY172" fmla="*/ 6858000 h 6858000"/>
              <a:gd name="connsiteX173" fmla="*/ 1627875 w 5410553"/>
              <a:gd name="connsiteY173" fmla="*/ 6857999 h 6858000"/>
              <a:gd name="connsiteX174" fmla="*/ 1551506 w 5410553"/>
              <a:gd name="connsiteY174" fmla="*/ 6857999 h 6858000"/>
              <a:gd name="connsiteX175" fmla="*/ 1551506 w 5410553"/>
              <a:gd name="connsiteY175" fmla="*/ 6854025 h 6858000"/>
              <a:gd name="connsiteX176" fmla="*/ 1472786 w 5410553"/>
              <a:gd name="connsiteY176" fmla="*/ 6849979 h 6858000"/>
              <a:gd name="connsiteX177" fmla="*/ 1468010 w 5410553"/>
              <a:gd name="connsiteY177" fmla="*/ 6849239 h 6858000"/>
              <a:gd name="connsiteX178" fmla="*/ 1461647 w 5410553"/>
              <a:gd name="connsiteY178" fmla="*/ 6848892 h 6858000"/>
              <a:gd name="connsiteX179" fmla="*/ 1181563 w 5410553"/>
              <a:gd name="connsiteY179" fmla="*/ 6790692 h 6858000"/>
              <a:gd name="connsiteX180" fmla="*/ 1174972 w 5410553"/>
              <a:gd name="connsiteY180" fmla="*/ 6788314 h 6858000"/>
              <a:gd name="connsiteX181" fmla="*/ 1173836 w 5410553"/>
              <a:gd name="connsiteY181" fmla="*/ 6788017 h 6858000"/>
              <a:gd name="connsiteX182" fmla="*/ 1162533 w 5410553"/>
              <a:gd name="connsiteY182" fmla="*/ 6783825 h 6858000"/>
              <a:gd name="connsiteX183" fmla="*/ 1048471 w 5410553"/>
              <a:gd name="connsiteY183" fmla="*/ 6742670 h 6858000"/>
              <a:gd name="connsiteX184" fmla="*/ 1036764 w 5410553"/>
              <a:gd name="connsiteY184" fmla="*/ 6737186 h 6858000"/>
              <a:gd name="connsiteX185" fmla="*/ 1032314 w 5410553"/>
              <a:gd name="connsiteY185" fmla="*/ 6735535 h 6858000"/>
              <a:gd name="connsiteX186" fmla="*/ 1008260 w 5410553"/>
              <a:gd name="connsiteY186" fmla="*/ 6723832 h 6858000"/>
              <a:gd name="connsiteX187" fmla="*/ 920755 w 5410553"/>
              <a:gd name="connsiteY187" fmla="*/ 6682839 h 6858000"/>
              <a:gd name="connsiteX188" fmla="*/ 904423 w 5410553"/>
              <a:gd name="connsiteY188" fmla="*/ 6673313 h 6858000"/>
              <a:gd name="connsiteX189" fmla="*/ 896991 w 5410553"/>
              <a:gd name="connsiteY189" fmla="*/ 6669695 h 6858000"/>
              <a:gd name="connsiteX190" fmla="*/ 870891 w 5410553"/>
              <a:gd name="connsiteY190" fmla="*/ 6653750 h 6858000"/>
              <a:gd name="connsiteX191" fmla="*/ 798968 w 5410553"/>
              <a:gd name="connsiteY191" fmla="*/ 6611797 h 6858000"/>
              <a:gd name="connsiteX192" fmla="*/ 778585 w 5410553"/>
              <a:gd name="connsiteY192" fmla="*/ 6597363 h 6858000"/>
              <a:gd name="connsiteX193" fmla="*/ 768542 w 5410553"/>
              <a:gd name="connsiteY193" fmla="*/ 6591229 h 6858000"/>
              <a:gd name="connsiteX194" fmla="*/ 743688 w 5410553"/>
              <a:gd name="connsiteY194" fmla="*/ 6572653 h 6858000"/>
              <a:gd name="connsiteX195" fmla="*/ 683666 w 5410553"/>
              <a:gd name="connsiteY195" fmla="*/ 6530149 h 6858000"/>
              <a:gd name="connsiteX196" fmla="*/ 659881 w 5410553"/>
              <a:gd name="connsiteY196" fmla="*/ 6510014 h 6858000"/>
              <a:gd name="connsiteX197" fmla="*/ 647641 w 5410553"/>
              <a:gd name="connsiteY197" fmla="*/ 6500867 h 6858000"/>
              <a:gd name="connsiteX198" fmla="*/ 625351 w 5410553"/>
              <a:gd name="connsiteY198" fmla="*/ 6480784 h 6858000"/>
              <a:gd name="connsiteX199" fmla="*/ 575400 w 5410553"/>
              <a:gd name="connsiteY199" fmla="*/ 6438495 h 6858000"/>
              <a:gd name="connsiteX200" fmla="*/ 548941 w 5410553"/>
              <a:gd name="connsiteY200" fmla="*/ 6411937 h 6858000"/>
              <a:gd name="connsiteX201" fmla="*/ 534961 w 5410553"/>
              <a:gd name="connsiteY201" fmla="*/ 6399339 h 6858000"/>
              <a:gd name="connsiteX202" fmla="*/ 515783 w 5410553"/>
              <a:gd name="connsiteY202" fmla="*/ 6378653 h 6858000"/>
              <a:gd name="connsiteX203" fmla="*/ 474729 w 5410553"/>
              <a:gd name="connsiteY203" fmla="*/ 6337442 h 6858000"/>
              <a:gd name="connsiteX204" fmla="*/ 446391 w 5410553"/>
              <a:gd name="connsiteY204" fmla="*/ 6303796 h 6858000"/>
              <a:gd name="connsiteX205" fmla="*/ 431175 w 5410553"/>
              <a:gd name="connsiteY205" fmla="*/ 6287380 h 6858000"/>
              <a:gd name="connsiteX206" fmla="*/ 415281 w 5410553"/>
              <a:gd name="connsiteY206" fmla="*/ 6266857 h 6858000"/>
              <a:gd name="connsiteX207" fmla="*/ 382208 w 5410553"/>
              <a:gd name="connsiteY207" fmla="*/ 6227587 h 6858000"/>
              <a:gd name="connsiteX208" fmla="*/ 352856 w 5410553"/>
              <a:gd name="connsiteY208" fmla="*/ 6186244 h 6858000"/>
              <a:gd name="connsiteX209" fmla="*/ 336959 w 5410553"/>
              <a:gd name="connsiteY209" fmla="*/ 6165720 h 6858000"/>
              <a:gd name="connsiteX210" fmla="*/ 324308 w 5410553"/>
              <a:gd name="connsiteY210" fmla="*/ 6146039 h 6858000"/>
              <a:gd name="connsiteX211" fmla="*/ 298389 w 5410553"/>
              <a:gd name="connsiteY211" fmla="*/ 6109534 h 6858000"/>
              <a:gd name="connsiteX212" fmla="*/ 268946 w 5410553"/>
              <a:gd name="connsiteY212" fmla="*/ 6059914 h 6858000"/>
              <a:gd name="connsiteX213" fmla="*/ 252985 w 5410553"/>
              <a:gd name="connsiteY213" fmla="*/ 6035086 h 6858000"/>
              <a:gd name="connsiteX214" fmla="*/ 243395 w 5410553"/>
              <a:gd name="connsiteY214" fmla="*/ 6016857 h 6858000"/>
              <a:gd name="connsiteX215" fmla="*/ 223831 w 5410553"/>
              <a:gd name="connsiteY215" fmla="*/ 5983884 h 6858000"/>
              <a:gd name="connsiteX216" fmla="*/ 195278 w 5410553"/>
              <a:gd name="connsiteY216" fmla="*/ 5925391 h 6858000"/>
              <a:gd name="connsiteX217" fmla="*/ 179929 w 5410553"/>
              <a:gd name="connsiteY217" fmla="*/ 5896214 h 6858000"/>
              <a:gd name="connsiteX218" fmla="*/ 173113 w 5410553"/>
              <a:gd name="connsiteY218" fmla="*/ 5879983 h 6858000"/>
              <a:gd name="connsiteX219" fmla="*/ 159084 w 5410553"/>
              <a:gd name="connsiteY219" fmla="*/ 5851242 h 6858000"/>
              <a:gd name="connsiteX220" fmla="*/ 132456 w 5410553"/>
              <a:gd name="connsiteY220" fmla="*/ 5783156 h 6858000"/>
              <a:gd name="connsiteX221" fmla="*/ 118462 w 5410553"/>
              <a:gd name="connsiteY221" fmla="*/ 5749834 h 6858000"/>
              <a:gd name="connsiteX222" fmla="*/ 114051 w 5410553"/>
              <a:gd name="connsiteY222" fmla="*/ 5736099 h 6858000"/>
              <a:gd name="connsiteX223" fmla="*/ 104705 w 5410553"/>
              <a:gd name="connsiteY223" fmla="*/ 5712207 h 6858000"/>
              <a:gd name="connsiteX224" fmla="*/ 81084 w 5410553"/>
              <a:gd name="connsiteY224" fmla="*/ 5633479 h 6858000"/>
              <a:gd name="connsiteX225" fmla="*/ 69261 w 5410553"/>
              <a:gd name="connsiteY225" fmla="*/ 5596679 h 6858000"/>
              <a:gd name="connsiteX226" fmla="*/ 66802 w 5410553"/>
              <a:gd name="connsiteY226" fmla="*/ 5585881 h 6858000"/>
              <a:gd name="connsiteX227" fmla="*/ 61250 w 5410553"/>
              <a:gd name="connsiteY227" fmla="*/ 5567382 h 6858000"/>
              <a:gd name="connsiteX228" fmla="*/ 41759 w 5410553"/>
              <a:gd name="connsiteY228" fmla="*/ 5475943 h 6858000"/>
              <a:gd name="connsiteX229" fmla="*/ 32996 w 5410553"/>
              <a:gd name="connsiteY229" fmla="*/ 5437474 h 6858000"/>
              <a:gd name="connsiteX230" fmla="*/ 31970 w 5410553"/>
              <a:gd name="connsiteY230" fmla="*/ 5430024 h 6858000"/>
              <a:gd name="connsiteX231" fmla="*/ 29274 w 5410553"/>
              <a:gd name="connsiteY231" fmla="*/ 5417371 h 6858000"/>
              <a:gd name="connsiteX232" fmla="*/ 15083 w 5410553"/>
              <a:gd name="connsiteY232" fmla="*/ 5307370 h 6858000"/>
              <a:gd name="connsiteX233" fmla="*/ 10345 w 5410553"/>
              <a:gd name="connsiteY233" fmla="*/ 5272959 h 6858000"/>
              <a:gd name="connsiteX234" fmla="*/ 10177 w 5410553"/>
              <a:gd name="connsiteY234" fmla="*/ 5269337 h 6858000"/>
              <a:gd name="connsiteX235" fmla="*/ 9329 w 5410553"/>
              <a:gd name="connsiteY235" fmla="*/ 5262776 h 6858000"/>
              <a:gd name="connsiteX236" fmla="*/ 6002 w 5410553"/>
              <a:gd name="connsiteY236" fmla="*/ 5186482 h 6858000"/>
              <a:gd name="connsiteX237" fmla="*/ 1944 w 5410553"/>
              <a:gd name="connsiteY237" fmla="*/ 5186482 h 6858000"/>
              <a:gd name="connsiteX238" fmla="*/ 1944 w 5410553"/>
              <a:gd name="connsiteY238" fmla="*/ 5116140 h 6858000"/>
              <a:gd name="connsiteX239" fmla="*/ 1944 w 5410553"/>
              <a:gd name="connsiteY239" fmla="*/ 5093498 h 6858000"/>
              <a:gd name="connsiteX240" fmla="*/ 1944 w 5410553"/>
              <a:gd name="connsiteY240" fmla="*/ 5092970 h 6858000"/>
              <a:gd name="connsiteX241" fmla="*/ 0 w 5410553"/>
              <a:gd name="connsiteY241" fmla="*/ 5092970 h 6858000"/>
              <a:gd name="connsiteX242" fmla="*/ 0 w 5410553"/>
              <a:gd name="connsiteY242" fmla="*/ 4755011 h 6858000"/>
              <a:gd name="connsiteX243" fmla="*/ 0 w 5410553"/>
              <a:gd name="connsiteY243" fmla="*/ 4047423 h 6858000"/>
              <a:gd name="connsiteX244" fmla="*/ 0 w 5410553"/>
              <a:gd name="connsiteY244" fmla="*/ 3709464 h 6858000"/>
              <a:gd name="connsiteX245" fmla="*/ 0 w 5410553"/>
              <a:gd name="connsiteY245" fmla="*/ 3615954 h 6858000"/>
              <a:gd name="connsiteX246" fmla="*/ 1925 w 5410553"/>
              <a:gd name="connsiteY246" fmla="*/ 3615954 h 6858000"/>
              <a:gd name="connsiteX247" fmla="*/ 1925 w 5410553"/>
              <a:gd name="connsiteY247" fmla="*/ 3603350 h 6858000"/>
              <a:gd name="connsiteX248" fmla="*/ 0 w 5410553"/>
              <a:gd name="connsiteY248" fmla="*/ 360335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5410553" h="6858000">
                <a:moveTo>
                  <a:pt x="0" y="0"/>
                </a:moveTo>
                <a:lnTo>
                  <a:pt x="1627873" y="0"/>
                </a:lnTo>
                <a:lnTo>
                  <a:pt x="2168929" y="0"/>
                </a:lnTo>
                <a:lnTo>
                  <a:pt x="3241609" y="0"/>
                </a:lnTo>
                <a:lnTo>
                  <a:pt x="3782664" y="0"/>
                </a:lnTo>
                <a:lnTo>
                  <a:pt x="3825750" y="0"/>
                </a:lnTo>
                <a:lnTo>
                  <a:pt x="3825750" y="1"/>
                </a:lnTo>
                <a:lnTo>
                  <a:pt x="3859050" y="1"/>
                </a:lnTo>
                <a:lnTo>
                  <a:pt x="3859050" y="3976"/>
                </a:lnTo>
                <a:lnTo>
                  <a:pt x="3937767" y="8022"/>
                </a:lnTo>
                <a:lnTo>
                  <a:pt x="3942543" y="8764"/>
                </a:lnTo>
                <a:lnTo>
                  <a:pt x="3948907" y="9111"/>
                </a:lnTo>
                <a:cubicBezTo>
                  <a:pt x="4044989" y="19700"/>
                  <a:pt x="4138597" y="39368"/>
                  <a:pt x="4228992" y="67312"/>
                </a:cubicBezTo>
                <a:lnTo>
                  <a:pt x="4235582" y="69688"/>
                </a:lnTo>
                <a:lnTo>
                  <a:pt x="4236717" y="69985"/>
                </a:lnTo>
                <a:lnTo>
                  <a:pt x="4248022" y="74178"/>
                </a:lnTo>
                <a:lnTo>
                  <a:pt x="4362084" y="115332"/>
                </a:lnTo>
                <a:lnTo>
                  <a:pt x="4373791" y="120816"/>
                </a:lnTo>
                <a:lnTo>
                  <a:pt x="4378240" y="122467"/>
                </a:lnTo>
                <a:lnTo>
                  <a:pt x="4402294" y="134171"/>
                </a:lnTo>
                <a:lnTo>
                  <a:pt x="4489799" y="175163"/>
                </a:lnTo>
                <a:lnTo>
                  <a:pt x="4506131" y="184690"/>
                </a:lnTo>
                <a:lnTo>
                  <a:pt x="4513564" y="188306"/>
                </a:lnTo>
                <a:lnTo>
                  <a:pt x="4539665" y="204251"/>
                </a:lnTo>
                <a:lnTo>
                  <a:pt x="4611586" y="246206"/>
                </a:lnTo>
                <a:lnTo>
                  <a:pt x="4631969" y="260639"/>
                </a:lnTo>
                <a:lnTo>
                  <a:pt x="4642014" y="266773"/>
                </a:lnTo>
                <a:lnTo>
                  <a:pt x="4666865" y="285348"/>
                </a:lnTo>
                <a:lnTo>
                  <a:pt x="4726890" y="327853"/>
                </a:lnTo>
                <a:lnTo>
                  <a:pt x="4750674" y="347987"/>
                </a:lnTo>
                <a:lnTo>
                  <a:pt x="4762915" y="357135"/>
                </a:lnTo>
                <a:lnTo>
                  <a:pt x="4785202" y="377217"/>
                </a:lnTo>
                <a:lnTo>
                  <a:pt x="4835155" y="419505"/>
                </a:lnTo>
                <a:lnTo>
                  <a:pt x="4861614" y="446067"/>
                </a:lnTo>
                <a:lnTo>
                  <a:pt x="4875593" y="458661"/>
                </a:lnTo>
                <a:lnTo>
                  <a:pt x="4894771" y="479349"/>
                </a:lnTo>
                <a:lnTo>
                  <a:pt x="4935827" y="520560"/>
                </a:lnTo>
                <a:lnTo>
                  <a:pt x="4964164" y="554208"/>
                </a:lnTo>
                <a:lnTo>
                  <a:pt x="4979380" y="570622"/>
                </a:lnTo>
                <a:lnTo>
                  <a:pt x="4995273" y="591145"/>
                </a:lnTo>
                <a:lnTo>
                  <a:pt x="5028346" y="630415"/>
                </a:lnTo>
                <a:lnTo>
                  <a:pt x="5057701" y="671758"/>
                </a:lnTo>
                <a:lnTo>
                  <a:pt x="5073596" y="692284"/>
                </a:lnTo>
                <a:lnTo>
                  <a:pt x="5086246" y="711964"/>
                </a:lnTo>
                <a:lnTo>
                  <a:pt x="5112165" y="748469"/>
                </a:lnTo>
                <a:lnTo>
                  <a:pt x="5141608" y="798086"/>
                </a:lnTo>
                <a:lnTo>
                  <a:pt x="5157568" y="822915"/>
                </a:lnTo>
                <a:lnTo>
                  <a:pt x="5167158" y="841145"/>
                </a:lnTo>
                <a:lnTo>
                  <a:pt x="5186726" y="874117"/>
                </a:lnTo>
                <a:lnTo>
                  <a:pt x="5215275" y="932612"/>
                </a:lnTo>
                <a:lnTo>
                  <a:pt x="5230626" y="961788"/>
                </a:lnTo>
                <a:lnTo>
                  <a:pt x="5237440" y="978019"/>
                </a:lnTo>
                <a:lnTo>
                  <a:pt x="5251470" y="1006759"/>
                </a:lnTo>
                <a:lnTo>
                  <a:pt x="5278100" y="1074845"/>
                </a:lnTo>
                <a:lnTo>
                  <a:pt x="5292092" y="1108170"/>
                </a:lnTo>
                <a:lnTo>
                  <a:pt x="5296506" y="1121904"/>
                </a:lnTo>
                <a:lnTo>
                  <a:pt x="5305849" y="1145796"/>
                </a:lnTo>
                <a:lnTo>
                  <a:pt x="5329473" y="1224524"/>
                </a:lnTo>
                <a:lnTo>
                  <a:pt x="5341296" y="1261324"/>
                </a:lnTo>
                <a:lnTo>
                  <a:pt x="5343755" y="1272119"/>
                </a:lnTo>
                <a:lnTo>
                  <a:pt x="5349304" y="1290618"/>
                </a:lnTo>
                <a:lnTo>
                  <a:pt x="5368796" y="1382061"/>
                </a:lnTo>
                <a:lnTo>
                  <a:pt x="5377559" y="1420528"/>
                </a:lnTo>
                <a:lnTo>
                  <a:pt x="5378584" y="1427980"/>
                </a:lnTo>
                <a:lnTo>
                  <a:pt x="5381281" y="1440629"/>
                </a:lnTo>
                <a:lnTo>
                  <a:pt x="5395472" y="1550634"/>
                </a:lnTo>
                <a:lnTo>
                  <a:pt x="5400211" y="1585042"/>
                </a:lnTo>
                <a:lnTo>
                  <a:pt x="5400379" y="1588666"/>
                </a:lnTo>
                <a:lnTo>
                  <a:pt x="5401224" y="1595226"/>
                </a:lnTo>
                <a:lnTo>
                  <a:pt x="5404555" y="1671522"/>
                </a:lnTo>
                <a:lnTo>
                  <a:pt x="5408611" y="1671522"/>
                </a:lnTo>
                <a:lnTo>
                  <a:pt x="5408611" y="1741862"/>
                </a:lnTo>
                <a:lnTo>
                  <a:pt x="5408611" y="1764504"/>
                </a:lnTo>
                <a:lnTo>
                  <a:pt x="5408611" y="1765033"/>
                </a:lnTo>
                <a:lnTo>
                  <a:pt x="5410553" y="1765033"/>
                </a:lnTo>
                <a:lnTo>
                  <a:pt x="5410553" y="1944433"/>
                </a:lnTo>
                <a:lnTo>
                  <a:pt x="3825750" y="1944433"/>
                </a:lnTo>
                <a:lnTo>
                  <a:pt x="3825750" y="1944434"/>
                </a:lnTo>
                <a:lnTo>
                  <a:pt x="3859049" y="1944434"/>
                </a:lnTo>
                <a:lnTo>
                  <a:pt x="3859049" y="1948409"/>
                </a:lnTo>
                <a:lnTo>
                  <a:pt x="3937767" y="1952454"/>
                </a:lnTo>
                <a:lnTo>
                  <a:pt x="3942543" y="1953195"/>
                </a:lnTo>
                <a:lnTo>
                  <a:pt x="3948906" y="1953545"/>
                </a:lnTo>
                <a:cubicBezTo>
                  <a:pt x="4044987" y="1964132"/>
                  <a:pt x="4138597" y="1983799"/>
                  <a:pt x="4228992" y="2011744"/>
                </a:cubicBezTo>
                <a:lnTo>
                  <a:pt x="4235581" y="2014120"/>
                </a:lnTo>
                <a:lnTo>
                  <a:pt x="4236717" y="2014418"/>
                </a:lnTo>
                <a:lnTo>
                  <a:pt x="4248022" y="2018611"/>
                </a:lnTo>
                <a:lnTo>
                  <a:pt x="4362083" y="2059764"/>
                </a:lnTo>
                <a:lnTo>
                  <a:pt x="4373790" y="2065249"/>
                </a:lnTo>
                <a:lnTo>
                  <a:pt x="4378239" y="2066899"/>
                </a:lnTo>
                <a:lnTo>
                  <a:pt x="4402293" y="2078604"/>
                </a:lnTo>
                <a:lnTo>
                  <a:pt x="4489798" y="2119596"/>
                </a:lnTo>
                <a:lnTo>
                  <a:pt x="4506130" y="2129123"/>
                </a:lnTo>
                <a:lnTo>
                  <a:pt x="4513563" y="2132739"/>
                </a:lnTo>
                <a:lnTo>
                  <a:pt x="4539663" y="2148684"/>
                </a:lnTo>
                <a:lnTo>
                  <a:pt x="4611586" y="2190639"/>
                </a:lnTo>
                <a:lnTo>
                  <a:pt x="4631969" y="2205072"/>
                </a:lnTo>
                <a:lnTo>
                  <a:pt x="4642011" y="2211205"/>
                </a:lnTo>
                <a:lnTo>
                  <a:pt x="4666865" y="2229781"/>
                </a:lnTo>
                <a:lnTo>
                  <a:pt x="4726888" y="2272285"/>
                </a:lnTo>
                <a:lnTo>
                  <a:pt x="4750674" y="2292420"/>
                </a:lnTo>
                <a:lnTo>
                  <a:pt x="4762912" y="2301568"/>
                </a:lnTo>
                <a:lnTo>
                  <a:pt x="4785201" y="2321651"/>
                </a:lnTo>
                <a:lnTo>
                  <a:pt x="4835155" y="2363938"/>
                </a:lnTo>
                <a:lnTo>
                  <a:pt x="4861613" y="2390499"/>
                </a:lnTo>
                <a:lnTo>
                  <a:pt x="4875593" y="2403094"/>
                </a:lnTo>
                <a:lnTo>
                  <a:pt x="4894769" y="2423782"/>
                </a:lnTo>
                <a:lnTo>
                  <a:pt x="4935824" y="2464992"/>
                </a:lnTo>
                <a:lnTo>
                  <a:pt x="4964163" y="2498639"/>
                </a:lnTo>
                <a:lnTo>
                  <a:pt x="4979380" y="2515055"/>
                </a:lnTo>
                <a:lnTo>
                  <a:pt x="4995273" y="2535578"/>
                </a:lnTo>
                <a:lnTo>
                  <a:pt x="5028344" y="2574846"/>
                </a:lnTo>
                <a:lnTo>
                  <a:pt x="5057698" y="2616189"/>
                </a:lnTo>
                <a:lnTo>
                  <a:pt x="5073596" y="2636717"/>
                </a:lnTo>
                <a:lnTo>
                  <a:pt x="5086244" y="2656395"/>
                </a:lnTo>
                <a:lnTo>
                  <a:pt x="5112164" y="2692902"/>
                </a:lnTo>
                <a:lnTo>
                  <a:pt x="5141608" y="2742519"/>
                </a:lnTo>
                <a:lnTo>
                  <a:pt x="5157568" y="2767348"/>
                </a:lnTo>
                <a:lnTo>
                  <a:pt x="5167158" y="2785577"/>
                </a:lnTo>
                <a:lnTo>
                  <a:pt x="5186724" y="2818550"/>
                </a:lnTo>
                <a:lnTo>
                  <a:pt x="5215275" y="2877044"/>
                </a:lnTo>
                <a:lnTo>
                  <a:pt x="5230624" y="2906220"/>
                </a:lnTo>
                <a:lnTo>
                  <a:pt x="5237439" y="2922452"/>
                </a:lnTo>
                <a:lnTo>
                  <a:pt x="5251470" y="2951192"/>
                </a:lnTo>
                <a:lnTo>
                  <a:pt x="5278100" y="3019278"/>
                </a:lnTo>
                <a:lnTo>
                  <a:pt x="5292092" y="3052600"/>
                </a:lnTo>
                <a:lnTo>
                  <a:pt x="5296504" y="3066337"/>
                </a:lnTo>
                <a:lnTo>
                  <a:pt x="5305849" y="3090227"/>
                </a:lnTo>
                <a:lnTo>
                  <a:pt x="5329471" y="3168956"/>
                </a:lnTo>
                <a:lnTo>
                  <a:pt x="5341293" y="3205756"/>
                </a:lnTo>
                <a:lnTo>
                  <a:pt x="5343751" y="3216552"/>
                </a:lnTo>
                <a:lnTo>
                  <a:pt x="5349304" y="3235051"/>
                </a:lnTo>
                <a:lnTo>
                  <a:pt x="5368795" y="3326492"/>
                </a:lnTo>
                <a:lnTo>
                  <a:pt x="5377557" y="3364959"/>
                </a:lnTo>
                <a:lnTo>
                  <a:pt x="5378582" y="3372411"/>
                </a:lnTo>
                <a:lnTo>
                  <a:pt x="5381281" y="3385062"/>
                </a:lnTo>
                <a:lnTo>
                  <a:pt x="5395472" y="3495066"/>
                </a:lnTo>
                <a:lnTo>
                  <a:pt x="5400210" y="3529474"/>
                </a:lnTo>
                <a:lnTo>
                  <a:pt x="5400377" y="3533097"/>
                </a:lnTo>
                <a:lnTo>
                  <a:pt x="5401224" y="3539659"/>
                </a:lnTo>
                <a:lnTo>
                  <a:pt x="5404554" y="3615954"/>
                </a:lnTo>
                <a:lnTo>
                  <a:pt x="5408611" y="3615954"/>
                </a:lnTo>
                <a:lnTo>
                  <a:pt x="5408611" y="3686294"/>
                </a:lnTo>
                <a:lnTo>
                  <a:pt x="5408611" y="3708935"/>
                </a:lnTo>
                <a:lnTo>
                  <a:pt x="5408611" y="3709464"/>
                </a:lnTo>
                <a:lnTo>
                  <a:pt x="5410552" y="3709464"/>
                </a:lnTo>
                <a:lnTo>
                  <a:pt x="5410552" y="4047423"/>
                </a:lnTo>
                <a:lnTo>
                  <a:pt x="5410552" y="4755011"/>
                </a:lnTo>
                <a:lnTo>
                  <a:pt x="5410552" y="5092970"/>
                </a:lnTo>
                <a:lnTo>
                  <a:pt x="5410552" y="5186482"/>
                </a:lnTo>
                <a:lnTo>
                  <a:pt x="5408629" y="5186482"/>
                </a:lnTo>
                <a:lnTo>
                  <a:pt x="5408629" y="6857999"/>
                </a:lnTo>
                <a:lnTo>
                  <a:pt x="4867572" y="6857999"/>
                </a:lnTo>
                <a:lnTo>
                  <a:pt x="3794895" y="6857999"/>
                </a:lnTo>
                <a:lnTo>
                  <a:pt x="3783656" y="6857999"/>
                </a:lnTo>
                <a:lnTo>
                  <a:pt x="3782698" y="6857999"/>
                </a:lnTo>
                <a:lnTo>
                  <a:pt x="3782682" y="6858000"/>
                </a:lnTo>
                <a:lnTo>
                  <a:pt x="3782667" y="6857999"/>
                </a:lnTo>
                <a:lnTo>
                  <a:pt x="3706296" y="6857999"/>
                </a:lnTo>
                <a:lnTo>
                  <a:pt x="3253837" y="6857999"/>
                </a:lnTo>
                <a:lnTo>
                  <a:pt x="3242599" y="6857999"/>
                </a:lnTo>
                <a:lnTo>
                  <a:pt x="3241641" y="6857999"/>
                </a:lnTo>
                <a:lnTo>
                  <a:pt x="3241626" y="6858000"/>
                </a:lnTo>
                <a:lnTo>
                  <a:pt x="3241609" y="6857999"/>
                </a:lnTo>
                <a:lnTo>
                  <a:pt x="3165240" y="6857999"/>
                </a:lnTo>
                <a:lnTo>
                  <a:pt x="2169922" y="6857999"/>
                </a:lnTo>
                <a:lnTo>
                  <a:pt x="2168963" y="6857999"/>
                </a:lnTo>
                <a:lnTo>
                  <a:pt x="2168947" y="6858000"/>
                </a:lnTo>
                <a:lnTo>
                  <a:pt x="2168931" y="6857999"/>
                </a:lnTo>
                <a:lnTo>
                  <a:pt x="2092561" y="6857999"/>
                </a:lnTo>
                <a:lnTo>
                  <a:pt x="1628865" y="6857999"/>
                </a:lnTo>
                <a:lnTo>
                  <a:pt x="1627906" y="6857999"/>
                </a:lnTo>
                <a:lnTo>
                  <a:pt x="1627892" y="6858000"/>
                </a:lnTo>
                <a:lnTo>
                  <a:pt x="1627875" y="6857999"/>
                </a:lnTo>
                <a:lnTo>
                  <a:pt x="1551506" y="6857999"/>
                </a:lnTo>
                <a:lnTo>
                  <a:pt x="1551506" y="6854025"/>
                </a:lnTo>
                <a:lnTo>
                  <a:pt x="1472786" y="6849979"/>
                </a:lnTo>
                <a:lnTo>
                  <a:pt x="1468010" y="6849239"/>
                </a:lnTo>
                <a:lnTo>
                  <a:pt x="1461647" y="6848892"/>
                </a:lnTo>
                <a:cubicBezTo>
                  <a:pt x="1365566" y="6838301"/>
                  <a:pt x="1271960" y="6818634"/>
                  <a:pt x="1181563" y="6790692"/>
                </a:cubicBezTo>
                <a:lnTo>
                  <a:pt x="1174972" y="6788314"/>
                </a:lnTo>
                <a:lnTo>
                  <a:pt x="1173836" y="6788017"/>
                </a:lnTo>
                <a:lnTo>
                  <a:pt x="1162533" y="6783825"/>
                </a:lnTo>
                <a:lnTo>
                  <a:pt x="1048471" y="6742670"/>
                </a:lnTo>
                <a:lnTo>
                  <a:pt x="1036764" y="6737186"/>
                </a:lnTo>
                <a:lnTo>
                  <a:pt x="1032314" y="6735535"/>
                </a:lnTo>
                <a:lnTo>
                  <a:pt x="1008260" y="6723832"/>
                </a:lnTo>
                <a:lnTo>
                  <a:pt x="920755" y="6682839"/>
                </a:lnTo>
                <a:lnTo>
                  <a:pt x="904423" y="6673313"/>
                </a:lnTo>
                <a:lnTo>
                  <a:pt x="896991" y="6669695"/>
                </a:lnTo>
                <a:lnTo>
                  <a:pt x="870891" y="6653750"/>
                </a:lnTo>
                <a:lnTo>
                  <a:pt x="798968" y="6611797"/>
                </a:lnTo>
                <a:lnTo>
                  <a:pt x="778585" y="6597363"/>
                </a:lnTo>
                <a:lnTo>
                  <a:pt x="768542" y="6591229"/>
                </a:lnTo>
                <a:lnTo>
                  <a:pt x="743688" y="6572653"/>
                </a:lnTo>
                <a:lnTo>
                  <a:pt x="683666" y="6530149"/>
                </a:lnTo>
                <a:lnTo>
                  <a:pt x="659881" y="6510014"/>
                </a:lnTo>
                <a:lnTo>
                  <a:pt x="647641" y="6500867"/>
                </a:lnTo>
                <a:lnTo>
                  <a:pt x="625351" y="6480784"/>
                </a:lnTo>
                <a:lnTo>
                  <a:pt x="575400" y="6438495"/>
                </a:lnTo>
                <a:lnTo>
                  <a:pt x="548941" y="6411937"/>
                </a:lnTo>
                <a:lnTo>
                  <a:pt x="534961" y="6399339"/>
                </a:lnTo>
                <a:lnTo>
                  <a:pt x="515783" y="6378653"/>
                </a:lnTo>
                <a:lnTo>
                  <a:pt x="474729" y="6337442"/>
                </a:lnTo>
                <a:lnTo>
                  <a:pt x="446391" y="6303796"/>
                </a:lnTo>
                <a:lnTo>
                  <a:pt x="431175" y="6287380"/>
                </a:lnTo>
                <a:lnTo>
                  <a:pt x="415281" y="6266857"/>
                </a:lnTo>
                <a:lnTo>
                  <a:pt x="382208" y="6227587"/>
                </a:lnTo>
                <a:lnTo>
                  <a:pt x="352856" y="6186244"/>
                </a:lnTo>
                <a:lnTo>
                  <a:pt x="336959" y="6165720"/>
                </a:lnTo>
                <a:lnTo>
                  <a:pt x="324308" y="6146039"/>
                </a:lnTo>
                <a:lnTo>
                  <a:pt x="298389" y="6109534"/>
                </a:lnTo>
                <a:lnTo>
                  <a:pt x="268946" y="6059914"/>
                </a:lnTo>
                <a:lnTo>
                  <a:pt x="252985" y="6035086"/>
                </a:lnTo>
                <a:lnTo>
                  <a:pt x="243395" y="6016857"/>
                </a:lnTo>
                <a:lnTo>
                  <a:pt x="223831" y="5983884"/>
                </a:lnTo>
                <a:lnTo>
                  <a:pt x="195278" y="5925391"/>
                </a:lnTo>
                <a:lnTo>
                  <a:pt x="179929" y="5896214"/>
                </a:lnTo>
                <a:lnTo>
                  <a:pt x="173113" y="5879983"/>
                </a:lnTo>
                <a:lnTo>
                  <a:pt x="159084" y="5851242"/>
                </a:lnTo>
                <a:lnTo>
                  <a:pt x="132456" y="5783156"/>
                </a:lnTo>
                <a:lnTo>
                  <a:pt x="118462" y="5749834"/>
                </a:lnTo>
                <a:lnTo>
                  <a:pt x="114051" y="5736099"/>
                </a:lnTo>
                <a:lnTo>
                  <a:pt x="104705" y="5712207"/>
                </a:lnTo>
                <a:lnTo>
                  <a:pt x="81084" y="5633479"/>
                </a:lnTo>
                <a:lnTo>
                  <a:pt x="69261" y="5596679"/>
                </a:lnTo>
                <a:lnTo>
                  <a:pt x="66802" y="5585881"/>
                </a:lnTo>
                <a:lnTo>
                  <a:pt x="61250" y="5567382"/>
                </a:lnTo>
                <a:lnTo>
                  <a:pt x="41759" y="5475943"/>
                </a:lnTo>
                <a:lnTo>
                  <a:pt x="32996" y="5437474"/>
                </a:lnTo>
                <a:lnTo>
                  <a:pt x="31970" y="5430024"/>
                </a:lnTo>
                <a:lnTo>
                  <a:pt x="29274" y="5417371"/>
                </a:lnTo>
                <a:lnTo>
                  <a:pt x="15083" y="5307370"/>
                </a:lnTo>
                <a:lnTo>
                  <a:pt x="10345" y="5272959"/>
                </a:lnTo>
                <a:lnTo>
                  <a:pt x="10177" y="5269337"/>
                </a:lnTo>
                <a:lnTo>
                  <a:pt x="9329" y="5262776"/>
                </a:lnTo>
                <a:lnTo>
                  <a:pt x="6002" y="5186482"/>
                </a:lnTo>
                <a:lnTo>
                  <a:pt x="1944" y="5186482"/>
                </a:lnTo>
                <a:lnTo>
                  <a:pt x="1944" y="5116140"/>
                </a:lnTo>
                <a:lnTo>
                  <a:pt x="1944" y="5093498"/>
                </a:lnTo>
                <a:lnTo>
                  <a:pt x="1944" y="5092970"/>
                </a:lnTo>
                <a:lnTo>
                  <a:pt x="0" y="5092970"/>
                </a:lnTo>
                <a:lnTo>
                  <a:pt x="0" y="4755011"/>
                </a:lnTo>
                <a:lnTo>
                  <a:pt x="0" y="4047423"/>
                </a:lnTo>
                <a:lnTo>
                  <a:pt x="0" y="3709464"/>
                </a:lnTo>
                <a:lnTo>
                  <a:pt x="0" y="3615954"/>
                </a:lnTo>
                <a:lnTo>
                  <a:pt x="1925" y="3615954"/>
                </a:lnTo>
                <a:lnTo>
                  <a:pt x="1925" y="3603350"/>
                </a:lnTo>
                <a:lnTo>
                  <a:pt x="0" y="3603350"/>
                </a:lnTo>
                <a:close/>
              </a:path>
            </a:pathLst>
          </a:custGeom>
        </p:spPr>
        <p:txBody>
          <a:bodyPr wrap="square">
            <a:noAutofit/>
          </a:bodyPr>
          <a:lstStyle/>
          <a:p>
            <a:endParaRPr lang="en-US"/>
          </a:p>
        </p:txBody>
      </p:sp>
    </p:spTree>
    <p:extLst>
      <p:ext uri="{BB962C8B-B14F-4D97-AF65-F5344CB8AC3E}">
        <p14:creationId xmlns:p14="http://schemas.microsoft.com/office/powerpoint/2010/main" val="111264494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30" name="Picture Placeholder 29">
            <a:extLst>
              <a:ext uri="{FF2B5EF4-FFF2-40B4-BE49-F238E27FC236}">
                <a16:creationId xmlns:a16="http://schemas.microsoft.com/office/drawing/2014/main" id="{49A901EF-4FE4-4A53-865E-60C6E33C45A3}"/>
              </a:ext>
            </a:extLst>
          </p:cNvPr>
          <p:cNvSpPr>
            <a:spLocks noGrp="1"/>
          </p:cNvSpPr>
          <p:nvPr>
            <p:ph type="pic" sz="quarter" idx="10"/>
          </p:nvPr>
        </p:nvSpPr>
        <p:spPr>
          <a:xfrm>
            <a:off x="0" y="0"/>
            <a:ext cx="12192000" cy="6858000"/>
          </a:xfrm>
        </p:spPr>
        <p:txBody>
          <a:bodyPr/>
          <a:lstStyle/>
          <a:p>
            <a:endParaRPr lang="en-US"/>
          </a:p>
        </p:txBody>
      </p:sp>
    </p:spTree>
    <p:extLst>
      <p:ext uri="{BB962C8B-B14F-4D97-AF65-F5344CB8AC3E}">
        <p14:creationId xmlns:p14="http://schemas.microsoft.com/office/powerpoint/2010/main" val="195009696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34EF0C10-64E7-4AC4-8106-3BEAF12FB06A}"/>
              </a:ext>
            </a:extLst>
          </p:cNvPr>
          <p:cNvSpPr>
            <a:spLocks noGrp="1"/>
          </p:cNvSpPr>
          <p:nvPr>
            <p:ph type="pic" sz="quarter" idx="11"/>
          </p:nvPr>
        </p:nvSpPr>
        <p:spPr>
          <a:xfrm>
            <a:off x="8215086" y="659946"/>
            <a:ext cx="3035892" cy="3573476"/>
          </a:xfrm>
          <a:custGeom>
            <a:avLst/>
            <a:gdLst>
              <a:gd name="connsiteX0" fmla="*/ 1517955 w 3035892"/>
              <a:gd name="connsiteY0" fmla="*/ 0 h 3573476"/>
              <a:gd name="connsiteX1" fmla="*/ 1517970 w 3035892"/>
              <a:gd name="connsiteY1" fmla="*/ 1 h 3573476"/>
              <a:gd name="connsiteX2" fmla="*/ 1518863 w 3035892"/>
              <a:gd name="connsiteY2" fmla="*/ 1 h 3573476"/>
              <a:gd name="connsiteX3" fmla="*/ 3034099 w 3035892"/>
              <a:gd name="connsiteY3" fmla="*/ 1 h 3573476"/>
              <a:gd name="connsiteX4" fmla="*/ 3034099 w 3035892"/>
              <a:gd name="connsiteY4" fmla="*/ 1215642 h 3573476"/>
              <a:gd name="connsiteX5" fmla="*/ 3035892 w 3035892"/>
              <a:gd name="connsiteY5" fmla="*/ 1215642 h 3573476"/>
              <a:gd name="connsiteX6" fmla="*/ 3035892 w 3035892"/>
              <a:gd name="connsiteY6" fmla="*/ 1283649 h 3573476"/>
              <a:gd name="connsiteX7" fmla="*/ 3035892 w 3035892"/>
              <a:gd name="connsiteY7" fmla="*/ 1529436 h 3573476"/>
              <a:gd name="connsiteX8" fmla="*/ 3035892 w 3035892"/>
              <a:gd name="connsiteY8" fmla="*/ 2044041 h 3573476"/>
              <a:gd name="connsiteX9" fmla="*/ 3035892 w 3035892"/>
              <a:gd name="connsiteY9" fmla="*/ 2289827 h 3573476"/>
              <a:gd name="connsiteX10" fmla="*/ 3034081 w 3035892"/>
              <a:gd name="connsiteY10" fmla="*/ 2289827 h 3573476"/>
              <a:gd name="connsiteX11" fmla="*/ 3034081 w 3035892"/>
              <a:gd name="connsiteY11" fmla="*/ 2289827 h 3573476"/>
              <a:gd name="connsiteX12" fmla="*/ 3034081 w 3035892"/>
              <a:gd name="connsiteY12" fmla="*/ 2290211 h 3573476"/>
              <a:gd name="connsiteX13" fmla="*/ 3034081 w 3035892"/>
              <a:gd name="connsiteY13" fmla="*/ 2306678 h 3573476"/>
              <a:gd name="connsiteX14" fmla="*/ 3034081 w 3035892"/>
              <a:gd name="connsiteY14" fmla="*/ 2357834 h 3573476"/>
              <a:gd name="connsiteX15" fmla="*/ 3030297 w 3035892"/>
              <a:gd name="connsiteY15" fmla="*/ 2357834 h 3573476"/>
              <a:gd name="connsiteX16" fmla="*/ 3027194 w 3035892"/>
              <a:gd name="connsiteY16" fmla="*/ 2413321 h 3573476"/>
              <a:gd name="connsiteX17" fmla="*/ 3026404 w 3035892"/>
              <a:gd name="connsiteY17" fmla="*/ 2418092 h 3573476"/>
              <a:gd name="connsiteX18" fmla="*/ 3026247 w 3035892"/>
              <a:gd name="connsiteY18" fmla="*/ 2420727 h 3573476"/>
              <a:gd name="connsiteX19" fmla="*/ 3021829 w 3035892"/>
              <a:gd name="connsiteY19" fmla="*/ 2445752 h 3573476"/>
              <a:gd name="connsiteX20" fmla="*/ 3008596 w 3035892"/>
              <a:gd name="connsiteY20" fmla="*/ 2525754 h 3573476"/>
              <a:gd name="connsiteX21" fmla="*/ 3006082 w 3035892"/>
              <a:gd name="connsiteY21" fmla="*/ 2534955 h 3573476"/>
              <a:gd name="connsiteX22" fmla="*/ 3005125 w 3035892"/>
              <a:gd name="connsiteY22" fmla="*/ 2540374 h 3573476"/>
              <a:gd name="connsiteX23" fmla="*/ 2996954 w 3035892"/>
              <a:gd name="connsiteY23" fmla="*/ 2568350 h 3573476"/>
              <a:gd name="connsiteX24" fmla="*/ 2978779 w 3035892"/>
              <a:gd name="connsiteY24" fmla="*/ 2634852 h 3573476"/>
              <a:gd name="connsiteX25" fmla="*/ 2973603 w 3035892"/>
              <a:gd name="connsiteY25" fmla="*/ 2648306 h 3573476"/>
              <a:gd name="connsiteX26" fmla="*/ 2971310 w 3035892"/>
              <a:gd name="connsiteY26" fmla="*/ 2656157 h 3573476"/>
              <a:gd name="connsiteX27" fmla="*/ 2960286 w 3035892"/>
              <a:gd name="connsiteY27" fmla="*/ 2682921 h 3573476"/>
              <a:gd name="connsiteX28" fmla="*/ 2938258 w 3035892"/>
              <a:gd name="connsiteY28" fmla="*/ 2740178 h 3573476"/>
              <a:gd name="connsiteX29" fmla="*/ 2929546 w 3035892"/>
              <a:gd name="connsiteY29" fmla="*/ 2757553 h 3573476"/>
              <a:gd name="connsiteX30" fmla="*/ 2925431 w 3035892"/>
              <a:gd name="connsiteY30" fmla="*/ 2767542 h 3573476"/>
              <a:gd name="connsiteX31" fmla="*/ 2912383 w 3035892"/>
              <a:gd name="connsiteY31" fmla="*/ 2791777 h 3573476"/>
              <a:gd name="connsiteX32" fmla="*/ 2887552 w 3035892"/>
              <a:gd name="connsiteY32" fmla="*/ 2841293 h 3573476"/>
              <a:gd name="connsiteX33" fmla="*/ 2874470 w 3035892"/>
              <a:gd name="connsiteY33" fmla="*/ 2862196 h 3573476"/>
              <a:gd name="connsiteX34" fmla="*/ 2868115 w 3035892"/>
              <a:gd name="connsiteY34" fmla="*/ 2874000 h 3573476"/>
              <a:gd name="connsiteX35" fmla="*/ 2853802 w 3035892"/>
              <a:gd name="connsiteY35" fmla="*/ 2895219 h 3573476"/>
              <a:gd name="connsiteX36" fmla="*/ 2827179 w 3035892"/>
              <a:gd name="connsiteY36" fmla="*/ 2937760 h 3573476"/>
              <a:gd name="connsiteX37" fmla="*/ 2808935 w 3035892"/>
              <a:gd name="connsiteY37" fmla="*/ 2961740 h 3573476"/>
              <a:gd name="connsiteX38" fmla="*/ 2799992 w 3035892"/>
              <a:gd name="connsiteY38" fmla="*/ 2974997 h 3573476"/>
              <a:gd name="connsiteX39" fmla="*/ 2785109 w 3035892"/>
              <a:gd name="connsiteY39" fmla="*/ 2993054 h 3573476"/>
              <a:gd name="connsiteX40" fmla="*/ 2757655 w 3035892"/>
              <a:gd name="connsiteY40" fmla="*/ 3029140 h 3573476"/>
              <a:gd name="connsiteX41" fmla="*/ 2733486 w 3035892"/>
              <a:gd name="connsiteY41" fmla="*/ 3055689 h 3573476"/>
              <a:gd name="connsiteX42" fmla="*/ 2721690 w 3035892"/>
              <a:gd name="connsiteY42" fmla="*/ 3070002 h 3573476"/>
              <a:gd name="connsiteX43" fmla="*/ 2706867 w 3035892"/>
              <a:gd name="connsiteY43" fmla="*/ 3084930 h 3573476"/>
              <a:gd name="connsiteX44" fmla="*/ 2679496 w 3035892"/>
              <a:gd name="connsiteY44" fmla="*/ 3114997 h 3573476"/>
              <a:gd name="connsiteX45" fmla="*/ 2648656 w 3035892"/>
              <a:gd name="connsiteY45" fmla="*/ 3143557 h 3573476"/>
              <a:gd name="connsiteX46" fmla="*/ 2633836 w 3035892"/>
              <a:gd name="connsiteY46" fmla="*/ 3158482 h 3573476"/>
              <a:gd name="connsiteX47" fmla="*/ 2619647 w 3035892"/>
              <a:gd name="connsiteY47" fmla="*/ 3170420 h 3573476"/>
              <a:gd name="connsiteX48" fmla="*/ 2593223 w 3035892"/>
              <a:gd name="connsiteY48" fmla="*/ 3194890 h 3573476"/>
              <a:gd name="connsiteX49" fmla="*/ 2554942 w 3035892"/>
              <a:gd name="connsiteY49" fmla="*/ 3224862 h 3573476"/>
              <a:gd name="connsiteX50" fmla="*/ 2537060 w 3035892"/>
              <a:gd name="connsiteY50" fmla="*/ 3239907 h 3573476"/>
              <a:gd name="connsiteX51" fmla="*/ 2524023 w 3035892"/>
              <a:gd name="connsiteY51" fmla="*/ 3249067 h 3573476"/>
              <a:gd name="connsiteX52" fmla="*/ 2499351 w 3035892"/>
              <a:gd name="connsiteY52" fmla="*/ 3268384 h 3573476"/>
              <a:gd name="connsiteX53" fmla="*/ 2452772 w 3035892"/>
              <a:gd name="connsiteY53" fmla="*/ 3299138 h 3573476"/>
              <a:gd name="connsiteX54" fmla="*/ 2431989 w 3035892"/>
              <a:gd name="connsiteY54" fmla="*/ 3313744 h 3573476"/>
              <a:gd name="connsiteX55" fmla="*/ 2420575 w 3035892"/>
              <a:gd name="connsiteY55" fmla="*/ 3320397 h 3573476"/>
              <a:gd name="connsiteX56" fmla="*/ 2398398 w 3035892"/>
              <a:gd name="connsiteY56" fmla="*/ 3335040 h 3573476"/>
              <a:gd name="connsiteX57" fmla="*/ 2342427 w 3035892"/>
              <a:gd name="connsiteY57" fmla="*/ 3365951 h 3573476"/>
              <a:gd name="connsiteX58" fmla="*/ 2319252 w 3035892"/>
              <a:gd name="connsiteY58" fmla="*/ 3379461 h 3573476"/>
              <a:gd name="connsiteX59" fmla="*/ 2309888 w 3035892"/>
              <a:gd name="connsiteY59" fmla="*/ 3383922 h 3573476"/>
              <a:gd name="connsiteX60" fmla="*/ 2290881 w 3035892"/>
              <a:gd name="connsiteY60" fmla="*/ 3394420 h 3573476"/>
              <a:gd name="connsiteX61" fmla="*/ 2223815 w 3035892"/>
              <a:gd name="connsiteY61" fmla="*/ 3424932 h 3573476"/>
              <a:gd name="connsiteX62" fmla="*/ 2199478 w 3035892"/>
              <a:gd name="connsiteY62" fmla="*/ 3436528 h 3573476"/>
              <a:gd name="connsiteX63" fmla="*/ 2192547 w 3035892"/>
              <a:gd name="connsiteY63" fmla="*/ 3439158 h 3573476"/>
              <a:gd name="connsiteX64" fmla="*/ 2177319 w 3035892"/>
              <a:gd name="connsiteY64" fmla="*/ 3446086 h 3573476"/>
              <a:gd name="connsiteX65" fmla="*/ 2095723 w 3035892"/>
              <a:gd name="connsiteY65" fmla="*/ 3475899 h 3573476"/>
              <a:gd name="connsiteX66" fmla="*/ 2073293 w 3035892"/>
              <a:gd name="connsiteY66" fmla="*/ 3484410 h 3573476"/>
              <a:gd name="connsiteX67" fmla="*/ 2069144 w 3035892"/>
              <a:gd name="connsiteY67" fmla="*/ 3485611 h 3573476"/>
              <a:gd name="connsiteX68" fmla="*/ 2058227 w 3035892"/>
              <a:gd name="connsiteY68" fmla="*/ 3489600 h 3573476"/>
              <a:gd name="connsiteX69" fmla="*/ 1951868 w 3035892"/>
              <a:gd name="connsiteY69" fmla="*/ 3519529 h 3573476"/>
              <a:gd name="connsiteX70" fmla="*/ 1941328 w 3035892"/>
              <a:gd name="connsiteY70" fmla="*/ 3522579 h 3573476"/>
              <a:gd name="connsiteX71" fmla="*/ 1940269 w 3035892"/>
              <a:gd name="connsiteY71" fmla="*/ 3522794 h 3573476"/>
              <a:gd name="connsiteX72" fmla="*/ 1934124 w 3035892"/>
              <a:gd name="connsiteY72" fmla="*/ 3524523 h 3573476"/>
              <a:gd name="connsiteX73" fmla="*/ 1672953 w 3035892"/>
              <a:gd name="connsiteY73" fmla="*/ 3566851 h 3573476"/>
              <a:gd name="connsiteX74" fmla="*/ 1667021 w 3035892"/>
              <a:gd name="connsiteY74" fmla="*/ 3567104 h 3573476"/>
              <a:gd name="connsiteX75" fmla="*/ 1662567 w 3035892"/>
              <a:gd name="connsiteY75" fmla="*/ 3567643 h 3573476"/>
              <a:gd name="connsiteX76" fmla="*/ 1589164 w 3035892"/>
              <a:gd name="connsiteY76" fmla="*/ 3570585 h 3573476"/>
              <a:gd name="connsiteX77" fmla="*/ 1589164 w 3035892"/>
              <a:gd name="connsiteY77" fmla="*/ 3573476 h 3573476"/>
              <a:gd name="connsiteX78" fmla="*/ 1517952 w 3035892"/>
              <a:gd name="connsiteY78" fmla="*/ 3573476 h 3573476"/>
              <a:gd name="connsiteX79" fmla="*/ 1517937 w 3035892"/>
              <a:gd name="connsiteY79" fmla="*/ 3573476 h 3573476"/>
              <a:gd name="connsiteX80" fmla="*/ 1517922 w 3035892"/>
              <a:gd name="connsiteY80" fmla="*/ 3573476 h 3573476"/>
              <a:gd name="connsiteX81" fmla="*/ 1517029 w 3035892"/>
              <a:gd name="connsiteY81" fmla="*/ 3573476 h 3573476"/>
              <a:gd name="connsiteX82" fmla="*/ 1794 w 3035892"/>
              <a:gd name="connsiteY82" fmla="*/ 3573476 h 3573476"/>
              <a:gd name="connsiteX83" fmla="*/ 1794 w 3035892"/>
              <a:gd name="connsiteY83" fmla="*/ 2357835 h 3573476"/>
              <a:gd name="connsiteX84" fmla="*/ 0 w 3035892"/>
              <a:gd name="connsiteY84" fmla="*/ 2357835 h 3573476"/>
              <a:gd name="connsiteX85" fmla="*/ 0 w 3035892"/>
              <a:gd name="connsiteY85" fmla="*/ 2289827 h 3573476"/>
              <a:gd name="connsiteX86" fmla="*/ 0 w 3035892"/>
              <a:gd name="connsiteY86" fmla="*/ 2044041 h 3573476"/>
              <a:gd name="connsiteX87" fmla="*/ 0 w 3035892"/>
              <a:gd name="connsiteY87" fmla="*/ 1529436 h 3573476"/>
              <a:gd name="connsiteX88" fmla="*/ 0 w 3035892"/>
              <a:gd name="connsiteY88" fmla="*/ 1283650 h 3573476"/>
              <a:gd name="connsiteX89" fmla="*/ 1811 w 3035892"/>
              <a:gd name="connsiteY89" fmla="*/ 1283650 h 3573476"/>
              <a:gd name="connsiteX90" fmla="*/ 1811 w 3035892"/>
              <a:gd name="connsiteY90" fmla="*/ 1283649 h 3573476"/>
              <a:gd name="connsiteX91" fmla="*/ 1811 w 3035892"/>
              <a:gd name="connsiteY91" fmla="*/ 1283265 h 3573476"/>
              <a:gd name="connsiteX92" fmla="*/ 1811 w 3035892"/>
              <a:gd name="connsiteY92" fmla="*/ 1266798 h 3573476"/>
              <a:gd name="connsiteX93" fmla="*/ 1811 w 3035892"/>
              <a:gd name="connsiteY93" fmla="*/ 1215642 h 3573476"/>
              <a:gd name="connsiteX94" fmla="*/ 5595 w 3035892"/>
              <a:gd name="connsiteY94" fmla="*/ 1215642 h 3573476"/>
              <a:gd name="connsiteX95" fmla="*/ 8698 w 3035892"/>
              <a:gd name="connsiteY95" fmla="*/ 1160155 h 3573476"/>
              <a:gd name="connsiteX96" fmla="*/ 9488 w 3035892"/>
              <a:gd name="connsiteY96" fmla="*/ 1155383 h 3573476"/>
              <a:gd name="connsiteX97" fmla="*/ 9645 w 3035892"/>
              <a:gd name="connsiteY97" fmla="*/ 1152749 h 3573476"/>
              <a:gd name="connsiteX98" fmla="*/ 14063 w 3035892"/>
              <a:gd name="connsiteY98" fmla="*/ 1127724 h 3573476"/>
              <a:gd name="connsiteX99" fmla="*/ 27296 w 3035892"/>
              <a:gd name="connsiteY99" fmla="*/ 1047722 h 3573476"/>
              <a:gd name="connsiteX100" fmla="*/ 29811 w 3035892"/>
              <a:gd name="connsiteY100" fmla="*/ 1038521 h 3573476"/>
              <a:gd name="connsiteX101" fmla="*/ 30767 w 3035892"/>
              <a:gd name="connsiteY101" fmla="*/ 1033102 h 3573476"/>
              <a:gd name="connsiteX102" fmla="*/ 38938 w 3035892"/>
              <a:gd name="connsiteY102" fmla="*/ 1005126 h 3573476"/>
              <a:gd name="connsiteX103" fmla="*/ 57113 w 3035892"/>
              <a:gd name="connsiteY103" fmla="*/ 938624 h 3573476"/>
              <a:gd name="connsiteX104" fmla="*/ 62289 w 3035892"/>
              <a:gd name="connsiteY104" fmla="*/ 925170 h 3573476"/>
              <a:gd name="connsiteX105" fmla="*/ 64582 w 3035892"/>
              <a:gd name="connsiteY105" fmla="*/ 917319 h 3573476"/>
              <a:gd name="connsiteX106" fmla="*/ 75606 w 3035892"/>
              <a:gd name="connsiteY106" fmla="*/ 890555 h 3573476"/>
              <a:gd name="connsiteX107" fmla="*/ 97634 w 3035892"/>
              <a:gd name="connsiteY107" fmla="*/ 833298 h 3573476"/>
              <a:gd name="connsiteX108" fmla="*/ 106347 w 3035892"/>
              <a:gd name="connsiteY108" fmla="*/ 815923 h 3573476"/>
              <a:gd name="connsiteX109" fmla="*/ 110461 w 3035892"/>
              <a:gd name="connsiteY109" fmla="*/ 805934 h 3573476"/>
              <a:gd name="connsiteX110" fmla="*/ 123509 w 3035892"/>
              <a:gd name="connsiteY110" fmla="*/ 781699 h 3573476"/>
              <a:gd name="connsiteX111" fmla="*/ 148340 w 3035892"/>
              <a:gd name="connsiteY111" fmla="*/ 732182 h 3573476"/>
              <a:gd name="connsiteX112" fmla="*/ 161422 w 3035892"/>
              <a:gd name="connsiteY112" fmla="*/ 711281 h 3573476"/>
              <a:gd name="connsiteX113" fmla="*/ 167777 w 3035892"/>
              <a:gd name="connsiteY113" fmla="*/ 699476 h 3573476"/>
              <a:gd name="connsiteX114" fmla="*/ 182090 w 3035892"/>
              <a:gd name="connsiteY114" fmla="*/ 678257 h 3573476"/>
              <a:gd name="connsiteX115" fmla="*/ 208713 w 3035892"/>
              <a:gd name="connsiteY115" fmla="*/ 635717 h 3573476"/>
              <a:gd name="connsiteX116" fmla="*/ 226957 w 3035892"/>
              <a:gd name="connsiteY116" fmla="*/ 611737 h 3573476"/>
              <a:gd name="connsiteX117" fmla="*/ 235900 w 3035892"/>
              <a:gd name="connsiteY117" fmla="*/ 598479 h 3573476"/>
              <a:gd name="connsiteX118" fmla="*/ 250783 w 3035892"/>
              <a:gd name="connsiteY118" fmla="*/ 580422 h 3573476"/>
              <a:gd name="connsiteX119" fmla="*/ 278237 w 3035892"/>
              <a:gd name="connsiteY119" fmla="*/ 544336 h 3573476"/>
              <a:gd name="connsiteX120" fmla="*/ 302406 w 3035892"/>
              <a:gd name="connsiteY120" fmla="*/ 517787 h 3573476"/>
              <a:gd name="connsiteX121" fmla="*/ 314202 w 3035892"/>
              <a:gd name="connsiteY121" fmla="*/ 503474 h 3573476"/>
              <a:gd name="connsiteX122" fmla="*/ 329025 w 3035892"/>
              <a:gd name="connsiteY122" fmla="*/ 488547 h 3573476"/>
              <a:gd name="connsiteX123" fmla="*/ 356396 w 3035892"/>
              <a:gd name="connsiteY123" fmla="*/ 458480 h 3573476"/>
              <a:gd name="connsiteX124" fmla="*/ 387236 w 3035892"/>
              <a:gd name="connsiteY124" fmla="*/ 429920 h 3573476"/>
              <a:gd name="connsiteX125" fmla="*/ 402056 w 3035892"/>
              <a:gd name="connsiteY125" fmla="*/ 414994 h 3573476"/>
              <a:gd name="connsiteX126" fmla="*/ 416245 w 3035892"/>
              <a:gd name="connsiteY126" fmla="*/ 403056 h 3573476"/>
              <a:gd name="connsiteX127" fmla="*/ 442669 w 3035892"/>
              <a:gd name="connsiteY127" fmla="*/ 378585 h 3573476"/>
              <a:gd name="connsiteX128" fmla="*/ 480950 w 3035892"/>
              <a:gd name="connsiteY128" fmla="*/ 348615 h 3573476"/>
              <a:gd name="connsiteX129" fmla="*/ 498832 w 3035892"/>
              <a:gd name="connsiteY129" fmla="*/ 333570 h 3573476"/>
              <a:gd name="connsiteX130" fmla="*/ 511869 w 3035892"/>
              <a:gd name="connsiteY130" fmla="*/ 324408 h 3573476"/>
              <a:gd name="connsiteX131" fmla="*/ 536541 w 3035892"/>
              <a:gd name="connsiteY131" fmla="*/ 305092 h 3573476"/>
              <a:gd name="connsiteX132" fmla="*/ 583119 w 3035892"/>
              <a:gd name="connsiteY132" fmla="*/ 274338 h 3573476"/>
              <a:gd name="connsiteX133" fmla="*/ 603903 w 3035892"/>
              <a:gd name="connsiteY133" fmla="*/ 259732 h 3573476"/>
              <a:gd name="connsiteX134" fmla="*/ 615316 w 3035892"/>
              <a:gd name="connsiteY134" fmla="*/ 253079 h 3573476"/>
              <a:gd name="connsiteX135" fmla="*/ 637495 w 3035892"/>
              <a:gd name="connsiteY135" fmla="*/ 238436 h 3573476"/>
              <a:gd name="connsiteX136" fmla="*/ 693465 w 3035892"/>
              <a:gd name="connsiteY136" fmla="*/ 207524 h 3573476"/>
              <a:gd name="connsiteX137" fmla="*/ 716640 w 3035892"/>
              <a:gd name="connsiteY137" fmla="*/ 194015 h 3573476"/>
              <a:gd name="connsiteX138" fmla="*/ 726004 w 3035892"/>
              <a:gd name="connsiteY138" fmla="*/ 189554 h 3573476"/>
              <a:gd name="connsiteX139" fmla="*/ 745011 w 3035892"/>
              <a:gd name="connsiteY139" fmla="*/ 179057 h 3573476"/>
              <a:gd name="connsiteX140" fmla="*/ 812077 w 3035892"/>
              <a:gd name="connsiteY140" fmla="*/ 148545 h 3573476"/>
              <a:gd name="connsiteX141" fmla="*/ 836414 w 3035892"/>
              <a:gd name="connsiteY141" fmla="*/ 136949 h 3573476"/>
              <a:gd name="connsiteX142" fmla="*/ 843345 w 3035892"/>
              <a:gd name="connsiteY142" fmla="*/ 134319 h 3573476"/>
              <a:gd name="connsiteX143" fmla="*/ 858574 w 3035892"/>
              <a:gd name="connsiteY143" fmla="*/ 127390 h 3573476"/>
              <a:gd name="connsiteX144" fmla="*/ 940169 w 3035892"/>
              <a:gd name="connsiteY144" fmla="*/ 97577 h 3573476"/>
              <a:gd name="connsiteX145" fmla="*/ 962599 w 3035892"/>
              <a:gd name="connsiteY145" fmla="*/ 89065 h 3573476"/>
              <a:gd name="connsiteX146" fmla="*/ 966748 w 3035892"/>
              <a:gd name="connsiteY146" fmla="*/ 87866 h 3573476"/>
              <a:gd name="connsiteX147" fmla="*/ 977665 w 3035892"/>
              <a:gd name="connsiteY147" fmla="*/ 83877 h 3573476"/>
              <a:gd name="connsiteX148" fmla="*/ 1084024 w 3035892"/>
              <a:gd name="connsiteY148" fmla="*/ 53947 h 3573476"/>
              <a:gd name="connsiteX149" fmla="*/ 1094564 w 3035892"/>
              <a:gd name="connsiteY149" fmla="*/ 50897 h 3573476"/>
              <a:gd name="connsiteX150" fmla="*/ 1095623 w 3035892"/>
              <a:gd name="connsiteY150" fmla="*/ 50681 h 3573476"/>
              <a:gd name="connsiteX151" fmla="*/ 1101768 w 3035892"/>
              <a:gd name="connsiteY151" fmla="*/ 48953 h 3573476"/>
              <a:gd name="connsiteX152" fmla="*/ 1362938 w 3035892"/>
              <a:gd name="connsiteY152" fmla="*/ 6625 h 3573476"/>
              <a:gd name="connsiteX153" fmla="*/ 1368872 w 3035892"/>
              <a:gd name="connsiteY153" fmla="*/ 6373 h 3573476"/>
              <a:gd name="connsiteX154" fmla="*/ 1373325 w 3035892"/>
              <a:gd name="connsiteY154" fmla="*/ 5833 h 3573476"/>
              <a:gd name="connsiteX155" fmla="*/ 1446728 w 3035892"/>
              <a:gd name="connsiteY155" fmla="*/ 2891 h 3573476"/>
              <a:gd name="connsiteX156" fmla="*/ 1446728 w 3035892"/>
              <a:gd name="connsiteY156" fmla="*/ 1 h 3573476"/>
              <a:gd name="connsiteX157" fmla="*/ 1517940 w 3035892"/>
              <a:gd name="connsiteY157" fmla="*/ 1 h 357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3035892" h="3573476">
                <a:moveTo>
                  <a:pt x="1517955" y="0"/>
                </a:moveTo>
                <a:lnTo>
                  <a:pt x="1517970" y="1"/>
                </a:lnTo>
                <a:lnTo>
                  <a:pt x="1518863" y="1"/>
                </a:lnTo>
                <a:lnTo>
                  <a:pt x="3034099" y="1"/>
                </a:lnTo>
                <a:lnTo>
                  <a:pt x="3034099" y="1215642"/>
                </a:lnTo>
                <a:lnTo>
                  <a:pt x="3035892" y="1215642"/>
                </a:lnTo>
                <a:lnTo>
                  <a:pt x="3035892" y="1283649"/>
                </a:lnTo>
                <a:lnTo>
                  <a:pt x="3035892" y="1529436"/>
                </a:lnTo>
                <a:lnTo>
                  <a:pt x="3035892" y="2044041"/>
                </a:lnTo>
                <a:lnTo>
                  <a:pt x="3035892" y="2289827"/>
                </a:lnTo>
                <a:lnTo>
                  <a:pt x="3034081" y="2289827"/>
                </a:lnTo>
                <a:lnTo>
                  <a:pt x="3034081" y="2289827"/>
                </a:lnTo>
                <a:lnTo>
                  <a:pt x="3034081" y="2290211"/>
                </a:lnTo>
                <a:lnTo>
                  <a:pt x="3034081" y="2306678"/>
                </a:lnTo>
                <a:lnTo>
                  <a:pt x="3034081" y="2357834"/>
                </a:lnTo>
                <a:lnTo>
                  <a:pt x="3030297" y="2357834"/>
                </a:lnTo>
                <a:lnTo>
                  <a:pt x="3027194" y="2413321"/>
                </a:lnTo>
                <a:lnTo>
                  <a:pt x="3026404" y="2418092"/>
                </a:lnTo>
                <a:lnTo>
                  <a:pt x="3026247" y="2420727"/>
                </a:lnTo>
                <a:lnTo>
                  <a:pt x="3021829" y="2445752"/>
                </a:lnTo>
                <a:lnTo>
                  <a:pt x="3008596" y="2525754"/>
                </a:lnTo>
                <a:lnTo>
                  <a:pt x="3006082" y="2534955"/>
                </a:lnTo>
                <a:lnTo>
                  <a:pt x="3005125" y="2540374"/>
                </a:lnTo>
                <a:lnTo>
                  <a:pt x="2996954" y="2568350"/>
                </a:lnTo>
                <a:lnTo>
                  <a:pt x="2978779" y="2634852"/>
                </a:lnTo>
                <a:lnTo>
                  <a:pt x="2973603" y="2648306"/>
                </a:lnTo>
                <a:lnTo>
                  <a:pt x="2971310" y="2656157"/>
                </a:lnTo>
                <a:lnTo>
                  <a:pt x="2960286" y="2682921"/>
                </a:lnTo>
                <a:lnTo>
                  <a:pt x="2938258" y="2740178"/>
                </a:lnTo>
                <a:lnTo>
                  <a:pt x="2929546" y="2757553"/>
                </a:lnTo>
                <a:lnTo>
                  <a:pt x="2925431" y="2767542"/>
                </a:lnTo>
                <a:lnTo>
                  <a:pt x="2912383" y="2791777"/>
                </a:lnTo>
                <a:lnTo>
                  <a:pt x="2887552" y="2841293"/>
                </a:lnTo>
                <a:lnTo>
                  <a:pt x="2874470" y="2862196"/>
                </a:lnTo>
                <a:lnTo>
                  <a:pt x="2868115" y="2874000"/>
                </a:lnTo>
                <a:lnTo>
                  <a:pt x="2853802" y="2895219"/>
                </a:lnTo>
                <a:lnTo>
                  <a:pt x="2827179" y="2937760"/>
                </a:lnTo>
                <a:lnTo>
                  <a:pt x="2808935" y="2961740"/>
                </a:lnTo>
                <a:lnTo>
                  <a:pt x="2799992" y="2974997"/>
                </a:lnTo>
                <a:lnTo>
                  <a:pt x="2785109" y="2993054"/>
                </a:lnTo>
                <a:lnTo>
                  <a:pt x="2757655" y="3029140"/>
                </a:lnTo>
                <a:lnTo>
                  <a:pt x="2733486" y="3055689"/>
                </a:lnTo>
                <a:lnTo>
                  <a:pt x="2721690" y="3070002"/>
                </a:lnTo>
                <a:lnTo>
                  <a:pt x="2706867" y="3084930"/>
                </a:lnTo>
                <a:lnTo>
                  <a:pt x="2679496" y="3114997"/>
                </a:lnTo>
                <a:lnTo>
                  <a:pt x="2648656" y="3143557"/>
                </a:lnTo>
                <a:lnTo>
                  <a:pt x="2633836" y="3158482"/>
                </a:lnTo>
                <a:lnTo>
                  <a:pt x="2619647" y="3170420"/>
                </a:lnTo>
                <a:lnTo>
                  <a:pt x="2593223" y="3194890"/>
                </a:lnTo>
                <a:lnTo>
                  <a:pt x="2554942" y="3224862"/>
                </a:lnTo>
                <a:lnTo>
                  <a:pt x="2537060" y="3239907"/>
                </a:lnTo>
                <a:lnTo>
                  <a:pt x="2524023" y="3249067"/>
                </a:lnTo>
                <a:lnTo>
                  <a:pt x="2499351" y="3268384"/>
                </a:lnTo>
                <a:lnTo>
                  <a:pt x="2452772" y="3299138"/>
                </a:lnTo>
                <a:lnTo>
                  <a:pt x="2431989" y="3313744"/>
                </a:lnTo>
                <a:lnTo>
                  <a:pt x="2420575" y="3320397"/>
                </a:lnTo>
                <a:lnTo>
                  <a:pt x="2398398" y="3335040"/>
                </a:lnTo>
                <a:lnTo>
                  <a:pt x="2342427" y="3365951"/>
                </a:lnTo>
                <a:lnTo>
                  <a:pt x="2319252" y="3379461"/>
                </a:lnTo>
                <a:lnTo>
                  <a:pt x="2309888" y="3383922"/>
                </a:lnTo>
                <a:lnTo>
                  <a:pt x="2290881" y="3394420"/>
                </a:lnTo>
                <a:lnTo>
                  <a:pt x="2223815" y="3424932"/>
                </a:lnTo>
                <a:lnTo>
                  <a:pt x="2199478" y="3436528"/>
                </a:lnTo>
                <a:lnTo>
                  <a:pt x="2192547" y="3439158"/>
                </a:lnTo>
                <a:lnTo>
                  <a:pt x="2177319" y="3446086"/>
                </a:lnTo>
                <a:lnTo>
                  <a:pt x="2095723" y="3475899"/>
                </a:lnTo>
                <a:lnTo>
                  <a:pt x="2073293" y="3484410"/>
                </a:lnTo>
                <a:lnTo>
                  <a:pt x="2069144" y="3485611"/>
                </a:lnTo>
                <a:lnTo>
                  <a:pt x="2058227" y="3489600"/>
                </a:lnTo>
                <a:lnTo>
                  <a:pt x="1951868" y="3519529"/>
                </a:lnTo>
                <a:lnTo>
                  <a:pt x="1941328" y="3522579"/>
                </a:lnTo>
                <a:lnTo>
                  <a:pt x="1940269" y="3522794"/>
                </a:lnTo>
                <a:lnTo>
                  <a:pt x="1934124" y="3524523"/>
                </a:lnTo>
                <a:cubicBezTo>
                  <a:pt x="1849832" y="3544846"/>
                  <a:pt x="1762546" y="3559149"/>
                  <a:pt x="1672953" y="3566851"/>
                </a:cubicBezTo>
                <a:lnTo>
                  <a:pt x="1667021" y="3567104"/>
                </a:lnTo>
                <a:lnTo>
                  <a:pt x="1662567" y="3567643"/>
                </a:lnTo>
                <a:lnTo>
                  <a:pt x="1589164" y="3570585"/>
                </a:lnTo>
                <a:lnTo>
                  <a:pt x="1589164" y="3573476"/>
                </a:lnTo>
                <a:lnTo>
                  <a:pt x="1517952" y="3573476"/>
                </a:lnTo>
                <a:lnTo>
                  <a:pt x="1517937" y="3573476"/>
                </a:lnTo>
                <a:lnTo>
                  <a:pt x="1517922" y="3573476"/>
                </a:lnTo>
                <a:lnTo>
                  <a:pt x="1517029" y="3573476"/>
                </a:lnTo>
                <a:lnTo>
                  <a:pt x="1794" y="3573476"/>
                </a:lnTo>
                <a:lnTo>
                  <a:pt x="1794" y="2357835"/>
                </a:lnTo>
                <a:lnTo>
                  <a:pt x="0" y="2357835"/>
                </a:lnTo>
                <a:lnTo>
                  <a:pt x="0" y="2289827"/>
                </a:lnTo>
                <a:lnTo>
                  <a:pt x="0" y="2044041"/>
                </a:lnTo>
                <a:lnTo>
                  <a:pt x="0" y="1529436"/>
                </a:lnTo>
                <a:lnTo>
                  <a:pt x="0" y="1283650"/>
                </a:lnTo>
                <a:lnTo>
                  <a:pt x="1811" y="1283650"/>
                </a:lnTo>
                <a:lnTo>
                  <a:pt x="1811" y="1283649"/>
                </a:lnTo>
                <a:lnTo>
                  <a:pt x="1811" y="1283265"/>
                </a:lnTo>
                <a:lnTo>
                  <a:pt x="1811" y="1266798"/>
                </a:lnTo>
                <a:lnTo>
                  <a:pt x="1811" y="1215642"/>
                </a:lnTo>
                <a:lnTo>
                  <a:pt x="5595" y="1215642"/>
                </a:lnTo>
                <a:lnTo>
                  <a:pt x="8698" y="1160155"/>
                </a:lnTo>
                <a:lnTo>
                  <a:pt x="9488" y="1155383"/>
                </a:lnTo>
                <a:lnTo>
                  <a:pt x="9645" y="1152749"/>
                </a:lnTo>
                <a:lnTo>
                  <a:pt x="14063" y="1127724"/>
                </a:lnTo>
                <a:lnTo>
                  <a:pt x="27296" y="1047722"/>
                </a:lnTo>
                <a:lnTo>
                  <a:pt x="29811" y="1038521"/>
                </a:lnTo>
                <a:lnTo>
                  <a:pt x="30767" y="1033102"/>
                </a:lnTo>
                <a:lnTo>
                  <a:pt x="38938" y="1005126"/>
                </a:lnTo>
                <a:lnTo>
                  <a:pt x="57113" y="938624"/>
                </a:lnTo>
                <a:lnTo>
                  <a:pt x="62289" y="925170"/>
                </a:lnTo>
                <a:lnTo>
                  <a:pt x="64582" y="917319"/>
                </a:lnTo>
                <a:lnTo>
                  <a:pt x="75606" y="890555"/>
                </a:lnTo>
                <a:lnTo>
                  <a:pt x="97634" y="833298"/>
                </a:lnTo>
                <a:lnTo>
                  <a:pt x="106347" y="815923"/>
                </a:lnTo>
                <a:lnTo>
                  <a:pt x="110461" y="805934"/>
                </a:lnTo>
                <a:lnTo>
                  <a:pt x="123509" y="781699"/>
                </a:lnTo>
                <a:lnTo>
                  <a:pt x="148340" y="732182"/>
                </a:lnTo>
                <a:lnTo>
                  <a:pt x="161422" y="711281"/>
                </a:lnTo>
                <a:lnTo>
                  <a:pt x="167777" y="699476"/>
                </a:lnTo>
                <a:lnTo>
                  <a:pt x="182090" y="678257"/>
                </a:lnTo>
                <a:lnTo>
                  <a:pt x="208713" y="635717"/>
                </a:lnTo>
                <a:lnTo>
                  <a:pt x="226957" y="611737"/>
                </a:lnTo>
                <a:lnTo>
                  <a:pt x="235900" y="598479"/>
                </a:lnTo>
                <a:lnTo>
                  <a:pt x="250783" y="580422"/>
                </a:lnTo>
                <a:lnTo>
                  <a:pt x="278237" y="544336"/>
                </a:lnTo>
                <a:lnTo>
                  <a:pt x="302406" y="517787"/>
                </a:lnTo>
                <a:lnTo>
                  <a:pt x="314202" y="503474"/>
                </a:lnTo>
                <a:lnTo>
                  <a:pt x="329025" y="488547"/>
                </a:lnTo>
                <a:lnTo>
                  <a:pt x="356396" y="458480"/>
                </a:lnTo>
                <a:lnTo>
                  <a:pt x="387236" y="429920"/>
                </a:lnTo>
                <a:lnTo>
                  <a:pt x="402056" y="414994"/>
                </a:lnTo>
                <a:lnTo>
                  <a:pt x="416245" y="403056"/>
                </a:lnTo>
                <a:lnTo>
                  <a:pt x="442669" y="378585"/>
                </a:lnTo>
                <a:lnTo>
                  <a:pt x="480950" y="348615"/>
                </a:lnTo>
                <a:lnTo>
                  <a:pt x="498832" y="333570"/>
                </a:lnTo>
                <a:lnTo>
                  <a:pt x="511869" y="324408"/>
                </a:lnTo>
                <a:lnTo>
                  <a:pt x="536541" y="305092"/>
                </a:lnTo>
                <a:lnTo>
                  <a:pt x="583119" y="274338"/>
                </a:lnTo>
                <a:lnTo>
                  <a:pt x="603903" y="259732"/>
                </a:lnTo>
                <a:lnTo>
                  <a:pt x="615316" y="253079"/>
                </a:lnTo>
                <a:lnTo>
                  <a:pt x="637495" y="238436"/>
                </a:lnTo>
                <a:lnTo>
                  <a:pt x="693465" y="207524"/>
                </a:lnTo>
                <a:lnTo>
                  <a:pt x="716640" y="194015"/>
                </a:lnTo>
                <a:lnTo>
                  <a:pt x="726004" y="189554"/>
                </a:lnTo>
                <a:lnTo>
                  <a:pt x="745011" y="179057"/>
                </a:lnTo>
                <a:lnTo>
                  <a:pt x="812077" y="148545"/>
                </a:lnTo>
                <a:lnTo>
                  <a:pt x="836414" y="136949"/>
                </a:lnTo>
                <a:lnTo>
                  <a:pt x="843345" y="134319"/>
                </a:lnTo>
                <a:lnTo>
                  <a:pt x="858574" y="127390"/>
                </a:lnTo>
                <a:lnTo>
                  <a:pt x="940169" y="97577"/>
                </a:lnTo>
                <a:lnTo>
                  <a:pt x="962599" y="89065"/>
                </a:lnTo>
                <a:lnTo>
                  <a:pt x="966748" y="87866"/>
                </a:lnTo>
                <a:lnTo>
                  <a:pt x="977665" y="83877"/>
                </a:lnTo>
                <a:lnTo>
                  <a:pt x="1084024" y="53947"/>
                </a:lnTo>
                <a:lnTo>
                  <a:pt x="1094564" y="50897"/>
                </a:lnTo>
                <a:lnTo>
                  <a:pt x="1095623" y="50681"/>
                </a:lnTo>
                <a:lnTo>
                  <a:pt x="1101768" y="48953"/>
                </a:lnTo>
                <a:cubicBezTo>
                  <a:pt x="1186059" y="28631"/>
                  <a:pt x="1273346" y="14327"/>
                  <a:pt x="1362938" y="6625"/>
                </a:cubicBezTo>
                <a:lnTo>
                  <a:pt x="1368872" y="6373"/>
                </a:lnTo>
                <a:lnTo>
                  <a:pt x="1373325" y="5833"/>
                </a:lnTo>
                <a:lnTo>
                  <a:pt x="1446728" y="2891"/>
                </a:lnTo>
                <a:lnTo>
                  <a:pt x="1446728" y="1"/>
                </a:lnTo>
                <a:lnTo>
                  <a:pt x="1517940" y="1"/>
                </a:lnTo>
                <a:close/>
              </a:path>
            </a:pathLst>
          </a:custGeom>
        </p:spPr>
        <p:txBody>
          <a:bodyPr wrap="square">
            <a:noAutofit/>
          </a:bodyPr>
          <a:lstStyle/>
          <a:p>
            <a:endParaRPr lang="en-US"/>
          </a:p>
        </p:txBody>
      </p:sp>
      <p:sp>
        <p:nvSpPr>
          <p:cNvPr id="9" name="Picture Placeholder 8">
            <a:extLst>
              <a:ext uri="{FF2B5EF4-FFF2-40B4-BE49-F238E27FC236}">
                <a16:creationId xmlns:a16="http://schemas.microsoft.com/office/drawing/2014/main" id="{EBBF648B-8662-41BD-ABD9-3FC10ADCB0C2}"/>
              </a:ext>
            </a:extLst>
          </p:cNvPr>
          <p:cNvSpPr>
            <a:spLocks noGrp="1"/>
          </p:cNvSpPr>
          <p:nvPr>
            <p:ph type="pic" sz="quarter" idx="10"/>
          </p:nvPr>
        </p:nvSpPr>
        <p:spPr>
          <a:xfrm>
            <a:off x="422728" y="-1"/>
            <a:ext cx="3329446" cy="3963752"/>
          </a:xfrm>
          <a:custGeom>
            <a:avLst/>
            <a:gdLst>
              <a:gd name="connsiteX0" fmla="*/ 0 w 3329446"/>
              <a:gd name="connsiteY0" fmla="*/ 0 h 3963752"/>
              <a:gd name="connsiteX1" fmla="*/ 3323772 w 3329446"/>
              <a:gd name="connsiteY1" fmla="*/ 0 h 3963752"/>
              <a:gd name="connsiteX2" fmla="*/ 3323772 w 3329446"/>
              <a:gd name="connsiteY2" fmla="*/ 1835849 h 3963752"/>
              <a:gd name="connsiteX3" fmla="*/ 3329446 w 3329446"/>
              <a:gd name="connsiteY3" fmla="*/ 1835849 h 3963752"/>
              <a:gd name="connsiteX4" fmla="*/ 3329446 w 3329446"/>
              <a:gd name="connsiteY4" fmla="*/ 2289287 h 3963752"/>
              <a:gd name="connsiteX5" fmla="*/ 3329446 w 3329446"/>
              <a:gd name="connsiteY5" fmla="*/ 2558380 h 3963752"/>
              <a:gd name="connsiteX6" fmla="*/ 3327463 w 3329446"/>
              <a:gd name="connsiteY6" fmla="*/ 2558380 h 3963752"/>
              <a:gd name="connsiteX7" fmla="*/ 3327463 w 3329446"/>
              <a:gd name="connsiteY7" fmla="*/ 2558800 h 3963752"/>
              <a:gd name="connsiteX8" fmla="*/ 3327463 w 3329446"/>
              <a:gd name="connsiteY8" fmla="*/ 2576829 h 3963752"/>
              <a:gd name="connsiteX9" fmla="*/ 3327463 w 3329446"/>
              <a:gd name="connsiteY9" fmla="*/ 2632836 h 3963752"/>
              <a:gd name="connsiteX10" fmla="*/ 3323321 w 3329446"/>
              <a:gd name="connsiteY10" fmla="*/ 2632836 h 3963752"/>
              <a:gd name="connsiteX11" fmla="*/ 3319923 w 3329446"/>
              <a:gd name="connsiteY11" fmla="*/ 2693585 h 3963752"/>
              <a:gd name="connsiteX12" fmla="*/ 3319059 w 3329446"/>
              <a:gd name="connsiteY12" fmla="*/ 2698808 h 3963752"/>
              <a:gd name="connsiteX13" fmla="*/ 3318887 w 3329446"/>
              <a:gd name="connsiteY13" fmla="*/ 2701693 h 3963752"/>
              <a:gd name="connsiteX14" fmla="*/ 3314050 w 3329446"/>
              <a:gd name="connsiteY14" fmla="*/ 2729091 h 3963752"/>
              <a:gd name="connsiteX15" fmla="*/ 3299562 w 3329446"/>
              <a:gd name="connsiteY15" fmla="*/ 2816679 h 3963752"/>
              <a:gd name="connsiteX16" fmla="*/ 3296809 w 3329446"/>
              <a:gd name="connsiteY16" fmla="*/ 2826752 h 3963752"/>
              <a:gd name="connsiteX17" fmla="*/ 3295762 w 3329446"/>
              <a:gd name="connsiteY17" fmla="*/ 2832686 h 3963752"/>
              <a:gd name="connsiteX18" fmla="*/ 3286816 w 3329446"/>
              <a:gd name="connsiteY18" fmla="*/ 2863315 h 3963752"/>
              <a:gd name="connsiteX19" fmla="*/ 3266917 w 3329446"/>
              <a:gd name="connsiteY19" fmla="*/ 2936122 h 3963752"/>
              <a:gd name="connsiteX20" fmla="*/ 3261251 w 3329446"/>
              <a:gd name="connsiteY20" fmla="*/ 2950852 h 3963752"/>
              <a:gd name="connsiteX21" fmla="*/ 3258740 w 3329446"/>
              <a:gd name="connsiteY21" fmla="*/ 2959448 h 3963752"/>
              <a:gd name="connsiteX22" fmla="*/ 3246671 w 3329446"/>
              <a:gd name="connsiteY22" fmla="*/ 2988749 h 3963752"/>
              <a:gd name="connsiteX23" fmla="*/ 3222555 w 3329446"/>
              <a:gd name="connsiteY23" fmla="*/ 3051436 h 3963752"/>
              <a:gd name="connsiteX24" fmla="*/ 3213015 w 3329446"/>
              <a:gd name="connsiteY24" fmla="*/ 3070459 h 3963752"/>
              <a:gd name="connsiteX25" fmla="*/ 3208511 w 3329446"/>
              <a:gd name="connsiteY25" fmla="*/ 3081395 h 3963752"/>
              <a:gd name="connsiteX26" fmla="*/ 3194225 w 3329446"/>
              <a:gd name="connsiteY26" fmla="*/ 3107928 h 3963752"/>
              <a:gd name="connsiteX27" fmla="*/ 3167040 w 3329446"/>
              <a:gd name="connsiteY27" fmla="*/ 3162139 h 3963752"/>
              <a:gd name="connsiteX28" fmla="*/ 3152717 w 3329446"/>
              <a:gd name="connsiteY28" fmla="*/ 3185024 h 3963752"/>
              <a:gd name="connsiteX29" fmla="*/ 3145760 w 3329446"/>
              <a:gd name="connsiteY29" fmla="*/ 3197948 h 3963752"/>
              <a:gd name="connsiteX30" fmla="*/ 3130089 w 3329446"/>
              <a:gd name="connsiteY30" fmla="*/ 3221179 h 3963752"/>
              <a:gd name="connsiteX31" fmla="*/ 3100942 w 3329446"/>
              <a:gd name="connsiteY31" fmla="*/ 3267753 h 3963752"/>
              <a:gd name="connsiteX32" fmla="*/ 3080967 w 3329446"/>
              <a:gd name="connsiteY32" fmla="*/ 3294007 h 3963752"/>
              <a:gd name="connsiteX33" fmla="*/ 3071177 w 3329446"/>
              <a:gd name="connsiteY33" fmla="*/ 3308521 h 3963752"/>
              <a:gd name="connsiteX34" fmla="*/ 3054883 w 3329446"/>
              <a:gd name="connsiteY34" fmla="*/ 3328291 h 3963752"/>
              <a:gd name="connsiteX35" fmla="*/ 3024825 w 3329446"/>
              <a:gd name="connsiteY35" fmla="*/ 3367799 h 3963752"/>
              <a:gd name="connsiteX36" fmla="*/ 2998364 w 3329446"/>
              <a:gd name="connsiteY36" fmla="*/ 3396866 h 3963752"/>
              <a:gd name="connsiteX37" fmla="*/ 2985450 w 3329446"/>
              <a:gd name="connsiteY37" fmla="*/ 3412536 h 3963752"/>
              <a:gd name="connsiteX38" fmla="*/ 2969221 w 3329446"/>
              <a:gd name="connsiteY38" fmla="*/ 3428879 h 3963752"/>
              <a:gd name="connsiteX39" fmla="*/ 2939255 w 3329446"/>
              <a:gd name="connsiteY39" fmla="*/ 3461797 h 3963752"/>
              <a:gd name="connsiteX40" fmla="*/ 2905490 w 3329446"/>
              <a:gd name="connsiteY40" fmla="*/ 3493065 h 3963752"/>
              <a:gd name="connsiteX41" fmla="*/ 2889265 w 3329446"/>
              <a:gd name="connsiteY41" fmla="*/ 3509406 h 3963752"/>
              <a:gd name="connsiteX42" fmla="*/ 2873730 w 3329446"/>
              <a:gd name="connsiteY42" fmla="*/ 3522476 h 3963752"/>
              <a:gd name="connsiteX43" fmla="*/ 2844801 w 3329446"/>
              <a:gd name="connsiteY43" fmla="*/ 3549267 h 3963752"/>
              <a:gd name="connsiteX44" fmla="*/ 2802889 w 3329446"/>
              <a:gd name="connsiteY44" fmla="*/ 3582080 h 3963752"/>
              <a:gd name="connsiteX45" fmla="*/ 2783312 w 3329446"/>
              <a:gd name="connsiteY45" fmla="*/ 3598552 h 3963752"/>
              <a:gd name="connsiteX46" fmla="*/ 2769039 w 3329446"/>
              <a:gd name="connsiteY46" fmla="*/ 3608581 h 3963752"/>
              <a:gd name="connsiteX47" fmla="*/ 2742027 w 3329446"/>
              <a:gd name="connsiteY47" fmla="*/ 3629729 h 3963752"/>
              <a:gd name="connsiteX48" fmla="*/ 2691032 w 3329446"/>
              <a:gd name="connsiteY48" fmla="*/ 3663400 h 3963752"/>
              <a:gd name="connsiteX49" fmla="*/ 2668278 w 3329446"/>
              <a:gd name="connsiteY49" fmla="*/ 3679391 h 3963752"/>
              <a:gd name="connsiteX50" fmla="*/ 2655781 w 3329446"/>
              <a:gd name="connsiteY50" fmla="*/ 3686674 h 3963752"/>
              <a:gd name="connsiteX51" fmla="*/ 2631501 w 3329446"/>
              <a:gd name="connsiteY51" fmla="*/ 3702706 h 3963752"/>
              <a:gd name="connsiteX52" fmla="*/ 2570223 w 3329446"/>
              <a:gd name="connsiteY52" fmla="*/ 3736549 h 3963752"/>
              <a:gd name="connsiteX53" fmla="*/ 2544851 w 3329446"/>
              <a:gd name="connsiteY53" fmla="*/ 3751340 h 3963752"/>
              <a:gd name="connsiteX54" fmla="*/ 2534598 w 3329446"/>
              <a:gd name="connsiteY54" fmla="*/ 3756224 h 3963752"/>
              <a:gd name="connsiteX55" fmla="*/ 2513789 w 3329446"/>
              <a:gd name="connsiteY55" fmla="*/ 3767716 h 3963752"/>
              <a:gd name="connsiteX56" fmla="*/ 2440364 w 3329446"/>
              <a:gd name="connsiteY56" fmla="*/ 3801122 h 3963752"/>
              <a:gd name="connsiteX57" fmla="*/ 2413718 w 3329446"/>
              <a:gd name="connsiteY57" fmla="*/ 3813817 h 3963752"/>
              <a:gd name="connsiteX58" fmla="*/ 2406131 w 3329446"/>
              <a:gd name="connsiteY58" fmla="*/ 3816697 h 3963752"/>
              <a:gd name="connsiteX59" fmla="*/ 2389458 w 3329446"/>
              <a:gd name="connsiteY59" fmla="*/ 3824282 h 3963752"/>
              <a:gd name="connsiteX60" fmla="*/ 2300125 w 3329446"/>
              <a:gd name="connsiteY60" fmla="*/ 3856922 h 3963752"/>
              <a:gd name="connsiteX61" fmla="*/ 2275568 w 3329446"/>
              <a:gd name="connsiteY61" fmla="*/ 3866241 h 3963752"/>
              <a:gd name="connsiteX62" fmla="*/ 2271026 w 3329446"/>
              <a:gd name="connsiteY62" fmla="*/ 3867555 h 3963752"/>
              <a:gd name="connsiteX63" fmla="*/ 2259074 w 3329446"/>
              <a:gd name="connsiteY63" fmla="*/ 3871922 h 3963752"/>
              <a:gd name="connsiteX64" fmla="*/ 2142630 w 3329446"/>
              <a:gd name="connsiteY64" fmla="*/ 3904690 h 3963752"/>
              <a:gd name="connsiteX65" fmla="*/ 2131089 w 3329446"/>
              <a:gd name="connsiteY65" fmla="*/ 3908028 h 3963752"/>
              <a:gd name="connsiteX66" fmla="*/ 2129930 w 3329446"/>
              <a:gd name="connsiteY66" fmla="*/ 3908264 h 3963752"/>
              <a:gd name="connsiteX67" fmla="*/ 2123202 w 3329446"/>
              <a:gd name="connsiteY67" fmla="*/ 3910157 h 3963752"/>
              <a:gd name="connsiteX68" fmla="*/ 1837266 w 3329446"/>
              <a:gd name="connsiteY68" fmla="*/ 3956499 h 3963752"/>
              <a:gd name="connsiteX69" fmla="*/ 1830771 w 3329446"/>
              <a:gd name="connsiteY69" fmla="*/ 3956775 h 3963752"/>
              <a:gd name="connsiteX70" fmla="*/ 1825895 w 3329446"/>
              <a:gd name="connsiteY70" fmla="*/ 3957365 h 3963752"/>
              <a:gd name="connsiteX71" fmla="*/ 1745532 w 3329446"/>
              <a:gd name="connsiteY71" fmla="*/ 3960587 h 3963752"/>
              <a:gd name="connsiteX72" fmla="*/ 1745532 w 3329446"/>
              <a:gd name="connsiteY72" fmla="*/ 3963751 h 3963752"/>
              <a:gd name="connsiteX73" fmla="*/ 1667566 w 3329446"/>
              <a:gd name="connsiteY73" fmla="*/ 3963751 h 3963752"/>
              <a:gd name="connsiteX74" fmla="*/ 1667550 w 3329446"/>
              <a:gd name="connsiteY74" fmla="*/ 3963752 h 3963752"/>
              <a:gd name="connsiteX75" fmla="*/ 1667534 w 3329446"/>
              <a:gd name="connsiteY75" fmla="*/ 3963751 h 3963752"/>
              <a:gd name="connsiteX76" fmla="*/ 1666556 w 3329446"/>
              <a:gd name="connsiteY76" fmla="*/ 3963751 h 3963752"/>
              <a:gd name="connsiteX77" fmla="*/ 7638 w 3329446"/>
              <a:gd name="connsiteY77" fmla="*/ 3963751 h 3963752"/>
              <a:gd name="connsiteX78" fmla="*/ 7638 w 3329446"/>
              <a:gd name="connsiteY78" fmla="*/ 2632836 h 3963752"/>
              <a:gd name="connsiteX79" fmla="*/ 5674 w 3329446"/>
              <a:gd name="connsiteY79" fmla="*/ 2632836 h 3963752"/>
              <a:gd name="connsiteX80" fmla="*/ 5674 w 3329446"/>
              <a:gd name="connsiteY80" fmla="*/ 2558380 h 3963752"/>
              <a:gd name="connsiteX81" fmla="*/ 5674 w 3329446"/>
              <a:gd name="connsiteY81" fmla="*/ 2289287 h 3963752"/>
              <a:gd name="connsiteX82" fmla="*/ 5674 w 3329446"/>
              <a:gd name="connsiteY82" fmla="*/ 1861477 h 3963752"/>
              <a:gd name="connsiteX83" fmla="*/ 0 w 3329446"/>
              <a:gd name="connsiteY83" fmla="*/ 1861477 h 3963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329446" h="3963752">
                <a:moveTo>
                  <a:pt x="0" y="0"/>
                </a:moveTo>
                <a:lnTo>
                  <a:pt x="3323772" y="0"/>
                </a:lnTo>
                <a:lnTo>
                  <a:pt x="3323772" y="1835849"/>
                </a:lnTo>
                <a:lnTo>
                  <a:pt x="3329446" y="1835849"/>
                </a:lnTo>
                <a:lnTo>
                  <a:pt x="3329446" y="2289287"/>
                </a:lnTo>
                <a:lnTo>
                  <a:pt x="3329446" y="2558380"/>
                </a:lnTo>
                <a:lnTo>
                  <a:pt x="3327463" y="2558380"/>
                </a:lnTo>
                <a:lnTo>
                  <a:pt x="3327463" y="2558800"/>
                </a:lnTo>
                <a:lnTo>
                  <a:pt x="3327463" y="2576829"/>
                </a:lnTo>
                <a:lnTo>
                  <a:pt x="3327463" y="2632836"/>
                </a:lnTo>
                <a:lnTo>
                  <a:pt x="3323321" y="2632836"/>
                </a:lnTo>
                <a:lnTo>
                  <a:pt x="3319923" y="2693585"/>
                </a:lnTo>
                <a:lnTo>
                  <a:pt x="3319059" y="2698808"/>
                </a:lnTo>
                <a:lnTo>
                  <a:pt x="3318887" y="2701693"/>
                </a:lnTo>
                <a:lnTo>
                  <a:pt x="3314050" y="2729091"/>
                </a:lnTo>
                <a:lnTo>
                  <a:pt x="3299562" y="2816679"/>
                </a:lnTo>
                <a:lnTo>
                  <a:pt x="3296809" y="2826752"/>
                </a:lnTo>
                <a:lnTo>
                  <a:pt x="3295762" y="2832686"/>
                </a:lnTo>
                <a:lnTo>
                  <a:pt x="3286816" y="2863315"/>
                </a:lnTo>
                <a:lnTo>
                  <a:pt x="3266917" y="2936122"/>
                </a:lnTo>
                <a:lnTo>
                  <a:pt x="3261251" y="2950852"/>
                </a:lnTo>
                <a:lnTo>
                  <a:pt x="3258740" y="2959448"/>
                </a:lnTo>
                <a:lnTo>
                  <a:pt x="3246671" y="2988749"/>
                </a:lnTo>
                <a:lnTo>
                  <a:pt x="3222555" y="3051436"/>
                </a:lnTo>
                <a:lnTo>
                  <a:pt x="3213015" y="3070459"/>
                </a:lnTo>
                <a:lnTo>
                  <a:pt x="3208511" y="3081395"/>
                </a:lnTo>
                <a:lnTo>
                  <a:pt x="3194225" y="3107928"/>
                </a:lnTo>
                <a:lnTo>
                  <a:pt x="3167040" y="3162139"/>
                </a:lnTo>
                <a:lnTo>
                  <a:pt x="3152717" y="3185024"/>
                </a:lnTo>
                <a:lnTo>
                  <a:pt x="3145760" y="3197948"/>
                </a:lnTo>
                <a:lnTo>
                  <a:pt x="3130089" y="3221179"/>
                </a:lnTo>
                <a:lnTo>
                  <a:pt x="3100942" y="3267753"/>
                </a:lnTo>
                <a:lnTo>
                  <a:pt x="3080967" y="3294007"/>
                </a:lnTo>
                <a:lnTo>
                  <a:pt x="3071177" y="3308521"/>
                </a:lnTo>
                <a:lnTo>
                  <a:pt x="3054883" y="3328291"/>
                </a:lnTo>
                <a:lnTo>
                  <a:pt x="3024825" y="3367799"/>
                </a:lnTo>
                <a:lnTo>
                  <a:pt x="2998364" y="3396866"/>
                </a:lnTo>
                <a:lnTo>
                  <a:pt x="2985450" y="3412536"/>
                </a:lnTo>
                <a:lnTo>
                  <a:pt x="2969221" y="3428879"/>
                </a:lnTo>
                <a:lnTo>
                  <a:pt x="2939255" y="3461797"/>
                </a:lnTo>
                <a:lnTo>
                  <a:pt x="2905490" y="3493065"/>
                </a:lnTo>
                <a:lnTo>
                  <a:pt x="2889265" y="3509406"/>
                </a:lnTo>
                <a:lnTo>
                  <a:pt x="2873730" y="3522476"/>
                </a:lnTo>
                <a:lnTo>
                  <a:pt x="2844801" y="3549267"/>
                </a:lnTo>
                <a:lnTo>
                  <a:pt x="2802889" y="3582080"/>
                </a:lnTo>
                <a:lnTo>
                  <a:pt x="2783312" y="3598552"/>
                </a:lnTo>
                <a:lnTo>
                  <a:pt x="2769039" y="3608581"/>
                </a:lnTo>
                <a:lnTo>
                  <a:pt x="2742027" y="3629729"/>
                </a:lnTo>
                <a:lnTo>
                  <a:pt x="2691032" y="3663400"/>
                </a:lnTo>
                <a:lnTo>
                  <a:pt x="2668278" y="3679391"/>
                </a:lnTo>
                <a:lnTo>
                  <a:pt x="2655781" y="3686674"/>
                </a:lnTo>
                <a:lnTo>
                  <a:pt x="2631501" y="3702706"/>
                </a:lnTo>
                <a:lnTo>
                  <a:pt x="2570223" y="3736549"/>
                </a:lnTo>
                <a:lnTo>
                  <a:pt x="2544851" y="3751340"/>
                </a:lnTo>
                <a:lnTo>
                  <a:pt x="2534598" y="3756224"/>
                </a:lnTo>
                <a:lnTo>
                  <a:pt x="2513789" y="3767716"/>
                </a:lnTo>
                <a:lnTo>
                  <a:pt x="2440364" y="3801122"/>
                </a:lnTo>
                <a:lnTo>
                  <a:pt x="2413718" y="3813817"/>
                </a:lnTo>
                <a:lnTo>
                  <a:pt x="2406131" y="3816697"/>
                </a:lnTo>
                <a:lnTo>
                  <a:pt x="2389458" y="3824282"/>
                </a:lnTo>
                <a:lnTo>
                  <a:pt x="2300125" y="3856922"/>
                </a:lnTo>
                <a:lnTo>
                  <a:pt x="2275568" y="3866241"/>
                </a:lnTo>
                <a:lnTo>
                  <a:pt x="2271026" y="3867555"/>
                </a:lnTo>
                <a:lnTo>
                  <a:pt x="2259074" y="3871922"/>
                </a:lnTo>
                <a:lnTo>
                  <a:pt x="2142630" y="3904690"/>
                </a:lnTo>
                <a:lnTo>
                  <a:pt x="2131089" y="3908028"/>
                </a:lnTo>
                <a:lnTo>
                  <a:pt x="2129930" y="3908264"/>
                </a:lnTo>
                <a:lnTo>
                  <a:pt x="2123202" y="3910157"/>
                </a:lnTo>
                <a:cubicBezTo>
                  <a:pt x="2030918" y="3932407"/>
                  <a:pt x="1935355" y="3948066"/>
                  <a:pt x="1837266" y="3956499"/>
                </a:cubicBezTo>
                <a:lnTo>
                  <a:pt x="1830771" y="3956775"/>
                </a:lnTo>
                <a:lnTo>
                  <a:pt x="1825895" y="3957365"/>
                </a:lnTo>
                <a:lnTo>
                  <a:pt x="1745532" y="3960587"/>
                </a:lnTo>
                <a:lnTo>
                  <a:pt x="1745532" y="3963751"/>
                </a:lnTo>
                <a:lnTo>
                  <a:pt x="1667566" y="3963751"/>
                </a:lnTo>
                <a:lnTo>
                  <a:pt x="1667550" y="3963752"/>
                </a:lnTo>
                <a:lnTo>
                  <a:pt x="1667534" y="3963751"/>
                </a:lnTo>
                <a:lnTo>
                  <a:pt x="1666556" y="3963751"/>
                </a:lnTo>
                <a:lnTo>
                  <a:pt x="7638" y="3963751"/>
                </a:lnTo>
                <a:lnTo>
                  <a:pt x="7638" y="2632836"/>
                </a:lnTo>
                <a:lnTo>
                  <a:pt x="5674" y="2632836"/>
                </a:lnTo>
                <a:lnTo>
                  <a:pt x="5674" y="2558380"/>
                </a:lnTo>
                <a:lnTo>
                  <a:pt x="5674" y="2289287"/>
                </a:lnTo>
                <a:lnTo>
                  <a:pt x="5674" y="1861477"/>
                </a:lnTo>
                <a:lnTo>
                  <a:pt x="0" y="1861477"/>
                </a:lnTo>
                <a:close/>
              </a:path>
            </a:pathLst>
          </a:custGeom>
        </p:spPr>
        <p:txBody>
          <a:bodyPr wrap="square">
            <a:noAutofit/>
          </a:bodyPr>
          <a:lstStyle/>
          <a:p>
            <a:endParaRPr lang="en-US"/>
          </a:p>
        </p:txBody>
      </p:sp>
    </p:spTree>
    <p:extLst>
      <p:ext uri="{BB962C8B-B14F-4D97-AF65-F5344CB8AC3E}">
        <p14:creationId xmlns:p14="http://schemas.microsoft.com/office/powerpoint/2010/main" val="59749847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428CA49-FBDD-41D9-BB48-8148C5F0D678}"/>
              </a:ext>
            </a:extLst>
          </p:cNvPr>
          <p:cNvSpPr>
            <a:spLocks noGrp="1"/>
          </p:cNvSpPr>
          <p:nvPr>
            <p:ph type="pic" sz="quarter" idx="10"/>
          </p:nvPr>
        </p:nvSpPr>
        <p:spPr>
          <a:xfrm>
            <a:off x="5210485" y="1250622"/>
            <a:ext cx="3418030" cy="4878949"/>
          </a:xfrm>
          <a:custGeom>
            <a:avLst/>
            <a:gdLst>
              <a:gd name="connsiteX0" fmla="*/ 1191331 w 3418030"/>
              <a:gd name="connsiteY0" fmla="*/ 0 h 4878949"/>
              <a:gd name="connsiteX1" fmla="*/ 1294432 w 3418030"/>
              <a:gd name="connsiteY1" fmla="*/ 0 h 4878949"/>
              <a:gd name="connsiteX2" fmla="*/ 1457098 w 3418030"/>
              <a:gd name="connsiteY2" fmla="*/ 0 h 4878949"/>
              <a:gd name="connsiteX3" fmla="*/ 1564784 w 3418030"/>
              <a:gd name="connsiteY3" fmla="*/ 0 h 4878949"/>
              <a:gd name="connsiteX4" fmla="*/ 2013538 w 3418030"/>
              <a:gd name="connsiteY4" fmla="*/ 0 h 4878949"/>
              <a:gd name="connsiteX5" fmla="*/ 2038520 w 3418030"/>
              <a:gd name="connsiteY5" fmla="*/ 0 h 4878949"/>
              <a:gd name="connsiteX6" fmla="*/ 2130825 w 3418030"/>
              <a:gd name="connsiteY6" fmla="*/ 0 h 4878949"/>
              <a:gd name="connsiteX7" fmla="*/ 2156238 w 3418030"/>
              <a:gd name="connsiteY7" fmla="*/ 0 h 4878949"/>
              <a:gd name="connsiteX8" fmla="*/ 2221889 w 3418030"/>
              <a:gd name="connsiteY8" fmla="*/ 0 h 4878949"/>
              <a:gd name="connsiteX9" fmla="*/ 2277890 w 3418030"/>
              <a:gd name="connsiteY9" fmla="*/ 0 h 4878949"/>
              <a:gd name="connsiteX10" fmla="*/ 2342770 w 3418030"/>
              <a:gd name="connsiteY10" fmla="*/ 0 h 4878949"/>
              <a:gd name="connsiteX11" fmla="*/ 2399737 w 3418030"/>
              <a:gd name="connsiteY11" fmla="*/ 0 h 4878949"/>
              <a:gd name="connsiteX12" fmla="*/ 2399737 w 3418030"/>
              <a:gd name="connsiteY12" fmla="*/ 1224 h 4878949"/>
              <a:gd name="connsiteX13" fmla="*/ 3278911 w 3418030"/>
              <a:gd name="connsiteY13" fmla="*/ 1224 h 4878949"/>
              <a:gd name="connsiteX14" fmla="*/ 3418030 w 3418030"/>
              <a:gd name="connsiteY14" fmla="*/ 1224 h 4878949"/>
              <a:gd name="connsiteX15" fmla="*/ 3418030 w 3418030"/>
              <a:gd name="connsiteY15" fmla="*/ 70784 h 4878949"/>
              <a:gd name="connsiteX16" fmla="*/ 3418030 w 3418030"/>
              <a:gd name="connsiteY16" fmla="*/ 685938 h 4878949"/>
              <a:gd name="connsiteX17" fmla="*/ 3418030 w 3418030"/>
              <a:gd name="connsiteY17" fmla="*/ 732837 h 4878949"/>
              <a:gd name="connsiteX18" fmla="*/ 3418030 w 3418030"/>
              <a:gd name="connsiteY18" fmla="*/ 755498 h 4878949"/>
              <a:gd name="connsiteX19" fmla="*/ 3418030 w 3418030"/>
              <a:gd name="connsiteY19" fmla="*/ 802397 h 4878949"/>
              <a:gd name="connsiteX20" fmla="*/ 3418030 w 3418030"/>
              <a:gd name="connsiteY20" fmla="*/ 1036312 h 4878949"/>
              <a:gd name="connsiteX21" fmla="*/ 3418030 w 3418030"/>
              <a:gd name="connsiteY21" fmla="*/ 1036923 h 4878949"/>
              <a:gd name="connsiteX22" fmla="*/ 3418030 w 3418030"/>
              <a:gd name="connsiteY22" fmla="*/ 1036933 h 4878949"/>
              <a:gd name="connsiteX23" fmla="*/ 3418030 w 3418030"/>
              <a:gd name="connsiteY23" fmla="*/ 1036943 h 4878949"/>
              <a:gd name="connsiteX24" fmla="*/ 3418030 w 3418030"/>
              <a:gd name="connsiteY24" fmla="*/ 1085589 h 4878949"/>
              <a:gd name="connsiteX25" fmla="*/ 3418030 w 3418030"/>
              <a:gd name="connsiteY25" fmla="*/ 1105871 h 4878949"/>
              <a:gd name="connsiteX26" fmla="*/ 3418030 w 3418030"/>
              <a:gd name="connsiteY26" fmla="*/ 1106482 h 4878949"/>
              <a:gd name="connsiteX27" fmla="*/ 3418030 w 3418030"/>
              <a:gd name="connsiteY27" fmla="*/ 1106491 h 4878949"/>
              <a:gd name="connsiteX28" fmla="*/ 3418030 w 3418030"/>
              <a:gd name="connsiteY28" fmla="*/ 1106501 h 4878949"/>
              <a:gd name="connsiteX29" fmla="*/ 3418030 w 3418030"/>
              <a:gd name="connsiteY29" fmla="*/ 1155149 h 4878949"/>
              <a:gd name="connsiteX30" fmla="*/ 3418030 w 3418030"/>
              <a:gd name="connsiteY30" fmla="*/ 1417551 h 4878949"/>
              <a:gd name="connsiteX31" fmla="*/ 3418030 w 3418030"/>
              <a:gd name="connsiteY31" fmla="*/ 1487111 h 4878949"/>
              <a:gd name="connsiteX32" fmla="*/ 3418030 w 3418030"/>
              <a:gd name="connsiteY32" fmla="*/ 1721026 h 4878949"/>
              <a:gd name="connsiteX33" fmla="*/ 3418030 w 3418030"/>
              <a:gd name="connsiteY33" fmla="*/ 1721637 h 4878949"/>
              <a:gd name="connsiteX34" fmla="*/ 3418030 w 3418030"/>
              <a:gd name="connsiteY34" fmla="*/ 1721646 h 4878949"/>
              <a:gd name="connsiteX35" fmla="*/ 3418030 w 3418030"/>
              <a:gd name="connsiteY35" fmla="*/ 1721657 h 4878949"/>
              <a:gd name="connsiteX36" fmla="*/ 3418030 w 3418030"/>
              <a:gd name="connsiteY36" fmla="*/ 1767925 h 4878949"/>
              <a:gd name="connsiteX37" fmla="*/ 3418030 w 3418030"/>
              <a:gd name="connsiteY37" fmla="*/ 1768536 h 4878949"/>
              <a:gd name="connsiteX38" fmla="*/ 3418030 w 3418030"/>
              <a:gd name="connsiteY38" fmla="*/ 1768546 h 4878949"/>
              <a:gd name="connsiteX39" fmla="*/ 3418030 w 3418030"/>
              <a:gd name="connsiteY39" fmla="*/ 1768556 h 4878949"/>
              <a:gd name="connsiteX40" fmla="*/ 3418030 w 3418030"/>
              <a:gd name="connsiteY40" fmla="*/ 1770303 h 4878949"/>
              <a:gd name="connsiteX41" fmla="*/ 3418030 w 3418030"/>
              <a:gd name="connsiteY41" fmla="*/ 1790585 h 4878949"/>
              <a:gd name="connsiteX42" fmla="*/ 3418030 w 3418030"/>
              <a:gd name="connsiteY42" fmla="*/ 1791196 h 4878949"/>
              <a:gd name="connsiteX43" fmla="*/ 3418030 w 3418030"/>
              <a:gd name="connsiteY43" fmla="*/ 1791205 h 4878949"/>
              <a:gd name="connsiteX44" fmla="*/ 3418030 w 3418030"/>
              <a:gd name="connsiteY44" fmla="*/ 1791215 h 4878949"/>
              <a:gd name="connsiteX45" fmla="*/ 3418030 w 3418030"/>
              <a:gd name="connsiteY45" fmla="*/ 1817203 h 4878949"/>
              <a:gd name="connsiteX46" fmla="*/ 3418030 w 3418030"/>
              <a:gd name="connsiteY46" fmla="*/ 1837484 h 4878949"/>
              <a:gd name="connsiteX47" fmla="*/ 3418030 w 3418030"/>
              <a:gd name="connsiteY47" fmla="*/ 1838095 h 4878949"/>
              <a:gd name="connsiteX48" fmla="*/ 3418030 w 3418030"/>
              <a:gd name="connsiteY48" fmla="*/ 1838105 h 4878949"/>
              <a:gd name="connsiteX49" fmla="*/ 3418030 w 3418030"/>
              <a:gd name="connsiteY49" fmla="*/ 1838115 h 4878949"/>
              <a:gd name="connsiteX50" fmla="*/ 3418030 w 3418030"/>
              <a:gd name="connsiteY50" fmla="*/ 1839863 h 4878949"/>
              <a:gd name="connsiteX51" fmla="*/ 3418030 w 3418030"/>
              <a:gd name="connsiteY51" fmla="*/ 1886762 h 4878949"/>
              <a:gd name="connsiteX52" fmla="*/ 3418030 w 3418030"/>
              <a:gd name="connsiteY52" fmla="*/ 2452639 h 4878949"/>
              <a:gd name="connsiteX53" fmla="*/ 3418030 w 3418030"/>
              <a:gd name="connsiteY53" fmla="*/ 2453250 h 4878949"/>
              <a:gd name="connsiteX54" fmla="*/ 3418030 w 3418030"/>
              <a:gd name="connsiteY54" fmla="*/ 2453260 h 4878949"/>
              <a:gd name="connsiteX55" fmla="*/ 3418030 w 3418030"/>
              <a:gd name="connsiteY55" fmla="*/ 2453270 h 4878949"/>
              <a:gd name="connsiteX56" fmla="*/ 3418030 w 3418030"/>
              <a:gd name="connsiteY56" fmla="*/ 2501917 h 4878949"/>
              <a:gd name="connsiteX57" fmla="*/ 3418030 w 3418030"/>
              <a:gd name="connsiteY57" fmla="*/ 2522198 h 4878949"/>
              <a:gd name="connsiteX58" fmla="*/ 3418030 w 3418030"/>
              <a:gd name="connsiteY58" fmla="*/ 2522809 h 4878949"/>
              <a:gd name="connsiteX59" fmla="*/ 3418030 w 3418030"/>
              <a:gd name="connsiteY59" fmla="*/ 2522819 h 4878949"/>
              <a:gd name="connsiteX60" fmla="*/ 3418030 w 3418030"/>
              <a:gd name="connsiteY60" fmla="*/ 2522830 h 4878949"/>
              <a:gd name="connsiteX61" fmla="*/ 3418030 w 3418030"/>
              <a:gd name="connsiteY61" fmla="*/ 2571476 h 4878949"/>
              <a:gd name="connsiteX62" fmla="*/ 3415609 w 3418030"/>
              <a:gd name="connsiteY62" fmla="*/ 2571476 h 4878949"/>
              <a:gd name="connsiteX63" fmla="*/ 3413143 w 3418030"/>
              <a:gd name="connsiteY63" fmla="*/ 2621619 h 4878949"/>
              <a:gd name="connsiteX64" fmla="*/ 3412693 w 3418030"/>
              <a:gd name="connsiteY64" fmla="*/ 2624661 h 4878949"/>
              <a:gd name="connsiteX65" fmla="*/ 3412480 w 3418030"/>
              <a:gd name="connsiteY65" fmla="*/ 2628713 h 4878949"/>
              <a:gd name="connsiteX66" fmla="*/ 3377025 w 3418030"/>
              <a:gd name="connsiteY66" fmla="*/ 2807125 h 4878949"/>
              <a:gd name="connsiteX67" fmla="*/ 3375576 w 3418030"/>
              <a:gd name="connsiteY67" fmla="*/ 2811322 h 4878949"/>
              <a:gd name="connsiteX68" fmla="*/ 3375395 w 3418030"/>
              <a:gd name="connsiteY68" fmla="*/ 2812045 h 4878949"/>
              <a:gd name="connsiteX69" fmla="*/ 3372842 w 3418030"/>
              <a:gd name="connsiteY69" fmla="*/ 2819247 h 4878949"/>
              <a:gd name="connsiteX70" fmla="*/ 3347771 w 3418030"/>
              <a:gd name="connsiteY70" fmla="*/ 2891903 h 4878949"/>
              <a:gd name="connsiteX71" fmla="*/ 3344429 w 3418030"/>
              <a:gd name="connsiteY71" fmla="*/ 2899360 h 4878949"/>
              <a:gd name="connsiteX72" fmla="*/ 3343424 w 3418030"/>
              <a:gd name="connsiteY72" fmla="*/ 2902194 h 4878949"/>
              <a:gd name="connsiteX73" fmla="*/ 3336294 w 3418030"/>
              <a:gd name="connsiteY73" fmla="*/ 2917516 h 4878949"/>
              <a:gd name="connsiteX74" fmla="*/ 3311321 w 3418030"/>
              <a:gd name="connsiteY74" fmla="*/ 2973257 h 4878949"/>
              <a:gd name="connsiteX75" fmla="*/ 3305517 w 3418030"/>
              <a:gd name="connsiteY75" fmla="*/ 2983659 h 4878949"/>
              <a:gd name="connsiteX76" fmla="*/ 3303314 w 3418030"/>
              <a:gd name="connsiteY76" fmla="*/ 2988394 h 4878949"/>
              <a:gd name="connsiteX77" fmla="*/ 3293601 w 3418030"/>
              <a:gd name="connsiteY77" fmla="*/ 3005019 h 4878949"/>
              <a:gd name="connsiteX78" fmla="*/ 3268042 w 3418030"/>
              <a:gd name="connsiteY78" fmla="*/ 3050833 h 4878949"/>
              <a:gd name="connsiteX79" fmla="*/ 3259248 w 3418030"/>
              <a:gd name="connsiteY79" fmla="*/ 3063817 h 4878949"/>
              <a:gd name="connsiteX80" fmla="*/ 3255513 w 3418030"/>
              <a:gd name="connsiteY80" fmla="*/ 3070215 h 4878949"/>
              <a:gd name="connsiteX81" fmla="*/ 3244196 w 3418030"/>
              <a:gd name="connsiteY81" fmla="*/ 3086045 h 4878949"/>
              <a:gd name="connsiteX82" fmla="*/ 3218302 w 3418030"/>
              <a:gd name="connsiteY82" fmla="*/ 3124280 h 4878949"/>
              <a:gd name="connsiteX83" fmla="*/ 3206037 w 3418030"/>
              <a:gd name="connsiteY83" fmla="*/ 3139430 h 4878949"/>
              <a:gd name="connsiteX84" fmla="*/ 3200464 w 3418030"/>
              <a:gd name="connsiteY84" fmla="*/ 3147227 h 4878949"/>
              <a:gd name="connsiteX85" fmla="*/ 3188229 w 3418030"/>
              <a:gd name="connsiteY85" fmla="*/ 3161424 h 4878949"/>
              <a:gd name="connsiteX86" fmla="*/ 3162468 w 3418030"/>
              <a:gd name="connsiteY86" fmla="*/ 3193243 h 4878949"/>
              <a:gd name="connsiteX87" fmla="*/ 3146287 w 3418030"/>
              <a:gd name="connsiteY87" fmla="*/ 3210097 h 4878949"/>
              <a:gd name="connsiteX88" fmla="*/ 3138613 w 3418030"/>
              <a:gd name="connsiteY88" fmla="*/ 3219003 h 4878949"/>
              <a:gd name="connsiteX89" fmla="*/ 3126010 w 3418030"/>
              <a:gd name="connsiteY89" fmla="*/ 3231219 h 4878949"/>
              <a:gd name="connsiteX90" fmla="*/ 3100905 w 3418030"/>
              <a:gd name="connsiteY90" fmla="*/ 3257369 h 4878949"/>
              <a:gd name="connsiteX91" fmla="*/ 3080407 w 3418030"/>
              <a:gd name="connsiteY91" fmla="*/ 3275420 h 4878949"/>
              <a:gd name="connsiteX92" fmla="*/ 3070407 w 3418030"/>
              <a:gd name="connsiteY92" fmla="*/ 3285113 h 4878949"/>
              <a:gd name="connsiteX93" fmla="*/ 3057904 w 3418030"/>
              <a:gd name="connsiteY93" fmla="*/ 3295236 h 4878949"/>
              <a:gd name="connsiteX94" fmla="*/ 3033981 w 3418030"/>
              <a:gd name="connsiteY94" fmla="*/ 3316304 h 4878949"/>
              <a:gd name="connsiteX95" fmla="*/ 3008795 w 3418030"/>
              <a:gd name="connsiteY95" fmla="*/ 3335002 h 4878949"/>
              <a:gd name="connsiteX96" fmla="*/ 2996290 w 3418030"/>
              <a:gd name="connsiteY96" fmla="*/ 3345128 h 4878949"/>
              <a:gd name="connsiteX97" fmla="*/ 2984301 w 3418030"/>
              <a:gd name="connsiteY97" fmla="*/ 3353185 h 4878949"/>
              <a:gd name="connsiteX98" fmla="*/ 2962062 w 3418030"/>
              <a:gd name="connsiteY98" fmla="*/ 3369695 h 4878949"/>
              <a:gd name="connsiteX99" fmla="*/ 2931835 w 3418030"/>
              <a:gd name="connsiteY99" fmla="*/ 3388450 h 4878949"/>
              <a:gd name="connsiteX100" fmla="*/ 2916709 w 3418030"/>
              <a:gd name="connsiteY100" fmla="*/ 3398618 h 4878949"/>
              <a:gd name="connsiteX101" fmla="*/ 2905603 w 3418030"/>
              <a:gd name="connsiteY101" fmla="*/ 3404726 h 4878949"/>
              <a:gd name="connsiteX102" fmla="*/ 2885517 w 3418030"/>
              <a:gd name="connsiteY102" fmla="*/ 3417189 h 4878949"/>
              <a:gd name="connsiteX103" fmla="*/ 2849882 w 3418030"/>
              <a:gd name="connsiteY103" fmla="*/ 3435375 h 4878949"/>
              <a:gd name="connsiteX104" fmla="*/ 2832108 w 3418030"/>
              <a:gd name="connsiteY104" fmla="*/ 3445153 h 4878949"/>
              <a:gd name="connsiteX105" fmla="*/ 2822219 w 3418030"/>
              <a:gd name="connsiteY105" fmla="*/ 3449494 h 4878949"/>
              <a:gd name="connsiteX106" fmla="*/ 2804710 w 3418030"/>
              <a:gd name="connsiteY106" fmla="*/ 3458432 h 4878949"/>
              <a:gd name="connsiteX107" fmla="*/ 2763233 w 3418030"/>
              <a:gd name="connsiteY107" fmla="*/ 3475393 h 4878949"/>
              <a:gd name="connsiteX108" fmla="*/ 2742933 w 3418030"/>
              <a:gd name="connsiteY108" fmla="*/ 3484308 h 4878949"/>
              <a:gd name="connsiteX109" fmla="*/ 2734565 w 3418030"/>
              <a:gd name="connsiteY109" fmla="*/ 3487117 h 4878949"/>
              <a:gd name="connsiteX110" fmla="*/ 2720010 w 3418030"/>
              <a:gd name="connsiteY110" fmla="*/ 3493070 h 4878949"/>
              <a:gd name="connsiteX111" fmla="*/ 2672049 w 3418030"/>
              <a:gd name="connsiteY111" fmla="*/ 3508117 h 4878949"/>
              <a:gd name="connsiteX112" fmla="*/ 2649630 w 3418030"/>
              <a:gd name="connsiteY112" fmla="*/ 3515648 h 4878949"/>
              <a:gd name="connsiteX113" fmla="*/ 2643052 w 3418030"/>
              <a:gd name="connsiteY113" fmla="*/ 3517214 h 4878949"/>
              <a:gd name="connsiteX114" fmla="*/ 2631783 w 3418030"/>
              <a:gd name="connsiteY114" fmla="*/ 3520749 h 4878949"/>
              <a:gd name="connsiteX115" fmla="*/ 2576079 w 3418030"/>
              <a:gd name="connsiteY115" fmla="*/ 3533167 h 4878949"/>
              <a:gd name="connsiteX116" fmla="*/ 2552643 w 3418030"/>
              <a:gd name="connsiteY116" fmla="*/ 3538747 h 4878949"/>
              <a:gd name="connsiteX117" fmla="*/ 2548104 w 3418030"/>
              <a:gd name="connsiteY117" fmla="*/ 3539401 h 4878949"/>
              <a:gd name="connsiteX118" fmla="*/ 2540397 w 3418030"/>
              <a:gd name="connsiteY118" fmla="*/ 3541118 h 4878949"/>
              <a:gd name="connsiteX119" fmla="*/ 2473383 w 3418030"/>
              <a:gd name="connsiteY119" fmla="*/ 3550158 h 4878949"/>
              <a:gd name="connsiteX120" fmla="*/ 2452420 w 3418030"/>
              <a:gd name="connsiteY120" fmla="*/ 3553176 h 4878949"/>
              <a:gd name="connsiteX121" fmla="*/ 2450212 w 3418030"/>
              <a:gd name="connsiteY121" fmla="*/ 3553284 h 4878949"/>
              <a:gd name="connsiteX122" fmla="*/ 2446216 w 3418030"/>
              <a:gd name="connsiteY122" fmla="*/ 3553824 h 4878949"/>
              <a:gd name="connsiteX123" fmla="*/ 2399737 w 3418030"/>
              <a:gd name="connsiteY123" fmla="*/ 3555943 h 4878949"/>
              <a:gd name="connsiteX124" fmla="*/ 2399737 w 3418030"/>
              <a:gd name="connsiteY124" fmla="*/ 3558529 h 4878949"/>
              <a:gd name="connsiteX125" fmla="*/ 2366297 w 3418030"/>
              <a:gd name="connsiteY125" fmla="*/ 3558529 h 4878949"/>
              <a:gd name="connsiteX126" fmla="*/ 2350286 w 3418030"/>
              <a:gd name="connsiteY126" fmla="*/ 3560726 h 4878949"/>
              <a:gd name="connsiteX127" fmla="*/ 2329679 w 3418030"/>
              <a:gd name="connsiteY127" fmla="*/ 3563743 h 4878949"/>
              <a:gd name="connsiteX128" fmla="*/ 2327509 w 3418030"/>
              <a:gd name="connsiteY128" fmla="*/ 3563851 h 4878949"/>
              <a:gd name="connsiteX129" fmla="*/ 2323580 w 3418030"/>
              <a:gd name="connsiteY129" fmla="*/ 3564391 h 4878949"/>
              <a:gd name="connsiteX130" fmla="*/ 2277890 w 3418030"/>
              <a:gd name="connsiteY130" fmla="*/ 3566510 h 4878949"/>
              <a:gd name="connsiteX131" fmla="*/ 2277890 w 3418030"/>
              <a:gd name="connsiteY131" fmla="*/ 3569096 h 4878949"/>
              <a:gd name="connsiteX132" fmla="*/ 2235765 w 3418030"/>
              <a:gd name="connsiteY132" fmla="*/ 3569096 h 4878949"/>
              <a:gd name="connsiteX133" fmla="*/ 2222205 w 3418030"/>
              <a:gd name="connsiteY133" fmla="*/ 3569096 h 4878949"/>
              <a:gd name="connsiteX134" fmla="*/ 2221889 w 3418030"/>
              <a:gd name="connsiteY134" fmla="*/ 3569096 h 4878949"/>
              <a:gd name="connsiteX135" fmla="*/ 2221889 w 3418030"/>
              <a:gd name="connsiteY135" fmla="*/ 3570333 h 4878949"/>
              <a:gd name="connsiteX136" fmla="*/ 2038520 w 3418030"/>
              <a:gd name="connsiteY136" fmla="*/ 3570333 h 4878949"/>
              <a:gd name="connsiteX137" fmla="*/ 2013539 w 3418030"/>
              <a:gd name="connsiteY137" fmla="*/ 3570333 h 4878949"/>
              <a:gd name="connsiteX138" fmla="*/ 1650818 w 3418030"/>
              <a:gd name="connsiteY138" fmla="*/ 3570333 h 4878949"/>
              <a:gd name="connsiteX139" fmla="*/ 1650818 w 3418030"/>
              <a:gd name="connsiteY139" fmla="*/ 3570744 h 4878949"/>
              <a:gd name="connsiteX140" fmla="*/ 1652012 w 3418030"/>
              <a:gd name="connsiteY140" fmla="*/ 3570744 h 4878949"/>
              <a:gd name="connsiteX141" fmla="*/ 1652012 w 3418030"/>
              <a:gd name="connsiteY141" fmla="*/ 3571721 h 4878949"/>
              <a:gd name="connsiteX142" fmla="*/ 1671221 w 3418030"/>
              <a:gd name="connsiteY142" fmla="*/ 3572716 h 4878949"/>
              <a:gd name="connsiteX143" fmla="*/ 1672387 w 3418030"/>
              <a:gd name="connsiteY143" fmla="*/ 3572898 h 4878949"/>
              <a:gd name="connsiteX144" fmla="*/ 1673940 w 3418030"/>
              <a:gd name="connsiteY144" fmla="*/ 3572984 h 4878949"/>
              <a:gd name="connsiteX145" fmla="*/ 1742290 w 3418030"/>
              <a:gd name="connsiteY145" fmla="*/ 3587296 h 4878949"/>
              <a:gd name="connsiteX146" fmla="*/ 1743898 w 3418030"/>
              <a:gd name="connsiteY146" fmla="*/ 3587880 h 4878949"/>
              <a:gd name="connsiteX147" fmla="*/ 1744176 w 3418030"/>
              <a:gd name="connsiteY147" fmla="*/ 3587953 h 4878949"/>
              <a:gd name="connsiteX148" fmla="*/ 1746934 w 3418030"/>
              <a:gd name="connsiteY148" fmla="*/ 3588984 h 4878949"/>
              <a:gd name="connsiteX149" fmla="*/ 1774769 w 3418030"/>
              <a:gd name="connsiteY149" fmla="*/ 3599104 h 4878949"/>
              <a:gd name="connsiteX150" fmla="*/ 1777626 w 3418030"/>
              <a:gd name="connsiteY150" fmla="*/ 3600453 h 4878949"/>
              <a:gd name="connsiteX151" fmla="*/ 1778712 w 3418030"/>
              <a:gd name="connsiteY151" fmla="*/ 3600858 h 4878949"/>
              <a:gd name="connsiteX152" fmla="*/ 1784582 w 3418030"/>
              <a:gd name="connsiteY152" fmla="*/ 3603737 h 4878949"/>
              <a:gd name="connsiteX153" fmla="*/ 1805936 w 3418030"/>
              <a:gd name="connsiteY153" fmla="*/ 3613817 h 4878949"/>
              <a:gd name="connsiteX154" fmla="*/ 1809922 w 3418030"/>
              <a:gd name="connsiteY154" fmla="*/ 3616160 h 4878949"/>
              <a:gd name="connsiteX155" fmla="*/ 1811736 w 3418030"/>
              <a:gd name="connsiteY155" fmla="*/ 3617049 h 4878949"/>
              <a:gd name="connsiteX156" fmla="*/ 1818105 w 3418030"/>
              <a:gd name="connsiteY156" fmla="*/ 3620970 h 4878949"/>
              <a:gd name="connsiteX157" fmla="*/ 1835657 w 3418030"/>
              <a:gd name="connsiteY157" fmla="*/ 3631287 h 4878949"/>
              <a:gd name="connsiteX158" fmla="*/ 1840631 w 3418030"/>
              <a:gd name="connsiteY158" fmla="*/ 3634836 h 4878949"/>
              <a:gd name="connsiteX159" fmla="*/ 1843082 w 3418030"/>
              <a:gd name="connsiteY159" fmla="*/ 3636344 h 4878949"/>
              <a:gd name="connsiteX160" fmla="*/ 1849146 w 3418030"/>
              <a:gd name="connsiteY160" fmla="*/ 3640912 h 4878949"/>
              <a:gd name="connsiteX161" fmla="*/ 1863794 w 3418030"/>
              <a:gd name="connsiteY161" fmla="*/ 3651364 h 4878949"/>
              <a:gd name="connsiteX162" fmla="*/ 1869598 w 3418030"/>
              <a:gd name="connsiteY162" fmla="*/ 3656316 h 4878949"/>
              <a:gd name="connsiteX163" fmla="*/ 1872586 w 3418030"/>
              <a:gd name="connsiteY163" fmla="*/ 3658565 h 4878949"/>
              <a:gd name="connsiteX164" fmla="*/ 1878025 w 3418030"/>
              <a:gd name="connsiteY164" fmla="*/ 3663504 h 4878949"/>
              <a:gd name="connsiteX165" fmla="*/ 1890215 w 3418030"/>
              <a:gd name="connsiteY165" fmla="*/ 3673902 h 4878949"/>
              <a:gd name="connsiteX166" fmla="*/ 1896672 w 3418030"/>
              <a:gd name="connsiteY166" fmla="*/ 3680434 h 4878949"/>
              <a:gd name="connsiteX167" fmla="*/ 1900084 w 3418030"/>
              <a:gd name="connsiteY167" fmla="*/ 3683531 h 4878949"/>
              <a:gd name="connsiteX168" fmla="*/ 1904763 w 3418030"/>
              <a:gd name="connsiteY168" fmla="*/ 3688618 h 4878949"/>
              <a:gd name="connsiteX169" fmla="*/ 1914782 w 3418030"/>
              <a:gd name="connsiteY169" fmla="*/ 3698752 h 4878949"/>
              <a:gd name="connsiteX170" fmla="*/ 1921697 w 3418030"/>
              <a:gd name="connsiteY170" fmla="*/ 3707026 h 4878949"/>
              <a:gd name="connsiteX171" fmla="*/ 1925411 w 3418030"/>
              <a:gd name="connsiteY171" fmla="*/ 3711062 h 4878949"/>
              <a:gd name="connsiteX172" fmla="*/ 1929289 w 3418030"/>
              <a:gd name="connsiteY172" fmla="*/ 3716109 h 4878949"/>
              <a:gd name="connsiteX173" fmla="*/ 1937360 w 3418030"/>
              <a:gd name="connsiteY173" fmla="*/ 3725766 h 4878949"/>
              <a:gd name="connsiteX174" fmla="*/ 1944523 w 3418030"/>
              <a:gd name="connsiteY174" fmla="*/ 3735932 h 4878949"/>
              <a:gd name="connsiteX175" fmla="*/ 1948403 w 3418030"/>
              <a:gd name="connsiteY175" fmla="*/ 3740980 h 4878949"/>
              <a:gd name="connsiteX176" fmla="*/ 1951490 w 3418030"/>
              <a:gd name="connsiteY176" fmla="*/ 3745819 h 4878949"/>
              <a:gd name="connsiteX177" fmla="*/ 1957815 w 3418030"/>
              <a:gd name="connsiteY177" fmla="*/ 3754796 h 4878949"/>
              <a:gd name="connsiteX178" fmla="*/ 1965000 w 3418030"/>
              <a:gd name="connsiteY178" fmla="*/ 3766998 h 4878949"/>
              <a:gd name="connsiteX179" fmla="*/ 1968895 w 3418030"/>
              <a:gd name="connsiteY179" fmla="*/ 3773103 h 4878949"/>
              <a:gd name="connsiteX180" fmla="*/ 1971236 w 3418030"/>
              <a:gd name="connsiteY180" fmla="*/ 3777586 h 4878949"/>
              <a:gd name="connsiteX181" fmla="*/ 1976010 w 3418030"/>
              <a:gd name="connsiteY181" fmla="*/ 3785694 h 4878949"/>
              <a:gd name="connsiteX182" fmla="*/ 1982978 w 3418030"/>
              <a:gd name="connsiteY182" fmla="*/ 3800078 h 4878949"/>
              <a:gd name="connsiteX183" fmla="*/ 1986724 w 3418030"/>
              <a:gd name="connsiteY183" fmla="*/ 3807252 h 4878949"/>
              <a:gd name="connsiteX184" fmla="*/ 1988387 w 3418030"/>
              <a:gd name="connsiteY184" fmla="*/ 3811244 h 4878949"/>
              <a:gd name="connsiteX185" fmla="*/ 1991811 w 3418030"/>
              <a:gd name="connsiteY185" fmla="*/ 3818312 h 4878949"/>
              <a:gd name="connsiteX186" fmla="*/ 1998309 w 3418030"/>
              <a:gd name="connsiteY186" fmla="*/ 3835054 h 4878949"/>
              <a:gd name="connsiteX187" fmla="*/ 2001724 w 3418030"/>
              <a:gd name="connsiteY187" fmla="*/ 3843248 h 4878949"/>
              <a:gd name="connsiteX188" fmla="*/ 2002801 w 3418030"/>
              <a:gd name="connsiteY188" fmla="*/ 3846626 h 4878949"/>
              <a:gd name="connsiteX189" fmla="*/ 2005081 w 3418030"/>
              <a:gd name="connsiteY189" fmla="*/ 3852501 h 4878949"/>
              <a:gd name="connsiteX190" fmla="*/ 2010846 w 3418030"/>
              <a:gd name="connsiteY190" fmla="*/ 3871861 h 4878949"/>
              <a:gd name="connsiteX191" fmla="*/ 2013730 w 3418030"/>
              <a:gd name="connsiteY191" fmla="*/ 3880910 h 4878949"/>
              <a:gd name="connsiteX192" fmla="*/ 2014331 w 3418030"/>
              <a:gd name="connsiteY192" fmla="*/ 3883565 h 4878949"/>
              <a:gd name="connsiteX193" fmla="*/ 2015685 w 3418030"/>
              <a:gd name="connsiteY193" fmla="*/ 3888114 h 4878949"/>
              <a:gd name="connsiteX194" fmla="*/ 2020442 w 3418030"/>
              <a:gd name="connsiteY194" fmla="*/ 3910600 h 4878949"/>
              <a:gd name="connsiteX195" fmla="*/ 2020535 w 3418030"/>
              <a:gd name="connsiteY195" fmla="*/ 3911014 h 4878949"/>
              <a:gd name="connsiteX196" fmla="*/ 2021162 w 3418030"/>
              <a:gd name="connsiteY196" fmla="*/ 3911014 h 4878949"/>
              <a:gd name="connsiteX197" fmla="*/ 2023207 w 3418030"/>
              <a:gd name="connsiteY197" fmla="*/ 3922096 h 4878949"/>
              <a:gd name="connsiteX198" fmla="*/ 2023457 w 3418030"/>
              <a:gd name="connsiteY198" fmla="*/ 3924341 h 4878949"/>
              <a:gd name="connsiteX199" fmla="*/ 2024115 w 3418030"/>
              <a:gd name="connsiteY199" fmla="*/ 3928152 h 4878949"/>
              <a:gd name="connsiteX200" fmla="*/ 2027578 w 3418030"/>
              <a:gd name="connsiteY200" fmla="*/ 3961293 h 4878949"/>
              <a:gd name="connsiteX201" fmla="*/ 2028734 w 3418030"/>
              <a:gd name="connsiteY201" fmla="*/ 3971660 h 4878949"/>
              <a:gd name="connsiteX202" fmla="*/ 2028775 w 3418030"/>
              <a:gd name="connsiteY202" fmla="*/ 3972751 h 4878949"/>
              <a:gd name="connsiteX203" fmla="*/ 2028982 w 3418030"/>
              <a:gd name="connsiteY203" fmla="*/ 3974727 h 4878949"/>
              <a:gd name="connsiteX204" fmla="*/ 2029794 w 3418030"/>
              <a:gd name="connsiteY204" fmla="*/ 3997713 h 4878949"/>
              <a:gd name="connsiteX205" fmla="*/ 2030784 w 3418030"/>
              <a:gd name="connsiteY205" fmla="*/ 3997713 h 4878949"/>
              <a:gd name="connsiteX206" fmla="*/ 2030784 w 3418030"/>
              <a:gd name="connsiteY206" fmla="*/ 4018905 h 4878949"/>
              <a:gd name="connsiteX207" fmla="*/ 2030784 w 3418030"/>
              <a:gd name="connsiteY207" fmla="*/ 4025726 h 4878949"/>
              <a:gd name="connsiteX208" fmla="*/ 2030784 w 3418030"/>
              <a:gd name="connsiteY208" fmla="*/ 4025885 h 4878949"/>
              <a:gd name="connsiteX209" fmla="*/ 2030784 w 3418030"/>
              <a:gd name="connsiteY209" fmla="*/ 4025886 h 4878949"/>
              <a:gd name="connsiteX210" fmla="*/ 2031258 w 3418030"/>
              <a:gd name="connsiteY210" fmla="*/ 4025886 h 4878949"/>
              <a:gd name="connsiteX211" fmla="*/ 2031258 w 3418030"/>
              <a:gd name="connsiteY211" fmla="*/ 4065384 h 4878949"/>
              <a:gd name="connsiteX212" fmla="*/ 2031258 w 3418030"/>
              <a:gd name="connsiteY212" fmla="*/ 4127703 h 4878949"/>
              <a:gd name="connsiteX213" fmla="*/ 2031258 w 3418030"/>
              <a:gd name="connsiteY213" fmla="*/ 4168958 h 4878949"/>
              <a:gd name="connsiteX214" fmla="*/ 2031258 w 3418030"/>
              <a:gd name="connsiteY214" fmla="*/ 4340879 h 4878949"/>
              <a:gd name="connsiteX215" fmla="*/ 2031258 w 3418030"/>
              <a:gd name="connsiteY215" fmla="*/ 4350450 h 4878949"/>
              <a:gd name="connsiteX216" fmla="*/ 2031258 w 3418030"/>
              <a:gd name="connsiteY216" fmla="*/ 4385812 h 4878949"/>
              <a:gd name="connsiteX217" fmla="*/ 2031258 w 3418030"/>
              <a:gd name="connsiteY217" fmla="*/ 4395548 h 4878949"/>
              <a:gd name="connsiteX218" fmla="*/ 2031258 w 3418030"/>
              <a:gd name="connsiteY218" fmla="*/ 4420700 h 4878949"/>
              <a:gd name="connsiteX219" fmla="*/ 2031258 w 3418030"/>
              <a:gd name="connsiteY219" fmla="*/ 4442154 h 4878949"/>
              <a:gd name="connsiteX220" fmla="*/ 2031258 w 3418030"/>
              <a:gd name="connsiteY220" fmla="*/ 4467010 h 4878949"/>
              <a:gd name="connsiteX221" fmla="*/ 2031258 w 3418030"/>
              <a:gd name="connsiteY221" fmla="*/ 4488834 h 4878949"/>
              <a:gd name="connsiteX222" fmla="*/ 2030789 w 3418030"/>
              <a:gd name="connsiteY222" fmla="*/ 4488834 h 4878949"/>
              <a:gd name="connsiteX223" fmla="*/ 2030789 w 3418030"/>
              <a:gd name="connsiteY223" fmla="*/ 4825652 h 4878949"/>
              <a:gd name="connsiteX224" fmla="*/ 2030789 w 3418030"/>
              <a:gd name="connsiteY224" fmla="*/ 4878949 h 4878949"/>
              <a:gd name="connsiteX225" fmla="*/ 2004140 w 3418030"/>
              <a:gd name="connsiteY225" fmla="*/ 4878949 h 4878949"/>
              <a:gd name="connsiteX226" fmla="*/ 1768470 w 3418030"/>
              <a:gd name="connsiteY226" fmla="*/ 4878949 h 4878949"/>
              <a:gd name="connsiteX227" fmla="*/ 1750503 w 3418030"/>
              <a:gd name="connsiteY227" fmla="*/ 4878949 h 4878949"/>
              <a:gd name="connsiteX228" fmla="*/ 1741822 w 3418030"/>
              <a:gd name="connsiteY228" fmla="*/ 4878949 h 4878949"/>
              <a:gd name="connsiteX229" fmla="*/ 1723854 w 3418030"/>
              <a:gd name="connsiteY229" fmla="*/ 4878949 h 4878949"/>
              <a:gd name="connsiteX230" fmla="*/ 1634240 w 3418030"/>
              <a:gd name="connsiteY230" fmla="*/ 4878949 h 4878949"/>
              <a:gd name="connsiteX231" fmla="*/ 1634005 w 3418030"/>
              <a:gd name="connsiteY231" fmla="*/ 4878949 h 4878949"/>
              <a:gd name="connsiteX232" fmla="*/ 1634002 w 3418030"/>
              <a:gd name="connsiteY232" fmla="*/ 4878949 h 4878949"/>
              <a:gd name="connsiteX233" fmla="*/ 1633998 w 3418030"/>
              <a:gd name="connsiteY233" fmla="*/ 4878949 h 4878949"/>
              <a:gd name="connsiteX234" fmla="*/ 1615361 w 3418030"/>
              <a:gd name="connsiteY234" fmla="*/ 4878949 h 4878949"/>
              <a:gd name="connsiteX235" fmla="*/ 1607591 w 3418030"/>
              <a:gd name="connsiteY235" fmla="*/ 4878949 h 4878949"/>
              <a:gd name="connsiteX236" fmla="*/ 1607357 w 3418030"/>
              <a:gd name="connsiteY236" fmla="*/ 4878949 h 4878949"/>
              <a:gd name="connsiteX237" fmla="*/ 1607354 w 3418030"/>
              <a:gd name="connsiteY237" fmla="*/ 4878949 h 4878949"/>
              <a:gd name="connsiteX238" fmla="*/ 1607350 w 3418030"/>
              <a:gd name="connsiteY238" fmla="*/ 4878949 h 4878949"/>
              <a:gd name="connsiteX239" fmla="*/ 1588712 w 3418030"/>
              <a:gd name="connsiteY239" fmla="*/ 4878949 h 4878949"/>
              <a:gd name="connsiteX240" fmla="*/ 1488184 w 3418030"/>
              <a:gd name="connsiteY240" fmla="*/ 4878949 h 4878949"/>
              <a:gd name="connsiteX241" fmla="*/ 1461535 w 3418030"/>
              <a:gd name="connsiteY241" fmla="*/ 4878949 h 4878949"/>
              <a:gd name="connsiteX242" fmla="*/ 1371921 w 3418030"/>
              <a:gd name="connsiteY242" fmla="*/ 4878949 h 4878949"/>
              <a:gd name="connsiteX243" fmla="*/ 1371687 w 3418030"/>
              <a:gd name="connsiteY243" fmla="*/ 4878949 h 4878949"/>
              <a:gd name="connsiteX244" fmla="*/ 1371683 w 3418030"/>
              <a:gd name="connsiteY244" fmla="*/ 4878949 h 4878949"/>
              <a:gd name="connsiteX245" fmla="*/ 1371679 w 3418030"/>
              <a:gd name="connsiteY245" fmla="*/ 4878949 h 4878949"/>
              <a:gd name="connsiteX246" fmla="*/ 1367507 w 3418030"/>
              <a:gd name="connsiteY246" fmla="*/ 4878949 h 4878949"/>
              <a:gd name="connsiteX247" fmla="*/ 1353954 w 3418030"/>
              <a:gd name="connsiteY247" fmla="*/ 4878949 h 4878949"/>
              <a:gd name="connsiteX248" fmla="*/ 1353719 w 3418030"/>
              <a:gd name="connsiteY248" fmla="*/ 4878949 h 4878949"/>
              <a:gd name="connsiteX249" fmla="*/ 1353716 w 3418030"/>
              <a:gd name="connsiteY249" fmla="*/ 4878949 h 4878949"/>
              <a:gd name="connsiteX250" fmla="*/ 1353712 w 3418030"/>
              <a:gd name="connsiteY250" fmla="*/ 4878949 h 4878949"/>
              <a:gd name="connsiteX251" fmla="*/ 1353043 w 3418030"/>
              <a:gd name="connsiteY251" fmla="*/ 4878949 h 4878949"/>
              <a:gd name="connsiteX252" fmla="*/ 1345272 w 3418030"/>
              <a:gd name="connsiteY252" fmla="*/ 4878949 h 4878949"/>
              <a:gd name="connsiteX253" fmla="*/ 1345038 w 3418030"/>
              <a:gd name="connsiteY253" fmla="*/ 4878949 h 4878949"/>
              <a:gd name="connsiteX254" fmla="*/ 1345035 w 3418030"/>
              <a:gd name="connsiteY254" fmla="*/ 4878949 h 4878949"/>
              <a:gd name="connsiteX255" fmla="*/ 1345031 w 3418030"/>
              <a:gd name="connsiteY255" fmla="*/ 4878949 h 4878949"/>
              <a:gd name="connsiteX256" fmla="*/ 1340858 w 3418030"/>
              <a:gd name="connsiteY256" fmla="*/ 4878949 h 4878949"/>
              <a:gd name="connsiteX257" fmla="*/ 1335075 w 3418030"/>
              <a:gd name="connsiteY257" fmla="*/ 4878949 h 4878949"/>
              <a:gd name="connsiteX258" fmla="*/ 1327305 w 3418030"/>
              <a:gd name="connsiteY258" fmla="*/ 4878949 h 4878949"/>
              <a:gd name="connsiteX259" fmla="*/ 1327071 w 3418030"/>
              <a:gd name="connsiteY259" fmla="*/ 4878949 h 4878949"/>
              <a:gd name="connsiteX260" fmla="*/ 1327067 w 3418030"/>
              <a:gd name="connsiteY260" fmla="*/ 4878949 h 4878949"/>
              <a:gd name="connsiteX261" fmla="*/ 1327063 w 3418030"/>
              <a:gd name="connsiteY261" fmla="*/ 4878949 h 4878949"/>
              <a:gd name="connsiteX262" fmla="*/ 1326394 w 3418030"/>
              <a:gd name="connsiteY262" fmla="*/ 4878949 h 4878949"/>
              <a:gd name="connsiteX263" fmla="*/ 1308426 w 3418030"/>
              <a:gd name="connsiteY263" fmla="*/ 4878949 h 4878949"/>
              <a:gd name="connsiteX264" fmla="*/ 1105188 w 3418030"/>
              <a:gd name="connsiteY264" fmla="*/ 4878949 h 4878949"/>
              <a:gd name="connsiteX265" fmla="*/ 1091635 w 3418030"/>
              <a:gd name="connsiteY265" fmla="*/ 4878949 h 4878949"/>
              <a:gd name="connsiteX266" fmla="*/ 1091401 w 3418030"/>
              <a:gd name="connsiteY266" fmla="*/ 4878949 h 4878949"/>
              <a:gd name="connsiteX267" fmla="*/ 1091397 w 3418030"/>
              <a:gd name="connsiteY267" fmla="*/ 4878949 h 4878949"/>
              <a:gd name="connsiteX268" fmla="*/ 1091393 w 3418030"/>
              <a:gd name="connsiteY268" fmla="*/ 4878949 h 4878949"/>
              <a:gd name="connsiteX269" fmla="*/ 1087221 w 3418030"/>
              <a:gd name="connsiteY269" fmla="*/ 4878949 h 4878949"/>
              <a:gd name="connsiteX270" fmla="*/ 1078540 w 3418030"/>
              <a:gd name="connsiteY270" fmla="*/ 4878949 h 4878949"/>
              <a:gd name="connsiteX271" fmla="*/ 1072756 w 3418030"/>
              <a:gd name="connsiteY271" fmla="*/ 4878949 h 4878949"/>
              <a:gd name="connsiteX272" fmla="*/ 1064986 w 3418030"/>
              <a:gd name="connsiteY272" fmla="*/ 4878949 h 4878949"/>
              <a:gd name="connsiteX273" fmla="*/ 1064752 w 3418030"/>
              <a:gd name="connsiteY273" fmla="*/ 4878949 h 4878949"/>
              <a:gd name="connsiteX274" fmla="*/ 1064748 w 3418030"/>
              <a:gd name="connsiteY274" fmla="*/ 4878949 h 4878949"/>
              <a:gd name="connsiteX275" fmla="*/ 1064745 w 3418030"/>
              <a:gd name="connsiteY275" fmla="*/ 4878949 h 4878949"/>
              <a:gd name="connsiteX276" fmla="*/ 1060572 w 3418030"/>
              <a:gd name="connsiteY276" fmla="*/ 4878949 h 4878949"/>
              <a:gd name="connsiteX277" fmla="*/ 1046108 w 3418030"/>
              <a:gd name="connsiteY277" fmla="*/ 4878949 h 4878949"/>
              <a:gd name="connsiteX278" fmla="*/ 970958 w 3418030"/>
              <a:gd name="connsiteY278" fmla="*/ 4878949 h 4878949"/>
              <a:gd name="connsiteX279" fmla="*/ 970723 w 3418030"/>
              <a:gd name="connsiteY279" fmla="*/ 4878949 h 4878949"/>
              <a:gd name="connsiteX280" fmla="*/ 970720 w 3418030"/>
              <a:gd name="connsiteY280" fmla="*/ 4878949 h 4878949"/>
              <a:gd name="connsiteX281" fmla="*/ 970716 w 3418030"/>
              <a:gd name="connsiteY281" fmla="*/ 4878949 h 4878949"/>
              <a:gd name="connsiteX282" fmla="*/ 952079 w 3418030"/>
              <a:gd name="connsiteY282" fmla="*/ 4878949 h 4878949"/>
              <a:gd name="connsiteX283" fmla="*/ 944309 w 3418030"/>
              <a:gd name="connsiteY283" fmla="*/ 4878949 h 4878949"/>
              <a:gd name="connsiteX284" fmla="*/ 944075 w 3418030"/>
              <a:gd name="connsiteY284" fmla="*/ 4878949 h 4878949"/>
              <a:gd name="connsiteX285" fmla="*/ 944072 w 3418030"/>
              <a:gd name="connsiteY285" fmla="*/ 4878949 h 4878949"/>
              <a:gd name="connsiteX286" fmla="*/ 944068 w 3418030"/>
              <a:gd name="connsiteY286" fmla="*/ 4878949 h 4878949"/>
              <a:gd name="connsiteX287" fmla="*/ 925430 w 3418030"/>
              <a:gd name="connsiteY287" fmla="*/ 4878949 h 4878949"/>
              <a:gd name="connsiteX288" fmla="*/ 824902 w 3418030"/>
              <a:gd name="connsiteY288" fmla="*/ 4878949 h 4878949"/>
              <a:gd name="connsiteX289" fmla="*/ 798253 w 3418030"/>
              <a:gd name="connsiteY289" fmla="*/ 4878949 h 4878949"/>
              <a:gd name="connsiteX290" fmla="*/ 708639 w 3418030"/>
              <a:gd name="connsiteY290" fmla="*/ 4878949 h 4878949"/>
              <a:gd name="connsiteX291" fmla="*/ 708405 w 3418030"/>
              <a:gd name="connsiteY291" fmla="*/ 4878949 h 4878949"/>
              <a:gd name="connsiteX292" fmla="*/ 708401 w 3418030"/>
              <a:gd name="connsiteY292" fmla="*/ 4878949 h 4878949"/>
              <a:gd name="connsiteX293" fmla="*/ 708397 w 3418030"/>
              <a:gd name="connsiteY293" fmla="*/ 4878949 h 4878949"/>
              <a:gd name="connsiteX294" fmla="*/ 690672 w 3418030"/>
              <a:gd name="connsiteY294" fmla="*/ 4878949 h 4878949"/>
              <a:gd name="connsiteX295" fmla="*/ 690437 w 3418030"/>
              <a:gd name="connsiteY295" fmla="*/ 4878949 h 4878949"/>
              <a:gd name="connsiteX296" fmla="*/ 690434 w 3418030"/>
              <a:gd name="connsiteY296" fmla="*/ 4878949 h 4878949"/>
              <a:gd name="connsiteX297" fmla="*/ 690430 w 3418030"/>
              <a:gd name="connsiteY297" fmla="*/ 4878949 h 4878949"/>
              <a:gd name="connsiteX298" fmla="*/ 689761 w 3418030"/>
              <a:gd name="connsiteY298" fmla="*/ 4878949 h 4878949"/>
              <a:gd name="connsiteX299" fmla="*/ 681990 w 3418030"/>
              <a:gd name="connsiteY299" fmla="*/ 4878949 h 4878949"/>
              <a:gd name="connsiteX300" fmla="*/ 681756 w 3418030"/>
              <a:gd name="connsiteY300" fmla="*/ 4878949 h 4878949"/>
              <a:gd name="connsiteX301" fmla="*/ 681753 w 3418030"/>
              <a:gd name="connsiteY301" fmla="*/ 4878949 h 4878949"/>
              <a:gd name="connsiteX302" fmla="*/ 681749 w 3418030"/>
              <a:gd name="connsiteY302" fmla="*/ 4878949 h 4878949"/>
              <a:gd name="connsiteX303" fmla="*/ 671793 w 3418030"/>
              <a:gd name="connsiteY303" fmla="*/ 4878949 h 4878949"/>
              <a:gd name="connsiteX304" fmla="*/ 664023 w 3418030"/>
              <a:gd name="connsiteY304" fmla="*/ 4878949 h 4878949"/>
              <a:gd name="connsiteX305" fmla="*/ 663789 w 3418030"/>
              <a:gd name="connsiteY305" fmla="*/ 4878949 h 4878949"/>
              <a:gd name="connsiteX306" fmla="*/ 663785 w 3418030"/>
              <a:gd name="connsiteY306" fmla="*/ 4878949 h 4878949"/>
              <a:gd name="connsiteX307" fmla="*/ 663781 w 3418030"/>
              <a:gd name="connsiteY307" fmla="*/ 4878949 h 4878949"/>
              <a:gd name="connsiteX308" fmla="*/ 663112 w 3418030"/>
              <a:gd name="connsiteY308" fmla="*/ 4878949 h 4878949"/>
              <a:gd name="connsiteX309" fmla="*/ 645144 w 3418030"/>
              <a:gd name="connsiteY309" fmla="*/ 4878949 h 4878949"/>
              <a:gd name="connsiteX310" fmla="*/ 428353 w 3418030"/>
              <a:gd name="connsiteY310" fmla="*/ 4878949 h 4878949"/>
              <a:gd name="connsiteX311" fmla="*/ 428119 w 3418030"/>
              <a:gd name="connsiteY311" fmla="*/ 4878949 h 4878949"/>
              <a:gd name="connsiteX312" fmla="*/ 428115 w 3418030"/>
              <a:gd name="connsiteY312" fmla="*/ 4878949 h 4878949"/>
              <a:gd name="connsiteX313" fmla="*/ 428111 w 3418030"/>
              <a:gd name="connsiteY313" fmla="*/ 4878949 h 4878949"/>
              <a:gd name="connsiteX314" fmla="*/ 409474 w 3418030"/>
              <a:gd name="connsiteY314" fmla="*/ 4878949 h 4878949"/>
              <a:gd name="connsiteX315" fmla="*/ 401704 w 3418030"/>
              <a:gd name="connsiteY315" fmla="*/ 4878949 h 4878949"/>
              <a:gd name="connsiteX316" fmla="*/ 401470 w 3418030"/>
              <a:gd name="connsiteY316" fmla="*/ 4878949 h 4878949"/>
              <a:gd name="connsiteX317" fmla="*/ 401466 w 3418030"/>
              <a:gd name="connsiteY317" fmla="*/ 4878949 h 4878949"/>
              <a:gd name="connsiteX318" fmla="*/ 401462 w 3418030"/>
              <a:gd name="connsiteY318" fmla="*/ 4878949 h 4878949"/>
              <a:gd name="connsiteX319" fmla="*/ 382826 w 3418030"/>
              <a:gd name="connsiteY319" fmla="*/ 4878949 h 4878949"/>
              <a:gd name="connsiteX320" fmla="*/ 382826 w 3418030"/>
              <a:gd name="connsiteY320" fmla="*/ 4878022 h 4878949"/>
              <a:gd name="connsiteX321" fmla="*/ 363616 w 3418030"/>
              <a:gd name="connsiteY321" fmla="*/ 4877077 h 4878949"/>
              <a:gd name="connsiteX322" fmla="*/ 362450 w 3418030"/>
              <a:gd name="connsiteY322" fmla="*/ 4876905 h 4878949"/>
              <a:gd name="connsiteX323" fmla="*/ 360898 w 3418030"/>
              <a:gd name="connsiteY323" fmla="*/ 4876823 h 4878949"/>
              <a:gd name="connsiteX324" fmla="*/ 292547 w 3418030"/>
              <a:gd name="connsiteY324" fmla="*/ 4863240 h 4878949"/>
              <a:gd name="connsiteX325" fmla="*/ 290939 w 3418030"/>
              <a:gd name="connsiteY325" fmla="*/ 4862685 h 4878949"/>
              <a:gd name="connsiteX326" fmla="*/ 290662 w 3418030"/>
              <a:gd name="connsiteY326" fmla="*/ 4862616 h 4878949"/>
              <a:gd name="connsiteX327" fmla="*/ 287903 w 3418030"/>
              <a:gd name="connsiteY327" fmla="*/ 4861637 h 4878949"/>
              <a:gd name="connsiteX328" fmla="*/ 260068 w 3418030"/>
              <a:gd name="connsiteY328" fmla="*/ 4852032 h 4878949"/>
              <a:gd name="connsiteX329" fmla="*/ 257211 w 3418030"/>
              <a:gd name="connsiteY329" fmla="*/ 4850752 h 4878949"/>
              <a:gd name="connsiteX330" fmla="*/ 256125 w 3418030"/>
              <a:gd name="connsiteY330" fmla="*/ 4850367 h 4878949"/>
              <a:gd name="connsiteX331" fmla="*/ 250255 w 3418030"/>
              <a:gd name="connsiteY331" fmla="*/ 4847636 h 4878949"/>
              <a:gd name="connsiteX332" fmla="*/ 228901 w 3418030"/>
              <a:gd name="connsiteY332" fmla="*/ 4838068 h 4878949"/>
              <a:gd name="connsiteX333" fmla="*/ 224915 w 3418030"/>
              <a:gd name="connsiteY333" fmla="*/ 4835845 h 4878949"/>
              <a:gd name="connsiteX334" fmla="*/ 223101 w 3418030"/>
              <a:gd name="connsiteY334" fmla="*/ 4835001 h 4878949"/>
              <a:gd name="connsiteX335" fmla="*/ 216732 w 3418030"/>
              <a:gd name="connsiteY335" fmla="*/ 4831280 h 4878949"/>
              <a:gd name="connsiteX336" fmla="*/ 199181 w 3418030"/>
              <a:gd name="connsiteY336" fmla="*/ 4821488 h 4878949"/>
              <a:gd name="connsiteX337" fmla="*/ 194206 w 3418030"/>
              <a:gd name="connsiteY337" fmla="*/ 4818119 h 4878949"/>
              <a:gd name="connsiteX338" fmla="*/ 191756 w 3418030"/>
              <a:gd name="connsiteY338" fmla="*/ 4816688 h 4878949"/>
              <a:gd name="connsiteX339" fmla="*/ 185691 w 3418030"/>
              <a:gd name="connsiteY339" fmla="*/ 4812352 h 4878949"/>
              <a:gd name="connsiteX340" fmla="*/ 171043 w 3418030"/>
              <a:gd name="connsiteY340" fmla="*/ 4802432 h 4878949"/>
              <a:gd name="connsiteX341" fmla="*/ 165239 w 3418030"/>
              <a:gd name="connsiteY341" fmla="*/ 4797733 h 4878949"/>
              <a:gd name="connsiteX342" fmla="*/ 162251 w 3418030"/>
              <a:gd name="connsiteY342" fmla="*/ 4795598 h 4878949"/>
              <a:gd name="connsiteX343" fmla="*/ 156813 w 3418030"/>
              <a:gd name="connsiteY343" fmla="*/ 4790911 h 4878949"/>
              <a:gd name="connsiteX344" fmla="*/ 144622 w 3418030"/>
              <a:gd name="connsiteY344" fmla="*/ 4781042 h 4878949"/>
              <a:gd name="connsiteX345" fmla="*/ 138166 w 3418030"/>
              <a:gd name="connsiteY345" fmla="*/ 4774843 h 4878949"/>
              <a:gd name="connsiteX346" fmla="*/ 134753 w 3418030"/>
              <a:gd name="connsiteY346" fmla="*/ 4771903 h 4878949"/>
              <a:gd name="connsiteX347" fmla="*/ 130074 w 3418030"/>
              <a:gd name="connsiteY347" fmla="*/ 4767074 h 4878949"/>
              <a:gd name="connsiteX348" fmla="*/ 120055 w 3418030"/>
              <a:gd name="connsiteY348" fmla="*/ 4757456 h 4878949"/>
              <a:gd name="connsiteX349" fmla="*/ 113141 w 3418030"/>
              <a:gd name="connsiteY349" fmla="*/ 4749604 h 4878949"/>
              <a:gd name="connsiteX350" fmla="*/ 109426 w 3418030"/>
              <a:gd name="connsiteY350" fmla="*/ 4745772 h 4878949"/>
              <a:gd name="connsiteX351" fmla="*/ 105549 w 3418030"/>
              <a:gd name="connsiteY351" fmla="*/ 4740983 h 4878949"/>
              <a:gd name="connsiteX352" fmla="*/ 97477 w 3418030"/>
              <a:gd name="connsiteY352" fmla="*/ 4731817 h 4878949"/>
              <a:gd name="connsiteX353" fmla="*/ 90315 w 3418030"/>
              <a:gd name="connsiteY353" fmla="*/ 4722168 h 4878949"/>
              <a:gd name="connsiteX354" fmla="*/ 86434 w 3418030"/>
              <a:gd name="connsiteY354" fmla="*/ 4717378 h 4878949"/>
              <a:gd name="connsiteX355" fmla="*/ 83347 w 3418030"/>
              <a:gd name="connsiteY355" fmla="*/ 4712785 h 4878949"/>
              <a:gd name="connsiteX356" fmla="*/ 77022 w 3418030"/>
              <a:gd name="connsiteY356" fmla="*/ 4704265 h 4878949"/>
              <a:gd name="connsiteX357" fmla="*/ 69837 w 3418030"/>
              <a:gd name="connsiteY357" fmla="*/ 4692685 h 4878949"/>
              <a:gd name="connsiteX358" fmla="*/ 65942 w 3418030"/>
              <a:gd name="connsiteY358" fmla="*/ 4686890 h 4878949"/>
              <a:gd name="connsiteX359" fmla="*/ 63602 w 3418030"/>
              <a:gd name="connsiteY359" fmla="*/ 4682635 h 4878949"/>
              <a:gd name="connsiteX360" fmla="*/ 58828 w 3418030"/>
              <a:gd name="connsiteY360" fmla="*/ 4674940 h 4878949"/>
              <a:gd name="connsiteX361" fmla="*/ 51860 w 3418030"/>
              <a:gd name="connsiteY361" fmla="*/ 4661288 h 4878949"/>
              <a:gd name="connsiteX362" fmla="*/ 48115 w 3418030"/>
              <a:gd name="connsiteY362" fmla="*/ 4654479 h 4878949"/>
              <a:gd name="connsiteX363" fmla="*/ 46451 w 3418030"/>
              <a:gd name="connsiteY363" fmla="*/ 4650690 h 4878949"/>
              <a:gd name="connsiteX364" fmla="*/ 43027 w 3418030"/>
              <a:gd name="connsiteY364" fmla="*/ 4643982 h 4878949"/>
              <a:gd name="connsiteX365" fmla="*/ 36529 w 3418030"/>
              <a:gd name="connsiteY365" fmla="*/ 4628092 h 4878949"/>
              <a:gd name="connsiteX366" fmla="*/ 33115 w 3418030"/>
              <a:gd name="connsiteY366" fmla="*/ 4620315 h 4878949"/>
              <a:gd name="connsiteX367" fmla="*/ 32037 w 3418030"/>
              <a:gd name="connsiteY367" fmla="*/ 4617109 h 4878949"/>
              <a:gd name="connsiteX368" fmla="*/ 29757 w 3418030"/>
              <a:gd name="connsiteY368" fmla="*/ 4611533 h 4878949"/>
              <a:gd name="connsiteX369" fmla="*/ 23992 w 3418030"/>
              <a:gd name="connsiteY369" fmla="*/ 4593159 h 4878949"/>
              <a:gd name="connsiteX370" fmla="*/ 21107 w 3418030"/>
              <a:gd name="connsiteY370" fmla="*/ 4584570 h 4878949"/>
              <a:gd name="connsiteX371" fmla="*/ 20507 w 3418030"/>
              <a:gd name="connsiteY371" fmla="*/ 4582050 h 4878949"/>
              <a:gd name="connsiteX372" fmla="*/ 19153 w 3418030"/>
              <a:gd name="connsiteY372" fmla="*/ 4577733 h 4878949"/>
              <a:gd name="connsiteX373" fmla="*/ 14395 w 3418030"/>
              <a:gd name="connsiteY373" fmla="*/ 4556392 h 4878949"/>
              <a:gd name="connsiteX374" fmla="*/ 12258 w 3418030"/>
              <a:gd name="connsiteY374" fmla="*/ 4547414 h 4878949"/>
              <a:gd name="connsiteX375" fmla="*/ 12008 w 3418030"/>
              <a:gd name="connsiteY375" fmla="*/ 4545675 h 4878949"/>
              <a:gd name="connsiteX376" fmla="*/ 11349 w 3418030"/>
              <a:gd name="connsiteY376" fmla="*/ 4542722 h 4878949"/>
              <a:gd name="connsiteX377" fmla="*/ 7886 w 3418030"/>
              <a:gd name="connsiteY377" fmla="*/ 4517048 h 4878949"/>
              <a:gd name="connsiteX378" fmla="*/ 6730 w 3418030"/>
              <a:gd name="connsiteY378" fmla="*/ 4509017 h 4878949"/>
              <a:gd name="connsiteX379" fmla="*/ 6688 w 3418030"/>
              <a:gd name="connsiteY379" fmla="*/ 4508172 h 4878949"/>
              <a:gd name="connsiteX380" fmla="*/ 6482 w 3418030"/>
              <a:gd name="connsiteY380" fmla="*/ 4506641 h 4878949"/>
              <a:gd name="connsiteX381" fmla="*/ 5671 w 3418030"/>
              <a:gd name="connsiteY381" fmla="*/ 4488834 h 4878949"/>
              <a:gd name="connsiteX382" fmla="*/ 4679 w 3418030"/>
              <a:gd name="connsiteY382" fmla="*/ 4488834 h 4878949"/>
              <a:gd name="connsiteX383" fmla="*/ 4679 w 3418030"/>
              <a:gd name="connsiteY383" fmla="*/ 4476023 h 4878949"/>
              <a:gd name="connsiteX384" fmla="*/ 3837 w 3418030"/>
              <a:gd name="connsiteY384" fmla="*/ 4469889 h 4878949"/>
              <a:gd name="connsiteX385" fmla="*/ 2681 w 3418030"/>
              <a:gd name="connsiteY385" fmla="*/ 4461995 h 4878949"/>
              <a:gd name="connsiteX386" fmla="*/ 2640 w 3418030"/>
              <a:gd name="connsiteY386" fmla="*/ 4461163 h 4878949"/>
              <a:gd name="connsiteX387" fmla="*/ 2433 w 3418030"/>
              <a:gd name="connsiteY387" fmla="*/ 4459658 h 4878949"/>
              <a:gd name="connsiteX388" fmla="*/ 1621 w 3418030"/>
              <a:gd name="connsiteY388" fmla="*/ 4442154 h 4878949"/>
              <a:gd name="connsiteX389" fmla="*/ 631 w 3418030"/>
              <a:gd name="connsiteY389" fmla="*/ 4442154 h 4878949"/>
              <a:gd name="connsiteX390" fmla="*/ 631 w 3418030"/>
              <a:gd name="connsiteY390" fmla="*/ 4426015 h 4878949"/>
              <a:gd name="connsiteX391" fmla="*/ 631 w 3418030"/>
              <a:gd name="connsiteY391" fmla="*/ 4420821 h 4878949"/>
              <a:gd name="connsiteX392" fmla="*/ 631 w 3418030"/>
              <a:gd name="connsiteY392" fmla="*/ 4420700 h 4878949"/>
              <a:gd name="connsiteX393" fmla="*/ 157 w 3418030"/>
              <a:gd name="connsiteY393" fmla="*/ 4420700 h 4878949"/>
              <a:gd name="connsiteX394" fmla="*/ 157 w 3418030"/>
              <a:gd name="connsiteY394" fmla="*/ 4350450 h 4878949"/>
              <a:gd name="connsiteX395" fmla="*/ 157 w 3418030"/>
              <a:gd name="connsiteY395" fmla="*/ 4340879 h 4878949"/>
              <a:gd name="connsiteX396" fmla="*/ 157 w 3418030"/>
              <a:gd name="connsiteY396" fmla="*/ 4127703 h 4878949"/>
              <a:gd name="connsiteX397" fmla="*/ 157 w 3418030"/>
              <a:gd name="connsiteY397" fmla="*/ 4025885 h 4878949"/>
              <a:gd name="connsiteX398" fmla="*/ 157 w 3418030"/>
              <a:gd name="connsiteY398" fmla="*/ 3997713 h 4878949"/>
              <a:gd name="connsiteX399" fmla="*/ 626 w 3418030"/>
              <a:gd name="connsiteY399" fmla="*/ 3997713 h 4878949"/>
              <a:gd name="connsiteX400" fmla="*/ 626 w 3418030"/>
              <a:gd name="connsiteY400" fmla="*/ 3911014 h 4878949"/>
              <a:gd name="connsiteX401" fmla="*/ 0 w 3418030"/>
              <a:gd name="connsiteY401" fmla="*/ 3911014 h 4878949"/>
              <a:gd name="connsiteX402" fmla="*/ 0 w 3418030"/>
              <a:gd name="connsiteY402" fmla="*/ 3908592 h 4878949"/>
              <a:gd name="connsiteX403" fmla="*/ 0 w 3418030"/>
              <a:gd name="connsiteY403" fmla="*/ 3570744 h 4878949"/>
              <a:gd name="connsiteX404" fmla="*/ 0 w 3418030"/>
              <a:gd name="connsiteY404" fmla="*/ 2076617 h 4878949"/>
              <a:gd name="connsiteX405" fmla="*/ 3302 w 3418030"/>
              <a:gd name="connsiteY405" fmla="*/ 2076617 h 4878949"/>
              <a:gd name="connsiteX406" fmla="*/ 3302 w 3418030"/>
              <a:gd name="connsiteY406" fmla="*/ 2074287 h 4878949"/>
              <a:gd name="connsiteX407" fmla="*/ 3302 w 3418030"/>
              <a:gd name="connsiteY407" fmla="*/ 1850939 h 4878949"/>
              <a:gd name="connsiteX408" fmla="*/ 3302 w 3418030"/>
              <a:gd name="connsiteY408" fmla="*/ 1850328 h 4878949"/>
              <a:gd name="connsiteX409" fmla="*/ 3301 w 3418030"/>
              <a:gd name="connsiteY409" fmla="*/ 1850319 h 4878949"/>
              <a:gd name="connsiteX410" fmla="*/ 3302 w 3418030"/>
              <a:gd name="connsiteY410" fmla="*/ 1850309 h 4878949"/>
              <a:gd name="connsiteX411" fmla="*/ 3302 w 3418030"/>
              <a:gd name="connsiteY411" fmla="*/ 1804040 h 4878949"/>
              <a:gd name="connsiteX412" fmla="*/ 3302 w 3418030"/>
              <a:gd name="connsiteY412" fmla="*/ 1803429 h 4878949"/>
              <a:gd name="connsiteX413" fmla="*/ 3301 w 3418030"/>
              <a:gd name="connsiteY413" fmla="*/ 1803419 h 4878949"/>
              <a:gd name="connsiteX414" fmla="*/ 3302 w 3418030"/>
              <a:gd name="connsiteY414" fmla="*/ 1803409 h 4878949"/>
              <a:gd name="connsiteX415" fmla="*/ 3302 w 3418030"/>
              <a:gd name="connsiteY415" fmla="*/ 1801662 h 4878949"/>
              <a:gd name="connsiteX416" fmla="*/ 3302 w 3418030"/>
              <a:gd name="connsiteY416" fmla="*/ 1770814 h 4878949"/>
              <a:gd name="connsiteX417" fmla="*/ 3302 w 3418030"/>
              <a:gd name="connsiteY417" fmla="*/ 1770203 h 4878949"/>
              <a:gd name="connsiteX418" fmla="*/ 3301 w 3418030"/>
              <a:gd name="connsiteY418" fmla="*/ 1770192 h 4878949"/>
              <a:gd name="connsiteX419" fmla="*/ 3302 w 3418030"/>
              <a:gd name="connsiteY419" fmla="*/ 1770183 h 4878949"/>
              <a:gd name="connsiteX420" fmla="*/ 3302 w 3418030"/>
              <a:gd name="connsiteY420" fmla="*/ 1754762 h 4878949"/>
              <a:gd name="connsiteX421" fmla="*/ 3302 w 3418030"/>
              <a:gd name="connsiteY421" fmla="*/ 1723914 h 4878949"/>
              <a:gd name="connsiteX422" fmla="*/ 3302 w 3418030"/>
              <a:gd name="connsiteY422" fmla="*/ 1723304 h 4878949"/>
              <a:gd name="connsiteX423" fmla="*/ 3301 w 3418030"/>
              <a:gd name="connsiteY423" fmla="*/ 1723293 h 4878949"/>
              <a:gd name="connsiteX424" fmla="*/ 3302 w 3418030"/>
              <a:gd name="connsiteY424" fmla="*/ 1723284 h 4878949"/>
              <a:gd name="connsiteX425" fmla="*/ 3302 w 3418030"/>
              <a:gd name="connsiteY425" fmla="*/ 1721537 h 4878949"/>
              <a:gd name="connsiteX426" fmla="*/ 3302 w 3418030"/>
              <a:gd name="connsiteY426" fmla="*/ 1674636 h 4878949"/>
              <a:gd name="connsiteX427" fmla="*/ 3302 w 3418030"/>
              <a:gd name="connsiteY427" fmla="*/ 1119326 h 4878949"/>
              <a:gd name="connsiteX428" fmla="*/ 3302 w 3418030"/>
              <a:gd name="connsiteY428" fmla="*/ 1118715 h 4878949"/>
              <a:gd name="connsiteX429" fmla="*/ 3301 w 3418030"/>
              <a:gd name="connsiteY429" fmla="*/ 1118705 h 4878949"/>
              <a:gd name="connsiteX430" fmla="*/ 3302 w 3418030"/>
              <a:gd name="connsiteY430" fmla="*/ 1118695 h 4878949"/>
              <a:gd name="connsiteX431" fmla="*/ 3302 w 3418030"/>
              <a:gd name="connsiteY431" fmla="*/ 1070048 h 4878949"/>
              <a:gd name="connsiteX432" fmla="*/ 3302 w 3418030"/>
              <a:gd name="connsiteY432" fmla="*/ 1039200 h 4878949"/>
              <a:gd name="connsiteX433" fmla="*/ 3302 w 3418030"/>
              <a:gd name="connsiteY433" fmla="*/ 1038590 h 4878949"/>
              <a:gd name="connsiteX434" fmla="*/ 3301 w 3418030"/>
              <a:gd name="connsiteY434" fmla="*/ 1038579 h 4878949"/>
              <a:gd name="connsiteX435" fmla="*/ 3302 w 3418030"/>
              <a:gd name="connsiteY435" fmla="*/ 1038570 h 4878949"/>
              <a:gd name="connsiteX436" fmla="*/ 3302 w 3418030"/>
              <a:gd name="connsiteY436" fmla="*/ 989923 h 4878949"/>
              <a:gd name="connsiteX437" fmla="*/ 5852 w 3418030"/>
              <a:gd name="connsiteY437" fmla="*/ 989923 h 4878949"/>
              <a:gd name="connsiteX438" fmla="*/ 8449 w 3418030"/>
              <a:gd name="connsiteY438" fmla="*/ 939781 h 4878949"/>
              <a:gd name="connsiteX439" fmla="*/ 8925 w 3418030"/>
              <a:gd name="connsiteY439" fmla="*/ 936738 h 4878949"/>
              <a:gd name="connsiteX440" fmla="*/ 9149 w 3418030"/>
              <a:gd name="connsiteY440" fmla="*/ 932684 h 4878949"/>
              <a:gd name="connsiteX441" fmla="*/ 46507 w 3418030"/>
              <a:gd name="connsiteY441" fmla="*/ 754274 h 4878949"/>
              <a:gd name="connsiteX442" fmla="*/ 48032 w 3418030"/>
              <a:gd name="connsiteY442" fmla="*/ 750077 h 4878949"/>
              <a:gd name="connsiteX443" fmla="*/ 48222 w 3418030"/>
              <a:gd name="connsiteY443" fmla="*/ 749353 h 4878949"/>
              <a:gd name="connsiteX444" fmla="*/ 50914 w 3418030"/>
              <a:gd name="connsiteY444" fmla="*/ 742152 h 4878949"/>
              <a:gd name="connsiteX445" fmla="*/ 77329 w 3418030"/>
              <a:gd name="connsiteY445" fmla="*/ 669497 h 4878949"/>
              <a:gd name="connsiteX446" fmla="*/ 80849 w 3418030"/>
              <a:gd name="connsiteY446" fmla="*/ 662039 h 4878949"/>
              <a:gd name="connsiteX447" fmla="*/ 81908 w 3418030"/>
              <a:gd name="connsiteY447" fmla="*/ 659204 h 4878949"/>
              <a:gd name="connsiteX448" fmla="*/ 89422 w 3418030"/>
              <a:gd name="connsiteY448" fmla="*/ 643883 h 4878949"/>
              <a:gd name="connsiteX449" fmla="*/ 115734 w 3418030"/>
              <a:gd name="connsiteY449" fmla="*/ 588143 h 4878949"/>
              <a:gd name="connsiteX450" fmla="*/ 121848 w 3418030"/>
              <a:gd name="connsiteY450" fmla="*/ 577740 h 4878949"/>
              <a:gd name="connsiteX451" fmla="*/ 124169 w 3418030"/>
              <a:gd name="connsiteY451" fmla="*/ 573005 h 4878949"/>
              <a:gd name="connsiteX452" fmla="*/ 134403 w 3418030"/>
              <a:gd name="connsiteY452" fmla="*/ 556381 h 4878949"/>
              <a:gd name="connsiteX453" fmla="*/ 161333 w 3418030"/>
              <a:gd name="connsiteY453" fmla="*/ 510566 h 4878949"/>
              <a:gd name="connsiteX454" fmla="*/ 170598 w 3418030"/>
              <a:gd name="connsiteY454" fmla="*/ 497582 h 4878949"/>
              <a:gd name="connsiteX455" fmla="*/ 174534 w 3418030"/>
              <a:gd name="connsiteY455" fmla="*/ 491185 h 4878949"/>
              <a:gd name="connsiteX456" fmla="*/ 186458 w 3418030"/>
              <a:gd name="connsiteY456" fmla="*/ 475354 h 4878949"/>
              <a:gd name="connsiteX457" fmla="*/ 213741 w 3418030"/>
              <a:gd name="connsiteY457" fmla="*/ 437120 h 4878949"/>
              <a:gd name="connsiteX458" fmla="*/ 226666 w 3418030"/>
              <a:gd name="connsiteY458" fmla="*/ 421970 h 4878949"/>
              <a:gd name="connsiteX459" fmla="*/ 232537 w 3418030"/>
              <a:gd name="connsiteY459" fmla="*/ 414172 h 4878949"/>
              <a:gd name="connsiteX460" fmla="*/ 245428 w 3418030"/>
              <a:gd name="connsiteY460" fmla="*/ 399975 h 4878949"/>
              <a:gd name="connsiteX461" fmla="*/ 272569 w 3418030"/>
              <a:gd name="connsiteY461" fmla="*/ 368155 h 4878949"/>
              <a:gd name="connsiteX462" fmla="*/ 289619 w 3418030"/>
              <a:gd name="connsiteY462" fmla="*/ 351302 h 4878949"/>
              <a:gd name="connsiteX463" fmla="*/ 297703 w 3418030"/>
              <a:gd name="connsiteY463" fmla="*/ 342396 h 4878949"/>
              <a:gd name="connsiteX464" fmla="*/ 310983 w 3418030"/>
              <a:gd name="connsiteY464" fmla="*/ 330181 h 4878949"/>
              <a:gd name="connsiteX465" fmla="*/ 337434 w 3418030"/>
              <a:gd name="connsiteY465" fmla="*/ 304029 h 4878949"/>
              <a:gd name="connsiteX466" fmla="*/ 359031 w 3418030"/>
              <a:gd name="connsiteY466" fmla="*/ 285980 h 4878949"/>
              <a:gd name="connsiteX467" fmla="*/ 369567 w 3418030"/>
              <a:gd name="connsiteY467" fmla="*/ 276286 h 4878949"/>
              <a:gd name="connsiteX468" fmla="*/ 382740 w 3418030"/>
              <a:gd name="connsiteY468" fmla="*/ 266163 h 4878949"/>
              <a:gd name="connsiteX469" fmla="*/ 407948 w 3418030"/>
              <a:gd name="connsiteY469" fmla="*/ 245095 h 4878949"/>
              <a:gd name="connsiteX470" fmla="*/ 434483 w 3418030"/>
              <a:gd name="connsiteY470" fmla="*/ 226398 h 4878949"/>
              <a:gd name="connsiteX471" fmla="*/ 447659 w 3418030"/>
              <a:gd name="connsiteY471" fmla="*/ 216272 h 4878949"/>
              <a:gd name="connsiteX472" fmla="*/ 460291 w 3418030"/>
              <a:gd name="connsiteY472" fmla="*/ 208214 h 4878949"/>
              <a:gd name="connsiteX473" fmla="*/ 483722 w 3418030"/>
              <a:gd name="connsiteY473" fmla="*/ 191703 h 4878949"/>
              <a:gd name="connsiteX474" fmla="*/ 515572 w 3418030"/>
              <a:gd name="connsiteY474" fmla="*/ 172948 h 4878949"/>
              <a:gd name="connsiteX475" fmla="*/ 531508 w 3418030"/>
              <a:gd name="connsiteY475" fmla="*/ 162782 h 4878949"/>
              <a:gd name="connsiteX476" fmla="*/ 543209 w 3418030"/>
              <a:gd name="connsiteY476" fmla="*/ 156673 h 4878949"/>
              <a:gd name="connsiteX477" fmla="*/ 564373 w 3418030"/>
              <a:gd name="connsiteY477" fmla="*/ 144210 h 4878949"/>
              <a:gd name="connsiteX478" fmla="*/ 601919 w 3418030"/>
              <a:gd name="connsiteY478" fmla="*/ 126023 h 4878949"/>
              <a:gd name="connsiteX479" fmla="*/ 620646 w 3418030"/>
              <a:gd name="connsiteY479" fmla="*/ 116246 h 4878949"/>
              <a:gd name="connsiteX480" fmla="*/ 631065 w 3418030"/>
              <a:gd name="connsiteY480" fmla="*/ 111905 h 4878949"/>
              <a:gd name="connsiteX481" fmla="*/ 649513 w 3418030"/>
              <a:gd name="connsiteY481" fmla="*/ 102967 h 4878949"/>
              <a:gd name="connsiteX482" fmla="*/ 693215 w 3418030"/>
              <a:gd name="connsiteY482" fmla="*/ 86005 h 4878949"/>
              <a:gd name="connsiteX483" fmla="*/ 714604 w 3418030"/>
              <a:gd name="connsiteY483" fmla="*/ 77091 h 4878949"/>
              <a:gd name="connsiteX484" fmla="*/ 723421 w 3418030"/>
              <a:gd name="connsiteY484" fmla="*/ 74281 h 4878949"/>
              <a:gd name="connsiteX485" fmla="*/ 738755 w 3418030"/>
              <a:gd name="connsiteY485" fmla="*/ 68329 h 4878949"/>
              <a:gd name="connsiteX486" fmla="*/ 789290 w 3418030"/>
              <a:gd name="connsiteY486" fmla="*/ 53281 h 4878949"/>
              <a:gd name="connsiteX487" fmla="*/ 812911 w 3418030"/>
              <a:gd name="connsiteY487" fmla="*/ 45751 h 4878949"/>
              <a:gd name="connsiteX488" fmla="*/ 819840 w 3418030"/>
              <a:gd name="connsiteY488" fmla="*/ 44184 h 4878949"/>
              <a:gd name="connsiteX489" fmla="*/ 831714 w 3418030"/>
              <a:gd name="connsiteY489" fmla="*/ 40649 h 4878949"/>
              <a:gd name="connsiteX490" fmla="*/ 890408 w 3418030"/>
              <a:gd name="connsiteY490" fmla="*/ 28233 h 4878949"/>
              <a:gd name="connsiteX491" fmla="*/ 891488 w 3418030"/>
              <a:gd name="connsiteY491" fmla="*/ 27989 h 4878949"/>
              <a:gd name="connsiteX492" fmla="*/ 891488 w 3418030"/>
              <a:gd name="connsiteY492" fmla="*/ 26353 h 4878949"/>
              <a:gd name="connsiteX493" fmla="*/ 920414 w 3418030"/>
              <a:gd name="connsiteY493" fmla="*/ 21016 h 4878949"/>
              <a:gd name="connsiteX494" fmla="*/ 926275 w 3418030"/>
              <a:gd name="connsiteY494" fmla="*/ 20363 h 4878949"/>
              <a:gd name="connsiteX495" fmla="*/ 936223 w 3418030"/>
              <a:gd name="connsiteY495" fmla="*/ 18645 h 4878949"/>
              <a:gd name="connsiteX496" fmla="*/ 1022729 w 3418030"/>
              <a:gd name="connsiteY496" fmla="*/ 9605 h 4878949"/>
              <a:gd name="connsiteX497" fmla="*/ 1049789 w 3418030"/>
              <a:gd name="connsiteY497" fmla="*/ 6588 h 4878949"/>
              <a:gd name="connsiteX498" fmla="*/ 1052637 w 3418030"/>
              <a:gd name="connsiteY498" fmla="*/ 6482 h 4878949"/>
              <a:gd name="connsiteX499" fmla="*/ 1057795 w 3418030"/>
              <a:gd name="connsiteY499" fmla="*/ 5941 h 4878949"/>
              <a:gd name="connsiteX500" fmla="*/ 1117794 w 3418030"/>
              <a:gd name="connsiteY500" fmla="*/ 3821 h 4878949"/>
              <a:gd name="connsiteX501" fmla="*/ 1117794 w 3418030"/>
              <a:gd name="connsiteY501" fmla="*/ 1237 h 4878949"/>
              <a:gd name="connsiteX502" fmla="*/ 1173109 w 3418030"/>
              <a:gd name="connsiteY502" fmla="*/ 1237 h 4878949"/>
              <a:gd name="connsiteX503" fmla="*/ 1190915 w 3418030"/>
              <a:gd name="connsiteY503" fmla="*/ 1237 h 4878949"/>
              <a:gd name="connsiteX504" fmla="*/ 1191329 w 3418030"/>
              <a:gd name="connsiteY504" fmla="*/ 1237 h 4878949"/>
              <a:gd name="connsiteX505" fmla="*/ 1191331 w 3418030"/>
              <a:gd name="connsiteY505" fmla="*/ 1237 h 4878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Lst>
            <a:rect l="l" t="t" r="r" b="b"/>
            <a:pathLst>
              <a:path w="3418030" h="4878949">
                <a:moveTo>
                  <a:pt x="1191331" y="0"/>
                </a:moveTo>
                <a:lnTo>
                  <a:pt x="1294432" y="0"/>
                </a:lnTo>
                <a:lnTo>
                  <a:pt x="1457098" y="0"/>
                </a:lnTo>
                <a:lnTo>
                  <a:pt x="1564784" y="0"/>
                </a:lnTo>
                <a:lnTo>
                  <a:pt x="2013538" y="0"/>
                </a:lnTo>
                <a:lnTo>
                  <a:pt x="2038520" y="0"/>
                </a:lnTo>
                <a:lnTo>
                  <a:pt x="2130825" y="0"/>
                </a:lnTo>
                <a:lnTo>
                  <a:pt x="2156238" y="0"/>
                </a:lnTo>
                <a:lnTo>
                  <a:pt x="2221889" y="0"/>
                </a:lnTo>
                <a:lnTo>
                  <a:pt x="2277890" y="0"/>
                </a:lnTo>
                <a:lnTo>
                  <a:pt x="2342770" y="0"/>
                </a:lnTo>
                <a:lnTo>
                  <a:pt x="2399737" y="0"/>
                </a:lnTo>
                <a:lnTo>
                  <a:pt x="2399737" y="1224"/>
                </a:lnTo>
                <a:lnTo>
                  <a:pt x="3278911" y="1224"/>
                </a:lnTo>
                <a:lnTo>
                  <a:pt x="3418030" y="1224"/>
                </a:lnTo>
                <a:lnTo>
                  <a:pt x="3418030" y="70784"/>
                </a:lnTo>
                <a:lnTo>
                  <a:pt x="3418030" y="685938"/>
                </a:lnTo>
                <a:lnTo>
                  <a:pt x="3418030" y="732837"/>
                </a:lnTo>
                <a:lnTo>
                  <a:pt x="3418030" y="755498"/>
                </a:lnTo>
                <a:lnTo>
                  <a:pt x="3418030" y="802397"/>
                </a:lnTo>
                <a:lnTo>
                  <a:pt x="3418030" y="1036312"/>
                </a:lnTo>
                <a:lnTo>
                  <a:pt x="3418030" y="1036923"/>
                </a:lnTo>
                <a:lnTo>
                  <a:pt x="3418030" y="1036933"/>
                </a:lnTo>
                <a:lnTo>
                  <a:pt x="3418030" y="1036943"/>
                </a:lnTo>
                <a:lnTo>
                  <a:pt x="3418030" y="1085589"/>
                </a:lnTo>
                <a:lnTo>
                  <a:pt x="3418030" y="1105871"/>
                </a:lnTo>
                <a:lnTo>
                  <a:pt x="3418030" y="1106482"/>
                </a:lnTo>
                <a:lnTo>
                  <a:pt x="3418030" y="1106491"/>
                </a:lnTo>
                <a:lnTo>
                  <a:pt x="3418030" y="1106501"/>
                </a:lnTo>
                <a:lnTo>
                  <a:pt x="3418030" y="1155149"/>
                </a:lnTo>
                <a:lnTo>
                  <a:pt x="3418030" y="1417551"/>
                </a:lnTo>
                <a:lnTo>
                  <a:pt x="3418030" y="1487111"/>
                </a:lnTo>
                <a:lnTo>
                  <a:pt x="3418030" y="1721026"/>
                </a:lnTo>
                <a:lnTo>
                  <a:pt x="3418030" y="1721637"/>
                </a:lnTo>
                <a:lnTo>
                  <a:pt x="3418030" y="1721646"/>
                </a:lnTo>
                <a:lnTo>
                  <a:pt x="3418030" y="1721657"/>
                </a:lnTo>
                <a:lnTo>
                  <a:pt x="3418030" y="1767925"/>
                </a:lnTo>
                <a:lnTo>
                  <a:pt x="3418030" y="1768536"/>
                </a:lnTo>
                <a:lnTo>
                  <a:pt x="3418030" y="1768546"/>
                </a:lnTo>
                <a:lnTo>
                  <a:pt x="3418030" y="1768556"/>
                </a:lnTo>
                <a:lnTo>
                  <a:pt x="3418030" y="1770303"/>
                </a:lnTo>
                <a:lnTo>
                  <a:pt x="3418030" y="1790585"/>
                </a:lnTo>
                <a:lnTo>
                  <a:pt x="3418030" y="1791196"/>
                </a:lnTo>
                <a:lnTo>
                  <a:pt x="3418030" y="1791205"/>
                </a:lnTo>
                <a:lnTo>
                  <a:pt x="3418030" y="1791215"/>
                </a:lnTo>
                <a:lnTo>
                  <a:pt x="3418030" y="1817203"/>
                </a:lnTo>
                <a:lnTo>
                  <a:pt x="3418030" y="1837484"/>
                </a:lnTo>
                <a:lnTo>
                  <a:pt x="3418030" y="1838095"/>
                </a:lnTo>
                <a:lnTo>
                  <a:pt x="3418030" y="1838105"/>
                </a:lnTo>
                <a:lnTo>
                  <a:pt x="3418030" y="1838115"/>
                </a:lnTo>
                <a:lnTo>
                  <a:pt x="3418030" y="1839863"/>
                </a:lnTo>
                <a:lnTo>
                  <a:pt x="3418030" y="1886762"/>
                </a:lnTo>
                <a:lnTo>
                  <a:pt x="3418030" y="2452639"/>
                </a:lnTo>
                <a:lnTo>
                  <a:pt x="3418030" y="2453250"/>
                </a:lnTo>
                <a:lnTo>
                  <a:pt x="3418030" y="2453260"/>
                </a:lnTo>
                <a:lnTo>
                  <a:pt x="3418030" y="2453270"/>
                </a:lnTo>
                <a:lnTo>
                  <a:pt x="3418030" y="2501917"/>
                </a:lnTo>
                <a:lnTo>
                  <a:pt x="3418030" y="2522198"/>
                </a:lnTo>
                <a:lnTo>
                  <a:pt x="3418030" y="2522809"/>
                </a:lnTo>
                <a:lnTo>
                  <a:pt x="3418030" y="2522819"/>
                </a:lnTo>
                <a:lnTo>
                  <a:pt x="3418030" y="2522830"/>
                </a:lnTo>
                <a:lnTo>
                  <a:pt x="3418030" y="2571476"/>
                </a:lnTo>
                <a:lnTo>
                  <a:pt x="3415609" y="2571476"/>
                </a:lnTo>
                <a:lnTo>
                  <a:pt x="3413143" y="2621619"/>
                </a:lnTo>
                <a:lnTo>
                  <a:pt x="3412693" y="2624661"/>
                </a:lnTo>
                <a:lnTo>
                  <a:pt x="3412480" y="2628713"/>
                </a:lnTo>
                <a:cubicBezTo>
                  <a:pt x="3406029" y="2689917"/>
                  <a:pt x="3394048" y="2749544"/>
                  <a:pt x="3377025" y="2807125"/>
                </a:cubicBezTo>
                <a:lnTo>
                  <a:pt x="3375576" y="2811322"/>
                </a:lnTo>
                <a:lnTo>
                  <a:pt x="3375395" y="2812045"/>
                </a:lnTo>
                <a:lnTo>
                  <a:pt x="3372842" y="2819247"/>
                </a:lnTo>
                <a:lnTo>
                  <a:pt x="3347771" y="2891903"/>
                </a:lnTo>
                <a:lnTo>
                  <a:pt x="3344429" y="2899360"/>
                </a:lnTo>
                <a:lnTo>
                  <a:pt x="3343424" y="2902194"/>
                </a:lnTo>
                <a:lnTo>
                  <a:pt x="3336294" y="2917516"/>
                </a:lnTo>
                <a:lnTo>
                  <a:pt x="3311321" y="2973257"/>
                </a:lnTo>
                <a:lnTo>
                  <a:pt x="3305517" y="2983659"/>
                </a:lnTo>
                <a:lnTo>
                  <a:pt x="3303314" y="2988394"/>
                </a:lnTo>
                <a:lnTo>
                  <a:pt x="3293601" y="3005019"/>
                </a:lnTo>
                <a:lnTo>
                  <a:pt x="3268042" y="3050833"/>
                </a:lnTo>
                <a:lnTo>
                  <a:pt x="3259248" y="3063817"/>
                </a:lnTo>
                <a:lnTo>
                  <a:pt x="3255513" y="3070215"/>
                </a:lnTo>
                <a:lnTo>
                  <a:pt x="3244196" y="3086045"/>
                </a:lnTo>
                <a:lnTo>
                  <a:pt x="3218302" y="3124280"/>
                </a:lnTo>
                <a:lnTo>
                  <a:pt x="3206037" y="3139430"/>
                </a:lnTo>
                <a:lnTo>
                  <a:pt x="3200464" y="3147227"/>
                </a:lnTo>
                <a:lnTo>
                  <a:pt x="3188229" y="3161424"/>
                </a:lnTo>
                <a:lnTo>
                  <a:pt x="3162468" y="3193243"/>
                </a:lnTo>
                <a:lnTo>
                  <a:pt x="3146287" y="3210097"/>
                </a:lnTo>
                <a:lnTo>
                  <a:pt x="3138613" y="3219003"/>
                </a:lnTo>
                <a:lnTo>
                  <a:pt x="3126010" y="3231219"/>
                </a:lnTo>
                <a:lnTo>
                  <a:pt x="3100905" y="3257369"/>
                </a:lnTo>
                <a:lnTo>
                  <a:pt x="3080407" y="3275420"/>
                </a:lnTo>
                <a:lnTo>
                  <a:pt x="3070407" y="3285113"/>
                </a:lnTo>
                <a:lnTo>
                  <a:pt x="3057904" y="3295236"/>
                </a:lnTo>
                <a:lnTo>
                  <a:pt x="3033981" y="3316304"/>
                </a:lnTo>
                <a:lnTo>
                  <a:pt x="3008795" y="3335002"/>
                </a:lnTo>
                <a:lnTo>
                  <a:pt x="2996290" y="3345128"/>
                </a:lnTo>
                <a:lnTo>
                  <a:pt x="2984301" y="3353185"/>
                </a:lnTo>
                <a:lnTo>
                  <a:pt x="2962062" y="3369695"/>
                </a:lnTo>
                <a:lnTo>
                  <a:pt x="2931835" y="3388450"/>
                </a:lnTo>
                <a:lnTo>
                  <a:pt x="2916709" y="3398618"/>
                </a:lnTo>
                <a:lnTo>
                  <a:pt x="2905603" y="3404726"/>
                </a:lnTo>
                <a:lnTo>
                  <a:pt x="2885517" y="3417189"/>
                </a:lnTo>
                <a:lnTo>
                  <a:pt x="2849882" y="3435375"/>
                </a:lnTo>
                <a:lnTo>
                  <a:pt x="2832108" y="3445153"/>
                </a:lnTo>
                <a:lnTo>
                  <a:pt x="2822219" y="3449494"/>
                </a:lnTo>
                <a:lnTo>
                  <a:pt x="2804710" y="3458432"/>
                </a:lnTo>
                <a:lnTo>
                  <a:pt x="2763233" y="3475393"/>
                </a:lnTo>
                <a:lnTo>
                  <a:pt x="2742933" y="3484308"/>
                </a:lnTo>
                <a:lnTo>
                  <a:pt x="2734565" y="3487117"/>
                </a:lnTo>
                <a:lnTo>
                  <a:pt x="2720010" y="3493070"/>
                </a:lnTo>
                <a:lnTo>
                  <a:pt x="2672049" y="3508117"/>
                </a:lnTo>
                <a:lnTo>
                  <a:pt x="2649630" y="3515648"/>
                </a:lnTo>
                <a:lnTo>
                  <a:pt x="2643052" y="3517214"/>
                </a:lnTo>
                <a:lnTo>
                  <a:pt x="2631783" y="3520749"/>
                </a:lnTo>
                <a:lnTo>
                  <a:pt x="2576079" y="3533167"/>
                </a:lnTo>
                <a:lnTo>
                  <a:pt x="2552643" y="3538747"/>
                </a:lnTo>
                <a:lnTo>
                  <a:pt x="2548104" y="3539401"/>
                </a:lnTo>
                <a:lnTo>
                  <a:pt x="2540397" y="3541118"/>
                </a:lnTo>
                <a:lnTo>
                  <a:pt x="2473383" y="3550158"/>
                </a:lnTo>
                <a:lnTo>
                  <a:pt x="2452420" y="3553176"/>
                </a:lnTo>
                <a:lnTo>
                  <a:pt x="2450212" y="3553284"/>
                </a:lnTo>
                <a:lnTo>
                  <a:pt x="2446216" y="3553824"/>
                </a:lnTo>
                <a:lnTo>
                  <a:pt x="2399737" y="3555943"/>
                </a:lnTo>
                <a:lnTo>
                  <a:pt x="2399737" y="3558529"/>
                </a:lnTo>
                <a:lnTo>
                  <a:pt x="2366297" y="3558529"/>
                </a:lnTo>
                <a:lnTo>
                  <a:pt x="2350286" y="3560726"/>
                </a:lnTo>
                <a:lnTo>
                  <a:pt x="2329679" y="3563743"/>
                </a:lnTo>
                <a:lnTo>
                  <a:pt x="2327509" y="3563851"/>
                </a:lnTo>
                <a:lnTo>
                  <a:pt x="2323580" y="3564391"/>
                </a:lnTo>
                <a:lnTo>
                  <a:pt x="2277890" y="3566510"/>
                </a:lnTo>
                <a:lnTo>
                  <a:pt x="2277890" y="3569096"/>
                </a:lnTo>
                <a:lnTo>
                  <a:pt x="2235765" y="3569096"/>
                </a:lnTo>
                <a:lnTo>
                  <a:pt x="2222205" y="3569096"/>
                </a:lnTo>
                <a:lnTo>
                  <a:pt x="2221889" y="3569096"/>
                </a:lnTo>
                <a:lnTo>
                  <a:pt x="2221889" y="3570333"/>
                </a:lnTo>
                <a:lnTo>
                  <a:pt x="2038520" y="3570333"/>
                </a:lnTo>
                <a:lnTo>
                  <a:pt x="2013539" y="3570333"/>
                </a:lnTo>
                <a:lnTo>
                  <a:pt x="1650818" y="3570333"/>
                </a:lnTo>
                <a:lnTo>
                  <a:pt x="1650818" y="3570744"/>
                </a:lnTo>
                <a:lnTo>
                  <a:pt x="1652012" y="3570744"/>
                </a:lnTo>
                <a:lnTo>
                  <a:pt x="1652012" y="3571721"/>
                </a:lnTo>
                <a:lnTo>
                  <a:pt x="1671221" y="3572716"/>
                </a:lnTo>
                <a:lnTo>
                  <a:pt x="1672387" y="3572898"/>
                </a:lnTo>
                <a:lnTo>
                  <a:pt x="1673940" y="3572984"/>
                </a:lnTo>
                <a:cubicBezTo>
                  <a:pt x="1697387" y="3575588"/>
                  <a:pt x="1720231" y="3580424"/>
                  <a:pt x="1742290" y="3587296"/>
                </a:cubicBezTo>
                <a:lnTo>
                  <a:pt x="1743898" y="3587880"/>
                </a:lnTo>
                <a:lnTo>
                  <a:pt x="1744176" y="3587953"/>
                </a:lnTo>
                <a:lnTo>
                  <a:pt x="1746934" y="3588984"/>
                </a:lnTo>
                <a:lnTo>
                  <a:pt x="1774769" y="3599104"/>
                </a:lnTo>
                <a:lnTo>
                  <a:pt x="1777626" y="3600453"/>
                </a:lnTo>
                <a:lnTo>
                  <a:pt x="1778712" y="3600858"/>
                </a:lnTo>
                <a:lnTo>
                  <a:pt x="1784582" y="3603737"/>
                </a:lnTo>
                <a:lnTo>
                  <a:pt x="1805936" y="3613817"/>
                </a:lnTo>
                <a:lnTo>
                  <a:pt x="1809922" y="3616160"/>
                </a:lnTo>
                <a:lnTo>
                  <a:pt x="1811736" y="3617049"/>
                </a:lnTo>
                <a:lnTo>
                  <a:pt x="1818105" y="3620970"/>
                </a:lnTo>
                <a:lnTo>
                  <a:pt x="1835657" y="3631287"/>
                </a:lnTo>
                <a:lnTo>
                  <a:pt x="1840631" y="3634836"/>
                </a:lnTo>
                <a:lnTo>
                  <a:pt x="1843082" y="3636344"/>
                </a:lnTo>
                <a:lnTo>
                  <a:pt x="1849146" y="3640912"/>
                </a:lnTo>
                <a:lnTo>
                  <a:pt x="1863794" y="3651364"/>
                </a:lnTo>
                <a:lnTo>
                  <a:pt x="1869598" y="3656316"/>
                </a:lnTo>
                <a:lnTo>
                  <a:pt x="1872586" y="3658565"/>
                </a:lnTo>
                <a:lnTo>
                  <a:pt x="1878025" y="3663504"/>
                </a:lnTo>
                <a:lnTo>
                  <a:pt x="1890215" y="3673902"/>
                </a:lnTo>
                <a:lnTo>
                  <a:pt x="1896672" y="3680434"/>
                </a:lnTo>
                <a:lnTo>
                  <a:pt x="1900084" y="3683531"/>
                </a:lnTo>
                <a:lnTo>
                  <a:pt x="1904763" y="3688618"/>
                </a:lnTo>
                <a:lnTo>
                  <a:pt x="1914782" y="3698752"/>
                </a:lnTo>
                <a:lnTo>
                  <a:pt x="1921697" y="3707026"/>
                </a:lnTo>
                <a:lnTo>
                  <a:pt x="1925411" y="3711062"/>
                </a:lnTo>
                <a:lnTo>
                  <a:pt x="1929289" y="3716109"/>
                </a:lnTo>
                <a:lnTo>
                  <a:pt x="1937360" y="3725766"/>
                </a:lnTo>
                <a:lnTo>
                  <a:pt x="1944523" y="3735932"/>
                </a:lnTo>
                <a:lnTo>
                  <a:pt x="1948403" y="3740980"/>
                </a:lnTo>
                <a:lnTo>
                  <a:pt x="1951490" y="3745819"/>
                </a:lnTo>
                <a:lnTo>
                  <a:pt x="1957815" y="3754796"/>
                </a:lnTo>
                <a:lnTo>
                  <a:pt x="1965000" y="3766998"/>
                </a:lnTo>
                <a:lnTo>
                  <a:pt x="1968895" y="3773103"/>
                </a:lnTo>
                <a:lnTo>
                  <a:pt x="1971236" y="3777586"/>
                </a:lnTo>
                <a:lnTo>
                  <a:pt x="1976010" y="3785694"/>
                </a:lnTo>
                <a:lnTo>
                  <a:pt x="1982978" y="3800078"/>
                </a:lnTo>
                <a:lnTo>
                  <a:pt x="1986724" y="3807252"/>
                </a:lnTo>
                <a:lnTo>
                  <a:pt x="1988387" y="3811244"/>
                </a:lnTo>
                <a:lnTo>
                  <a:pt x="1991811" y="3818312"/>
                </a:lnTo>
                <a:lnTo>
                  <a:pt x="1998309" y="3835054"/>
                </a:lnTo>
                <a:lnTo>
                  <a:pt x="2001724" y="3843248"/>
                </a:lnTo>
                <a:lnTo>
                  <a:pt x="2002801" y="3846626"/>
                </a:lnTo>
                <a:lnTo>
                  <a:pt x="2005081" y="3852501"/>
                </a:lnTo>
                <a:lnTo>
                  <a:pt x="2010846" y="3871861"/>
                </a:lnTo>
                <a:lnTo>
                  <a:pt x="2013730" y="3880910"/>
                </a:lnTo>
                <a:lnTo>
                  <a:pt x="2014331" y="3883565"/>
                </a:lnTo>
                <a:lnTo>
                  <a:pt x="2015685" y="3888114"/>
                </a:lnTo>
                <a:lnTo>
                  <a:pt x="2020442" y="3910600"/>
                </a:lnTo>
                <a:lnTo>
                  <a:pt x="2020535" y="3911014"/>
                </a:lnTo>
                <a:lnTo>
                  <a:pt x="2021162" y="3911014"/>
                </a:lnTo>
                <a:lnTo>
                  <a:pt x="2023207" y="3922096"/>
                </a:lnTo>
                <a:lnTo>
                  <a:pt x="2023457" y="3924341"/>
                </a:lnTo>
                <a:lnTo>
                  <a:pt x="2024115" y="3928152"/>
                </a:lnTo>
                <a:lnTo>
                  <a:pt x="2027578" y="3961293"/>
                </a:lnTo>
                <a:lnTo>
                  <a:pt x="2028734" y="3971660"/>
                </a:lnTo>
                <a:lnTo>
                  <a:pt x="2028775" y="3972751"/>
                </a:lnTo>
                <a:lnTo>
                  <a:pt x="2028982" y="3974727"/>
                </a:lnTo>
                <a:lnTo>
                  <a:pt x="2029794" y="3997713"/>
                </a:lnTo>
                <a:lnTo>
                  <a:pt x="2030784" y="3997713"/>
                </a:lnTo>
                <a:lnTo>
                  <a:pt x="2030784" y="4018905"/>
                </a:lnTo>
                <a:lnTo>
                  <a:pt x="2030784" y="4025726"/>
                </a:lnTo>
                <a:lnTo>
                  <a:pt x="2030784" y="4025885"/>
                </a:lnTo>
                <a:lnTo>
                  <a:pt x="2030784" y="4025886"/>
                </a:lnTo>
                <a:lnTo>
                  <a:pt x="2031258" y="4025886"/>
                </a:lnTo>
                <a:lnTo>
                  <a:pt x="2031258" y="4065384"/>
                </a:lnTo>
                <a:lnTo>
                  <a:pt x="2031258" y="4127703"/>
                </a:lnTo>
                <a:lnTo>
                  <a:pt x="2031258" y="4168958"/>
                </a:lnTo>
                <a:lnTo>
                  <a:pt x="2031258" y="4340879"/>
                </a:lnTo>
                <a:lnTo>
                  <a:pt x="2031258" y="4350450"/>
                </a:lnTo>
                <a:lnTo>
                  <a:pt x="2031258" y="4385812"/>
                </a:lnTo>
                <a:lnTo>
                  <a:pt x="2031258" y="4395548"/>
                </a:lnTo>
                <a:lnTo>
                  <a:pt x="2031258" y="4420700"/>
                </a:lnTo>
                <a:lnTo>
                  <a:pt x="2031258" y="4442154"/>
                </a:lnTo>
                <a:lnTo>
                  <a:pt x="2031258" y="4467010"/>
                </a:lnTo>
                <a:lnTo>
                  <a:pt x="2031258" y="4488834"/>
                </a:lnTo>
                <a:lnTo>
                  <a:pt x="2030789" y="4488834"/>
                </a:lnTo>
                <a:lnTo>
                  <a:pt x="2030789" y="4825652"/>
                </a:lnTo>
                <a:lnTo>
                  <a:pt x="2030789" y="4878949"/>
                </a:lnTo>
                <a:lnTo>
                  <a:pt x="2004140" y="4878949"/>
                </a:lnTo>
                <a:lnTo>
                  <a:pt x="1768470" y="4878949"/>
                </a:lnTo>
                <a:lnTo>
                  <a:pt x="1750503" y="4878949"/>
                </a:lnTo>
                <a:lnTo>
                  <a:pt x="1741822" y="4878949"/>
                </a:lnTo>
                <a:lnTo>
                  <a:pt x="1723854" y="4878949"/>
                </a:lnTo>
                <a:lnTo>
                  <a:pt x="1634240" y="4878949"/>
                </a:lnTo>
                <a:lnTo>
                  <a:pt x="1634005" y="4878949"/>
                </a:lnTo>
                <a:lnTo>
                  <a:pt x="1634002" y="4878949"/>
                </a:lnTo>
                <a:lnTo>
                  <a:pt x="1633998" y="4878949"/>
                </a:lnTo>
                <a:lnTo>
                  <a:pt x="1615361" y="4878949"/>
                </a:lnTo>
                <a:lnTo>
                  <a:pt x="1607591" y="4878949"/>
                </a:lnTo>
                <a:lnTo>
                  <a:pt x="1607357" y="4878949"/>
                </a:lnTo>
                <a:lnTo>
                  <a:pt x="1607354" y="4878949"/>
                </a:lnTo>
                <a:lnTo>
                  <a:pt x="1607350" y="4878949"/>
                </a:lnTo>
                <a:lnTo>
                  <a:pt x="1588712" y="4878949"/>
                </a:lnTo>
                <a:lnTo>
                  <a:pt x="1488184" y="4878949"/>
                </a:lnTo>
                <a:lnTo>
                  <a:pt x="1461535" y="4878949"/>
                </a:lnTo>
                <a:lnTo>
                  <a:pt x="1371921" y="4878949"/>
                </a:lnTo>
                <a:lnTo>
                  <a:pt x="1371687" y="4878949"/>
                </a:lnTo>
                <a:lnTo>
                  <a:pt x="1371683" y="4878949"/>
                </a:lnTo>
                <a:lnTo>
                  <a:pt x="1371679" y="4878949"/>
                </a:lnTo>
                <a:lnTo>
                  <a:pt x="1367507" y="4878949"/>
                </a:lnTo>
                <a:lnTo>
                  <a:pt x="1353954" y="4878949"/>
                </a:lnTo>
                <a:lnTo>
                  <a:pt x="1353719" y="4878949"/>
                </a:lnTo>
                <a:lnTo>
                  <a:pt x="1353716" y="4878949"/>
                </a:lnTo>
                <a:lnTo>
                  <a:pt x="1353712" y="4878949"/>
                </a:lnTo>
                <a:lnTo>
                  <a:pt x="1353043" y="4878949"/>
                </a:lnTo>
                <a:lnTo>
                  <a:pt x="1345272" y="4878949"/>
                </a:lnTo>
                <a:lnTo>
                  <a:pt x="1345038" y="4878949"/>
                </a:lnTo>
                <a:lnTo>
                  <a:pt x="1345035" y="4878949"/>
                </a:lnTo>
                <a:lnTo>
                  <a:pt x="1345031" y="4878949"/>
                </a:lnTo>
                <a:lnTo>
                  <a:pt x="1340858" y="4878949"/>
                </a:lnTo>
                <a:lnTo>
                  <a:pt x="1335075" y="4878949"/>
                </a:lnTo>
                <a:lnTo>
                  <a:pt x="1327305" y="4878949"/>
                </a:lnTo>
                <a:lnTo>
                  <a:pt x="1327071" y="4878949"/>
                </a:lnTo>
                <a:lnTo>
                  <a:pt x="1327067" y="4878949"/>
                </a:lnTo>
                <a:lnTo>
                  <a:pt x="1327063" y="4878949"/>
                </a:lnTo>
                <a:lnTo>
                  <a:pt x="1326394" y="4878949"/>
                </a:lnTo>
                <a:lnTo>
                  <a:pt x="1308426" y="4878949"/>
                </a:lnTo>
                <a:lnTo>
                  <a:pt x="1105188" y="4878949"/>
                </a:lnTo>
                <a:lnTo>
                  <a:pt x="1091635" y="4878949"/>
                </a:lnTo>
                <a:lnTo>
                  <a:pt x="1091401" y="4878949"/>
                </a:lnTo>
                <a:lnTo>
                  <a:pt x="1091397" y="4878949"/>
                </a:lnTo>
                <a:lnTo>
                  <a:pt x="1091393" y="4878949"/>
                </a:lnTo>
                <a:lnTo>
                  <a:pt x="1087221" y="4878949"/>
                </a:lnTo>
                <a:lnTo>
                  <a:pt x="1078540" y="4878949"/>
                </a:lnTo>
                <a:lnTo>
                  <a:pt x="1072756" y="4878949"/>
                </a:lnTo>
                <a:lnTo>
                  <a:pt x="1064986" y="4878949"/>
                </a:lnTo>
                <a:lnTo>
                  <a:pt x="1064752" y="4878949"/>
                </a:lnTo>
                <a:lnTo>
                  <a:pt x="1064748" y="4878949"/>
                </a:lnTo>
                <a:lnTo>
                  <a:pt x="1064745" y="4878949"/>
                </a:lnTo>
                <a:lnTo>
                  <a:pt x="1060572" y="4878949"/>
                </a:lnTo>
                <a:lnTo>
                  <a:pt x="1046108" y="4878949"/>
                </a:lnTo>
                <a:lnTo>
                  <a:pt x="970958" y="4878949"/>
                </a:lnTo>
                <a:lnTo>
                  <a:pt x="970723" y="4878949"/>
                </a:lnTo>
                <a:lnTo>
                  <a:pt x="970720" y="4878949"/>
                </a:lnTo>
                <a:lnTo>
                  <a:pt x="970716" y="4878949"/>
                </a:lnTo>
                <a:lnTo>
                  <a:pt x="952079" y="4878949"/>
                </a:lnTo>
                <a:lnTo>
                  <a:pt x="944309" y="4878949"/>
                </a:lnTo>
                <a:lnTo>
                  <a:pt x="944075" y="4878949"/>
                </a:lnTo>
                <a:lnTo>
                  <a:pt x="944072" y="4878949"/>
                </a:lnTo>
                <a:lnTo>
                  <a:pt x="944068" y="4878949"/>
                </a:lnTo>
                <a:lnTo>
                  <a:pt x="925430" y="4878949"/>
                </a:lnTo>
                <a:lnTo>
                  <a:pt x="824902" y="4878949"/>
                </a:lnTo>
                <a:lnTo>
                  <a:pt x="798253" y="4878949"/>
                </a:lnTo>
                <a:lnTo>
                  <a:pt x="708639" y="4878949"/>
                </a:lnTo>
                <a:lnTo>
                  <a:pt x="708405" y="4878949"/>
                </a:lnTo>
                <a:lnTo>
                  <a:pt x="708401" y="4878949"/>
                </a:lnTo>
                <a:lnTo>
                  <a:pt x="708397" y="4878949"/>
                </a:lnTo>
                <a:lnTo>
                  <a:pt x="690672" y="4878949"/>
                </a:lnTo>
                <a:lnTo>
                  <a:pt x="690437" y="4878949"/>
                </a:lnTo>
                <a:lnTo>
                  <a:pt x="690434" y="4878949"/>
                </a:lnTo>
                <a:lnTo>
                  <a:pt x="690430" y="4878949"/>
                </a:lnTo>
                <a:lnTo>
                  <a:pt x="689761" y="4878949"/>
                </a:lnTo>
                <a:lnTo>
                  <a:pt x="681990" y="4878949"/>
                </a:lnTo>
                <a:lnTo>
                  <a:pt x="681756" y="4878949"/>
                </a:lnTo>
                <a:lnTo>
                  <a:pt x="681753" y="4878949"/>
                </a:lnTo>
                <a:lnTo>
                  <a:pt x="681749" y="4878949"/>
                </a:lnTo>
                <a:lnTo>
                  <a:pt x="671793" y="4878949"/>
                </a:lnTo>
                <a:lnTo>
                  <a:pt x="664023" y="4878949"/>
                </a:lnTo>
                <a:lnTo>
                  <a:pt x="663789" y="4878949"/>
                </a:lnTo>
                <a:lnTo>
                  <a:pt x="663785" y="4878949"/>
                </a:lnTo>
                <a:lnTo>
                  <a:pt x="663781" y="4878949"/>
                </a:lnTo>
                <a:lnTo>
                  <a:pt x="663112" y="4878949"/>
                </a:lnTo>
                <a:lnTo>
                  <a:pt x="645144" y="4878949"/>
                </a:lnTo>
                <a:lnTo>
                  <a:pt x="428353" y="4878949"/>
                </a:lnTo>
                <a:lnTo>
                  <a:pt x="428119" y="4878949"/>
                </a:lnTo>
                <a:lnTo>
                  <a:pt x="428115" y="4878949"/>
                </a:lnTo>
                <a:lnTo>
                  <a:pt x="428111" y="4878949"/>
                </a:lnTo>
                <a:lnTo>
                  <a:pt x="409474" y="4878949"/>
                </a:lnTo>
                <a:lnTo>
                  <a:pt x="401704" y="4878949"/>
                </a:lnTo>
                <a:lnTo>
                  <a:pt x="401470" y="4878949"/>
                </a:lnTo>
                <a:lnTo>
                  <a:pt x="401466" y="4878949"/>
                </a:lnTo>
                <a:lnTo>
                  <a:pt x="401462" y="4878949"/>
                </a:lnTo>
                <a:lnTo>
                  <a:pt x="382826" y="4878949"/>
                </a:lnTo>
                <a:lnTo>
                  <a:pt x="382826" y="4878022"/>
                </a:lnTo>
                <a:lnTo>
                  <a:pt x="363616" y="4877077"/>
                </a:lnTo>
                <a:lnTo>
                  <a:pt x="362450" y="4876905"/>
                </a:lnTo>
                <a:lnTo>
                  <a:pt x="360898" y="4876823"/>
                </a:lnTo>
                <a:cubicBezTo>
                  <a:pt x="337450" y="4874352"/>
                  <a:pt x="314607" y="4869762"/>
                  <a:pt x="292547" y="4863240"/>
                </a:cubicBezTo>
                <a:lnTo>
                  <a:pt x="290939" y="4862685"/>
                </a:lnTo>
                <a:lnTo>
                  <a:pt x="290662" y="4862616"/>
                </a:lnTo>
                <a:lnTo>
                  <a:pt x="287903" y="4861637"/>
                </a:lnTo>
                <a:lnTo>
                  <a:pt x="260068" y="4852032"/>
                </a:lnTo>
                <a:lnTo>
                  <a:pt x="257211" y="4850752"/>
                </a:lnTo>
                <a:lnTo>
                  <a:pt x="256125" y="4850367"/>
                </a:lnTo>
                <a:lnTo>
                  <a:pt x="250255" y="4847636"/>
                </a:lnTo>
                <a:lnTo>
                  <a:pt x="228901" y="4838068"/>
                </a:lnTo>
                <a:lnTo>
                  <a:pt x="224915" y="4835845"/>
                </a:lnTo>
                <a:lnTo>
                  <a:pt x="223101" y="4835001"/>
                </a:lnTo>
                <a:lnTo>
                  <a:pt x="216732" y="4831280"/>
                </a:lnTo>
                <a:lnTo>
                  <a:pt x="199181" y="4821488"/>
                </a:lnTo>
                <a:lnTo>
                  <a:pt x="194206" y="4818119"/>
                </a:lnTo>
                <a:lnTo>
                  <a:pt x="191756" y="4816688"/>
                </a:lnTo>
                <a:lnTo>
                  <a:pt x="185691" y="4812352"/>
                </a:lnTo>
                <a:lnTo>
                  <a:pt x="171043" y="4802432"/>
                </a:lnTo>
                <a:lnTo>
                  <a:pt x="165239" y="4797733"/>
                </a:lnTo>
                <a:lnTo>
                  <a:pt x="162251" y="4795598"/>
                </a:lnTo>
                <a:lnTo>
                  <a:pt x="156813" y="4790911"/>
                </a:lnTo>
                <a:lnTo>
                  <a:pt x="144622" y="4781042"/>
                </a:lnTo>
                <a:lnTo>
                  <a:pt x="138166" y="4774843"/>
                </a:lnTo>
                <a:lnTo>
                  <a:pt x="134753" y="4771903"/>
                </a:lnTo>
                <a:lnTo>
                  <a:pt x="130074" y="4767074"/>
                </a:lnTo>
                <a:lnTo>
                  <a:pt x="120055" y="4757456"/>
                </a:lnTo>
                <a:lnTo>
                  <a:pt x="113141" y="4749604"/>
                </a:lnTo>
                <a:lnTo>
                  <a:pt x="109426" y="4745772"/>
                </a:lnTo>
                <a:lnTo>
                  <a:pt x="105549" y="4740983"/>
                </a:lnTo>
                <a:lnTo>
                  <a:pt x="97477" y="4731817"/>
                </a:lnTo>
                <a:lnTo>
                  <a:pt x="90315" y="4722168"/>
                </a:lnTo>
                <a:lnTo>
                  <a:pt x="86434" y="4717378"/>
                </a:lnTo>
                <a:lnTo>
                  <a:pt x="83347" y="4712785"/>
                </a:lnTo>
                <a:lnTo>
                  <a:pt x="77022" y="4704265"/>
                </a:lnTo>
                <a:lnTo>
                  <a:pt x="69837" y="4692685"/>
                </a:lnTo>
                <a:lnTo>
                  <a:pt x="65942" y="4686890"/>
                </a:lnTo>
                <a:lnTo>
                  <a:pt x="63602" y="4682635"/>
                </a:lnTo>
                <a:lnTo>
                  <a:pt x="58828" y="4674940"/>
                </a:lnTo>
                <a:lnTo>
                  <a:pt x="51860" y="4661288"/>
                </a:lnTo>
                <a:lnTo>
                  <a:pt x="48115" y="4654479"/>
                </a:lnTo>
                <a:lnTo>
                  <a:pt x="46451" y="4650690"/>
                </a:lnTo>
                <a:lnTo>
                  <a:pt x="43027" y="4643982"/>
                </a:lnTo>
                <a:lnTo>
                  <a:pt x="36529" y="4628092"/>
                </a:lnTo>
                <a:lnTo>
                  <a:pt x="33115" y="4620315"/>
                </a:lnTo>
                <a:lnTo>
                  <a:pt x="32037" y="4617109"/>
                </a:lnTo>
                <a:lnTo>
                  <a:pt x="29757" y="4611533"/>
                </a:lnTo>
                <a:lnTo>
                  <a:pt x="23992" y="4593159"/>
                </a:lnTo>
                <a:lnTo>
                  <a:pt x="21107" y="4584570"/>
                </a:lnTo>
                <a:lnTo>
                  <a:pt x="20507" y="4582050"/>
                </a:lnTo>
                <a:lnTo>
                  <a:pt x="19153" y="4577733"/>
                </a:lnTo>
                <a:lnTo>
                  <a:pt x="14395" y="4556392"/>
                </a:lnTo>
                <a:lnTo>
                  <a:pt x="12258" y="4547414"/>
                </a:lnTo>
                <a:lnTo>
                  <a:pt x="12008" y="4545675"/>
                </a:lnTo>
                <a:lnTo>
                  <a:pt x="11349" y="4542722"/>
                </a:lnTo>
                <a:lnTo>
                  <a:pt x="7886" y="4517048"/>
                </a:lnTo>
                <a:lnTo>
                  <a:pt x="6730" y="4509017"/>
                </a:lnTo>
                <a:lnTo>
                  <a:pt x="6688" y="4508172"/>
                </a:lnTo>
                <a:lnTo>
                  <a:pt x="6482" y="4506641"/>
                </a:lnTo>
                <a:lnTo>
                  <a:pt x="5671" y="4488834"/>
                </a:lnTo>
                <a:lnTo>
                  <a:pt x="4679" y="4488834"/>
                </a:lnTo>
                <a:lnTo>
                  <a:pt x="4679" y="4476023"/>
                </a:lnTo>
                <a:lnTo>
                  <a:pt x="3837" y="4469889"/>
                </a:lnTo>
                <a:lnTo>
                  <a:pt x="2681" y="4461995"/>
                </a:lnTo>
                <a:lnTo>
                  <a:pt x="2640" y="4461163"/>
                </a:lnTo>
                <a:lnTo>
                  <a:pt x="2433" y="4459658"/>
                </a:lnTo>
                <a:lnTo>
                  <a:pt x="1621" y="4442154"/>
                </a:lnTo>
                <a:lnTo>
                  <a:pt x="631" y="4442154"/>
                </a:lnTo>
                <a:lnTo>
                  <a:pt x="631" y="4426015"/>
                </a:lnTo>
                <a:lnTo>
                  <a:pt x="631" y="4420821"/>
                </a:lnTo>
                <a:lnTo>
                  <a:pt x="631" y="4420700"/>
                </a:lnTo>
                <a:lnTo>
                  <a:pt x="157" y="4420700"/>
                </a:lnTo>
                <a:lnTo>
                  <a:pt x="157" y="4350450"/>
                </a:lnTo>
                <a:lnTo>
                  <a:pt x="157" y="4340879"/>
                </a:lnTo>
                <a:lnTo>
                  <a:pt x="157" y="4127703"/>
                </a:lnTo>
                <a:lnTo>
                  <a:pt x="157" y="4025885"/>
                </a:lnTo>
                <a:lnTo>
                  <a:pt x="157" y="3997713"/>
                </a:lnTo>
                <a:lnTo>
                  <a:pt x="626" y="3997713"/>
                </a:lnTo>
                <a:lnTo>
                  <a:pt x="626" y="3911014"/>
                </a:lnTo>
                <a:lnTo>
                  <a:pt x="0" y="3911014"/>
                </a:lnTo>
                <a:lnTo>
                  <a:pt x="0" y="3908592"/>
                </a:lnTo>
                <a:lnTo>
                  <a:pt x="0" y="3570744"/>
                </a:lnTo>
                <a:lnTo>
                  <a:pt x="0" y="2076617"/>
                </a:lnTo>
                <a:lnTo>
                  <a:pt x="3302" y="2076617"/>
                </a:lnTo>
                <a:lnTo>
                  <a:pt x="3302" y="2074287"/>
                </a:lnTo>
                <a:lnTo>
                  <a:pt x="3302" y="1850939"/>
                </a:lnTo>
                <a:lnTo>
                  <a:pt x="3302" y="1850328"/>
                </a:lnTo>
                <a:lnTo>
                  <a:pt x="3301" y="1850319"/>
                </a:lnTo>
                <a:lnTo>
                  <a:pt x="3302" y="1850309"/>
                </a:lnTo>
                <a:lnTo>
                  <a:pt x="3302" y="1804040"/>
                </a:lnTo>
                <a:lnTo>
                  <a:pt x="3302" y="1803429"/>
                </a:lnTo>
                <a:lnTo>
                  <a:pt x="3301" y="1803419"/>
                </a:lnTo>
                <a:lnTo>
                  <a:pt x="3302" y="1803409"/>
                </a:lnTo>
                <a:lnTo>
                  <a:pt x="3302" y="1801662"/>
                </a:lnTo>
                <a:lnTo>
                  <a:pt x="3302" y="1770814"/>
                </a:lnTo>
                <a:lnTo>
                  <a:pt x="3302" y="1770203"/>
                </a:lnTo>
                <a:lnTo>
                  <a:pt x="3301" y="1770192"/>
                </a:lnTo>
                <a:lnTo>
                  <a:pt x="3302" y="1770183"/>
                </a:lnTo>
                <a:lnTo>
                  <a:pt x="3302" y="1754762"/>
                </a:lnTo>
                <a:lnTo>
                  <a:pt x="3302" y="1723914"/>
                </a:lnTo>
                <a:lnTo>
                  <a:pt x="3302" y="1723304"/>
                </a:lnTo>
                <a:lnTo>
                  <a:pt x="3301" y="1723293"/>
                </a:lnTo>
                <a:lnTo>
                  <a:pt x="3302" y="1723284"/>
                </a:lnTo>
                <a:lnTo>
                  <a:pt x="3302" y="1721537"/>
                </a:lnTo>
                <a:lnTo>
                  <a:pt x="3302" y="1674636"/>
                </a:lnTo>
                <a:lnTo>
                  <a:pt x="3302" y="1119326"/>
                </a:lnTo>
                <a:lnTo>
                  <a:pt x="3302" y="1118715"/>
                </a:lnTo>
                <a:lnTo>
                  <a:pt x="3301" y="1118705"/>
                </a:lnTo>
                <a:lnTo>
                  <a:pt x="3302" y="1118695"/>
                </a:lnTo>
                <a:lnTo>
                  <a:pt x="3302" y="1070048"/>
                </a:lnTo>
                <a:lnTo>
                  <a:pt x="3302" y="1039200"/>
                </a:lnTo>
                <a:lnTo>
                  <a:pt x="3302" y="1038590"/>
                </a:lnTo>
                <a:lnTo>
                  <a:pt x="3301" y="1038579"/>
                </a:lnTo>
                <a:lnTo>
                  <a:pt x="3302" y="1038570"/>
                </a:lnTo>
                <a:lnTo>
                  <a:pt x="3302" y="989923"/>
                </a:lnTo>
                <a:lnTo>
                  <a:pt x="5852" y="989923"/>
                </a:lnTo>
                <a:lnTo>
                  <a:pt x="8449" y="939781"/>
                </a:lnTo>
                <a:lnTo>
                  <a:pt x="8925" y="936738"/>
                </a:lnTo>
                <a:lnTo>
                  <a:pt x="9149" y="932684"/>
                </a:lnTo>
                <a:cubicBezTo>
                  <a:pt x="15946" y="871482"/>
                  <a:pt x="28569" y="811856"/>
                  <a:pt x="46507" y="754274"/>
                </a:cubicBezTo>
                <a:lnTo>
                  <a:pt x="48032" y="750077"/>
                </a:lnTo>
                <a:lnTo>
                  <a:pt x="48222" y="749353"/>
                </a:lnTo>
                <a:lnTo>
                  <a:pt x="50914" y="742152"/>
                </a:lnTo>
                <a:lnTo>
                  <a:pt x="77329" y="669497"/>
                </a:lnTo>
                <a:lnTo>
                  <a:pt x="80849" y="662039"/>
                </a:lnTo>
                <a:lnTo>
                  <a:pt x="81908" y="659204"/>
                </a:lnTo>
                <a:lnTo>
                  <a:pt x="89422" y="643883"/>
                </a:lnTo>
                <a:lnTo>
                  <a:pt x="115734" y="588143"/>
                </a:lnTo>
                <a:lnTo>
                  <a:pt x="121848" y="577740"/>
                </a:lnTo>
                <a:lnTo>
                  <a:pt x="124169" y="573005"/>
                </a:lnTo>
                <a:lnTo>
                  <a:pt x="134403" y="556381"/>
                </a:lnTo>
                <a:lnTo>
                  <a:pt x="161333" y="510566"/>
                </a:lnTo>
                <a:lnTo>
                  <a:pt x="170598" y="497582"/>
                </a:lnTo>
                <a:lnTo>
                  <a:pt x="174534" y="491185"/>
                </a:lnTo>
                <a:lnTo>
                  <a:pt x="186458" y="475354"/>
                </a:lnTo>
                <a:lnTo>
                  <a:pt x="213741" y="437120"/>
                </a:lnTo>
                <a:lnTo>
                  <a:pt x="226666" y="421970"/>
                </a:lnTo>
                <a:lnTo>
                  <a:pt x="232537" y="414172"/>
                </a:lnTo>
                <a:lnTo>
                  <a:pt x="245428" y="399975"/>
                </a:lnTo>
                <a:lnTo>
                  <a:pt x="272569" y="368155"/>
                </a:lnTo>
                <a:lnTo>
                  <a:pt x="289619" y="351302"/>
                </a:lnTo>
                <a:lnTo>
                  <a:pt x="297703" y="342396"/>
                </a:lnTo>
                <a:lnTo>
                  <a:pt x="310983" y="330181"/>
                </a:lnTo>
                <a:lnTo>
                  <a:pt x="337434" y="304029"/>
                </a:lnTo>
                <a:lnTo>
                  <a:pt x="359031" y="285980"/>
                </a:lnTo>
                <a:lnTo>
                  <a:pt x="369567" y="276286"/>
                </a:lnTo>
                <a:lnTo>
                  <a:pt x="382740" y="266163"/>
                </a:lnTo>
                <a:lnTo>
                  <a:pt x="407948" y="245095"/>
                </a:lnTo>
                <a:lnTo>
                  <a:pt x="434483" y="226398"/>
                </a:lnTo>
                <a:lnTo>
                  <a:pt x="447659" y="216272"/>
                </a:lnTo>
                <a:lnTo>
                  <a:pt x="460291" y="208214"/>
                </a:lnTo>
                <a:lnTo>
                  <a:pt x="483722" y="191703"/>
                </a:lnTo>
                <a:lnTo>
                  <a:pt x="515572" y="172948"/>
                </a:lnTo>
                <a:lnTo>
                  <a:pt x="531508" y="162782"/>
                </a:lnTo>
                <a:lnTo>
                  <a:pt x="543209" y="156673"/>
                </a:lnTo>
                <a:lnTo>
                  <a:pt x="564373" y="144210"/>
                </a:lnTo>
                <a:lnTo>
                  <a:pt x="601919" y="126023"/>
                </a:lnTo>
                <a:lnTo>
                  <a:pt x="620646" y="116246"/>
                </a:lnTo>
                <a:lnTo>
                  <a:pt x="631065" y="111905"/>
                </a:lnTo>
                <a:lnTo>
                  <a:pt x="649513" y="102967"/>
                </a:lnTo>
                <a:lnTo>
                  <a:pt x="693215" y="86005"/>
                </a:lnTo>
                <a:lnTo>
                  <a:pt x="714604" y="77091"/>
                </a:lnTo>
                <a:lnTo>
                  <a:pt x="723421" y="74281"/>
                </a:lnTo>
                <a:lnTo>
                  <a:pt x="738755" y="68329"/>
                </a:lnTo>
                <a:lnTo>
                  <a:pt x="789290" y="53281"/>
                </a:lnTo>
                <a:lnTo>
                  <a:pt x="812911" y="45751"/>
                </a:lnTo>
                <a:lnTo>
                  <a:pt x="819840" y="44184"/>
                </a:lnTo>
                <a:lnTo>
                  <a:pt x="831714" y="40649"/>
                </a:lnTo>
                <a:lnTo>
                  <a:pt x="890408" y="28233"/>
                </a:lnTo>
                <a:lnTo>
                  <a:pt x="891488" y="27989"/>
                </a:lnTo>
                <a:lnTo>
                  <a:pt x="891488" y="26353"/>
                </a:lnTo>
                <a:lnTo>
                  <a:pt x="920414" y="21016"/>
                </a:lnTo>
                <a:lnTo>
                  <a:pt x="926275" y="20363"/>
                </a:lnTo>
                <a:lnTo>
                  <a:pt x="936223" y="18645"/>
                </a:lnTo>
                <a:lnTo>
                  <a:pt x="1022729" y="9605"/>
                </a:lnTo>
                <a:lnTo>
                  <a:pt x="1049789" y="6588"/>
                </a:lnTo>
                <a:lnTo>
                  <a:pt x="1052637" y="6482"/>
                </a:lnTo>
                <a:lnTo>
                  <a:pt x="1057795" y="5941"/>
                </a:lnTo>
                <a:lnTo>
                  <a:pt x="1117794" y="3821"/>
                </a:lnTo>
                <a:lnTo>
                  <a:pt x="1117794" y="1237"/>
                </a:lnTo>
                <a:lnTo>
                  <a:pt x="1173109" y="1237"/>
                </a:lnTo>
                <a:lnTo>
                  <a:pt x="1190915" y="1237"/>
                </a:lnTo>
                <a:lnTo>
                  <a:pt x="1191329" y="1237"/>
                </a:lnTo>
                <a:lnTo>
                  <a:pt x="1191331" y="1237"/>
                </a:lnTo>
                <a:close/>
              </a:path>
            </a:pathLst>
          </a:custGeom>
        </p:spPr>
        <p:txBody>
          <a:bodyPr wrap="square">
            <a:noAutofit/>
          </a:bodyPr>
          <a:lstStyle/>
          <a:p>
            <a:endParaRPr lang="en-US"/>
          </a:p>
        </p:txBody>
      </p:sp>
    </p:spTree>
    <p:extLst>
      <p:ext uri="{BB962C8B-B14F-4D97-AF65-F5344CB8AC3E}">
        <p14:creationId xmlns:p14="http://schemas.microsoft.com/office/powerpoint/2010/main" val="308495091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1692582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753B3EF-D4B7-4A79-9D8C-1B88C55A4547}"/>
              </a:ext>
            </a:extLst>
          </p:cNvPr>
          <p:cNvSpPr>
            <a:spLocks noGrp="1"/>
          </p:cNvSpPr>
          <p:nvPr>
            <p:ph type="pic" sz="quarter" idx="10"/>
          </p:nvPr>
        </p:nvSpPr>
        <p:spPr>
          <a:xfrm>
            <a:off x="7715251" y="1104900"/>
            <a:ext cx="2181225" cy="4564380"/>
          </a:xfrm>
          <a:custGeom>
            <a:avLst/>
            <a:gdLst>
              <a:gd name="connsiteX0" fmla="*/ 194587 w 2181225"/>
              <a:gd name="connsiteY0" fmla="*/ 0 h 4564380"/>
              <a:gd name="connsiteX1" fmla="*/ 1986638 w 2181225"/>
              <a:gd name="connsiteY1" fmla="*/ 0 h 4564380"/>
              <a:gd name="connsiteX2" fmla="*/ 2181225 w 2181225"/>
              <a:gd name="connsiteY2" fmla="*/ 194587 h 4564380"/>
              <a:gd name="connsiteX3" fmla="*/ 2181225 w 2181225"/>
              <a:gd name="connsiteY3" fmla="*/ 4369793 h 4564380"/>
              <a:gd name="connsiteX4" fmla="*/ 1986638 w 2181225"/>
              <a:gd name="connsiteY4" fmla="*/ 4564380 h 4564380"/>
              <a:gd name="connsiteX5" fmla="*/ 194587 w 2181225"/>
              <a:gd name="connsiteY5" fmla="*/ 4564380 h 4564380"/>
              <a:gd name="connsiteX6" fmla="*/ 0 w 2181225"/>
              <a:gd name="connsiteY6" fmla="*/ 4369793 h 4564380"/>
              <a:gd name="connsiteX7" fmla="*/ 0 w 2181225"/>
              <a:gd name="connsiteY7" fmla="*/ 194587 h 4564380"/>
              <a:gd name="connsiteX8" fmla="*/ 194587 w 2181225"/>
              <a:gd name="connsiteY8" fmla="*/ 0 h 456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1225" h="4564380">
                <a:moveTo>
                  <a:pt x="194587" y="0"/>
                </a:moveTo>
                <a:lnTo>
                  <a:pt x="1986638" y="0"/>
                </a:lnTo>
                <a:cubicBezTo>
                  <a:pt x="2094105" y="0"/>
                  <a:pt x="2181225" y="87120"/>
                  <a:pt x="2181225" y="194587"/>
                </a:cubicBezTo>
                <a:lnTo>
                  <a:pt x="2181225" y="4369793"/>
                </a:lnTo>
                <a:cubicBezTo>
                  <a:pt x="2181225" y="4477260"/>
                  <a:pt x="2094105" y="4564380"/>
                  <a:pt x="1986638" y="4564380"/>
                </a:cubicBezTo>
                <a:lnTo>
                  <a:pt x="194587" y="4564380"/>
                </a:lnTo>
                <a:cubicBezTo>
                  <a:pt x="87120" y="4564380"/>
                  <a:pt x="0" y="4477260"/>
                  <a:pt x="0" y="4369793"/>
                </a:cubicBezTo>
                <a:lnTo>
                  <a:pt x="0" y="194587"/>
                </a:lnTo>
                <a:cubicBezTo>
                  <a:pt x="0" y="87120"/>
                  <a:pt x="87120" y="0"/>
                  <a:pt x="194587"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911428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A47168-13BB-4F0A-A589-005BF0D7ADE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68A0E262-A8E9-48BA-9575-61B54E44CEF3}"/>
              </a:ext>
            </a:extLst>
          </p:cNvPr>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E319D816-CA86-442E-B7F6-C72D89209FBE}"/>
              </a:ext>
            </a:extLst>
          </p:cNvPr>
          <p:cNvSpPr>
            <a:spLocks noGrp="1"/>
          </p:cNvSpPr>
          <p:nvPr>
            <p:ph type="dt" sz="half" idx="10"/>
          </p:nvPr>
        </p:nvSpPr>
        <p:spPr/>
        <p:txBody>
          <a:bodyPr/>
          <a:lstStyle/>
          <a:p>
            <a:fld id="{C67F9B67-2119-4870-B423-950E2B02F070}" type="datetimeFigureOut">
              <a:rPr lang="en-ID" smtClean="0">
                <a:solidFill>
                  <a:prstClr val="black">
                    <a:tint val="75000"/>
                  </a:prstClr>
                </a:solidFill>
              </a:rPr>
              <a:pPr/>
              <a:t>12/12/2023</a:t>
            </a:fld>
            <a:endParaRPr lang="en-ID">
              <a:solidFill>
                <a:prstClr val="black">
                  <a:tint val="75000"/>
                </a:prstClr>
              </a:solidFill>
            </a:endParaRPr>
          </a:p>
        </p:txBody>
      </p:sp>
      <p:sp>
        <p:nvSpPr>
          <p:cNvPr id="5" name="Footer Placeholder 4">
            <a:extLst>
              <a:ext uri="{FF2B5EF4-FFF2-40B4-BE49-F238E27FC236}">
                <a16:creationId xmlns:a16="http://schemas.microsoft.com/office/drawing/2014/main" id="{18688F07-1571-4C23-81DB-17825D613FF9}"/>
              </a:ext>
            </a:extLst>
          </p:cNvPr>
          <p:cNvSpPr>
            <a:spLocks noGrp="1"/>
          </p:cNvSpPr>
          <p:nvPr>
            <p:ph type="ftr" sz="quarter" idx="11"/>
          </p:nvPr>
        </p:nvSpPr>
        <p:spPr/>
        <p:txBody>
          <a:bodyPr/>
          <a:lstStyle/>
          <a:p>
            <a:endParaRPr lang="en-ID">
              <a:solidFill>
                <a:prstClr val="black">
                  <a:tint val="75000"/>
                </a:prstClr>
              </a:solidFill>
            </a:endParaRPr>
          </a:p>
        </p:txBody>
      </p:sp>
      <p:sp>
        <p:nvSpPr>
          <p:cNvPr id="6" name="Slide Number Placeholder 5">
            <a:extLst>
              <a:ext uri="{FF2B5EF4-FFF2-40B4-BE49-F238E27FC236}">
                <a16:creationId xmlns:a16="http://schemas.microsoft.com/office/drawing/2014/main" id="{A4EFB2D7-4A7F-4E72-A237-A0ECBB15348B}"/>
              </a:ext>
            </a:extLst>
          </p:cNvPr>
          <p:cNvSpPr>
            <a:spLocks noGrp="1"/>
          </p:cNvSpPr>
          <p:nvPr>
            <p:ph type="sldNum" sz="quarter" idx="12"/>
          </p:nvPr>
        </p:nvSpPr>
        <p:spPr/>
        <p:txBody>
          <a:bodyPr/>
          <a:lstStyle/>
          <a:p>
            <a:fld id="{5D8928EB-67EA-4DF5-8889-76A19408D29A}" type="slidenum">
              <a:rPr lang="en-ID" smtClean="0">
                <a:solidFill>
                  <a:prstClr val="black">
                    <a:tint val="75000"/>
                  </a:prstClr>
                </a:solidFill>
              </a:rPr>
              <a:pPr/>
              <a:t>‹#›</a:t>
            </a:fld>
            <a:endParaRPr lang="en-ID">
              <a:solidFill>
                <a:prstClr val="black">
                  <a:tint val="75000"/>
                </a:prstClr>
              </a:solidFill>
            </a:endParaRPr>
          </a:p>
        </p:txBody>
      </p:sp>
    </p:spTree>
    <p:extLst>
      <p:ext uri="{BB962C8B-B14F-4D97-AF65-F5344CB8AC3E}">
        <p14:creationId xmlns:p14="http://schemas.microsoft.com/office/powerpoint/2010/main" val="4930101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BA3D676-62DA-4803-8CB5-DF82E15887F5}"/>
              </a:ext>
            </a:extLst>
          </p:cNvPr>
          <p:cNvSpPr>
            <a:spLocks noGrp="1"/>
          </p:cNvSpPr>
          <p:nvPr>
            <p:ph type="pic" sz="quarter" idx="11"/>
          </p:nvPr>
        </p:nvSpPr>
        <p:spPr>
          <a:xfrm>
            <a:off x="-1" y="4299520"/>
            <a:ext cx="12191999" cy="2570073"/>
          </a:xfrm>
          <a:custGeom>
            <a:avLst/>
            <a:gdLst>
              <a:gd name="connsiteX0" fmla="*/ 1126324 w 12191999"/>
              <a:gd name="connsiteY0" fmla="*/ 0 h 2570073"/>
              <a:gd name="connsiteX1" fmla="*/ 2454730 w 12191999"/>
              <a:gd name="connsiteY1" fmla="*/ 0 h 2570073"/>
              <a:gd name="connsiteX2" fmla="*/ 3481005 w 12191999"/>
              <a:gd name="connsiteY2" fmla="*/ 0 h 2570073"/>
              <a:gd name="connsiteX3" fmla="*/ 3540677 w 12191999"/>
              <a:gd name="connsiteY3" fmla="*/ 0 h 2570073"/>
              <a:gd name="connsiteX4" fmla="*/ 4809411 w 12191999"/>
              <a:gd name="connsiteY4" fmla="*/ 0 h 2570073"/>
              <a:gd name="connsiteX5" fmla="*/ 4869085 w 12191999"/>
              <a:gd name="connsiteY5" fmla="*/ 0 h 2570073"/>
              <a:gd name="connsiteX6" fmla="*/ 4869085 w 12191999"/>
              <a:gd name="connsiteY6" fmla="*/ 1332 h 2570073"/>
              <a:gd name="connsiteX7" fmla="*/ 5935733 w 12191999"/>
              <a:gd name="connsiteY7" fmla="*/ 1332 h 2570073"/>
              <a:gd name="connsiteX8" fmla="*/ 5935733 w 12191999"/>
              <a:gd name="connsiteY8" fmla="*/ 316755 h 2570073"/>
              <a:gd name="connsiteX9" fmla="*/ 5935733 w 12191999"/>
              <a:gd name="connsiteY9" fmla="*/ 1082676 h 2570073"/>
              <a:gd name="connsiteX10" fmla="*/ 5935736 w 12191999"/>
              <a:gd name="connsiteY10" fmla="*/ 1082676 h 2570073"/>
              <a:gd name="connsiteX11" fmla="*/ 5935736 w 12191999"/>
              <a:gd name="connsiteY11" fmla="*/ 1074434 h 2570073"/>
              <a:gd name="connsiteX12" fmla="*/ 5938273 w 12191999"/>
              <a:gd name="connsiteY12" fmla="*/ 1074434 h 2570073"/>
              <a:gd name="connsiteX13" fmla="*/ 5940855 w 12191999"/>
              <a:gd name="connsiteY13" fmla="*/ 1019920 h 2570073"/>
              <a:gd name="connsiteX14" fmla="*/ 5941326 w 12191999"/>
              <a:gd name="connsiteY14" fmla="*/ 1016613 h 2570073"/>
              <a:gd name="connsiteX15" fmla="*/ 5941548 w 12191999"/>
              <a:gd name="connsiteY15" fmla="*/ 1012207 h 2570073"/>
              <a:gd name="connsiteX16" fmla="*/ 5978689 w 12191999"/>
              <a:gd name="connsiteY16" fmla="*/ 818244 h 2570073"/>
              <a:gd name="connsiteX17" fmla="*/ 5980205 w 12191999"/>
              <a:gd name="connsiteY17" fmla="*/ 813682 h 2570073"/>
              <a:gd name="connsiteX18" fmla="*/ 5980394 w 12191999"/>
              <a:gd name="connsiteY18" fmla="*/ 812894 h 2570073"/>
              <a:gd name="connsiteX19" fmla="*/ 5983069 w 12191999"/>
              <a:gd name="connsiteY19" fmla="*/ 805066 h 2570073"/>
              <a:gd name="connsiteX20" fmla="*/ 6009331 w 12191999"/>
              <a:gd name="connsiteY20" fmla="*/ 726078 h 2570073"/>
              <a:gd name="connsiteX21" fmla="*/ 6012832 w 12191999"/>
              <a:gd name="connsiteY21" fmla="*/ 717971 h 2570073"/>
              <a:gd name="connsiteX22" fmla="*/ 6013885 w 12191999"/>
              <a:gd name="connsiteY22" fmla="*/ 714889 h 2570073"/>
              <a:gd name="connsiteX23" fmla="*/ 6021353 w 12191999"/>
              <a:gd name="connsiteY23" fmla="*/ 698231 h 2570073"/>
              <a:gd name="connsiteX24" fmla="*/ 6047512 w 12191999"/>
              <a:gd name="connsiteY24" fmla="*/ 637633 h 2570073"/>
              <a:gd name="connsiteX25" fmla="*/ 6053591 w 12191999"/>
              <a:gd name="connsiteY25" fmla="*/ 626323 h 2570073"/>
              <a:gd name="connsiteX26" fmla="*/ 6055899 w 12191999"/>
              <a:gd name="connsiteY26" fmla="*/ 621176 h 2570073"/>
              <a:gd name="connsiteX27" fmla="*/ 6066075 w 12191999"/>
              <a:gd name="connsiteY27" fmla="*/ 603101 h 2570073"/>
              <a:gd name="connsiteX28" fmla="*/ 6092846 w 12191999"/>
              <a:gd name="connsiteY28" fmla="*/ 553294 h 2570073"/>
              <a:gd name="connsiteX29" fmla="*/ 6102058 w 12191999"/>
              <a:gd name="connsiteY29" fmla="*/ 539178 h 2570073"/>
              <a:gd name="connsiteX30" fmla="*/ 6105971 w 12191999"/>
              <a:gd name="connsiteY30" fmla="*/ 532224 h 2570073"/>
              <a:gd name="connsiteX31" fmla="*/ 6117825 w 12191999"/>
              <a:gd name="connsiteY31" fmla="*/ 515013 h 2570073"/>
              <a:gd name="connsiteX32" fmla="*/ 6144948 w 12191999"/>
              <a:gd name="connsiteY32" fmla="*/ 473445 h 2570073"/>
              <a:gd name="connsiteX33" fmla="*/ 6157796 w 12191999"/>
              <a:gd name="connsiteY33" fmla="*/ 456974 h 2570073"/>
              <a:gd name="connsiteX34" fmla="*/ 6163633 w 12191999"/>
              <a:gd name="connsiteY34" fmla="*/ 448498 h 2570073"/>
              <a:gd name="connsiteX35" fmla="*/ 6176451 w 12191999"/>
              <a:gd name="connsiteY35" fmla="*/ 433062 h 2570073"/>
              <a:gd name="connsiteX36" fmla="*/ 6203435 w 12191999"/>
              <a:gd name="connsiteY36" fmla="*/ 398470 h 2570073"/>
              <a:gd name="connsiteX37" fmla="*/ 6220383 w 12191999"/>
              <a:gd name="connsiteY37" fmla="*/ 380147 h 2570073"/>
              <a:gd name="connsiteX38" fmla="*/ 6228423 w 12191999"/>
              <a:gd name="connsiteY38" fmla="*/ 370466 h 2570073"/>
              <a:gd name="connsiteX39" fmla="*/ 6241622 w 12191999"/>
              <a:gd name="connsiteY39" fmla="*/ 357186 h 2570073"/>
              <a:gd name="connsiteX40" fmla="*/ 6267921 w 12191999"/>
              <a:gd name="connsiteY40" fmla="*/ 328755 h 2570073"/>
              <a:gd name="connsiteX41" fmla="*/ 6289392 w 12191999"/>
              <a:gd name="connsiteY41" fmla="*/ 309131 h 2570073"/>
              <a:gd name="connsiteX42" fmla="*/ 6299866 w 12191999"/>
              <a:gd name="connsiteY42" fmla="*/ 298593 h 2570073"/>
              <a:gd name="connsiteX43" fmla="*/ 6312962 w 12191999"/>
              <a:gd name="connsiteY43" fmla="*/ 287587 h 2570073"/>
              <a:gd name="connsiteX44" fmla="*/ 6338022 w 12191999"/>
              <a:gd name="connsiteY44" fmla="*/ 264683 h 2570073"/>
              <a:gd name="connsiteX45" fmla="*/ 6364404 w 12191999"/>
              <a:gd name="connsiteY45" fmla="*/ 244356 h 2570073"/>
              <a:gd name="connsiteX46" fmla="*/ 6377503 w 12191999"/>
              <a:gd name="connsiteY46" fmla="*/ 233348 h 2570073"/>
              <a:gd name="connsiteX47" fmla="*/ 6390061 w 12191999"/>
              <a:gd name="connsiteY47" fmla="*/ 224587 h 2570073"/>
              <a:gd name="connsiteX48" fmla="*/ 6413357 w 12191999"/>
              <a:gd name="connsiteY48" fmla="*/ 206638 h 2570073"/>
              <a:gd name="connsiteX49" fmla="*/ 6445019 w 12191999"/>
              <a:gd name="connsiteY49" fmla="*/ 186248 h 2570073"/>
              <a:gd name="connsiteX50" fmla="*/ 6460863 w 12191999"/>
              <a:gd name="connsiteY50" fmla="*/ 175195 h 2570073"/>
              <a:gd name="connsiteX51" fmla="*/ 6472496 w 12191999"/>
              <a:gd name="connsiteY51" fmla="*/ 168554 h 2570073"/>
              <a:gd name="connsiteX52" fmla="*/ 6493537 w 12191999"/>
              <a:gd name="connsiteY52" fmla="*/ 155005 h 2570073"/>
              <a:gd name="connsiteX53" fmla="*/ 6530864 w 12191999"/>
              <a:gd name="connsiteY53" fmla="*/ 135232 h 2570073"/>
              <a:gd name="connsiteX54" fmla="*/ 6549482 w 12191999"/>
              <a:gd name="connsiteY54" fmla="*/ 124603 h 2570073"/>
              <a:gd name="connsiteX55" fmla="*/ 6559839 w 12191999"/>
              <a:gd name="connsiteY55" fmla="*/ 119882 h 2570073"/>
              <a:gd name="connsiteX56" fmla="*/ 6578180 w 12191999"/>
              <a:gd name="connsiteY56" fmla="*/ 110167 h 2570073"/>
              <a:gd name="connsiteX57" fmla="*/ 6621627 w 12191999"/>
              <a:gd name="connsiteY57" fmla="*/ 91726 h 2570073"/>
              <a:gd name="connsiteX58" fmla="*/ 6642892 w 12191999"/>
              <a:gd name="connsiteY58" fmla="*/ 82036 h 2570073"/>
              <a:gd name="connsiteX59" fmla="*/ 6651657 w 12191999"/>
              <a:gd name="connsiteY59" fmla="*/ 78980 h 2570073"/>
              <a:gd name="connsiteX60" fmla="*/ 6666902 w 12191999"/>
              <a:gd name="connsiteY60" fmla="*/ 72509 h 2570073"/>
              <a:gd name="connsiteX61" fmla="*/ 6717142 w 12191999"/>
              <a:gd name="connsiteY61" fmla="*/ 56150 h 2570073"/>
              <a:gd name="connsiteX62" fmla="*/ 6740626 w 12191999"/>
              <a:gd name="connsiteY62" fmla="*/ 47963 h 2570073"/>
              <a:gd name="connsiteX63" fmla="*/ 6747514 w 12191999"/>
              <a:gd name="connsiteY63" fmla="*/ 46260 h 2570073"/>
              <a:gd name="connsiteX64" fmla="*/ 6759319 w 12191999"/>
              <a:gd name="connsiteY64" fmla="*/ 42416 h 2570073"/>
              <a:gd name="connsiteX65" fmla="*/ 6817670 w 12191999"/>
              <a:gd name="connsiteY65" fmla="*/ 28918 h 2570073"/>
              <a:gd name="connsiteX66" fmla="*/ 6842218 w 12191999"/>
              <a:gd name="connsiteY66" fmla="*/ 22850 h 2570073"/>
              <a:gd name="connsiteX67" fmla="*/ 6846973 w 12191999"/>
              <a:gd name="connsiteY67" fmla="*/ 22139 h 2570073"/>
              <a:gd name="connsiteX68" fmla="*/ 6855046 w 12191999"/>
              <a:gd name="connsiteY68" fmla="*/ 20272 h 2570073"/>
              <a:gd name="connsiteX69" fmla="*/ 6925243 w 12191999"/>
              <a:gd name="connsiteY69" fmla="*/ 10445 h 2570073"/>
              <a:gd name="connsiteX70" fmla="*/ 6947201 w 12191999"/>
              <a:gd name="connsiteY70" fmla="*/ 7163 h 2570073"/>
              <a:gd name="connsiteX71" fmla="*/ 6949512 w 12191999"/>
              <a:gd name="connsiteY71" fmla="*/ 7047 h 2570073"/>
              <a:gd name="connsiteX72" fmla="*/ 6953699 w 12191999"/>
              <a:gd name="connsiteY72" fmla="*/ 6460 h 2570073"/>
              <a:gd name="connsiteX73" fmla="*/ 7002386 w 12191999"/>
              <a:gd name="connsiteY73" fmla="*/ 4155 h 2570073"/>
              <a:gd name="connsiteX74" fmla="*/ 7002386 w 12191999"/>
              <a:gd name="connsiteY74" fmla="*/ 1346 h 2570073"/>
              <a:gd name="connsiteX75" fmla="*/ 7047272 w 12191999"/>
              <a:gd name="connsiteY75" fmla="*/ 1346 h 2570073"/>
              <a:gd name="connsiteX76" fmla="*/ 7061721 w 12191999"/>
              <a:gd name="connsiteY76" fmla="*/ 1346 h 2570073"/>
              <a:gd name="connsiteX77" fmla="*/ 7062058 w 12191999"/>
              <a:gd name="connsiteY77" fmla="*/ 1346 h 2570073"/>
              <a:gd name="connsiteX78" fmla="*/ 7062058 w 12191999"/>
              <a:gd name="connsiteY78" fmla="*/ 0 h 2570073"/>
              <a:gd name="connsiteX79" fmla="*/ 9416738 w 12191999"/>
              <a:gd name="connsiteY79" fmla="*/ 0 h 2570073"/>
              <a:gd name="connsiteX80" fmla="*/ 9476411 w 12191999"/>
              <a:gd name="connsiteY80" fmla="*/ 0 h 2570073"/>
              <a:gd name="connsiteX81" fmla="*/ 9476411 w 12191999"/>
              <a:gd name="connsiteY81" fmla="*/ 1332 h 2570073"/>
              <a:gd name="connsiteX82" fmla="*/ 9621926 w 12191999"/>
              <a:gd name="connsiteY82" fmla="*/ 1332 h 2570073"/>
              <a:gd name="connsiteX83" fmla="*/ 9621926 w 12191999"/>
              <a:gd name="connsiteY83" fmla="*/ 1232695 h 2570073"/>
              <a:gd name="connsiteX84" fmla="*/ 9621927 w 12191999"/>
              <a:gd name="connsiteY84" fmla="*/ 1232695 h 2570073"/>
              <a:gd name="connsiteX85" fmla="*/ 9621927 w 12191999"/>
              <a:gd name="connsiteY85" fmla="*/ 1224666 h 2570073"/>
              <a:gd name="connsiteX86" fmla="*/ 9624974 w 12191999"/>
              <a:gd name="connsiteY86" fmla="*/ 1224666 h 2570073"/>
              <a:gd name="connsiteX87" fmla="*/ 9628560 w 12191999"/>
              <a:gd name="connsiteY87" fmla="*/ 1153649 h 2570073"/>
              <a:gd name="connsiteX88" fmla="*/ 10906963 w 12191999"/>
              <a:gd name="connsiteY88" fmla="*/ 0 h 2570073"/>
              <a:gd name="connsiteX89" fmla="*/ 12191999 w 12191999"/>
              <a:gd name="connsiteY89" fmla="*/ 1285037 h 2570073"/>
              <a:gd name="connsiteX90" fmla="*/ 11038350 w 12191999"/>
              <a:gd name="connsiteY90" fmla="*/ 2563438 h 2570073"/>
              <a:gd name="connsiteX91" fmla="*/ 10924212 w 12191999"/>
              <a:gd name="connsiteY91" fmla="*/ 2569202 h 2570073"/>
              <a:gd name="connsiteX92" fmla="*/ 10924212 w 12191999"/>
              <a:gd name="connsiteY92" fmla="*/ 2570073 h 2570073"/>
              <a:gd name="connsiteX93" fmla="*/ 10906963 w 12191999"/>
              <a:gd name="connsiteY93" fmla="*/ 2570073 h 2570073"/>
              <a:gd name="connsiteX94" fmla="*/ 10572749 w 12191999"/>
              <a:gd name="connsiteY94" fmla="*/ 2570073 h 2570073"/>
              <a:gd name="connsiteX95" fmla="*/ 9621927 w 12191999"/>
              <a:gd name="connsiteY95" fmla="*/ 2570073 h 2570073"/>
              <a:gd name="connsiteX96" fmla="*/ 9416738 w 12191999"/>
              <a:gd name="connsiteY96" fmla="*/ 2570073 h 2570073"/>
              <a:gd name="connsiteX97" fmla="*/ 7062058 w 12191999"/>
              <a:gd name="connsiteY97" fmla="*/ 2570073 h 2570073"/>
              <a:gd name="connsiteX98" fmla="*/ 7002386 w 12191999"/>
              <a:gd name="connsiteY98" fmla="*/ 2570073 h 2570073"/>
              <a:gd name="connsiteX99" fmla="*/ 6572250 w 12191999"/>
              <a:gd name="connsiteY99" fmla="*/ 2570073 h 2570073"/>
              <a:gd name="connsiteX100" fmla="*/ 6572250 w 12191999"/>
              <a:gd name="connsiteY100" fmla="*/ 2568741 h 2570073"/>
              <a:gd name="connsiteX101" fmla="*/ 5935736 w 12191999"/>
              <a:gd name="connsiteY101" fmla="*/ 2568741 h 2570073"/>
              <a:gd name="connsiteX102" fmla="*/ 5935736 w 12191999"/>
              <a:gd name="connsiteY102" fmla="*/ 2253318 h 2570073"/>
              <a:gd name="connsiteX103" fmla="*/ 5935736 w 12191999"/>
              <a:gd name="connsiteY103" fmla="*/ 1487489 h 2570073"/>
              <a:gd name="connsiteX104" fmla="*/ 5935733 w 12191999"/>
              <a:gd name="connsiteY104" fmla="*/ 1487489 h 2570073"/>
              <a:gd name="connsiteX105" fmla="*/ 5935733 w 12191999"/>
              <a:gd name="connsiteY105" fmla="*/ 1495639 h 2570073"/>
              <a:gd name="connsiteX106" fmla="*/ 5933197 w 12191999"/>
              <a:gd name="connsiteY106" fmla="*/ 1495639 h 2570073"/>
              <a:gd name="connsiteX107" fmla="*/ 5930617 w 12191999"/>
              <a:gd name="connsiteY107" fmla="*/ 1550153 h 2570073"/>
              <a:gd name="connsiteX108" fmla="*/ 5930144 w 12191999"/>
              <a:gd name="connsiteY108" fmla="*/ 1553460 h 2570073"/>
              <a:gd name="connsiteX109" fmla="*/ 5929922 w 12191999"/>
              <a:gd name="connsiteY109" fmla="*/ 1557867 h 2570073"/>
              <a:gd name="connsiteX110" fmla="*/ 5892783 w 12191999"/>
              <a:gd name="connsiteY110" fmla="*/ 1751829 h 2570073"/>
              <a:gd name="connsiteX111" fmla="*/ 5891264 w 12191999"/>
              <a:gd name="connsiteY111" fmla="*/ 1756392 h 2570073"/>
              <a:gd name="connsiteX112" fmla="*/ 5891075 w 12191999"/>
              <a:gd name="connsiteY112" fmla="*/ 1757179 h 2570073"/>
              <a:gd name="connsiteX113" fmla="*/ 5888401 w 12191999"/>
              <a:gd name="connsiteY113" fmla="*/ 1765008 h 2570073"/>
              <a:gd name="connsiteX114" fmla="*/ 5862138 w 12191999"/>
              <a:gd name="connsiteY114" fmla="*/ 1843996 h 2570073"/>
              <a:gd name="connsiteX115" fmla="*/ 5858638 w 12191999"/>
              <a:gd name="connsiteY115" fmla="*/ 1852103 h 2570073"/>
              <a:gd name="connsiteX116" fmla="*/ 5857585 w 12191999"/>
              <a:gd name="connsiteY116" fmla="*/ 1855185 h 2570073"/>
              <a:gd name="connsiteX117" fmla="*/ 5850118 w 12191999"/>
              <a:gd name="connsiteY117" fmla="*/ 1871843 h 2570073"/>
              <a:gd name="connsiteX118" fmla="*/ 5823958 w 12191999"/>
              <a:gd name="connsiteY118" fmla="*/ 1932441 h 2570073"/>
              <a:gd name="connsiteX119" fmla="*/ 5817879 w 12191999"/>
              <a:gd name="connsiteY119" fmla="*/ 1943751 h 2570073"/>
              <a:gd name="connsiteX120" fmla="*/ 5815571 w 12191999"/>
              <a:gd name="connsiteY120" fmla="*/ 1948897 h 2570073"/>
              <a:gd name="connsiteX121" fmla="*/ 5805397 w 12191999"/>
              <a:gd name="connsiteY121" fmla="*/ 1966972 h 2570073"/>
              <a:gd name="connsiteX122" fmla="*/ 5778624 w 12191999"/>
              <a:gd name="connsiteY122" fmla="*/ 2016780 h 2570073"/>
              <a:gd name="connsiteX123" fmla="*/ 5769414 w 12191999"/>
              <a:gd name="connsiteY123" fmla="*/ 2030895 h 2570073"/>
              <a:gd name="connsiteX124" fmla="*/ 5765499 w 12191999"/>
              <a:gd name="connsiteY124" fmla="*/ 2037850 h 2570073"/>
              <a:gd name="connsiteX125" fmla="*/ 5753645 w 12191999"/>
              <a:gd name="connsiteY125" fmla="*/ 2055061 h 2570073"/>
              <a:gd name="connsiteX126" fmla="*/ 5726522 w 12191999"/>
              <a:gd name="connsiteY126" fmla="*/ 2096629 h 2570073"/>
              <a:gd name="connsiteX127" fmla="*/ 5713674 w 12191999"/>
              <a:gd name="connsiteY127" fmla="*/ 2113099 h 2570073"/>
              <a:gd name="connsiteX128" fmla="*/ 5707835 w 12191999"/>
              <a:gd name="connsiteY128" fmla="*/ 2121576 h 2570073"/>
              <a:gd name="connsiteX129" fmla="*/ 5695021 w 12191999"/>
              <a:gd name="connsiteY129" fmla="*/ 2137011 h 2570073"/>
              <a:gd name="connsiteX130" fmla="*/ 5668037 w 12191999"/>
              <a:gd name="connsiteY130" fmla="*/ 2171603 h 2570073"/>
              <a:gd name="connsiteX131" fmla="*/ 5651087 w 12191999"/>
              <a:gd name="connsiteY131" fmla="*/ 2189926 h 2570073"/>
              <a:gd name="connsiteX132" fmla="*/ 5643049 w 12191999"/>
              <a:gd name="connsiteY132" fmla="*/ 2199608 h 2570073"/>
              <a:gd name="connsiteX133" fmla="*/ 5629848 w 12191999"/>
              <a:gd name="connsiteY133" fmla="*/ 2212888 h 2570073"/>
              <a:gd name="connsiteX134" fmla="*/ 5603549 w 12191999"/>
              <a:gd name="connsiteY134" fmla="*/ 2241318 h 2570073"/>
              <a:gd name="connsiteX135" fmla="*/ 5582080 w 12191999"/>
              <a:gd name="connsiteY135" fmla="*/ 2260943 h 2570073"/>
              <a:gd name="connsiteX136" fmla="*/ 5571603 w 12191999"/>
              <a:gd name="connsiteY136" fmla="*/ 2271480 h 2570073"/>
              <a:gd name="connsiteX137" fmla="*/ 5558507 w 12191999"/>
              <a:gd name="connsiteY137" fmla="*/ 2282487 h 2570073"/>
              <a:gd name="connsiteX138" fmla="*/ 5533446 w 12191999"/>
              <a:gd name="connsiteY138" fmla="*/ 2305391 h 2570073"/>
              <a:gd name="connsiteX139" fmla="*/ 5507067 w 12191999"/>
              <a:gd name="connsiteY139" fmla="*/ 2325718 h 2570073"/>
              <a:gd name="connsiteX140" fmla="*/ 5493967 w 12191999"/>
              <a:gd name="connsiteY140" fmla="*/ 2336726 h 2570073"/>
              <a:gd name="connsiteX141" fmla="*/ 5481408 w 12191999"/>
              <a:gd name="connsiteY141" fmla="*/ 2345487 h 2570073"/>
              <a:gd name="connsiteX142" fmla="*/ 5458115 w 12191999"/>
              <a:gd name="connsiteY142" fmla="*/ 2363435 h 2570073"/>
              <a:gd name="connsiteX143" fmla="*/ 5426451 w 12191999"/>
              <a:gd name="connsiteY143" fmla="*/ 2383826 h 2570073"/>
              <a:gd name="connsiteX144" fmla="*/ 5410606 w 12191999"/>
              <a:gd name="connsiteY144" fmla="*/ 2394879 h 2570073"/>
              <a:gd name="connsiteX145" fmla="*/ 5398974 w 12191999"/>
              <a:gd name="connsiteY145" fmla="*/ 2401520 h 2570073"/>
              <a:gd name="connsiteX146" fmla="*/ 5377932 w 12191999"/>
              <a:gd name="connsiteY146" fmla="*/ 2415069 h 2570073"/>
              <a:gd name="connsiteX147" fmla="*/ 5340606 w 12191999"/>
              <a:gd name="connsiteY147" fmla="*/ 2434842 h 2570073"/>
              <a:gd name="connsiteX148" fmla="*/ 5321988 w 12191999"/>
              <a:gd name="connsiteY148" fmla="*/ 2445471 h 2570073"/>
              <a:gd name="connsiteX149" fmla="*/ 5311630 w 12191999"/>
              <a:gd name="connsiteY149" fmla="*/ 2450191 h 2570073"/>
              <a:gd name="connsiteX150" fmla="*/ 5293290 w 12191999"/>
              <a:gd name="connsiteY150" fmla="*/ 2459906 h 2570073"/>
              <a:gd name="connsiteX151" fmla="*/ 5249844 w 12191999"/>
              <a:gd name="connsiteY151" fmla="*/ 2478347 h 2570073"/>
              <a:gd name="connsiteX152" fmla="*/ 5228578 w 12191999"/>
              <a:gd name="connsiteY152" fmla="*/ 2488037 h 2570073"/>
              <a:gd name="connsiteX153" fmla="*/ 5219811 w 12191999"/>
              <a:gd name="connsiteY153" fmla="*/ 2491093 h 2570073"/>
              <a:gd name="connsiteX154" fmla="*/ 5204566 w 12191999"/>
              <a:gd name="connsiteY154" fmla="*/ 2497564 h 2570073"/>
              <a:gd name="connsiteX155" fmla="*/ 5154327 w 12191999"/>
              <a:gd name="connsiteY155" fmla="*/ 2513923 h 2570073"/>
              <a:gd name="connsiteX156" fmla="*/ 5130844 w 12191999"/>
              <a:gd name="connsiteY156" fmla="*/ 2522110 h 2570073"/>
              <a:gd name="connsiteX157" fmla="*/ 5123955 w 12191999"/>
              <a:gd name="connsiteY157" fmla="*/ 2523813 h 2570073"/>
              <a:gd name="connsiteX158" fmla="*/ 5112150 w 12191999"/>
              <a:gd name="connsiteY158" fmla="*/ 2527657 h 2570073"/>
              <a:gd name="connsiteX159" fmla="*/ 5053798 w 12191999"/>
              <a:gd name="connsiteY159" fmla="*/ 2541156 h 2570073"/>
              <a:gd name="connsiteX160" fmla="*/ 5029252 w 12191999"/>
              <a:gd name="connsiteY160" fmla="*/ 2547223 h 2570073"/>
              <a:gd name="connsiteX161" fmla="*/ 5024497 w 12191999"/>
              <a:gd name="connsiteY161" fmla="*/ 2547934 h 2570073"/>
              <a:gd name="connsiteX162" fmla="*/ 5016423 w 12191999"/>
              <a:gd name="connsiteY162" fmla="*/ 2549802 h 2570073"/>
              <a:gd name="connsiteX163" fmla="*/ 4946226 w 12191999"/>
              <a:gd name="connsiteY163" fmla="*/ 2559629 h 2570073"/>
              <a:gd name="connsiteX164" fmla="*/ 4924267 w 12191999"/>
              <a:gd name="connsiteY164" fmla="*/ 2562910 h 2570073"/>
              <a:gd name="connsiteX165" fmla="*/ 4921958 w 12191999"/>
              <a:gd name="connsiteY165" fmla="*/ 2563027 h 2570073"/>
              <a:gd name="connsiteX166" fmla="*/ 4917769 w 12191999"/>
              <a:gd name="connsiteY166" fmla="*/ 2563613 h 2570073"/>
              <a:gd name="connsiteX167" fmla="*/ 4869085 w 12191999"/>
              <a:gd name="connsiteY167" fmla="*/ 2565918 h 2570073"/>
              <a:gd name="connsiteX168" fmla="*/ 4869085 w 12191999"/>
              <a:gd name="connsiteY168" fmla="*/ 2568728 h 2570073"/>
              <a:gd name="connsiteX169" fmla="*/ 4824196 w 12191999"/>
              <a:gd name="connsiteY169" fmla="*/ 2568728 h 2570073"/>
              <a:gd name="connsiteX170" fmla="*/ 4809749 w 12191999"/>
              <a:gd name="connsiteY170" fmla="*/ 2568728 h 2570073"/>
              <a:gd name="connsiteX171" fmla="*/ 4809411 w 12191999"/>
              <a:gd name="connsiteY171" fmla="*/ 2568728 h 2570073"/>
              <a:gd name="connsiteX172" fmla="*/ 4809411 w 12191999"/>
              <a:gd name="connsiteY172" fmla="*/ 2570073 h 2570073"/>
              <a:gd name="connsiteX173" fmla="*/ 3481005 w 12191999"/>
              <a:gd name="connsiteY173" fmla="*/ 2570073 h 2570073"/>
              <a:gd name="connsiteX174" fmla="*/ 2454730 w 12191999"/>
              <a:gd name="connsiteY174" fmla="*/ 2570073 h 2570073"/>
              <a:gd name="connsiteX175" fmla="*/ 2395058 w 12191999"/>
              <a:gd name="connsiteY175" fmla="*/ 2570073 h 2570073"/>
              <a:gd name="connsiteX176" fmla="*/ 1126324 w 12191999"/>
              <a:gd name="connsiteY176" fmla="*/ 2570073 h 2570073"/>
              <a:gd name="connsiteX177" fmla="*/ 1066652 w 12191999"/>
              <a:gd name="connsiteY177" fmla="*/ 2570073 h 2570073"/>
              <a:gd name="connsiteX178" fmla="*/ 1066652 w 12191999"/>
              <a:gd name="connsiteY178" fmla="*/ 2568741 h 2570073"/>
              <a:gd name="connsiteX179" fmla="*/ 1 w 12191999"/>
              <a:gd name="connsiteY179" fmla="*/ 2568741 h 2570073"/>
              <a:gd name="connsiteX180" fmla="*/ 1 w 12191999"/>
              <a:gd name="connsiteY180" fmla="*/ 2253318 h 2570073"/>
              <a:gd name="connsiteX181" fmla="*/ 1 w 12191999"/>
              <a:gd name="connsiteY181" fmla="*/ 1443429 h 2570073"/>
              <a:gd name="connsiteX182" fmla="*/ 1 w 12191999"/>
              <a:gd name="connsiteY182" fmla="*/ 1442766 h 2570073"/>
              <a:gd name="connsiteX183" fmla="*/ 0 w 12191999"/>
              <a:gd name="connsiteY183" fmla="*/ 1442755 h 2570073"/>
              <a:gd name="connsiteX184" fmla="*/ 1 w 12191999"/>
              <a:gd name="connsiteY184" fmla="*/ 1442744 h 2570073"/>
              <a:gd name="connsiteX185" fmla="*/ 1 w 12191999"/>
              <a:gd name="connsiteY185" fmla="*/ 1389857 h 2570073"/>
              <a:gd name="connsiteX186" fmla="*/ 1 w 12191999"/>
              <a:gd name="connsiteY186" fmla="*/ 1128007 h 2570073"/>
              <a:gd name="connsiteX187" fmla="*/ 1 w 12191999"/>
              <a:gd name="connsiteY187" fmla="*/ 1127343 h 2570073"/>
              <a:gd name="connsiteX188" fmla="*/ 0 w 12191999"/>
              <a:gd name="connsiteY188" fmla="*/ 1127332 h 2570073"/>
              <a:gd name="connsiteX189" fmla="*/ 1 w 12191999"/>
              <a:gd name="connsiteY189" fmla="*/ 1127322 h 2570073"/>
              <a:gd name="connsiteX190" fmla="*/ 1 w 12191999"/>
              <a:gd name="connsiteY190" fmla="*/ 1074434 h 2570073"/>
              <a:gd name="connsiteX191" fmla="*/ 2538 w 12191999"/>
              <a:gd name="connsiteY191" fmla="*/ 1074434 h 2570073"/>
              <a:gd name="connsiteX192" fmla="*/ 5119 w 12191999"/>
              <a:gd name="connsiteY192" fmla="*/ 1019920 h 2570073"/>
              <a:gd name="connsiteX193" fmla="*/ 5592 w 12191999"/>
              <a:gd name="connsiteY193" fmla="*/ 1016613 h 2570073"/>
              <a:gd name="connsiteX194" fmla="*/ 5814 w 12191999"/>
              <a:gd name="connsiteY194" fmla="*/ 1012207 h 2570073"/>
              <a:gd name="connsiteX195" fmla="*/ 42953 w 12191999"/>
              <a:gd name="connsiteY195" fmla="*/ 818244 h 2570073"/>
              <a:gd name="connsiteX196" fmla="*/ 44470 w 12191999"/>
              <a:gd name="connsiteY196" fmla="*/ 813682 h 2570073"/>
              <a:gd name="connsiteX197" fmla="*/ 44660 w 12191999"/>
              <a:gd name="connsiteY197" fmla="*/ 812894 h 2570073"/>
              <a:gd name="connsiteX198" fmla="*/ 47335 w 12191999"/>
              <a:gd name="connsiteY198" fmla="*/ 805066 h 2570073"/>
              <a:gd name="connsiteX199" fmla="*/ 73597 w 12191999"/>
              <a:gd name="connsiteY199" fmla="*/ 726078 h 2570073"/>
              <a:gd name="connsiteX200" fmla="*/ 77097 w 12191999"/>
              <a:gd name="connsiteY200" fmla="*/ 717971 h 2570073"/>
              <a:gd name="connsiteX201" fmla="*/ 78150 w 12191999"/>
              <a:gd name="connsiteY201" fmla="*/ 714889 h 2570073"/>
              <a:gd name="connsiteX202" fmla="*/ 85619 w 12191999"/>
              <a:gd name="connsiteY202" fmla="*/ 698231 h 2570073"/>
              <a:gd name="connsiteX203" fmla="*/ 111778 w 12191999"/>
              <a:gd name="connsiteY203" fmla="*/ 637633 h 2570073"/>
              <a:gd name="connsiteX204" fmla="*/ 117857 w 12191999"/>
              <a:gd name="connsiteY204" fmla="*/ 626323 h 2570073"/>
              <a:gd name="connsiteX205" fmla="*/ 120165 w 12191999"/>
              <a:gd name="connsiteY205" fmla="*/ 621176 h 2570073"/>
              <a:gd name="connsiteX206" fmla="*/ 130339 w 12191999"/>
              <a:gd name="connsiteY206" fmla="*/ 603101 h 2570073"/>
              <a:gd name="connsiteX207" fmla="*/ 157112 w 12191999"/>
              <a:gd name="connsiteY207" fmla="*/ 553294 h 2570073"/>
              <a:gd name="connsiteX208" fmla="*/ 166322 w 12191999"/>
              <a:gd name="connsiteY208" fmla="*/ 539178 h 2570073"/>
              <a:gd name="connsiteX209" fmla="*/ 170237 w 12191999"/>
              <a:gd name="connsiteY209" fmla="*/ 532224 h 2570073"/>
              <a:gd name="connsiteX210" fmla="*/ 182090 w 12191999"/>
              <a:gd name="connsiteY210" fmla="*/ 515013 h 2570073"/>
              <a:gd name="connsiteX211" fmla="*/ 209214 w 12191999"/>
              <a:gd name="connsiteY211" fmla="*/ 473445 h 2570073"/>
              <a:gd name="connsiteX212" fmla="*/ 222062 w 12191999"/>
              <a:gd name="connsiteY212" fmla="*/ 456974 h 2570073"/>
              <a:gd name="connsiteX213" fmla="*/ 227900 w 12191999"/>
              <a:gd name="connsiteY213" fmla="*/ 448498 h 2570073"/>
              <a:gd name="connsiteX214" fmla="*/ 240715 w 12191999"/>
              <a:gd name="connsiteY214" fmla="*/ 433062 h 2570073"/>
              <a:gd name="connsiteX215" fmla="*/ 267700 w 12191999"/>
              <a:gd name="connsiteY215" fmla="*/ 398470 h 2570073"/>
              <a:gd name="connsiteX216" fmla="*/ 284649 w 12191999"/>
              <a:gd name="connsiteY216" fmla="*/ 380147 h 2570073"/>
              <a:gd name="connsiteX217" fmla="*/ 292687 w 12191999"/>
              <a:gd name="connsiteY217" fmla="*/ 370466 h 2570073"/>
              <a:gd name="connsiteX218" fmla="*/ 305888 w 12191999"/>
              <a:gd name="connsiteY218" fmla="*/ 357186 h 2570073"/>
              <a:gd name="connsiteX219" fmla="*/ 332186 w 12191999"/>
              <a:gd name="connsiteY219" fmla="*/ 328755 h 2570073"/>
              <a:gd name="connsiteX220" fmla="*/ 353657 w 12191999"/>
              <a:gd name="connsiteY220" fmla="*/ 309131 h 2570073"/>
              <a:gd name="connsiteX221" fmla="*/ 364133 w 12191999"/>
              <a:gd name="connsiteY221" fmla="*/ 298593 h 2570073"/>
              <a:gd name="connsiteX222" fmla="*/ 377228 w 12191999"/>
              <a:gd name="connsiteY222" fmla="*/ 287587 h 2570073"/>
              <a:gd name="connsiteX223" fmla="*/ 402288 w 12191999"/>
              <a:gd name="connsiteY223" fmla="*/ 264683 h 2570073"/>
              <a:gd name="connsiteX224" fmla="*/ 428670 w 12191999"/>
              <a:gd name="connsiteY224" fmla="*/ 244356 h 2570073"/>
              <a:gd name="connsiteX225" fmla="*/ 441769 w 12191999"/>
              <a:gd name="connsiteY225" fmla="*/ 233348 h 2570073"/>
              <a:gd name="connsiteX226" fmla="*/ 454327 w 12191999"/>
              <a:gd name="connsiteY226" fmla="*/ 224587 h 2570073"/>
              <a:gd name="connsiteX227" fmla="*/ 477622 w 12191999"/>
              <a:gd name="connsiteY227" fmla="*/ 206638 h 2570073"/>
              <a:gd name="connsiteX228" fmla="*/ 509285 w 12191999"/>
              <a:gd name="connsiteY228" fmla="*/ 186248 h 2570073"/>
              <a:gd name="connsiteX229" fmla="*/ 525129 w 12191999"/>
              <a:gd name="connsiteY229" fmla="*/ 175195 h 2570073"/>
              <a:gd name="connsiteX230" fmla="*/ 536762 w 12191999"/>
              <a:gd name="connsiteY230" fmla="*/ 168554 h 2570073"/>
              <a:gd name="connsiteX231" fmla="*/ 557803 w 12191999"/>
              <a:gd name="connsiteY231" fmla="*/ 155005 h 2570073"/>
              <a:gd name="connsiteX232" fmla="*/ 595129 w 12191999"/>
              <a:gd name="connsiteY232" fmla="*/ 135232 h 2570073"/>
              <a:gd name="connsiteX233" fmla="*/ 613748 w 12191999"/>
              <a:gd name="connsiteY233" fmla="*/ 124603 h 2570073"/>
              <a:gd name="connsiteX234" fmla="*/ 624106 w 12191999"/>
              <a:gd name="connsiteY234" fmla="*/ 119882 h 2570073"/>
              <a:gd name="connsiteX235" fmla="*/ 642446 w 12191999"/>
              <a:gd name="connsiteY235" fmla="*/ 110167 h 2570073"/>
              <a:gd name="connsiteX236" fmla="*/ 685893 w 12191999"/>
              <a:gd name="connsiteY236" fmla="*/ 91726 h 2570073"/>
              <a:gd name="connsiteX237" fmla="*/ 707157 w 12191999"/>
              <a:gd name="connsiteY237" fmla="*/ 82036 h 2570073"/>
              <a:gd name="connsiteX238" fmla="*/ 715923 w 12191999"/>
              <a:gd name="connsiteY238" fmla="*/ 78980 h 2570073"/>
              <a:gd name="connsiteX239" fmla="*/ 731168 w 12191999"/>
              <a:gd name="connsiteY239" fmla="*/ 72509 h 2570073"/>
              <a:gd name="connsiteX240" fmla="*/ 781408 w 12191999"/>
              <a:gd name="connsiteY240" fmla="*/ 56150 h 2570073"/>
              <a:gd name="connsiteX241" fmla="*/ 804892 w 12191999"/>
              <a:gd name="connsiteY241" fmla="*/ 47963 h 2570073"/>
              <a:gd name="connsiteX242" fmla="*/ 811780 w 12191999"/>
              <a:gd name="connsiteY242" fmla="*/ 46260 h 2570073"/>
              <a:gd name="connsiteX243" fmla="*/ 823585 w 12191999"/>
              <a:gd name="connsiteY243" fmla="*/ 42416 h 2570073"/>
              <a:gd name="connsiteX244" fmla="*/ 881937 w 12191999"/>
              <a:gd name="connsiteY244" fmla="*/ 28918 h 2570073"/>
              <a:gd name="connsiteX245" fmla="*/ 906484 w 12191999"/>
              <a:gd name="connsiteY245" fmla="*/ 22850 h 2570073"/>
              <a:gd name="connsiteX246" fmla="*/ 911239 w 12191999"/>
              <a:gd name="connsiteY246" fmla="*/ 22139 h 2570073"/>
              <a:gd name="connsiteX247" fmla="*/ 919312 w 12191999"/>
              <a:gd name="connsiteY247" fmla="*/ 20272 h 2570073"/>
              <a:gd name="connsiteX248" fmla="*/ 989509 w 12191999"/>
              <a:gd name="connsiteY248" fmla="*/ 10445 h 2570073"/>
              <a:gd name="connsiteX249" fmla="*/ 1011467 w 12191999"/>
              <a:gd name="connsiteY249" fmla="*/ 7163 h 2570073"/>
              <a:gd name="connsiteX250" fmla="*/ 1013779 w 12191999"/>
              <a:gd name="connsiteY250" fmla="*/ 7047 h 2570073"/>
              <a:gd name="connsiteX251" fmla="*/ 1017965 w 12191999"/>
              <a:gd name="connsiteY251" fmla="*/ 6460 h 2570073"/>
              <a:gd name="connsiteX252" fmla="*/ 1066652 w 12191999"/>
              <a:gd name="connsiteY252" fmla="*/ 4155 h 2570073"/>
              <a:gd name="connsiteX253" fmla="*/ 1066652 w 12191999"/>
              <a:gd name="connsiteY253" fmla="*/ 1346 h 2570073"/>
              <a:gd name="connsiteX254" fmla="*/ 1111538 w 12191999"/>
              <a:gd name="connsiteY254" fmla="*/ 1346 h 2570073"/>
              <a:gd name="connsiteX255" fmla="*/ 1125987 w 12191999"/>
              <a:gd name="connsiteY255" fmla="*/ 1346 h 2570073"/>
              <a:gd name="connsiteX256" fmla="*/ 1126324 w 12191999"/>
              <a:gd name="connsiteY256" fmla="*/ 1346 h 257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Lst>
            <a:rect l="l" t="t" r="r" b="b"/>
            <a:pathLst>
              <a:path w="12191999" h="2570073">
                <a:moveTo>
                  <a:pt x="1126324" y="0"/>
                </a:moveTo>
                <a:lnTo>
                  <a:pt x="2454730" y="0"/>
                </a:lnTo>
                <a:lnTo>
                  <a:pt x="3481005" y="0"/>
                </a:lnTo>
                <a:lnTo>
                  <a:pt x="3540677" y="0"/>
                </a:lnTo>
                <a:lnTo>
                  <a:pt x="4809411" y="0"/>
                </a:lnTo>
                <a:lnTo>
                  <a:pt x="4869085" y="0"/>
                </a:lnTo>
                <a:lnTo>
                  <a:pt x="4869085" y="1332"/>
                </a:lnTo>
                <a:lnTo>
                  <a:pt x="5935733" y="1332"/>
                </a:lnTo>
                <a:lnTo>
                  <a:pt x="5935733" y="316755"/>
                </a:lnTo>
                <a:lnTo>
                  <a:pt x="5935733" y="1082676"/>
                </a:lnTo>
                <a:lnTo>
                  <a:pt x="5935736" y="1082676"/>
                </a:lnTo>
                <a:lnTo>
                  <a:pt x="5935736" y="1074434"/>
                </a:lnTo>
                <a:lnTo>
                  <a:pt x="5938273" y="1074434"/>
                </a:lnTo>
                <a:lnTo>
                  <a:pt x="5940855" y="1019920"/>
                </a:lnTo>
                <a:lnTo>
                  <a:pt x="5941326" y="1016613"/>
                </a:lnTo>
                <a:lnTo>
                  <a:pt x="5941548" y="1012207"/>
                </a:lnTo>
                <a:cubicBezTo>
                  <a:pt x="5948307" y="945669"/>
                  <a:pt x="5960857" y="880845"/>
                  <a:pt x="5978689" y="818244"/>
                </a:cubicBezTo>
                <a:lnTo>
                  <a:pt x="5980205" y="813682"/>
                </a:lnTo>
                <a:lnTo>
                  <a:pt x="5980394" y="812894"/>
                </a:lnTo>
                <a:lnTo>
                  <a:pt x="5983069" y="805066"/>
                </a:lnTo>
                <a:lnTo>
                  <a:pt x="6009331" y="726078"/>
                </a:lnTo>
                <a:lnTo>
                  <a:pt x="6012832" y="717971"/>
                </a:lnTo>
                <a:lnTo>
                  <a:pt x="6013885" y="714889"/>
                </a:lnTo>
                <a:lnTo>
                  <a:pt x="6021353" y="698231"/>
                </a:lnTo>
                <a:lnTo>
                  <a:pt x="6047512" y="637633"/>
                </a:lnTo>
                <a:lnTo>
                  <a:pt x="6053591" y="626323"/>
                </a:lnTo>
                <a:lnTo>
                  <a:pt x="6055899" y="621176"/>
                </a:lnTo>
                <a:lnTo>
                  <a:pt x="6066075" y="603101"/>
                </a:lnTo>
                <a:lnTo>
                  <a:pt x="6092846" y="553294"/>
                </a:lnTo>
                <a:lnTo>
                  <a:pt x="6102058" y="539178"/>
                </a:lnTo>
                <a:lnTo>
                  <a:pt x="6105971" y="532224"/>
                </a:lnTo>
                <a:lnTo>
                  <a:pt x="6117825" y="515013"/>
                </a:lnTo>
                <a:lnTo>
                  <a:pt x="6144948" y="473445"/>
                </a:lnTo>
                <a:lnTo>
                  <a:pt x="6157796" y="456974"/>
                </a:lnTo>
                <a:lnTo>
                  <a:pt x="6163633" y="448498"/>
                </a:lnTo>
                <a:lnTo>
                  <a:pt x="6176451" y="433062"/>
                </a:lnTo>
                <a:lnTo>
                  <a:pt x="6203435" y="398470"/>
                </a:lnTo>
                <a:lnTo>
                  <a:pt x="6220383" y="380147"/>
                </a:lnTo>
                <a:lnTo>
                  <a:pt x="6228423" y="370466"/>
                </a:lnTo>
                <a:lnTo>
                  <a:pt x="6241622" y="357186"/>
                </a:lnTo>
                <a:lnTo>
                  <a:pt x="6267921" y="328755"/>
                </a:lnTo>
                <a:lnTo>
                  <a:pt x="6289392" y="309131"/>
                </a:lnTo>
                <a:lnTo>
                  <a:pt x="6299866" y="298593"/>
                </a:lnTo>
                <a:lnTo>
                  <a:pt x="6312962" y="287587"/>
                </a:lnTo>
                <a:lnTo>
                  <a:pt x="6338022" y="264683"/>
                </a:lnTo>
                <a:lnTo>
                  <a:pt x="6364404" y="244356"/>
                </a:lnTo>
                <a:lnTo>
                  <a:pt x="6377503" y="233348"/>
                </a:lnTo>
                <a:lnTo>
                  <a:pt x="6390061" y="224587"/>
                </a:lnTo>
                <a:lnTo>
                  <a:pt x="6413357" y="206638"/>
                </a:lnTo>
                <a:lnTo>
                  <a:pt x="6445019" y="186248"/>
                </a:lnTo>
                <a:lnTo>
                  <a:pt x="6460863" y="175195"/>
                </a:lnTo>
                <a:lnTo>
                  <a:pt x="6472496" y="168554"/>
                </a:lnTo>
                <a:lnTo>
                  <a:pt x="6493537" y="155005"/>
                </a:lnTo>
                <a:lnTo>
                  <a:pt x="6530864" y="135232"/>
                </a:lnTo>
                <a:lnTo>
                  <a:pt x="6549482" y="124603"/>
                </a:lnTo>
                <a:lnTo>
                  <a:pt x="6559839" y="119882"/>
                </a:lnTo>
                <a:lnTo>
                  <a:pt x="6578180" y="110167"/>
                </a:lnTo>
                <a:lnTo>
                  <a:pt x="6621627" y="91726"/>
                </a:lnTo>
                <a:lnTo>
                  <a:pt x="6642892" y="82036"/>
                </a:lnTo>
                <a:lnTo>
                  <a:pt x="6651657" y="78980"/>
                </a:lnTo>
                <a:lnTo>
                  <a:pt x="6666902" y="72509"/>
                </a:lnTo>
                <a:lnTo>
                  <a:pt x="6717142" y="56150"/>
                </a:lnTo>
                <a:lnTo>
                  <a:pt x="6740626" y="47963"/>
                </a:lnTo>
                <a:lnTo>
                  <a:pt x="6747514" y="46260"/>
                </a:lnTo>
                <a:lnTo>
                  <a:pt x="6759319" y="42416"/>
                </a:lnTo>
                <a:lnTo>
                  <a:pt x="6817670" y="28918"/>
                </a:lnTo>
                <a:lnTo>
                  <a:pt x="6842218" y="22850"/>
                </a:lnTo>
                <a:lnTo>
                  <a:pt x="6846973" y="22139"/>
                </a:lnTo>
                <a:lnTo>
                  <a:pt x="6855046" y="20272"/>
                </a:lnTo>
                <a:lnTo>
                  <a:pt x="6925243" y="10445"/>
                </a:lnTo>
                <a:lnTo>
                  <a:pt x="6947201" y="7163"/>
                </a:lnTo>
                <a:lnTo>
                  <a:pt x="6949512" y="7047"/>
                </a:lnTo>
                <a:lnTo>
                  <a:pt x="6953699" y="6460"/>
                </a:lnTo>
                <a:lnTo>
                  <a:pt x="7002386" y="4155"/>
                </a:lnTo>
                <a:lnTo>
                  <a:pt x="7002386" y="1346"/>
                </a:lnTo>
                <a:lnTo>
                  <a:pt x="7047272" y="1346"/>
                </a:lnTo>
                <a:lnTo>
                  <a:pt x="7061721" y="1346"/>
                </a:lnTo>
                <a:lnTo>
                  <a:pt x="7062058" y="1346"/>
                </a:lnTo>
                <a:lnTo>
                  <a:pt x="7062058" y="0"/>
                </a:lnTo>
                <a:lnTo>
                  <a:pt x="9416738" y="0"/>
                </a:lnTo>
                <a:lnTo>
                  <a:pt x="9476411" y="0"/>
                </a:lnTo>
                <a:lnTo>
                  <a:pt x="9476411" y="1332"/>
                </a:lnTo>
                <a:lnTo>
                  <a:pt x="9621926" y="1332"/>
                </a:lnTo>
                <a:lnTo>
                  <a:pt x="9621926" y="1232695"/>
                </a:lnTo>
                <a:lnTo>
                  <a:pt x="9621927" y="1232695"/>
                </a:lnTo>
                <a:lnTo>
                  <a:pt x="9621927" y="1224666"/>
                </a:lnTo>
                <a:lnTo>
                  <a:pt x="9624974" y="1224666"/>
                </a:lnTo>
                <a:lnTo>
                  <a:pt x="9628560" y="1153649"/>
                </a:lnTo>
                <a:cubicBezTo>
                  <a:pt x="9694367" y="505662"/>
                  <a:pt x="10241613" y="0"/>
                  <a:pt x="10906963" y="0"/>
                </a:cubicBezTo>
                <a:cubicBezTo>
                  <a:pt x="11616669" y="0"/>
                  <a:pt x="12191999" y="575331"/>
                  <a:pt x="12191999" y="1285037"/>
                </a:cubicBezTo>
                <a:cubicBezTo>
                  <a:pt x="12191999" y="1950386"/>
                  <a:pt x="11686337" y="2497632"/>
                  <a:pt x="11038350" y="2563438"/>
                </a:cubicBezTo>
                <a:lnTo>
                  <a:pt x="10924212" y="2569202"/>
                </a:lnTo>
                <a:lnTo>
                  <a:pt x="10924212" y="2570073"/>
                </a:lnTo>
                <a:lnTo>
                  <a:pt x="10906963" y="2570073"/>
                </a:lnTo>
                <a:lnTo>
                  <a:pt x="10572749" y="2570073"/>
                </a:lnTo>
                <a:lnTo>
                  <a:pt x="9621927" y="2570073"/>
                </a:lnTo>
                <a:lnTo>
                  <a:pt x="9416738" y="2570073"/>
                </a:lnTo>
                <a:lnTo>
                  <a:pt x="7062058" y="2570073"/>
                </a:lnTo>
                <a:lnTo>
                  <a:pt x="7002386" y="2570073"/>
                </a:lnTo>
                <a:lnTo>
                  <a:pt x="6572250" y="2570073"/>
                </a:lnTo>
                <a:lnTo>
                  <a:pt x="6572250" y="2568741"/>
                </a:lnTo>
                <a:lnTo>
                  <a:pt x="5935736" y="2568741"/>
                </a:lnTo>
                <a:lnTo>
                  <a:pt x="5935736" y="2253318"/>
                </a:lnTo>
                <a:lnTo>
                  <a:pt x="5935736" y="1487489"/>
                </a:lnTo>
                <a:lnTo>
                  <a:pt x="5935733" y="1487489"/>
                </a:lnTo>
                <a:lnTo>
                  <a:pt x="5935733" y="1495639"/>
                </a:lnTo>
                <a:lnTo>
                  <a:pt x="5933197" y="1495639"/>
                </a:lnTo>
                <a:lnTo>
                  <a:pt x="5930617" y="1550153"/>
                </a:lnTo>
                <a:lnTo>
                  <a:pt x="5930144" y="1553460"/>
                </a:lnTo>
                <a:lnTo>
                  <a:pt x="5929922" y="1557867"/>
                </a:lnTo>
                <a:cubicBezTo>
                  <a:pt x="5923165" y="1624404"/>
                  <a:pt x="5910612" y="1689229"/>
                  <a:pt x="5892783" y="1751829"/>
                </a:cubicBezTo>
                <a:lnTo>
                  <a:pt x="5891264" y="1756392"/>
                </a:lnTo>
                <a:lnTo>
                  <a:pt x="5891075" y="1757179"/>
                </a:lnTo>
                <a:lnTo>
                  <a:pt x="5888401" y="1765008"/>
                </a:lnTo>
                <a:lnTo>
                  <a:pt x="5862138" y="1843996"/>
                </a:lnTo>
                <a:lnTo>
                  <a:pt x="5858638" y="1852103"/>
                </a:lnTo>
                <a:lnTo>
                  <a:pt x="5857585" y="1855185"/>
                </a:lnTo>
                <a:lnTo>
                  <a:pt x="5850118" y="1871843"/>
                </a:lnTo>
                <a:lnTo>
                  <a:pt x="5823958" y="1932441"/>
                </a:lnTo>
                <a:lnTo>
                  <a:pt x="5817879" y="1943751"/>
                </a:lnTo>
                <a:lnTo>
                  <a:pt x="5815571" y="1948897"/>
                </a:lnTo>
                <a:lnTo>
                  <a:pt x="5805397" y="1966972"/>
                </a:lnTo>
                <a:lnTo>
                  <a:pt x="5778624" y="2016780"/>
                </a:lnTo>
                <a:lnTo>
                  <a:pt x="5769414" y="2030895"/>
                </a:lnTo>
                <a:lnTo>
                  <a:pt x="5765499" y="2037850"/>
                </a:lnTo>
                <a:lnTo>
                  <a:pt x="5753645" y="2055061"/>
                </a:lnTo>
                <a:lnTo>
                  <a:pt x="5726522" y="2096629"/>
                </a:lnTo>
                <a:lnTo>
                  <a:pt x="5713674" y="2113099"/>
                </a:lnTo>
                <a:lnTo>
                  <a:pt x="5707835" y="2121576"/>
                </a:lnTo>
                <a:lnTo>
                  <a:pt x="5695021" y="2137011"/>
                </a:lnTo>
                <a:lnTo>
                  <a:pt x="5668037" y="2171603"/>
                </a:lnTo>
                <a:lnTo>
                  <a:pt x="5651087" y="2189926"/>
                </a:lnTo>
                <a:lnTo>
                  <a:pt x="5643049" y="2199608"/>
                </a:lnTo>
                <a:lnTo>
                  <a:pt x="5629848" y="2212888"/>
                </a:lnTo>
                <a:lnTo>
                  <a:pt x="5603549" y="2241318"/>
                </a:lnTo>
                <a:lnTo>
                  <a:pt x="5582080" y="2260943"/>
                </a:lnTo>
                <a:lnTo>
                  <a:pt x="5571603" y="2271480"/>
                </a:lnTo>
                <a:lnTo>
                  <a:pt x="5558507" y="2282487"/>
                </a:lnTo>
                <a:lnTo>
                  <a:pt x="5533446" y="2305391"/>
                </a:lnTo>
                <a:lnTo>
                  <a:pt x="5507067" y="2325718"/>
                </a:lnTo>
                <a:lnTo>
                  <a:pt x="5493967" y="2336726"/>
                </a:lnTo>
                <a:lnTo>
                  <a:pt x="5481408" y="2345487"/>
                </a:lnTo>
                <a:lnTo>
                  <a:pt x="5458115" y="2363435"/>
                </a:lnTo>
                <a:lnTo>
                  <a:pt x="5426451" y="2383826"/>
                </a:lnTo>
                <a:lnTo>
                  <a:pt x="5410606" y="2394879"/>
                </a:lnTo>
                <a:lnTo>
                  <a:pt x="5398974" y="2401520"/>
                </a:lnTo>
                <a:lnTo>
                  <a:pt x="5377932" y="2415069"/>
                </a:lnTo>
                <a:lnTo>
                  <a:pt x="5340606" y="2434842"/>
                </a:lnTo>
                <a:lnTo>
                  <a:pt x="5321988" y="2445471"/>
                </a:lnTo>
                <a:lnTo>
                  <a:pt x="5311630" y="2450191"/>
                </a:lnTo>
                <a:lnTo>
                  <a:pt x="5293290" y="2459906"/>
                </a:lnTo>
                <a:lnTo>
                  <a:pt x="5249844" y="2478347"/>
                </a:lnTo>
                <a:lnTo>
                  <a:pt x="5228578" y="2488037"/>
                </a:lnTo>
                <a:lnTo>
                  <a:pt x="5219811" y="2491093"/>
                </a:lnTo>
                <a:lnTo>
                  <a:pt x="5204566" y="2497564"/>
                </a:lnTo>
                <a:lnTo>
                  <a:pt x="5154327" y="2513923"/>
                </a:lnTo>
                <a:lnTo>
                  <a:pt x="5130844" y="2522110"/>
                </a:lnTo>
                <a:lnTo>
                  <a:pt x="5123955" y="2523813"/>
                </a:lnTo>
                <a:lnTo>
                  <a:pt x="5112150" y="2527657"/>
                </a:lnTo>
                <a:lnTo>
                  <a:pt x="5053798" y="2541156"/>
                </a:lnTo>
                <a:lnTo>
                  <a:pt x="5029252" y="2547223"/>
                </a:lnTo>
                <a:lnTo>
                  <a:pt x="5024497" y="2547934"/>
                </a:lnTo>
                <a:lnTo>
                  <a:pt x="5016423" y="2549802"/>
                </a:lnTo>
                <a:lnTo>
                  <a:pt x="4946226" y="2559629"/>
                </a:lnTo>
                <a:lnTo>
                  <a:pt x="4924267" y="2562910"/>
                </a:lnTo>
                <a:lnTo>
                  <a:pt x="4921958" y="2563027"/>
                </a:lnTo>
                <a:lnTo>
                  <a:pt x="4917769" y="2563613"/>
                </a:lnTo>
                <a:lnTo>
                  <a:pt x="4869085" y="2565918"/>
                </a:lnTo>
                <a:lnTo>
                  <a:pt x="4869085" y="2568728"/>
                </a:lnTo>
                <a:lnTo>
                  <a:pt x="4824196" y="2568728"/>
                </a:lnTo>
                <a:lnTo>
                  <a:pt x="4809749" y="2568728"/>
                </a:lnTo>
                <a:lnTo>
                  <a:pt x="4809411" y="2568728"/>
                </a:lnTo>
                <a:lnTo>
                  <a:pt x="4809411" y="2570073"/>
                </a:lnTo>
                <a:lnTo>
                  <a:pt x="3481005" y="2570073"/>
                </a:lnTo>
                <a:lnTo>
                  <a:pt x="2454730" y="2570073"/>
                </a:lnTo>
                <a:lnTo>
                  <a:pt x="2395058" y="2570073"/>
                </a:lnTo>
                <a:lnTo>
                  <a:pt x="1126324" y="2570073"/>
                </a:lnTo>
                <a:lnTo>
                  <a:pt x="1066652" y="2570073"/>
                </a:lnTo>
                <a:lnTo>
                  <a:pt x="1066652" y="2568741"/>
                </a:lnTo>
                <a:lnTo>
                  <a:pt x="1" y="2568741"/>
                </a:lnTo>
                <a:lnTo>
                  <a:pt x="1" y="2253318"/>
                </a:lnTo>
                <a:lnTo>
                  <a:pt x="1" y="1443429"/>
                </a:lnTo>
                <a:lnTo>
                  <a:pt x="1" y="1442766"/>
                </a:lnTo>
                <a:lnTo>
                  <a:pt x="0" y="1442755"/>
                </a:lnTo>
                <a:lnTo>
                  <a:pt x="1" y="1442744"/>
                </a:lnTo>
                <a:lnTo>
                  <a:pt x="1" y="1389857"/>
                </a:lnTo>
                <a:lnTo>
                  <a:pt x="1" y="1128007"/>
                </a:lnTo>
                <a:lnTo>
                  <a:pt x="1" y="1127343"/>
                </a:lnTo>
                <a:lnTo>
                  <a:pt x="0" y="1127332"/>
                </a:lnTo>
                <a:lnTo>
                  <a:pt x="1" y="1127322"/>
                </a:lnTo>
                <a:lnTo>
                  <a:pt x="1" y="1074434"/>
                </a:lnTo>
                <a:lnTo>
                  <a:pt x="2538" y="1074434"/>
                </a:lnTo>
                <a:lnTo>
                  <a:pt x="5119" y="1019920"/>
                </a:lnTo>
                <a:lnTo>
                  <a:pt x="5592" y="1016613"/>
                </a:lnTo>
                <a:lnTo>
                  <a:pt x="5814" y="1012207"/>
                </a:lnTo>
                <a:cubicBezTo>
                  <a:pt x="12572" y="945669"/>
                  <a:pt x="25122" y="880845"/>
                  <a:pt x="42953" y="818244"/>
                </a:cubicBezTo>
                <a:lnTo>
                  <a:pt x="44470" y="813682"/>
                </a:lnTo>
                <a:lnTo>
                  <a:pt x="44660" y="812894"/>
                </a:lnTo>
                <a:lnTo>
                  <a:pt x="47335" y="805066"/>
                </a:lnTo>
                <a:lnTo>
                  <a:pt x="73597" y="726078"/>
                </a:lnTo>
                <a:lnTo>
                  <a:pt x="77097" y="717971"/>
                </a:lnTo>
                <a:lnTo>
                  <a:pt x="78150" y="714889"/>
                </a:lnTo>
                <a:lnTo>
                  <a:pt x="85619" y="698231"/>
                </a:lnTo>
                <a:lnTo>
                  <a:pt x="111778" y="637633"/>
                </a:lnTo>
                <a:lnTo>
                  <a:pt x="117857" y="626323"/>
                </a:lnTo>
                <a:lnTo>
                  <a:pt x="120165" y="621176"/>
                </a:lnTo>
                <a:lnTo>
                  <a:pt x="130339" y="603101"/>
                </a:lnTo>
                <a:lnTo>
                  <a:pt x="157112" y="553294"/>
                </a:lnTo>
                <a:lnTo>
                  <a:pt x="166322" y="539178"/>
                </a:lnTo>
                <a:lnTo>
                  <a:pt x="170237" y="532224"/>
                </a:lnTo>
                <a:lnTo>
                  <a:pt x="182090" y="515013"/>
                </a:lnTo>
                <a:lnTo>
                  <a:pt x="209214" y="473445"/>
                </a:lnTo>
                <a:lnTo>
                  <a:pt x="222062" y="456974"/>
                </a:lnTo>
                <a:lnTo>
                  <a:pt x="227900" y="448498"/>
                </a:lnTo>
                <a:lnTo>
                  <a:pt x="240715" y="433062"/>
                </a:lnTo>
                <a:lnTo>
                  <a:pt x="267700" y="398470"/>
                </a:lnTo>
                <a:lnTo>
                  <a:pt x="284649" y="380147"/>
                </a:lnTo>
                <a:lnTo>
                  <a:pt x="292687" y="370466"/>
                </a:lnTo>
                <a:lnTo>
                  <a:pt x="305888" y="357186"/>
                </a:lnTo>
                <a:lnTo>
                  <a:pt x="332186" y="328755"/>
                </a:lnTo>
                <a:lnTo>
                  <a:pt x="353657" y="309131"/>
                </a:lnTo>
                <a:lnTo>
                  <a:pt x="364133" y="298593"/>
                </a:lnTo>
                <a:lnTo>
                  <a:pt x="377228" y="287587"/>
                </a:lnTo>
                <a:lnTo>
                  <a:pt x="402288" y="264683"/>
                </a:lnTo>
                <a:lnTo>
                  <a:pt x="428670" y="244356"/>
                </a:lnTo>
                <a:lnTo>
                  <a:pt x="441769" y="233348"/>
                </a:lnTo>
                <a:lnTo>
                  <a:pt x="454327" y="224587"/>
                </a:lnTo>
                <a:lnTo>
                  <a:pt x="477622" y="206638"/>
                </a:lnTo>
                <a:lnTo>
                  <a:pt x="509285" y="186248"/>
                </a:lnTo>
                <a:lnTo>
                  <a:pt x="525129" y="175195"/>
                </a:lnTo>
                <a:lnTo>
                  <a:pt x="536762" y="168554"/>
                </a:lnTo>
                <a:lnTo>
                  <a:pt x="557803" y="155005"/>
                </a:lnTo>
                <a:lnTo>
                  <a:pt x="595129" y="135232"/>
                </a:lnTo>
                <a:lnTo>
                  <a:pt x="613748" y="124603"/>
                </a:lnTo>
                <a:lnTo>
                  <a:pt x="624106" y="119882"/>
                </a:lnTo>
                <a:lnTo>
                  <a:pt x="642446" y="110167"/>
                </a:lnTo>
                <a:lnTo>
                  <a:pt x="685893" y="91726"/>
                </a:lnTo>
                <a:lnTo>
                  <a:pt x="707157" y="82036"/>
                </a:lnTo>
                <a:lnTo>
                  <a:pt x="715923" y="78980"/>
                </a:lnTo>
                <a:lnTo>
                  <a:pt x="731168" y="72509"/>
                </a:lnTo>
                <a:lnTo>
                  <a:pt x="781408" y="56150"/>
                </a:lnTo>
                <a:lnTo>
                  <a:pt x="804892" y="47963"/>
                </a:lnTo>
                <a:lnTo>
                  <a:pt x="811780" y="46260"/>
                </a:lnTo>
                <a:lnTo>
                  <a:pt x="823585" y="42416"/>
                </a:lnTo>
                <a:lnTo>
                  <a:pt x="881937" y="28918"/>
                </a:lnTo>
                <a:lnTo>
                  <a:pt x="906484" y="22850"/>
                </a:lnTo>
                <a:lnTo>
                  <a:pt x="911239" y="22139"/>
                </a:lnTo>
                <a:lnTo>
                  <a:pt x="919312" y="20272"/>
                </a:lnTo>
                <a:lnTo>
                  <a:pt x="989509" y="10445"/>
                </a:lnTo>
                <a:lnTo>
                  <a:pt x="1011467" y="7163"/>
                </a:lnTo>
                <a:lnTo>
                  <a:pt x="1013779" y="7047"/>
                </a:lnTo>
                <a:lnTo>
                  <a:pt x="1017965" y="6460"/>
                </a:lnTo>
                <a:lnTo>
                  <a:pt x="1066652" y="4155"/>
                </a:lnTo>
                <a:lnTo>
                  <a:pt x="1066652" y="1346"/>
                </a:lnTo>
                <a:lnTo>
                  <a:pt x="1111538" y="1346"/>
                </a:lnTo>
                <a:lnTo>
                  <a:pt x="1125987" y="1346"/>
                </a:lnTo>
                <a:lnTo>
                  <a:pt x="1126324" y="1346"/>
                </a:lnTo>
                <a:close/>
              </a:path>
            </a:pathLst>
          </a:custGeom>
        </p:spPr>
        <p:txBody>
          <a:bodyPr wrap="square">
            <a:noAutofit/>
          </a:bodyPr>
          <a:lstStyle/>
          <a:p>
            <a:endParaRPr lang="en-US"/>
          </a:p>
        </p:txBody>
      </p:sp>
      <p:sp>
        <p:nvSpPr>
          <p:cNvPr id="9" name="Picture Placeholder 8">
            <a:extLst>
              <a:ext uri="{FF2B5EF4-FFF2-40B4-BE49-F238E27FC236}">
                <a16:creationId xmlns:a16="http://schemas.microsoft.com/office/drawing/2014/main" id="{B8048031-9346-4EA8-B0BB-6AEC838796EC}"/>
              </a:ext>
            </a:extLst>
          </p:cNvPr>
          <p:cNvSpPr>
            <a:spLocks noGrp="1"/>
          </p:cNvSpPr>
          <p:nvPr>
            <p:ph type="pic" sz="quarter" idx="10"/>
          </p:nvPr>
        </p:nvSpPr>
        <p:spPr>
          <a:xfrm>
            <a:off x="5138739" y="1831975"/>
            <a:ext cx="2014092" cy="4290612"/>
          </a:xfrm>
          <a:custGeom>
            <a:avLst/>
            <a:gdLst>
              <a:gd name="connsiteX0" fmla="*/ 249969 w 2014092"/>
              <a:gd name="connsiteY0" fmla="*/ 0 h 4290612"/>
              <a:gd name="connsiteX1" fmla="*/ 1764123 w 2014092"/>
              <a:gd name="connsiteY1" fmla="*/ 0 h 4290612"/>
              <a:gd name="connsiteX2" fmla="*/ 2014092 w 2014092"/>
              <a:gd name="connsiteY2" fmla="*/ 249969 h 4290612"/>
              <a:gd name="connsiteX3" fmla="*/ 2014092 w 2014092"/>
              <a:gd name="connsiteY3" fmla="*/ 4040643 h 4290612"/>
              <a:gd name="connsiteX4" fmla="*/ 1764123 w 2014092"/>
              <a:gd name="connsiteY4" fmla="*/ 4290612 h 4290612"/>
              <a:gd name="connsiteX5" fmla="*/ 249969 w 2014092"/>
              <a:gd name="connsiteY5" fmla="*/ 4290612 h 4290612"/>
              <a:gd name="connsiteX6" fmla="*/ 0 w 2014092"/>
              <a:gd name="connsiteY6" fmla="*/ 4040643 h 4290612"/>
              <a:gd name="connsiteX7" fmla="*/ 0 w 2014092"/>
              <a:gd name="connsiteY7" fmla="*/ 249969 h 4290612"/>
              <a:gd name="connsiteX8" fmla="*/ 249969 w 2014092"/>
              <a:gd name="connsiteY8" fmla="*/ 0 h 4290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4092" h="4290612">
                <a:moveTo>
                  <a:pt x="249969" y="0"/>
                </a:moveTo>
                <a:lnTo>
                  <a:pt x="1764123" y="0"/>
                </a:lnTo>
                <a:cubicBezTo>
                  <a:pt x="1902177" y="0"/>
                  <a:pt x="2014092" y="111915"/>
                  <a:pt x="2014092" y="249969"/>
                </a:cubicBezTo>
                <a:lnTo>
                  <a:pt x="2014092" y="4040643"/>
                </a:lnTo>
                <a:cubicBezTo>
                  <a:pt x="2014092" y="4178697"/>
                  <a:pt x="1902177" y="4290612"/>
                  <a:pt x="1764123" y="4290612"/>
                </a:cubicBezTo>
                <a:lnTo>
                  <a:pt x="249969" y="4290612"/>
                </a:lnTo>
                <a:cubicBezTo>
                  <a:pt x="111915" y="4290612"/>
                  <a:pt x="0" y="4178697"/>
                  <a:pt x="0" y="4040643"/>
                </a:cubicBezTo>
                <a:lnTo>
                  <a:pt x="0" y="249969"/>
                </a:lnTo>
                <a:cubicBezTo>
                  <a:pt x="0" y="111915"/>
                  <a:pt x="111915" y="0"/>
                  <a:pt x="249969"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885298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41D4529F-0E75-46EC-990D-BB8F30B0F616}"/>
              </a:ext>
            </a:extLst>
          </p:cNvPr>
          <p:cNvSpPr>
            <a:spLocks noGrp="1"/>
          </p:cNvSpPr>
          <p:nvPr>
            <p:ph type="pic" sz="quarter" idx="10"/>
          </p:nvPr>
        </p:nvSpPr>
        <p:spPr>
          <a:xfrm>
            <a:off x="7085028" y="1473975"/>
            <a:ext cx="4206345" cy="3113438"/>
          </a:xfrm>
          <a:custGeom>
            <a:avLst/>
            <a:gdLst>
              <a:gd name="connsiteX0" fmla="*/ 4184082 w 4206345"/>
              <a:gd name="connsiteY0" fmla="*/ 32 h 3113438"/>
              <a:gd name="connsiteX1" fmla="*/ 4194531 w 4206345"/>
              <a:gd name="connsiteY1" fmla="*/ 7640 h 3113438"/>
              <a:gd name="connsiteX2" fmla="*/ 4196160 w 4206345"/>
              <a:gd name="connsiteY2" fmla="*/ 32415 h 3113438"/>
              <a:gd name="connsiteX3" fmla="*/ 4194083 w 4206345"/>
              <a:gd name="connsiteY3" fmla="*/ 139544 h 3113438"/>
              <a:gd name="connsiteX4" fmla="*/ 4195412 w 4206345"/>
              <a:gd name="connsiteY4" fmla="*/ 500244 h 3113438"/>
              <a:gd name="connsiteX5" fmla="*/ 4196383 w 4206345"/>
              <a:gd name="connsiteY5" fmla="*/ 830282 h 3113438"/>
              <a:gd name="connsiteX6" fmla="*/ 4198700 w 4206345"/>
              <a:gd name="connsiteY6" fmla="*/ 1256440 h 3113438"/>
              <a:gd name="connsiteX7" fmla="*/ 4199834 w 4206345"/>
              <a:gd name="connsiteY7" fmla="*/ 1588956 h 3113438"/>
              <a:gd name="connsiteX8" fmla="*/ 4201553 w 4206345"/>
              <a:gd name="connsiteY8" fmla="*/ 2006030 h 3113438"/>
              <a:gd name="connsiteX9" fmla="*/ 4202688 w 4206345"/>
              <a:gd name="connsiteY9" fmla="*/ 2338544 h 3113438"/>
              <a:gd name="connsiteX10" fmla="*/ 4204732 w 4206345"/>
              <a:gd name="connsiteY10" fmla="*/ 2823610 h 3113438"/>
              <a:gd name="connsiteX11" fmla="*/ 4205390 w 4206345"/>
              <a:gd name="connsiteY11" fmla="*/ 3073216 h 3113438"/>
              <a:gd name="connsiteX12" fmla="*/ 4206345 w 4206345"/>
              <a:gd name="connsiteY12" fmla="*/ 3112964 h 3113438"/>
              <a:gd name="connsiteX13" fmla="*/ 4177344 w 4206345"/>
              <a:gd name="connsiteY13" fmla="*/ 3113212 h 3113438"/>
              <a:gd name="connsiteX14" fmla="*/ 3761930 w 4206345"/>
              <a:gd name="connsiteY14" fmla="*/ 3112324 h 3113438"/>
              <a:gd name="connsiteX15" fmla="*/ 3302549 w 4206345"/>
              <a:gd name="connsiteY15" fmla="*/ 3111008 h 3113438"/>
              <a:gd name="connsiteX16" fmla="*/ 2936882 w 4206345"/>
              <a:gd name="connsiteY16" fmla="*/ 3110164 h 3113438"/>
              <a:gd name="connsiteX17" fmla="*/ 2573692 w 4206345"/>
              <a:gd name="connsiteY17" fmla="*/ 3109160 h 3113438"/>
              <a:gd name="connsiteX18" fmla="*/ 2257825 w 4206345"/>
              <a:gd name="connsiteY18" fmla="*/ 3109192 h 3113438"/>
              <a:gd name="connsiteX19" fmla="*/ 1941850 w 4206345"/>
              <a:gd name="connsiteY19" fmla="*/ 3107572 h 3113438"/>
              <a:gd name="connsiteX20" fmla="*/ 1674078 w 4206345"/>
              <a:gd name="connsiteY20" fmla="*/ 3107758 h 3113438"/>
              <a:gd name="connsiteX21" fmla="*/ 1358104 w 4206345"/>
              <a:gd name="connsiteY21" fmla="*/ 3106138 h 3113438"/>
              <a:gd name="connsiteX22" fmla="*/ 1090332 w 4206345"/>
              <a:gd name="connsiteY22" fmla="*/ 3106324 h 3113438"/>
              <a:gd name="connsiteX23" fmla="*/ 824103 w 4206345"/>
              <a:gd name="connsiteY23" fmla="*/ 3104752 h 3113438"/>
              <a:gd name="connsiteX24" fmla="*/ 606078 w 4206345"/>
              <a:gd name="connsiteY24" fmla="*/ 3104984 h 3113438"/>
              <a:gd name="connsiteX25" fmla="*/ 338198 w 4206345"/>
              <a:gd name="connsiteY25" fmla="*/ 3103520 h 3113438"/>
              <a:gd name="connsiteX26" fmla="*/ 120172 w 4206345"/>
              <a:gd name="connsiteY26" fmla="*/ 3103754 h 3113438"/>
              <a:gd name="connsiteX27" fmla="*/ 869 w 4206345"/>
              <a:gd name="connsiteY27" fmla="*/ 3104962 h 3113438"/>
              <a:gd name="connsiteX28" fmla="*/ 0 w 4206345"/>
              <a:gd name="connsiteY28" fmla="*/ 3091748 h 3113438"/>
              <a:gd name="connsiteX29" fmla="*/ 8104 w 4206345"/>
              <a:gd name="connsiteY29" fmla="*/ 3013252 h 3113438"/>
              <a:gd name="connsiteX30" fmla="*/ 36449 w 4206345"/>
              <a:gd name="connsiteY30" fmla="*/ 2637330 h 3113438"/>
              <a:gd name="connsiteX31" fmla="*/ 61296 w 4206345"/>
              <a:gd name="connsiteY31" fmla="*/ 2296472 h 3113438"/>
              <a:gd name="connsiteX32" fmla="*/ 87978 w 4206345"/>
              <a:gd name="connsiteY32" fmla="*/ 1933100 h 3113438"/>
              <a:gd name="connsiteX33" fmla="*/ 112423 w 4206345"/>
              <a:gd name="connsiteY33" fmla="*/ 1611344 h 3113438"/>
              <a:gd name="connsiteX34" fmla="*/ 137878 w 4206345"/>
              <a:gd name="connsiteY34" fmla="*/ 1267128 h 3113438"/>
              <a:gd name="connsiteX35" fmla="*/ 158259 w 4206345"/>
              <a:gd name="connsiteY35" fmla="*/ 997064 h 3113438"/>
              <a:gd name="connsiteX36" fmla="*/ 168516 w 4206345"/>
              <a:gd name="connsiteY36" fmla="*/ 850414 h 3113438"/>
              <a:gd name="connsiteX37" fmla="*/ 171275 w 4206345"/>
              <a:gd name="connsiteY37" fmla="*/ 841938 h 3113438"/>
              <a:gd name="connsiteX38" fmla="*/ 406788 w 4206345"/>
              <a:gd name="connsiteY38" fmla="*/ 792452 h 3113438"/>
              <a:gd name="connsiteX39" fmla="*/ 648851 w 4206345"/>
              <a:gd name="connsiteY39" fmla="*/ 741700 h 3113438"/>
              <a:gd name="connsiteX40" fmla="*/ 915461 w 4206345"/>
              <a:gd name="connsiteY40" fmla="*/ 686020 h 3113438"/>
              <a:gd name="connsiteX41" fmla="*/ 1180421 w 4206345"/>
              <a:gd name="connsiteY41" fmla="*/ 630450 h 3113438"/>
              <a:gd name="connsiteX42" fmla="*/ 1445380 w 4206345"/>
              <a:gd name="connsiteY42" fmla="*/ 574878 h 3113438"/>
              <a:gd name="connsiteX43" fmla="*/ 1734886 w 4206345"/>
              <a:gd name="connsiteY43" fmla="*/ 514374 h 3113438"/>
              <a:gd name="connsiteX44" fmla="*/ 2046463 w 4206345"/>
              <a:gd name="connsiteY44" fmla="*/ 449102 h 3113438"/>
              <a:gd name="connsiteX45" fmla="*/ 2380992 w 4206345"/>
              <a:gd name="connsiteY45" fmla="*/ 379834 h 3113438"/>
              <a:gd name="connsiteX46" fmla="*/ 2716237 w 4206345"/>
              <a:gd name="connsiteY46" fmla="*/ 308860 h 3113438"/>
              <a:gd name="connsiteX47" fmla="*/ 3097329 w 4206345"/>
              <a:gd name="connsiteY47" fmla="*/ 229065 h 3113438"/>
              <a:gd name="connsiteX48" fmla="*/ 3502144 w 4206345"/>
              <a:gd name="connsiteY48" fmla="*/ 144392 h 3113438"/>
              <a:gd name="connsiteX49" fmla="*/ 3953575 w 4206345"/>
              <a:gd name="connsiteY49" fmla="*/ 50021 h 3113438"/>
              <a:gd name="connsiteX50" fmla="*/ 4171916 w 4206345"/>
              <a:gd name="connsiteY50" fmla="*/ 4149 h 3113438"/>
              <a:gd name="connsiteX51" fmla="*/ 4184082 w 4206345"/>
              <a:gd name="connsiteY51" fmla="*/ 32 h 3113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206345" h="3113438">
                <a:moveTo>
                  <a:pt x="4184082" y="32"/>
                </a:moveTo>
                <a:cubicBezTo>
                  <a:pt x="4189089" y="533"/>
                  <a:pt x="4195530" y="-2379"/>
                  <a:pt x="4194531" y="7640"/>
                </a:cubicBezTo>
                <a:cubicBezTo>
                  <a:pt x="4193422" y="16006"/>
                  <a:pt x="4195617" y="24156"/>
                  <a:pt x="4196160" y="32415"/>
                </a:cubicBezTo>
                <a:cubicBezTo>
                  <a:pt x="4195192" y="68142"/>
                  <a:pt x="4194224" y="103870"/>
                  <a:pt x="4194083" y="139544"/>
                </a:cubicBezTo>
                <a:cubicBezTo>
                  <a:pt x="4193700" y="259832"/>
                  <a:pt x="4194969" y="380012"/>
                  <a:pt x="4195412" y="500244"/>
                </a:cubicBezTo>
                <a:cubicBezTo>
                  <a:pt x="4196029" y="610514"/>
                  <a:pt x="4196592" y="719958"/>
                  <a:pt x="4196383" y="830282"/>
                </a:cubicBezTo>
                <a:cubicBezTo>
                  <a:pt x="4197413" y="972040"/>
                  <a:pt x="4197671" y="1114682"/>
                  <a:pt x="4198700" y="1256440"/>
                </a:cubicBezTo>
                <a:cubicBezTo>
                  <a:pt x="4198546" y="1367592"/>
                  <a:pt x="4199217" y="1478688"/>
                  <a:pt x="4199834" y="1588956"/>
                </a:cubicBezTo>
                <a:cubicBezTo>
                  <a:pt x="4200700" y="1728238"/>
                  <a:pt x="4200742" y="1867576"/>
                  <a:pt x="4201553" y="2006030"/>
                </a:cubicBezTo>
                <a:cubicBezTo>
                  <a:pt x="4202225" y="2117126"/>
                  <a:pt x="4202896" y="2228222"/>
                  <a:pt x="4202688" y="2338544"/>
                </a:cubicBezTo>
                <a:cubicBezTo>
                  <a:pt x="4203369" y="2500232"/>
                  <a:pt x="4204050" y="2661922"/>
                  <a:pt x="4204732" y="2823610"/>
                </a:cubicBezTo>
                <a:cubicBezTo>
                  <a:pt x="4205262" y="2907344"/>
                  <a:pt x="4205739" y="2990252"/>
                  <a:pt x="4205390" y="3073216"/>
                </a:cubicBezTo>
                <a:cubicBezTo>
                  <a:pt x="4206258" y="3086428"/>
                  <a:pt x="4206247" y="3098872"/>
                  <a:pt x="4206345" y="3112964"/>
                </a:cubicBezTo>
                <a:cubicBezTo>
                  <a:pt x="4195613" y="3113670"/>
                  <a:pt x="4186478" y="3113440"/>
                  <a:pt x="4177344" y="3113212"/>
                </a:cubicBezTo>
                <a:cubicBezTo>
                  <a:pt x="4038891" y="3113192"/>
                  <a:pt x="3900438" y="3113170"/>
                  <a:pt x="3761930" y="3112324"/>
                </a:cubicBezTo>
                <a:cubicBezTo>
                  <a:pt x="3609390" y="3112398"/>
                  <a:pt x="3455970" y="3111704"/>
                  <a:pt x="3302549" y="3111008"/>
                </a:cubicBezTo>
                <a:cubicBezTo>
                  <a:pt x="3180660" y="3110726"/>
                  <a:pt x="3058826" y="3111272"/>
                  <a:pt x="2936882" y="3110164"/>
                </a:cubicBezTo>
                <a:cubicBezTo>
                  <a:pt x="2815819" y="3109832"/>
                  <a:pt x="2694755" y="3109496"/>
                  <a:pt x="2573692" y="3109160"/>
                </a:cubicBezTo>
                <a:cubicBezTo>
                  <a:pt x="2468366" y="3108620"/>
                  <a:pt x="2363096" y="3108906"/>
                  <a:pt x="2257825" y="3109192"/>
                </a:cubicBezTo>
                <a:cubicBezTo>
                  <a:pt x="2152500" y="3108652"/>
                  <a:pt x="2047175" y="3108112"/>
                  <a:pt x="1941850" y="3107572"/>
                </a:cubicBezTo>
                <a:cubicBezTo>
                  <a:pt x="1852317" y="3107652"/>
                  <a:pt x="1762786" y="3107732"/>
                  <a:pt x="1674078" y="3107758"/>
                </a:cubicBezTo>
                <a:cubicBezTo>
                  <a:pt x="1568753" y="3107216"/>
                  <a:pt x="1463428" y="3106678"/>
                  <a:pt x="1358104" y="3106138"/>
                </a:cubicBezTo>
                <a:cubicBezTo>
                  <a:pt x="1268571" y="3106218"/>
                  <a:pt x="1179864" y="3106244"/>
                  <a:pt x="1090332" y="3106324"/>
                </a:cubicBezTo>
                <a:cubicBezTo>
                  <a:pt x="1001571" y="3105524"/>
                  <a:pt x="912809" y="3104724"/>
                  <a:pt x="824103" y="3104752"/>
                </a:cubicBezTo>
                <a:cubicBezTo>
                  <a:pt x="751134" y="3104572"/>
                  <a:pt x="679046" y="3105164"/>
                  <a:pt x="606078" y="3104984"/>
                </a:cubicBezTo>
                <a:cubicBezTo>
                  <a:pt x="516491" y="3104240"/>
                  <a:pt x="427730" y="3103440"/>
                  <a:pt x="338198" y="3103520"/>
                </a:cubicBezTo>
                <a:cubicBezTo>
                  <a:pt x="265229" y="3103340"/>
                  <a:pt x="193087" y="3103108"/>
                  <a:pt x="120172" y="3103754"/>
                </a:cubicBezTo>
                <a:cubicBezTo>
                  <a:pt x="80387" y="3103880"/>
                  <a:pt x="40655" y="3104836"/>
                  <a:pt x="869" y="3104962"/>
                </a:cubicBezTo>
                <a:cubicBezTo>
                  <a:pt x="597" y="3100832"/>
                  <a:pt x="272" y="3095878"/>
                  <a:pt x="0" y="3091748"/>
                </a:cubicBezTo>
                <a:cubicBezTo>
                  <a:pt x="3270" y="3065822"/>
                  <a:pt x="5660" y="3039124"/>
                  <a:pt x="8104" y="3013252"/>
                </a:cubicBezTo>
                <a:cubicBezTo>
                  <a:pt x="17296" y="2888238"/>
                  <a:pt x="27312" y="2763170"/>
                  <a:pt x="36449" y="2637330"/>
                </a:cubicBezTo>
                <a:cubicBezTo>
                  <a:pt x="44749" y="2523984"/>
                  <a:pt x="53050" y="2410640"/>
                  <a:pt x="61296" y="2296472"/>
                </a:cubicBezTo>
                <a:cubicBezTo>
                  <a:pt x="69933" y="2175640"/>
                  <a:pt x="79341" y="2053930"/>
                  <a:pt x="87978" y="1933100"/>
                </a:cubicBezTo>
                <a:cubicBezTo>
                  <a:pt x="96659" y="1825536"/>
                  <a:pt x="104568" y="1718852"/>
                  <a:pt x="112423" y="1611344"/>
                </a:cubicBezTo>
                <a:cubicBezTo>
                  <a:pt x="120669" y="1497174"/>
                  <a:pt x="129687" y="1382124"/>
                  <a:pt x="137878" y="1267128"/>
                </a:cubicBezTo>
                <a:cubicBezTo>
                  <a:pt x="145222" y="1177072"/>
                  <a:pt x="151741" y="1087068"/>
                  <a:pt x="158259" y="997064"/>
                </a:cubicBezTo>
                <a:cubicBezTo>
                  <a:pt x="161715" y="948730"/>
                  <a:pt x="165115" y="899572"/>
                  <a:pt x="168516" y="850414"/>
                </a:cubicBezTo>
                <a:cubicBezTo>
                  <a:pt x="169178" y="847882"/>
                  <a:pt x="169841" y="845352"/>
                  <a:pt x="171275" y="841938"/>
                </a:cubicBezTo>
                <a:cubicBezTo>
                  <a:pt x="249816" y="825994"/>
                  <a:pt x="328302" y="809222"/>
                  <a:pt x="406788" y="792452"/>
                </a:cubicBezTo>
                <a:cubicBezTo>
                  <a:pt x="486925" y="775570"/>
                  <a:pt x="567889" y="758636"/>
                  <a:pt x="648851" y="741700"/>
                </a:cubicBezTo>
                <a:cubicBezTo>
                  <a:pt x="738015" y="723398"/>
                  <a:pt x="826353" y="705150"/>
                  <a:pt x="915461" y="686020"/>
                </a:cubicBezTo>
                <a:cubicBezTo>
                  <a:pt x="1003799" y="667772"/>
                  <a:pt x="1092137" y="649524"/>
                  <a:pt x="1180421" y="630450"/>
                </a:cubicBezTo>
                <a:cubicBezTo>
                  <a:pt x="1268758" y="612200"/>
                  <a:pt x="1357096" y="593952"/>
                  <a:pt x="1445380" y="574878"/>
                </a:cubicBezTo>
                <a:cubicBezTo>
                  <a:pt x="1541918" y="555260"/>
                  <a:pt x="1638403" y="534816"/>
                  <a:pt x="1734886" y="514374"/>
                </a:cubicBezTo>
                <a:cubicBezTo>
                  <a:pt x="1838746" y="492618"/>
                  <a:pt x="1942605" y="470860"/>
                  <a:pt x="2046463" y="449102"/>
                </a:cubicBezTo>
                <a:cubicBezTo>
                  <a:pt x="2157698" y="426032"/>
                  <a:pt x="2269758" y="402906"/>
                  <a:pt x="2380992" y="379834"/>
                </a:cubicBezTo>
                <a:cubicBezTo>
                  <a:pt x="2492997" y="355882"/>
                  <a:pt x="2604231" y="332812"/>
                  <a:pt x="2716237" y="308860"/>
                </a:cubicBezTo>
                <a:cubicBezTo>
                  <a:pt x="2842992" y="282280"/>
                  <a:pt x="2970574" y="255644"/>
                  <a:pt x="3097329" y="229065"/>
                </a:cubicBezTo>
                <a:cubicBezTo>
                  <a:pt x="3232285" y="201117"/>
                  <a:pt x="3367242" y="173167"/>
                  <a:pt x="3502144" y="144392"/>
                </a:cubicBezTo>
                <a:cubicBezTo>
                  <a:pt x="3652621" y="112935"/>
                  <a:pt x="3803098" y="81479"/>
                  <a:pt x="3953575" y="50021"/>
                </a:cubicBezTo>
                <a:cubicBezTo>
                  <a:pt x="4026392" y="35281"/>
                  <a:pt x="4099154" y="19715"/>
                  <a:pt x="4171916" y="4149"/>
                </a:cubicBezTo>
                <a:cubicBezTo>
                  <a:pt x="4176044" y="3878"/>
                  <a:pt x="4180063" y="1955"/>
                  <a:pt x="4184082" y="32"/>
                </a:cubicBezTo>
                <a:close/>
              </a:path>
            </a:pathLst>
          </a:custGeom>
        </p:spPr>
        <p:txBody>
          <a:bodyPr wrap="square">
            <a:noAutofit/>
          </a:bodyPr>
          <a:lstStyle/>
          <a:p>
            <a:endParaRPr lang="en-US"/>
          </a:p>
        </p:txBody>
      </p:sp>
    </p:spTree>
    <p:extLst>
      <p:ext uri="{BB962C8B-B14F-4D97-AF65-F5344CB8AC3E}">
        <p14:creationId xmlns:p14="http://schemas.microsoft.com/office/powerpoint/2010/main" val="149840567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0A6A2E-1603-406A-8350-942C41BEC7D1}"/>
              </a:ext>
            </a:extLst>
          </p:cNvPr>
          <p:cNvSpPr>
            <a:spLocks noGrp="1"/>
          </p:cNvSpPr>
          <p:nvPr>
            <p:ph type="pic" sz="quarter" idx="10"/>
          </p:nvPr>
        </p:nvSpPr>
        <p:spPr>
          <a:xfrm>
            <a:off x="700435" y="2009671"/>
            <a:ext cx="4854545" cy="2775690"/>
          </a:xfrm>
          <a:custGeom>
            <a:avLst/>
            <a:gdLst>
              <a:gd name="connsiteX0" fmla="*/ 0 w 4854545"/>
              <a:gd name="connsiteY0" fmla="*/ 0 h 2775690"/>
              <a:gd name="connsiteX1" fmla="*/ 4854545 w 4854545"/>
              <a:gd name="connsiteY1" fmla="*/ 0 h 2775690"/>
              <a:gd name="connsiteX2" fmla="*/ 4854545 w 4854545"/>
              <a:gd name="connsiteY2" fmla="*/ 2775690 h 2775690"/>
              <a:gd name="connsiteX3" fmla="*/ 0 w 4854545"/>
              <a:gd name="connsiteY3" fmla="*/ 2775690 h 2775690"/>
            </a:gdLst>
            <a:ahLst/>
            <a:cxnLst>
              <a:cxn ang="0">
                <a:pos x="connsiteX0" y="connsiteY0"/>
              </a:cxn>
              <a:cxn ang="0">
                <a:pos x="connsiteX1" y="connsiteY1"/>
              </a:cxn>
              <a:cxn ang="0">
                <a:pos x="connsiteX2" y="connsiteY2"/>
              </a:cxn>
              <a:cxn ang="0">
                <a:pos x="connsiteX3" y="connsiteY3"/>
              </a:cxn>
            </a:cxnLst>
            <a:rect l="l" t="t" r="r" b="b"/>
            <a:pathLst>
              <a:path w="4854545" h="2775690">
                <a:moveTo>
                  <a:pt x="0" y="0"/>
                </a:moveTo>
                <a:lnTo>
                  <a:pt x="4854545" y="0"/>
                </a:lnTo>
                <a:lnTo>
                  <a:pt x="4854545" y="2775690"/>
                </a:lnTo>
                <a:lnTo>
                  <a:pt x="0" y="2775690"/>
                </a:lnTo>
                <a:close/>
              </a:path>
            </a:pathLst>
          </a:custGeom>
        </p:spPr>
        <p:txBody>
          <a:bodyPr wrap="square">
            <a:noAutofit/>
          </a:bodyPr>
          <a:lstStyle/>
          <a:p>
            <a:endParaRPr lang="en-US"/>
          </a:p>
        </p:txBody>
      </p:sp>
    </p:spTree>
    <p:extLst>
      <p:ext uri="{BB962C8B-B14F-4D97-AF65-F5344CB8AC3E}">
        <p14:creationId xmlns:p14="http://schemas.microsoft.com/office/powerpoint/2010/main" val="363408874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6E8F7024-C752-480A-AFDB-A95221CACBDC}"/>
              </a:ext>
            </a:extLst>
          </p:cNvPr>
          <p:cNvSpPr>
            <a:spLocks noGrp="1"/>
          </p:cNvSpPr>
          <p:nvPr>
            <p:ph type="pic" sz="quarter" idx="11"/>
          </p:nvPr>
        </p:nvSpPr>
        <p:spPr>
          <a:xfrm>
            <a:off x="6686583" y="1"/>
            <a:ext cx="5166485" cy="6855583"/>
          </a:xfrm>
          <a:custGeom>
            <a:avLst/>
            <a:gdLst>
              <a:gd name="connsiteX0" fmla="*/ 1086626 w 5166485"/>
              <a:gd name="connsiteY0" fmla="*/ 3265888 h 6855583"/>
              <a:gd name="connsiteX1" fmla="*/ 1086635 w 5166485"/>
              <a:gd name="connsiteY1" fmla="*/ 3265890 h 6855583"/>
              <a:gd name="connsiteX2" fmla="*/ 1087274 w 5166485"/>
              <a:gd name="connsiteY2" fmla="*/ 3265890 h 6855583"/>
              <a:gd name="connsiteX3" fmla="*/ 1119550 w 5166485"/>
              <a:gd name="connsiteY3" fmla="*/ 3265890 h 6855583"/>
              <a:gd name="connsiteX4" fmla="*/ 1170447 w 5166485"/>
              <a:gd name="connsiteY4" fmla="*/ 3265890 h 6855583"/>
              <a:gd name="connsiteX5" fmla="*/ 1170458 w 5166485"/>
              <a:gd name="connsiteY5" fmla="*/ 3265888 h 6855583"/>
              <a:gd name="connsiteX6" fmla="*/ 1170468 w 5166485"/>
              <a:gd name="connsiteY6" fmla="*/ 3265890 h 6855583"/>
              <a:gd name="connsiteX7" fmla="*/ 1171107 w 5166485"/>
              <a:gd name="connsiteY7" fmla="*/ 3265890 h 6855583"/>
              <a:gd name="connsiteX8" fmla="*/ 1752107 w 5166485"/>
              <a:gd name="connsiteY8" fmla="*/ 3265890 h 6855583"/>
              <a:gd name="connsiteX9" fmla="*/ 1801177 w 5166485"/>
              <a:gd name="connsiteY9" fmla="*/ 3265890 h 6855583"/>
              <a:gd name="connsiteX10" fmla="*/ 1803005 w 5166485"/>
              <a:gd name="connsiteY10" fmla="*/ 3265890 h 6855583"/>
              <a:gd name="connsiteX11" fmla="*/ 1803015 w 5166485"/>
              <a:gd name="connsiteY11" fmla="*/ 3265888 h 6855583"/>
              <a:gd name="connsiteX12" fmla="*/ 1803026 w 5166485"/>
              <a:gd name="connsiteY12" fmla="*/ 3265890 h 6855583"/>
              <a:gd name="connsiteX13" fmla="*/ 1803664 w 5166485"/>
              <a:gd name="connsiteY13" fmla="*/ 3265890 h 6855583"/>
              <a:gd name="connsiteX14" fmla="*/ 1835940 w 5166485"/>
              <a:gd name="connsiteY14" fmla="*/ 3265890 h 6855583"/>
              <a:gd name="connsiteX15" fmla="*/ 1852074 w 5166485"/>
              <a:gd name="connsiteY15" fmla="*/ 3265890 h 6855583"/>
              <a:gd name="connsiteX16" fmla="*/ 1852084 w 5166485"/>
              <a:gd name="connsiteY16" fmla="*/ 3265888 h 6855583"/>
              <a:gd name="connsiteX17" fmla="*/ 1852095 w 5166485"/>
              <a:gd name="connsiteY17" fmla="*/ 3265890 h 6855583"/>
              <a:gd name="connsiteX18" fmla="*/ 1852734 w 5166485"/>
              <a:gd name="connsiteY18" fmla="*/ 3265890 h 6855583"/>
              <a:gd name="connsiteX19" fmla="*/ 1885010 w 5166485"/>
              <a:gd name="connsiteY19" fmla="*/ 3265890 h 6855583"/>
              <a:gd name="connsiteX20" fmla="*/ 1886837 w 5166485"/>
              <a:gd name="connsiteY20" fmla="*/ 3265890 h 6855583"/>
              <a:gd name="connsiteX21" fmla="*/ 1886846 w 5166485"/>
              <a:gd name="connsiteY21" fmla="*/ 3265888 h 6855583"/>
              <a:gd name="connsiteX22" fmla="*/ 1886857 w 5166485"/>
              <a:gd name="connsiteY22" fmla="*/ 3265890 h 6855583"/>
              <a:gd name="connsiteX23" fmla="*/ 1887496 w 5166485"/>
              <a:gd name="connsiteY23" fmla="*/ 3265890 h 6855583"/>
              <a:gd name="connsiteX24" fmla="*/ 1935905 w 5166485"/>
              <a:gd name="connsiteY24" fmla="*/ 3265890 h 6855583"/>
              <a:gd name="connsiteX25" fmla="*/ 1935916 w 5166485"/>
              <a:gd name="connsiteY25" fmla="*/ 3265888 h 6855583"/>
              <a:gd name="connsiteX26" fmla="*/ 1935926 w 5166485"/>
              <a:gd name="connsiteY26" fmla="*/ 3265890 h 6855583"/>
              <a:gd name="connsiteX27" fmla="*/ 1936565 w 5166485"/>
              <a:gd name="connsiteY27" fmla="*/ 3265890 h 6855583"/>
              <a:gd name="connsiteX28" fmla="*/ 2170246 w 5166485"/>
              <a:gd name="connsiteY28" fmla="*/ 3265890 h 6855583"/>
              <a:gd name="connsiteX29" fmla="*/ 2254079 w 5166485"/>
              <a:gd name="connsiteY29" fmla="*/ 3265890 h 6855583"/>
              <a:gd name="connsiteX30" fmla="*/ 2517566 w 5166485"/>
              <a:gd name="connsiteY30" fmla="*/ 3265890 h 6855583"/>
              <a:gd name="connsiteX31" fmla="*/ 2568463 w 5166485"/>
              <a:gd name="connsiteY31" fmla="*/ 3265890 h 6855583"/>
              <a:gd name="connsiteX32" fmla="*/ 2568473 w 5166485"/>
              <a:gd name="connsiteY32" fmla="*/ 3265888 h 6855583"/>
              <a:gd name="connsiteX33" fmla="*/ 2568484 w 5166485"/>
              <a:gd name="connsiteY33" fmla="*/ 3265890 h 6855583"/>
              <a:gd name="connsiteX34" fmla="*/ 2569123 w 5166485"/>
              <a:gd name="connsiteY34" fmla="*/ 3265890 h 6855583"/>
              <a:gd name="connsiteX35" fmla="*/ 2601399 w 5166485"/>
              <a:gd name="connsiteY35" fmla="*/ 3265890 h 6855583"/>
              <a:gd name="connsiteX36" fmla="*/ 2652295 w 5166485"/>
              <a:gd name="connsiteY36" fmla="*/ 3265890 h 6855583"/>
              <a:gd name="connsiteX37" fmla="*/ 2652306 w 5166485"/>
              <a:gd name="connsiteY37" fmla="*/ 3265888 h 6855583"/>
              <a:gd name="connsiteX38" fmla="*/ 2652315 w 5166485"/>
              <a:gd name="connsiteY38" fmla="*/ 3265890 h 6855583"/>
              <a:gd name="connsiteX39" fmla="*/ 2652954 w 5166485"/>
              <a:gd name="connsiteY39" fmla="*/ 3265890 h 6855583"/>
              <a:gd name="connsiteX40" fmla="*/ 2886635 w 5166485"/>
              <a:gd name="connsiteY40" fmla="*/ 3265890 h 6855583"/>
              <a:gd name="connsiteX41" fmla="*/ 2935705 w 5166485"/>
              <a:gd name="connsiteY41" fmla="*/ 3265890 h 6855583"/>
              <a:gd name="connsiteX42" fmla="*/ 2970468 w 5166485"/>
              <a:gd name="connsiteY42" fmla="*/ 3265890 h 6855583"/>
              <a:gd name="connsiteX43" fmla="*/ 3019538 w 5166485"/>
              <a:gd name="connsiteY43" fmla="*/ 3265890 h 6855583"/>
              <a:gd name="connsiteX44" fmla="*/ 3652094 w 5166485"/>
              <a:gd name="connsiteY44" fmla="*/ 3265890 h 6855583"/>
              <a:gd name="connsiteX45" fmla="*/ 3735927 w 5166485"/>
              <a:gd name="connsiteY45" fmla="*/ 3265890 h 6855583"/>
              <a:gd name="connsiteX46" fmla="*/ 3735927 w 5166485"/>
              <a:gd name="connsiteY46" fmla="*/ 4199586 h 6855583"/>
              <a:gd name="connsiteX47" fmla="*/ 3734217 w 5166485"/>
              <a:gd name="connsiteY47" fmla="*/ 4199586 h 6855583"/>
              <a:gd name="connsiteX48" fmla="*/ 3734217 w 5166485"/>
              <a:gd name="connsiteY48" fmla="*/ 4437486 h 6855583"/>
              <a:gd name="connsiteX49" fmla="*/ 3735499 w 5166485"/>
              <a:gd name="connsiteY49" fmla="*/ 4437486 h 6855583"/>
              <a:gd name="connsiteX50" fmla="*/ 3735499 w 5166485"/>
              <a:gd name="connsiteY50" fmla="*/ 4514790 h 6855583"/>
              <a:gd name="connsiteX51" fmla="*/ 3735499 w 5166485"/>
              <a:gd name="connsiteY51" fmla="*/ 4794177 h 6855583"/>
              <a:gd name="connsiteX52" fmla="*/ 3735500 w 5166485"/>
              <a:gd name="connsiteY52" fmla="*/ 5379128 h 6855583"/>
              <a:gd name="connsiteX53" fmla="*/ 3735500 w 5166485"/>
              <a:gd name="connsiteY53" fmla="*/ 5405390 h 6855583"/>
              <a:gd name="connsiteX54" fmla="*/ 3735500 w 5166485"/>
              <a:gd name="connsiteY54" fmla="*/ 5598154 h 6855583"/>
              <a:gd name="connsiteX55" fmla="*/ 3734205 w 5166485"/>
              <a:gd name="connsiteY55" fmla="*/ 5598154 h 6855583"/>
              <a:gd name="connsiteX56" fmla="*/ 3734205 w 5166485"/>
              <a:gd name="connsiteY56" fmla="*/ 5598486 h 6855583"/>
              <a:gd name="connsiteX57" fmla="*/ 3734205 w 5166485"/>
              <a:gd name="connsiteY57" fmla="*/ 5612740 h 6855583"/>
              <a:gd name="connsiteX58" fmla="*/ 3734205 w 5166485"/>
              <a:gd name="connsiteY58" fmla="*/ 5657025 h 6855583"/>
              <a:gd name="connsiteX59" fmla="*/ 3731500 w 5166485"/>
              <a:gd name="connsiteY59" fmla="*/ 5657025 h 6855583"/>
              <a:gd name="connsiteX60" fmla="*/ 3729283 w 5166485"/>
              <a:gd name="connsiteY60" fmla="*/ 5705056 h 6855583"/>
              <a:gd name="connsiteX61" fmla="*/ 3728718 w 5166485"/>
              <a:gd name="connsiteY61" fmla="*/ 5709186 h 6855583"/>
              <a:gd name="connsiteX62" fmla="*/ 3728606 w 5166485"/>
              <a:gd name="connsiteY62" fmla="*/ 5711467 h 6855583"/>
              <a:gd name="connsiteX63" fmla="*/ 3725448 w 5166485"/>
              <a:gd name="connsiteY63" fmla="*/ 5733130 h 6855583"/>
              <a:gd name="connsiteX64" fmla="*/ 3723149 w 5166485"/>
              <a:gd name="connsiteY64" fmla="*/ 5749961 h 6855583"/>
              <a:gd name="connsiteX65" fmla="*/ 3723149 w 5166485"/>
              <a:gd name="connsiteY65" fmla="*/ 5785114 h 6855583"/>
              <a:gd name="connsiteX66" fmla="*/ 3720444 w 5166485"/>
              <a:gd name="connsiteY66" fmla="*/ 5785114 h 6855583"/>
              <a:gd name="connsiteX67" fmla="*/ 3718226 w 5166485"/>
              <a:gd name="connsiteY67" fmla="*/ 5833975 h 6855583"/>
              <a:gd name="connsiteX68" fmla="*/ 3717662 w 5166485"/>
              <a:gd name="connsiteY68" fmla="*/ 5838176 h 6855583"/>
              <a:gd name="connsiteX69" fmla="*/ 3717549 w 5166485"/>
              <a:gd name="connsiteY69" fmla="*/ 5840496 h 6855583"/>
              <a:gd name="connsiteX70" fmla="*/ 3714391 w 5166485"/>
              <a:gd name="connsiteY70" fmla="*/ 5862534 h 6855583"/>
              <a:gd name="connsiteX71" fmla="*/ 3704933 w 5166485"/>
              <a:gd name="connsiteY71" fmla="*/ 5932981 h 6855583"/>
              <a:gd name="connsiteX72" fmla="*/ 3703137 w 5166485"/>
              <a:gd name="connsiteY72" fmla="*/ 5941083 h 6855583"/>
              <a:gd name="connsiteX73" fmla="*/ 3702452 w 5166485"/>
              <a:gd name="connsiteY73" fmla="*/ 5945855 h 6855583"/>
              <a:gd name="connsiteX74" fmla="*/ 3696614 w 5166485"/>
              <a:gd name="connsiteY74" fmla="*/ 5970492 h 6855583"/>
              <a:gd name="connsiteX75" fmla="*/ 3683622 w 5166485"/>
              <a:gd name="connsiteY75" fmla="*/ 6029051 h 6855583"/>
              <a:gd name="connsiteX76" fmla="*/ 3679923 w 5166485"/>
              <a:gd name="connsiteY76" fmla="*/ 6040897 h 6855583"/>
              <a:gd name="connsiteX77" fmla="*/ 3678285 w 5166485"/>
              <a:gd name="connsiteY77" fmla="*/ 6047812 h 6855583"/>
              <a:gd name="connsiteX78" fmla="*/ 3670406 w 5166485"/>
              <a:gd name="connsiteY78" fmla="*/ 6071379 h 6855583"/>
              <a:gd name="connsiteX79" fmla="*/ 3654662 w 5166485"/>
              <a:gd name="connsiteY79" fmla="*/ 6121798 h 6855583"/>
              <a:gd name="connsiteX80" fmla="*/ 3648434 w 5166485"/>
              <a:gd name="connsiteY80" fmla="*/ 6137099 h 6855583"/>
              <a:gd name="connsiteX81" fmla="*/ 3645495 w 5166485"/>
              <a:gd name="connsiteY81" fmla="*/ 6145895 h 6855583"/>
              <a:gd name="connsiteX82" fmla="*/ 3636168 w 5166485"/>
              <a:gd name="connsiteY82" fmla="*/ 6167235 h 6855583"/>
              <a:gd name="connsiteX83" fmla="*/ 3618421 w 5166485"/>
              <a:gd name="connsiteY83" fmla="*/ 6210838 h 6855583"/>
              <a:gd name="connsiteX84" fmla="*/ 3609070 w 5166485"/>
              <a:gd name="connsiteY84" fmla="*/ 6229244 h 6855583"/>
              <a:gd name="connsiteX85" fmla="*/ 3604529 w 5166485"/>
              <a:gd name="connsiteY85" fmla="*/ 6239639 h 6855583"/>
              <a:gd name="connsiteX86" fmla="*/ 3594298 w 5166485"/>
              <a:gd name="connsiteY86" fmla="*/ 6258324 h 6855583"/>
              <a:gd name="connsiteX87" fmla="*/ 3575270 w 5166485"/>
              <a:gd name="connsiteY87" fmla="*/ 6295785 h 6855583"/>
              <a:gd name="connsiteX88" fmla="*/ 3562231 w 5166485"/>
              <a:gd name="connsiteY88" fmla="*/ 6316901 h 6855583"/>
              <a:gd name="connsiteX89" fmla="*/ 3555841 w 5166485"/>
              <a:gd name="connsiteY89" fmla="*/ 6328575 h 6855583"/>
              <a:gd name="connsiteX90" fmla="*/ 3545203 w 5166485"/>
              <a:gd name="connsiteY90" fmla="*/ 6344476 h 6855583"/>
              <a:gd name="connsiteX91" fmla="*/ 3525580 w 5166485"/>
              <a:gd name="connsiteY91" fmla="*/ 6376252 h 6855583"/>
              <a:gd name="connsiteX92" fmla="*/ 3508306 w 5166485"/>
              <a:gd name="connsiteY92" fmla="*/ 6399630 h 6855583"/>
              <a:gd name="connsiteX93" fmla="*/ 3499876 w 5166485"/>
              <a:gd name="connsiteY93" fmla="*/ 6412234 h 6855583"/>
              <a:gd name="connsiteX94" fmla="*/ 3489281 w 5166485"/>
              <a:gd name="connsiteY94" fmla="*/ 6425379 h 6855583"/>
              <a:gd name="connsiteX95" fmla="*/ 3469720 w 5166485"/>
              <a:gd name="connsiteY95" fmla="*/ 6451856 h 6855583"/>
              <a:gd name="connsiteX96" fmla="*/ 3447676 w 5166485"/>
              <a:gd name="connsiteY96" fmla="*/ 6477005 h 6855583"/>
              <a:gd name="connsiteX97" fmla="*/ 3437085 w 5166485"/>
              <a:gd name="connsiteY97" fmla="*/ 6490148 h 6855583"/>
              <a:gd name="connsiteX98" fmla="*/ 3426944 w 5166485"/>
              <a:gd name="connsiteY98" fmla="*/ 6500661 h 6855583"/>
              <a:gd name="connsiteX99" fmla="*/ 3408058 w 5166485"/>
              <a:gd name="connsiteY99" fmla="*/ 6522209 h 6855583"/>
              <a:gd name="connsiteX100" fmla="*/ 3380698 w 5166485"/>
              <a:gd name="connsiteY100" fmla="*/ 6548600 h 6855583"/>
              <a:gd name="connsiteX101" fmla="*/ 3367917 w 5166485"/>
              <a:gd name="connsiteY101" fmla="*/ 6561848 h 6855583"/>
              <a:gd name="connsiteX102" fmla="*/ 3358599 w 5166485"/>
              <a:gd name="connsiteY102" fmla="*/ 6569916 h 6855583"/>
              <a:gd name="connsiteX103" fmla="*/ 3340966 w 5166485"/>
              <a:gd name="connsiteY103" fmla="*/ 6586926 h 6855583"/>
              <a:gd name="connsiteX104" fmla="*/ 3307673 w 5166485"/>
              <a:gd name="connsiteY104" fmla="*/ 6614008 h 6855583"/>
              <a:gd name="connsiteX105" fmla="*/ 3292820 w 5166485"/>
              <a:gd name="connsiteY105" fmla="*/ 6626869 h 6855583"/>
              <a:gd name="connsiteX106" fmla="*/ 3284662 w 5166485"/>
              <a:gd name="connsiteY106" fmla="*/ 6632728 h 6855583"/>
              <a:gd name="connsiteX107" fmla="*/ 3268811 w 5166485"/>
              <a:gd name="connsiteY107" fmla="*/ 6645621 h 6855583"/>
              <a:gd name="connsiteX108" fmla="*/ 3228808 w 5166485"/>
              <a:gd name="connsiteY108" fmla="*/ 6672841 h 6855583"/>
              <a:gd name="connsiteX109" fmla="*/ 3212245 w 5166485"/>
              <a:gd name="connsiteY109" fmla="*/ 6684739 h 6855583"/>
              <a:gd name="connsiteX110" fmla="*/ 3205551 w 5166485"/>
              <a:gd name="connsiteY110" fmla="*/ 6688665 h 6855583"/>
              <a:gd name="connsiteX111" fmla="*/ 3191968 w 5166485"/>
              <a:gd name="connsiteY111" fmla="*/ 6697909 h 6855583"/>
              <a:gd name="connsiteX112" fmla="*/ 3144033 w 5166485"/>
              <a:gd name="connsiteY112" fmla="*/ 6724779 h 6855583"/>
              <a:gd name="connsiteX113" fmla="*/ 3126640 w 5166485"/>
              <a:gd name="connsiteY113" fmla="*/ 6734990 h 6855583"/>
              <a:gd name="connsiteX114" fmla="*/ 3121686 w 5166485"/>
              <a:gd name="connsiteY114" fmla="*/ 6737306 h 6855583"/>
              <a:gd name="connsiteX115" fmla="*/ 3110802 w 5166485"/>
              <a:gd name="connsiteY115" fmla="*/ 6743407 h 6855583"/>
              <a:gd name="connsiteX116" fmla="*/ 3052483 w 5166485"/>
              <a:gd name="connsiteY116" fmla="*/ 6769660 h 6855583"/>
              <a:gd name="connsiteX117" fmla="*/ 3036452 w 5166485"/>
              <a:gd name="connsiteY117" fmla="*/ 6777154 h 6855583"/>
              <a:gd name="connsiteX118" fmla="*/ 3033487 w 5166485"/>
              <a:gd name="connsiteY118" fmla="*/ 6778211 h 6855583"/>
              <a:gd name="connsiteX119" fmla="*/ 3025684 w 5166485"/>
              <a:gd name="connsiteY119" fmla="*/ 6781724 h 6855583"/>
              <a:gd name="connsiteX120" fmla="*/ 2949668 w 5166485"/>
              <a:gd name="connsiteY120" fmla="*/ 6808079 h 6855583"/>
              <a:gd name="connsiteX121" fmla="*/ 2942133 w 5166485"/>
              <a:gd name="connsiteY121" fmla="*/ 6810763 h 6855583"/>
              <a:gd name="connsiteX122" fmla="*/ 2941376 w 5166485"/>
              <a:gd name="connsiteY122" fmla="*/ 6810955 h 6855583"/>
              <a:gd name="connsiteX123" fmla="*/ 2936985 w 5166485"/>
              <a:gd name="connsiteY123" fmla="*/ 6812477 h 6855583"/>
              <a:gd name="connsiteX124" fmla="*/ 2750320 w 5166485"/>
              <a:gd name="connsiteY124" fmla="*/ 6849749 h 6855583"/>
              <a:gd name="connsiteX125" fmla="*/ 2746081 w 5166485"/>
              <a:gd name="connsiteY125" fmla="*/ 6849972 h 6855583"/>
              <a:gd name="connsiteX126" fmla="*/ 2742897 w 5166485"/>
              <a:gd name="connsiteY126" fmla="*/ 6850446 h 6855583"/>
              <a:gd name="connsiteX127" fmla="*/ 2690435 w 5166485"/>
              <a:gd name="connsiteY127" fmla="*/ 6853038 h 6855583"/>
              <a:gd name="connsiteX128" fmla="*/ 2690435 w 5166485"/>
              <a:gd name="connsiteY128" fmla="*/ 6855583 h 6855583"/>
              <a:gd name="connsiteX129" fmla="*/ 2639538 w 5166485"/>
              <a:gd name="connsiteY129" fmla="*/ 6855583 h 6855583"/>
              <a:gd name="connsiteX130" fmla="*/ 2639527 w 5166485"/>
              <a:gd name="connsiteY130" fmla="*/ 6855583 h 6855583"/>
              <a:gd name="connsiteX131" fmla="*/ 2639516 w 5166485"/>
              <a:gd name="connsiteY131" fmla="*/ 6855583 h 6855583"/>
              <a:gd name="connsiteX132" fmla="*/ 2638878 w 5166485"/>
              <a:gd name="connsiteY132" fmla="*/ 6855583 h 6855583"/>
              <a:gd name="connsiteX133" fmla="*/ 2617659 w 5166485"/>
              <a:gd name="connsiteY133" fmla="*/ 6855583 h 6855583"/>
              <a:gd name="connsiteX134" fmla="*/ 2566761 w 5166485"/>
              <a:gd name="connsiteY134" fmla="*/ 6855583 h 6855583"/>
              <a:gd name="connsiteX135" fmla="*/ 2566750 w 5166485"/>
              <a:gd name="connsiteY135" fmla="*/ 6855583 h 6855583"/>
              <a:gd name="connsiteX136" fmla="*/ 2566740 w 5166485"/>
              <a:gd name="connsiteY136" fmla="*/ 6855583 h 6855583"/>
              <a:gd name="connsiteX137" fmla="*/ 2566100 w 5166485"/>
              <a:gd name="connsiteY137" fmla="*/ 6855583 h 6855583"/>
              <a:gd name="connsiteX138" fmla="*/ 1974046 w 5166485"/>
              <a:gd name="connsiteY138" fmla="*/ 6855583 h 6855583"/>
              <a:gd name="connsiteX139" fmla="*/ 1924977 w 5166485"/>
              <a:gd name="connsiteY139" fmla="*/ 6855583 h 6855583"/>
              <a:gd name="connsiteX140" fmla="*/ 1923149 w 5166485"/>
              <a:gd name="connsiteY140" fmla="*/ 6855583 h 6855583"/>
              <a:gd name="connsiteX141" fmla="*/ 1923138 w 5166485"/>
              <a:gd name="connsiteY141" fmla="*/ 6855583 h 6855583"/>
              <a:gd name="connsiteX142" fmla="*/ 1923127 w 5166485"/>
              <a:gd name="connsiteY142" fmla="*/ 6855583 h 6855583"/>
              <a:gd name="connsiteX143" fmla="*/ 1922488 w 5166485"/>
              <a:gd name="connsiteY143" fmla="*/ 6855583 h 6855583"/>
              <a:gd name="connsiteX144" fmla="*/ 1901270 w 5166485"/>
              <a:gd name="connsiteY144" fmla="*/ 6855583 h 6855583"/>
              <a:gd name="connsiteX145" fmla="*/ 1874079 w 5166485"/>
              <a:gd name="connsiteY145" fmla="*/ 6855583 h 6855583"/>
              <a:gd name="connsiteX146" fmla="*/ 1874068 w 5166485"/>
              <a:gd name="connsiteY146" fmla="*/ 6855583 h 6855583"/>
              <a:gd name="connsiteX147" fmla="*/ 1874058 w 5166485"/>
              <a:gd name="connsiteY147" fmla="*/ 6855583 h 6855583"/>
              <a:gd name="connsiteX148" fmla="*/ 1873420 w 5166485"/>
              <a:gd name="connsiteY148" fmla="*/ 6855583 h 6855583"/>
              <a:gd name="connsiteX149" fmla="*/ 1852200 w 5166485"/>
              <a:gd name="connsiteY149" fmla="*/ 6855583 h 6855583"/>
              <a:gd name="connsiteX150" fmla="*/ 1850372 w 5166485"/>
              <a:gd name="connsiteY150" fmla="*/ 6855583 h 6855583"/>
              <a:gd name="connsiteX151" fmla="*/ 1850361 w 5166485"/>
              <a:gd name="connsiteY151" fmla="*/ 6855583 h 6855583"/>
              <a:gd name="connsiteX152" fmla="*/ 1850351 w 5166485"/>
              <a:gd name="connsiteY152" fmla="*/ 6855583 h 6855583"/>
              <a:gd name="connsiteX153" fmla="*/ 1849711 w 5166485"/>
              <a:gd name="connsiteY153" fmla="*/ 6855583 h 6855583"/>
              <a:gd name="connsiteX154" fmla="*/ 1801303 w 5166485"/>
              <a:gd name="connsiteY154" fmla="*/ 6855583 h 6855583"/>
              <a:gd name="connsiteX155" fmla="*/ 1801292 w 5166485"/>
              <a:gd name="connsiteY155" fmla="*/ 6855583 h 6855583"/>
              <a:gd name="connsiteX156" fmla="*/ 1801282 w 5166485"/>
              <a:gd name="connsiteY156" fmla="*/ 6855583 h 6855583"/>
              <a:gd name="connsiteX157" fmla="*/ 1800642 w 5166485"/>
              <a:gd name="connsiteY157" fmla="*/ 6855583 h 6855583"/>
              <a:gd name="connsiteX158" fmla="*/ 1555906 w 5166485"/>
              <a:gd name="connsiteY158" fmla="*/ 6855583 h 6855583"/>
              <a:gd name="connsiteX159" fmla="*/ 1483128 w 5166485"/>
              <a:gd name="connsiteY159" fmla="*/ 6855583 h 6855583"/>
              <a:gd name="connsiteX160" fmla="*/ 1208587 w 5166485"/>
              <a:gd name="connsiteY160" fmla="*/ 6855583 h 6855583"/>
              <a:gd name="connsiteX161" fmla="*/ 1157689 w 5166485"/>
              <a:gd name="connsiteY161" fmla="*/ 6855583 h 6855583"/>
              <a:gd name="connsiteX162" fmla="*/ 1157678 w 5166485"/>
              <a:gd name="connsiteY162" fmla="*/ 6855583 h 6855583"/>
              <a:gd name="connsiteX163" fmla="*/ 1157669 w 5166485"/>
              <a:gd name="connsiteY163" fmla="*/ 6855583 h 6855583"/>
              <a:gd name="connsiteX164" fmla="*/ 1157031 w 5166485"/>
              <a:gd name="connsiteY164" fmla="*/ 6855583 h 6855583"/>
              <a:gd name="connsiteX165" fmla="*/ 1135810 w 5166485"/>
              <a:gd name="connsiteY165" fmla="*/ 6855583 h 6855583"/>
              <a:gd name="connsiteX166" fmla="*/ 1084913 w 5166485"/>
              <a:gd name="connsiteY166" fmla="*/ 6855583 h 6855583"/>
              <a:gd name="connsiteX167" fmla="*/ 1084902 w 5166485"/>
              <a:gd name="connsiteY167" fmla="*/ 6855583 h 6855583"/>
              <a:gd name="connsiteX168" fmla="*/ 1084893 w 5166485"/>
              <a:gd name="connsiteY168" fmla="*/ 6855583 h 6855583"/>
              <a:gd name="connsiteX169" fmla="*/ 1084253 w 5166485"/>
              <a:gd name="connsiteY169" fmla="*/ 6855583 h 6855583"/>
              <a:gd name="connsiteX170" fmla="*/ 839517 w 5166485"/>
              <a:gd name="connsiteY170" fmla="*/ 6855583 h 6855583"/>
              <a:gd name="connsiteX171" fmla="*/ 790448 w 5166485"/>
              <a:gd name="connsiteY171" fmla="*/ 6855583 h 6855583"/>
              <a:gd name="connsiteX172" fmla="*/ 766740 w 5166485"/>
              <a:gd name="connsiteY172" fmla="*/ 6855583 h 6855583"/>
              <a:gd name="connsiteX173" fmla="*/ 717671 w 5166485"/>
              <a:gd name="connsiteY173" fmla="*/ 6855583 h 6855583"/>
              <a:gd name="connsiteX174" fmla="*/ 74059 w 5166485"/>
              <a:gd name="connsiteY174" fmla="*/ 6855583 h 6855583"/>
              <a:gd name="connsiteX175" fmla="*/ 1282 w 5166485"/>
              <a:gd name="connsiteY175" fmla="*/ 6855583 h 6855583"/>
              <a:gd name="connsiteX176" fmla="*/ 1282 w 5166485"/>
              <a:gd name="connsiteY176" fmla="*/ 6709335 h 6855583"/>
              <a:gd name="connsiteX177" fmla="*/ 1282 w 5166485"/>
              <a:gd name="connsiteY177" fmla="*/ 5785114 h 6855583"/>
              <a:gd name="connsiteX178" fmla="*/ 0 w 5166485"/>
              <a:gd name="connsiteY178" fmla="*/ 5785114 h 6855583"/>
              <a:gd name="connsiteX179" fmla="*/ 0 w 5166485"/>
              <a:gd name="connsiteY179" fmla="*/ 5725228 h 6855583"/>
              <a:gd name="connsiteX180" fmla="*/ 0 w 5166485"/>
              <a:gd name="connsiteY180" fmla="*/ 5657025 h 6855583"/>
              <a:gd name="connsiteX181" fmla="*/ 0 w 5166485"/>
              <a:gd name="connsiteY181" fmla="*/ 5598154 h 6855583"/>
              <a:gd name="connsiteX182" fmla="*/ 0 w 5166485"/>
              <a:gd name="connsiteY182" fmla="*/ 5529139 h 6855583"/>
              <a:gd name="connsiteX183" fmla="*/ 0 w 5166485"/>
              <a:gd name="connsiteY183" fmla="*/ 5502424 h 6855583"/>
              <a:gd name="connsiteX184" fmla="*/ 0 w 5166485"/>
              <a:gd name="connsiteY184" fmla="*/ 5405390 h 6855583"/>
              <a:gd name="connsiteX185" fmla="*/ 0 w 5166485"/>
              <a:gd name="connsiteY185" fmla="*/ 5379128 h 6855583"/>
              <a:gd name="connsiteX186" fmla="*/ 0 w 5166485"/>
              <a:gd name="connsiteY186" fmla="*/ 4907380 h 6855583"/>
              <a:gd name="connsiteX187" fmla="*/ 0 w 5166485"/>
              <a:gd name="connsiteY187" fmla="*/ 4794177 h 6855583"/>
              <a:gd name="connsiteX188" fmla="*/ 0 w 5166485"/>
              <a:gd name="connsiteY188" fmla="*/ 4623176 h 6855583"/>
              <a:gd name="connsiteX189" fmla="*/ 0 w 5166485"/>
              <a:gd name="connsiteY189" fmla="*/ 4514791 h 6855583"/>
              <a:gd name="connsiteX190" fmla="*/ 1294 w 5166485"/>
              <a:gd name="connsiteY190" fmla="*/ 4514791 h 6855583"/>
              <a:gd name="connsiteX191" fmla="*/ 1294 w 5166485"/>
              <a:gd name="connsiteY191" fmla="*/ 4514790 h 6855583"/>
              <a:gd name="connsiteX192" fmla="*/ 1294 w 5166485"/>
              <a:gd name="connsiteY192" fmla="*/ 4514355 h 6855583"/>
              <a:gd name="connsiteX193" fmla="*/ 1294 w 5166485"/>
              <a:gd name="connsiteY193" fmla="*/ 4495635 h 6855583"/>
              <a:gd name="connsiteX194" fmla="*/ 1294 w 5166485"/>
              <a:gd name="connsiteY194" fmla="*/ 4437486 h 6855583"/>
              <a:gd name="connsiteX195" fmla="*/ 3998 w 5166485"/>
              <a:gd name="connsiteY195" fmla="*/ 4437486 h 6855583"/>
              <a:gd name="connsiteX196" fmla="*/ 6216 w 5166485"/>
              <a:gd name="connsiteY196" fmla="*/ 4374413 h 6855583"/>
              <a:gd name="connsiteX197" fmla="*/ 6782 w 5166485"/>
              <a:gd name="connsiteY197" fmla="*/ 4368991 h 6855583"/>
              <a:gd name="connsiteX198" fmla="*/ 6892 w 5166485"/>
              <a:gd name="connsiteY198" fmla="*/ 4365997 h 6855583"/>
              <a:gd name="connsiteX199" fmla="*/ 10050 w 5166485"/>
              <a:gd name="connsiteY199" fmla="*/ 4337551 h 6855583"/>
              <a:gd name="connsiteX200" fmla="*/ 19508 w 5166485"/>
              <a:gd name="connsiteY200" fmla="*/ 4246611 h 6855583"/>
              <a:gd name="connsiteX201" fmla="*/ 21306 w 5166485"/>
              <a:gd name="connsiteY201" fmla="*/ 4236154 h 6855583"/>
              <a:gd name="connsiteX202" fmla="*/ 21989 w 5166485"/>
              <a:gd name="connsiteY202" fmla="*/ 4229994 h 6855583"/>
              <a:gd name="connsiteX203" fmla="*/ 27574 w 5166485"/>
              <a:gd name="connsiteY203" fmla="*/ 4199586 h 6855583"/>
              <a:gd name="connsiteX204" fmla="*/ 29284 w 5166485"/>
              <a:gd name="connsiteY204" fmla="*/ 4199586 h 6855583"/>
              <a:gd name="connsiteX205" fmla="*/ 29540 w 5166485"/>
              <a:gd name="connsiteY205" fmla="*/ 4198449 h 6855583"/>
              <a:gd name="connsiteX206" fmla="*/ 42529 w 5166485"/>
              <a:gd name="connsiteY206" fmla="*/ 4136748 h 6855583"/>
              <a:gd name="connsiteX207" fmla="*/ 46228 w 5166485"/>
              <a:gd name="connsiteY207" fmla="*/ 4124266 h 6855583"/>
              <a:gd name="connsiteX208" fmla="*/ 47868 w 5166485"/>
              <a:gd name="connsiteY208" fmla="*/ 4116981 h 6855583"/>
              <a:gd name="connsiteX209" fmla="*/ 55747 w 5166485"/>
              <a:gd name="connsiteY209" fmla="*/ 4092151 h 6855583"/>
              <a:gd name="connsiteX210" fmla="*/ 71490 w 5166485"/>
              <a:gd name="connsiteY210" fmla="*/ 4039027 h 6855583"/>
              <a:gd name="connsiteX211" fmla="*/ 77718 w 5166485"/>
              <a:gd name="connsiteY211" fmla="*/ 4022906 h 6855583"/>
              <a:gd name="connsiteX212" fmla="*/ 80657 w 5166485"/>
              <a:gd name="connsiteY212" fmla="*/ 4013638 h 6855583"/>
              <a:gd name="connsiteX213" fmla="*/ 89984 w 5166485"/>
              <a:gd name="connsiteY213" fmla="*/ 3991153 h 6855583"/>
              <a:gd name="connsiteX214" fmla="*/ 107731 w 5166485"/>
              <a:gd name="connsiteY214" fmla="*/ 3945212 h 6855583"/>
              <a:gd name="connsiteX215" fmla="*/ 117082 w 5166485"/>
              <a:gd name="connsiteY215" fmla="*/ 3925819 h 6855583"/>
              <a:gd name="connsiteX216" fmla="*/ 121624 w 5166485"/>
              <a:gd name="connsiteY216" fmla="*/ 3914866 h 6855583"/>
              <a:gd name="connsiteX217" fmla="*/ 131854 w 5166485"/>
              <a:gd name="connsiteY217" fmla="*/ 3895180 h 6855583"/>
              <a:gd name="connsiteX218" fmla="*/ 150882 w 5166485"/>
              <a:gd name="connsiteY218" fmla="*/ 3855710 h 6855583"/>
              <a:gd name="connsiteX219" fmla="*/ 163921 w 5166485"/>
              <a:gd name="connsiteY219" fmla="*/ 3833461 h 6855583"/>
              <a:gd name="connsiteX220" fmla="*/ 170313 w 5166485"/>
              <a:gd name="connsiteY220" fmla="*/ 3821161 h 6855583"/>
              <a:gd name="connsiteX221" fmla="*/ 180949 w 5166485"/>
              <a:gd name="connsiteY221" fmla="*/ 3804408 h 6855583"/>
              <a:gd name="connsiteX222" fmla="*/ 200571 w 5166485"/>
              <a:gd name="connsiteY222" fmla="*/ 3770926 h 6855583"/>
              <a:gd name="connsiteX223" fmla="*/ 217848 w 5166485"/>
              <a:gd name="connsiteY223" fmla="*/ 3746294 h 6855583"/>
              <a:gd name="connsiteX224" fmla="*/ 226277 w 5166485"/>
              <a:gd name="connsiteY224" fmla="*/ 3733015 h 6855583"/>
              <a:gd name="connsiteX225" fmla="*/ 236872 w 5166485"/>
              <a:gd name="connsiteY225" fmla="*/ 3719164 h 6855583"/>
              <a:gd name="connsiteX226" fmla="*/ 256434 w 5166485"/>
              <a:gd name="connsiteY226" fmla="*/ 3691269 h 6855583"/>
              <a:gd name="connsiteX227" fmla="*/ 278476 w 5166485"/>
              <a:gd name="connsiteY227" fmla="*/ 3664770 h 6855583"/>
              <a:gd name="connsiteX228" fmla="*/ 289068 w 5166485"/>
              <a:gd name="connsiteY228" fmla="*/ 3650922 h 6855583"/>
              <a:gd name="connsiteX229" fmla="*/ 299210 w 5166485"/>
              <a:gd name="connsiteY229" fmla="*/ 3639845 h 6855583"/>
              <a:gd name="connsiteX230" fmla="*/ 318094 w 5166485"/>
              <a:gd name="connsiteY230" fmla="*/ 3617142 h 6855583"/>
              <a:gd name="connsiteX231" fmla="*/ 345456 w 5166485"/>
              <a:gd name="connsiteY231" fmla="*/ 3589336 h 6855583"/>
              <a:gd name="connsiteX232" fmla="*/ 358237 w 5166485"/>
              <a:gd name="connsiteY232" fmla="*/ 3575375 h 6855583"/>
              <a:gd name="connsiteX233" fmla="*/ 367555 w 5166485"/>
              <a:gd name="connsiteY233" fmla="*/ 3566877 h 6855583"/>
              <a:gd name="connsiteX234" fmla="*/ 385187 w 5166485"/>
              <a:gd name="connsiteY234" fmla="*/ 3548953 h 6855583"/>
              <a:gd name="connsiteX235" fmla="*/ 418478 w 5166485"/>
              <a:gd name="connsiteY235" fmla="*/ 3520422 h 6855583"/>
              <a:gd name="connsiteX236" fmla="*/ 433333 w 5166485"/>
              <a:gd name="connsiteY236" fmla="*/ 3506870 h 6855583"/>
              <a:gd name="connsiteX237" fmla="*/ 441492 w 5166485"/>
              <a:gd name="connsiteY237" fmla="*/ 3500699 h 6855583"/>
              <a:gd name="connsiteX238" fmla="*/ 457342 w 5166485"/>
              <a:gd name="connsiteY238" fmla="*/ 3487112 h 6855583"/>
              <a:gd name="connsiteX239" fmla="*/ 497345 w 5166485"/>
              <a:gd name="connsiteY239" fmla="*/ 3458431 h 6855583"/>
              <a:gd name="connsiteX240" fmla="*/ 513909 w 5166485"/>
              <a:gd name="connsiteY240" fmla="*/ 3445896 h 6855583"/>
              <a:gd name="connsiteX241" fmla="*/ 520601 w 5166485"/>
              <a:gd name="connsiteY241" fmla="*/ 3441758 h 6855583"/>
              <a:gd name="connsiteX242" fmla="*/ 534185 w 5166485"/>
              <a:gd name="connsiteY242" fmla="*/ 3432019 h 6855583"/>
              <a:gd name="connsiteX243" fmla="*/ 582120 w 5166485"/>
              <a:gd name="connsiteY243" fmla="*/ 3403709 h 6855583"/>
              <a:gd name="connsiteX244" fmla="*/ 599514 w 5166485"/>
              <a:gd name="connsiteY244" fmla="*/ 3392950 h 6855583"/>
              <a:gd name="connsiteX245" fmla="*/ 604468 w 5166485"/>
              <a:gd name="connsiteY245" fmla="*/ 3390510 h 6855583"/>
              <a:gd name="connsiteX246" fmla="*/ 615351 w 5166485"/>
              <a:gd name="connsiteY246" fmla="*/ 3384083 h 6855583"/>
              <a:gd name="connsiteX247" fmla="*/ 673670 w 5166485"/>
              <a:gd name="connsiteY247" fmla="*/ 3356422 h 6855583"/>
              <a:gd name="connsiteX248" fmla="*/ 689699 w 5166485"/>
              <a:gd name="connsiteY248" fmla="*/ 3348524 h 6855583"/>
              <a:gd name="connsiteX249" fmla="*/ 692665 w 5166485"/>
              <a:gd name="connsiteY249" fmla="*/ 3347410 h 6855583"/>
              <a:gd name="connsiteX250" fmla="*/ 700468 w 5166485"/>
              <a:gd name="connsiteY250" fmla="*/ 3343710 h 6855583"/>
              <a:gd name="connsiteX251" fmla="*/ 776485 w 5166485"/>
              <a:gd name="connsiteY251" fmla="*/ 3315941 h 6855583"/>
              <a:gd name="connsiteX252" fmla="*/ 784019 w 5166485"/>
              <a:gd name="connsiteY252" fmla="*/ 3313112 h 6855583"/>
              <a:gd name="connsiteX253" fmla="*/ 784777 w 5166485"/>
              <a:gd name="connsiteY253" fmla="*/ 3312912 h 6855583"/>
              <a:gd name="connsiteX254" fmla="*/ 789167 w 5166485"/>
              <a:gd name="connsiteY254" fmla="*/ 3311308 h 6855583"/>
              <a:gd name="connsiteX255" fmla="*/ 975831 w 5166485"/>
              <a:gd name="connsiteY255" fmla="*/ 3272037 h 6855583"/>
              <a:gd name="connsiteX256" fmla="*/ 980073 w 5166485"/>
              <a:gd name="connsiteY256" fmla="*/ 3271801 h 6855583"/>
              <a:gd name="connsiteX257" fmla="*/ 983256 w 5166485"/>
              <a:gd name="connsiteY257" fmla="*/ 3271301 h 6855583"/>
              <a:gd name="connsiteX258" fmla="*/ 1035718 w 5166485"/>
              <a:gd name="connsiteY258" fmla="*/ 3268571 h 6855583"/>
              <a:gd name="connsiteX259" fmla="*/ 1035718 w 5166485"/>
              <a:gd name="connsiteY259" fmla="*/ 3265890 h 6855583"/>
              <a:gd name="connsiteX260" fmla="*/ 1086616 w 5166485"/>
              <a:gd name="connsiteY260" fmla="*/ 3265890 h 6855583"/>
              <a:gd name="connsiteX261" fmla="*/ 4098476 w 5166485"/>
              <a:gd name="connsiteY261" fmla="*/ 852993 h 6855583"/>
              <a:gd name="connsiteX262" fmla="*/ 5166485 w 5166485"/>
              <a:gd name="connsiteY262" fmla="*/ 1921002 h 6855583"/>
              <a:gd name="connsiteX263" fmla="*/ 4207674 w 5166485"/>
              <a:gd name="connsiteY263" fmla="*/ 2983496 h 6855583"/>
              <a:gd name="connsiteX264" fmla="*/ 4112812 w 5166485"/>
              <a:gd name="connsiteY264" fmla="*/ 2988286 h 6855583"/>
              <a:gd name="connsiteX265" fmla="*/ 4112812 w 5166485"/>
              <a:gd name="connsiteY265" fmla="*/ 2989010 h 6855583"/>
              <a:gd name="connsiteX266" fmla="*/ 4098476 w 5166485"/>
              <a:gd name="connsiteY266" fmla="*/ 2989010 h 6855583"/>
              <a:gd name="connsiteX267" fmla="*/ 3030468 w 5166485"/>
              <a:gd name="connsiteY267" fmla="*/ 2989010 h 6855583"/>
              <a:gd name="connsiteX268" fmla="*/ 3030468 w 5166485"/>
              <a:gd name="connsiteY268" fmla="*/ 1921011 h 6855583"/>
              <a:gd name="connsiteX269" fmla="*/ 3030468 w 5166485"/>
              <a:gd name="connsiteY269" fmla="*/ 1921002 h 6855583"/>
              <a:gd name="connsiteX270" fmla="*/ 3030468 w 5166485"/>
              <a:gd name="connsiteY270" fmla="*/ 1920991 h 6855583"/>
              <a:gd name="connsiteX271" fmla="*/ 3030468 w 5166485"/>
              <a:gd name="connsiteY271" fmla="*/ 1870827 h 6855583"/>
              <a:gd name="connsiteX272" fmla="*/ 3033002 w 5166485"/>
              <a:gd name="connsiteY272" fmla="*/ 1870827 h 6855583"/>
              <a:gd name="connsiteX273" fmla="*/ 3035982 w 5166485"/>
              <a:gd name="connsiteY273" fmla="*/ 1811804 h 6855583"/>
              <a:gd name="connsiteX274" fmla="*/ 4098476 w 5166485"/>
              <a:gd name="connsiteY274" fmla="*/ 852993 h 6855583"/>
              <a:gd name="connsiteX275" fmla="*/ 988607 w 5166485"/>
              <a:gd name="connsiteY275" fmla="*/ 0 h 6855583"/>
              <a:gd name="connsiteX276" fmla="*/ 988617 w 5166485"/>
              <a:gd name="connsiteY276" fmla="*/ 1 h 6855583"/>
              <a:gd name="connsiteX277" fmla="*/ 989198 w 5166485"/>
              <a:gd name="connsiteY277" fmla="*/ 1 h 6855583"/>
              <a:gd name="connsiteX278" fmla="*/ 1018562 w 5166485"/>
              <a:gd name="connsiteY278" fmla="*/ 1 h 6855583"/>
              <a:gd name="connsiteX279" fmla="*/ 1064868 w 5166485"/>
              <a:gd name="connsiteY279" fmla="*/ 1 h 6855583"/>
              <a:gd name="connsiteX280" fmla="*/ 1064878 w 5166485"/>
              <a:gd name="connsiteY280" fmla="*/ 0 h 6855583"/>
              <a:gd name="connsiteX281" fmla="*/ 1064887 w 5166485"/>
              <a:gd name="connsiteY281" fmla="*/ 1 h 6855583"/>
              <a:gd name="connsiteX282" fmla="*/ 1065468 w 5166485"/>
              <a:gd name="connsiteY282" fmla="*/ 1 h 6855583"/>
              <a:gd name="connsiteX283" fmla="*/ 1638703 w 5166485"/>
              <a:gd name="connsiteY283" fmla="*/ 1 h 6855583"/>
              <a:gd name="connsiteX284" fmla="*/ 1685008 w 5166485"/>
              <a:gd name="connsiteY284" fmla="*/ 1 h 6855583"/>
              <a:gd name="connsiteX285" fmla="*/ 1685018 w 5166485"/>
              <a:gd name="connsiteY285" fmla="*/ 0 h 6855583"/>
              <a:gd name="connsiteX286" fmla="*/ 1685028 w 5166485"/>
              <a:gd name="connsiteY286" fmla="*/ 1 h 6855583"/>
              <a:gd name="connsiteX287" fmla="*/ 1685609 w 5166485"/>
              <a:gd name="connsiteY287" fmla="*/ 1 h 6855583"/>
              <a:gd name="connsiteX288" fmla="*/ 1714972 w 5166485"/>
              <a:gd name="connsiteY288" fmla="*/ 1 h 6855583"/>
              <a:gd name="connsiteX289" fmla="*/ 1761279 w 5166485"/>
              <a:gd name="connsiteY289" fmla="*/ 1 h 6855583"/>
              <a:gd name="connsiteX290" fmla="*/ 1761288 w 5166485"/>
              <a:gd name="connsiteY290" fmla="*/ 0 h 6855583"/>
              <a:gd name="connsiteX291" fmla="*/ 1761297 w 5166485"/>
              <a:gd name="connsiteY291" fmla="*/ 1 h 6855583"/>
              <a:gd name="connsiteX292" fmla="*/ 1761879 w 5166485"/>
              <a:gd name="connsiteY292" fmla="*/ 1 h 6855583"/>
              <a:gd name="connsiteX293" fmla="*/ 1974481 w 5166485"/>
              <a:gd name="connsiteY293" fmla="*/ 1 h 6855583"/>
              <a:gd name="connsiteX294" fmla="*/ 2050751 w 5166485"/>
              <a:gd name="connsiteY294" fmla="*/ 1 h 6855583"/>
              <a:gd name="connsiteX295" fmla="*/ 2670892 w 5166485"/>
              <a:gd name="connsiteY295" fmla="*/ 1 h 6855583"/>
              <a:gd name="connsiteX296" fmla="*/ 2747162 w 5166485"/>
              <a:gd name="connsiteY296" fmla="*/ 1 h 6855583"/>
              <a:gd name="connsiteX297" fmla="*/ 2747162 w 5166485"/>
              <a:gd name="connsiteY297" fmla="*/ 849474 h 6855583"/>
              <a:gd name="connsiteX298" fmla="*/ 2745606 w 5166485"/>
              <a:gd name="connsiteY298" fmla="*/ 849474 h 6855583"/>
              <a:gd name="connsiteX299" fmla="*/ 2745606 w 5166485"/>
              <a:gd name="connsiteY299" fmla="*/ 1065915 h 6855583"/>
              <a:gd name="connsiteX300" fmla="*/ 2746772 w 5166485"/>
              <a:gd name="connsiteY300" fmla="*/ 1065915 h 6855583"/>
              <a:gd name="connsiteX301" fmla="*/ 2746772 w 5166485"/>
              <a:gd name="connsiteY301" fmla="*/ 1136245 h 6855583"/>
              <a:gd name="connsiteX302" fmla="*/ 2746772 w 5166485"/>
              <a:gd name="connsiteY302" fmla="*/ 1390429 h 6855583"/>
              <a:gd name="connsiteX303" fmla="*/ 2746772 w 5166485"/>
              <a:gd name="connsiteY303" fmla="*/ 1922616 h 6855583"/>
              <a:gd name="connsiteX304" fmla="*/ 2746772 w 5166485"/>
              <a:gd name="connsiteY304" fmla="*/ 1946508 h 6855583"/>
              <a:gd name="connsiteX305" fmla="*/ 2746772 w 5166485"/>
              <a:gd name="connsiteY305" fmla="*/ 2121884 h 6855583"/>
              <a:gd name="connsiteX306" fmla="*/ 2745595 w 5166485"/>
              <a:gd name="connsiteY306" fmla="*/ 2121884 h 6855583"/>
              <a:gd name="connsiteX307" fmla="*/ 2745595 w 5166485"/>
              <a:gd name="connsiteY307" fmla="*/ 2122187 h 6855583"/>
              <a:gd name="connsiteX308" fmla="*/ 2745595 w 5166485"/>
              <a:gd name="connsiteY308" fmla="*/ 2135156 h 6855583"/>
              <a:gd name="connsiteX309" fmla="*/ 2745595 w 5166485"/>
              <a:gd name="connsiteY309" fmla="*/ 2175445 h 6855583"/>
              <a:gd name="connsiteX310" fmla="*/ 2743134 w 5166485"/>
              <a:gd name="connsiteY310" fmla="*/ 2175445 h 6855583"/>
              <a:gd name="connsiteX311" fmla="*/ 2741116 w 5166485"/>
              <a:gd name="connsiteY311" fmla="*/ 2219143 h 6855583"/>
              <a:gd name="connsiteX312" fmla="*/ 2740603 w 5166485"/>
              <a:gd name="connsiteY312" fmla="*/ 2222901 h 6855583"/>
              <a:gd name="connsiteX313" fmla="*/ 2740500 w 5166485"/>
              <a:gd name="connsiteY313" fmla="*/ 2224976 h 6855583"/>
              <a:gd name="connsiteX314" fmla="*/ 2737627 w 5166485"/>
              <a:gd name="connsiteY314" fmla="*/ 2244685 h 6855583"/>
              <a:gd name="connsiteX315" fmla="*/ 2735536 w 5166485"/>
              <a:gd name="connsiteY315" fmla="*/ 2259998 h 6855583"/>
              <a:gd name="connsiteX316" fmla="*/ 2735536 w 5166485"/>
              <a:gd name="connsiteY316" fmla="*/ 2291981 h 6855583"/>
              <a:gd name="connsiteX317" fmla="*/ 2733075 w 5166485"/>
              <a:gd name="connsiteY317" fmla="*/ 2291981 h 6855583"/>
              <a:gd name="connsiteX318" fmla="*/ 2731057 w 5166485"/>
              <a:gd name="connsiteY318" fmla="*/ 2336433 h 6855583"/>
              <a:gd name="connsiteX319" fmla="*/ 2730544 w 5166485"/>
              <a:gd name="connsiteY319" fmla="*/ 2340255 h 6855583"/>
              <a:gd name="connsiteX320" fmla="*/ 2730441 w 5166485"/>
              <a:gd name="connsiteY320" fmla="*/ 2342367 h 6855583"/>
              <a:gd name="connsiteX321" fmla="*/ 2727568 w 5166485"/>
              <a:gd name="connsiteY321" fmla="*/ 2362415 h 6855583"/>
              <a:gd name="connsiteX322" fmla="*/ 2718964 w 5166485"/>
              <a:gd name="connsiteY322" fmla="*/ 2426508 h 6855583"/>
              <a:gd name="connsiteX323" fmla="*/ 2717329 w 5166485"/>
              <a:gd name="connsiteY323" fmla="*/ 2433880 h 6855583"/>
              <a:gd name="connsiteX324" fmla="*/ 2716706 w 5166485"/>
              <a:gd name="connsiteY324" fmla="*/ 2438222 h 6855583"/>
              <a:gd name="connsiteX325" fmla="*/ 2711395 w 5166485"/>
              <a:gd name="connsiteY325" fmla="*/ 2460635 h 6855583"/>
              <a:gd name="connsiteX326" fmla="*/ 2699576 w 5166485"/>
              <a:gd name="connsiteY326" fmla="*/ 2513912 h 6855583"/>
              <a:gd name="connsiteX327" fmla="*/ 2696210 w 5166485"/>
              <a:gd name="connsiteY327" fmla="*/ 2524690 h 6855583"/>
              <a:gd name="connsiteX328" fmla="*/ 2694719 w 5166485"/>
              <a:gd name="connsiteY328" fmla="*/ 2530980 h 6855583"/>
              <a:gd name="connsiteX329" fmla="*/ 2687551 w 5166485"/>
              <a:gd name="connsiteY329" fmla="*/ 2552423 h 6855583"/>
              <a:gd name="connsiteX330" fmla="*/ 2673227 w 5166485"/>
              <a:gd name="connsiteY330" fmla="*/ 2598293 h 6855583"/>
              <a:gd name="connsiteX331" fmla="*/ 2667561 w 5166485"/>
              <a:gd name="connsiteY331" fmla="*/ 2612213 h 6855583"/>
              <a:gd name="connsiteX332" fmla="*/ 2664886 w 5166485"/>
              <a:gd name="connsiteY332" fmla="*/ 2620217 h 6855583"/>
              <a:gd name="connsiteX333" fmla="*/ 2656402 w 5166485"/>
              <a:gd name="connsiteY333" fmla="*/ 2639632 h 6855583"/>
              <a:gd name="connsiteX334" fmla="*/ 2640256 w 5166485"/>
              <a:gd name="connsiteY334" fmla="*/ 2679301 h 6855583"/>
              <a:gd name="connsiteX335" fmla="*/ 2631748 w 5166485"/>
              <a:gd name="connsiteY335" fmla="*/ 2696048 h 6855583"/>
              <a:gd name="connsiteX336" fmla="*/ 2627616 w 5166485"/>
              <a:gd name="connsiteY336" fmla="*/ 2705505 h 6855583"/>
              <a:gd name="connsiteX337" fmla="*/ 2618309 w 5166485"/>
              <a:gd name="connsiteY337" fmla="*/ 2722504 h 6855583"/>
              <a:gd name="connsiteX338" fmla="*/ 2600997 w 5166485"/>
              <a:gd name="connsiteY338" fmla="*/ 2756585 h 6855583"/>
              <a:gd name="connsiteX339" fmla="*/ 2589134 w 5166485"/>
              <a:gd name="connsiteY339" fmla="*/ 2775797 h 6855583"/>
              <a:gd name="connsiteX340" fmla="*/ 2583319 w 5166485"/>
              <a:gd name="connsiteY340" fmla="*/ 2786419 h 6855583"/>
              <a:gd name="connsiteX341" fmla="*/ 2573641 w 5166485"/>
              <a:gd name="connsiteY341" fmla="*/ 2800885 h 6855583"/>
              <a:gd name="connsiteX342" fmla="*/ 2555790 w 5166485"/>
              <a:gd name="connsiteY342" fmla="*/ 2829795 h 6855583"/>
              <a:gd name="connsiteX343" fmla="*/ 2540073 w 5166485"/>
              <a:gd name="connsiteY343" fmla="*/ 2851064 h 6855583"/>
              <a:gd name="connsiteX344" fmla="*/ 2532404 w 5166485"/>
              <a:gd name="connsiteY344" fmla="*/ 2862531 h 6855583"/>
              <a:gd name="connsiteX345" fmla="*/ 2522765 w 5166485"/>
              <a:gd name="connsiteY345" fmla="*/ 2874490 h 6855583"/>
              <a:gd name="connsiteX346" fmla="*/ 2504967 w 5166485"/>
              <a:gd name="connsiteY346" fmla="*/ 2898578 h 6855583"/>
              <a:gd name="connsiteX347" fmla="*/ 2484913 w 5166485"/>
              <a:gd name="connsiteY347" fmla="*/ 2921459 h 6855583"/>
              <a:gd name="connsiteX348" fmla="*/ 2475277 w 5166485"/>
              <a:gd name="connsiteY348" fmla="*/ 2933417 h 6855583"/>
              <a:gd name="connsiteX349" fmla="*/ 2466050 w 5166485"/>
              <a:gd name="connsiteY349" fmla="*/ 2942981 h 6855583"/>
              <a:gd name="connsiteX350" fmla="*/ 2448868 w 5166485"/>
              <a:gd name="connsiteY350" fmla="*/ 2962585 h 6855583"/>
              <a:gd name="connsiteX351" fmla="*/ 2423976 w 5166485"/>
              <a:gd name="connsiteY351" fmla="*/ 2986596 h 6855583"/>
              <a:gd name="connsiteX352" fmla="*/ 2412348 w 5166485"/>
              <a:gd name="connsiteY352" fmla="*/ 2998650 h 6855583"/>
              <a:gd name="connsiteX353" fmla="*/ 2403870 w 5166485"/>
              <a:gd name="connsiteY353" fmla="*/ 3005990 h 6855583"/>
              <a:gd name="connsiteX354" fmla="*/ 2387828 w 5166485"/>
              <a:gd name="connsiteY354" fmla="*/ 3021464 h 6855583"/>
              <a:gd name="connsiteX355" fmla="*/ 2357540 w 5166485"/>
              <a:gd name="connsiteY355" fmla="*/ 3046103 h 6855583"/>
              <a:gd name="connsiteX356" fmla="*/ 2344025 w 5166485"/>
              <a:gd name="connsiteY356" fmla="*/ 3057805 h 6855583"/>
              <a:gd name="connsiteX357" fmla="*/ 2336603 w 5166485"/>
              <a:gd name="connsiteY357" fmla="*/ 3063135 h 6855583"/>
              <a:gd name="connsiteX358" fmla="*/ 2322182 w 5166485"/>
              <a:gd name="connsiteY358" fmla="*/ 3074865 h 6855583"/>
              <a:gd name="connsiteX359" fmla="*/ 2285787 w 5166485"/>
              <a:gd name="connsiteY359" fmla="*/ 3099631 h 6855583"/>
              <a:gd name="connsiteX360" fmla="*/ 2270718 w 5166485"/>
              <a:gd name="connsiteY360" fmla="*/ 3110454 h 6855583"/>
              <a:gd name="connsiteX361" fmla="*/ 2264629 w 5166485"/>
              <a:gd name="connsiteY361" fmla="*/ 3114027 h 6855583"/>
              <a:gd name="connsiteX362" fmla="*/ 2252269 w 5166485"/>
              <a:gd name="connsiteY362" fmla="*/ 3122437 h 6855583"/>
              <a:gd name="connsiteX363" fmla="*/ 2208660 w 5166485"/>
              <a:gd name="connsiteY363" fmla="*/ 3146882 h 6855583"/>
              <a:gd name="connsiteX364" fmla="*/ 2192835 w 5166485"/>
              <a:gd name="connsiteY364" fmla="*/ 3156172 h 6855583"/>
              <a:gd name="connsiteX365" fmla="*/ 2188328 w 5166485"/>
              <a:gd name="connsiteY365" fmla="*/ 3158279 h 6855583"/>
              <a:gd name="connsiteX366" fmla="*/ 2178425 w 5166485"/>
              <a:gd name="connsiteY366" fmla="*/ 3163830 h 6855583"/>
              <a:gd name="connsiteX367" fmla="*/ 2125368 w 5166485"/>
              <a:gd name="connsiteY367" fmla="*/ 3187714 h 6855583"/>
              <a:gd name="connsiteX368" fmla="*/ 2110783 w 5166485"/>
              <a:gd name="connsiteY368" fmla="*/ 3194534 h 6855583"/>
              <a:gd name="connsiteX369" fmla="*/ 2108085 w 5166485"/>
              <a:gd name="connsiteY369" fmla="*/ 3195495 h 6855583"/>
              <a:gd name="connsiteX370" fmla="*/ 2100986 w 5166485"/>
              <a:gd name="connsiteY370" fmla="*/ 3198691 h 6855583"/>
              <a:gd name="connsiteX371" fmla="*/ 2031826 w 5166485"/>
              <a:gd name="connsiteY371" fmla="*/ 3222668 h 6855583"/>
              <a:gd name="connsiteX372" fmla="*/ 2024972 w 5166485"/>
              <a:gd name="connsiteY372" fmla="*/ 3225111 h 6855583"/>
              <a:gd name="connsiteX373" fmla="*/ 2024283 w 5166485"/>
              <a:gd name="connsiteY373" fmla="*/ 3225284 h 6855583"/>
              <a:gd name="connsiteX374" fmla="*/ 2020288 w 5166485"/>
              <a:gd name="connsiteY374" fmla="*/ 3226670 h 6855583"/>
              <a:gd name="connsiteX375" fmla="*/ 1850461 w 5166485"/>
              <a:gd name="connsiteY375" fmla="*/ 3260580 h 6855583"/>
              <a:gd name="connsiteX376" fmla="*/ 1846605 w 5166485"/>
              <a:gd name="connsiteY376" fmla="*/ 3260783 h 6855583"/>
              <a:gd name="connsiteX377" fmla="*/ 1843708 w 5166485"/>
              <a:gd name="connsiteY377" fmla="*/ 3261214 h 6855583"/>
              <a:gd name="connsiteX378" fmla="*/ 1795978 w 5166485"/>
              <a:gd name="connsiteY378" fmla="*/ 3263571 h 6855583"/>
              <a:gd name="connsiteX379" fmla="*/ 1795978 w 5166485"/>
              <a:gd name="connsiteY379" fmla="*/ 3265886 h 6855583"/>
              <a:gd name="connsiteX380" fmla="*/ 1749672 w 5166485"/>
              <a:gd name="connsiteY380" fmla="*/ 3265886 h 6855583"/>
              <a:gd name="connsiteX381" fmla="*/ 1749662 w 5166485"/>
              <a:gd name="connsiteY381" fmla="*/ 3265887 h 6855583"/>
              <a:gd name="connsiteX382" fmla="*/ 1749653 w 5166485"/>
              <a:gd name="connsiteY382" fmla="*/ 3265886 h 6855583"/>
              <a:gd name="connsiteX383" fmla="*/ 1749071 w 5166485"/>
              <a:gd name="connsiteY383" fmla="*/ 3265886 h 6855583"/>
              <a:gd name="connsiteX384" fmla="*/ 1729765 w 5166485"/>
              <a:gd name="connsiteY384" fmla="*/ 3265886 h 6855583"/>
              <a:gd name="connsiteX385" fmla="*/ 1683460 w 5166485"/>
              <a:gd name="connsiteY385" fmla="*/ 3265886 h 6855583"/>
              <a:gd name="connsiteX386" fmla="*/ 1683450 w 5166485"/>
              <a:gd name="connsiteY386" fmla="*/ 3265887 h 6855583"/>
              <a:gd name="connsiteX387" fmla="*/ 1683441 w 5166485"/>
              <a:gd name="connsiteY387" fmla="*/ 3265886 h 6855583"/>
              <a:gd name="connsiteX388" fmla="*/ 1682859 w 5166485"/>
              <a:gd name="connsiteY388" fmla="*/ 3265886 h 6855583"/>
              <a:gd name="connsiteX389" fmla="*/ 1099567 w 5166485"/>
              <a:gd name="connsiteY389" fmla="*/ 3265887 h 6855583"/>
              <a:gd name="connsiteX390" fmla="*/ 1053261 w 5166485"/>
              <a:gd name="connsiteY390" fmla="*/ 3265887 h 6855583"/>
              <a:gd name="connsiteX391" fmla="*/ 1053251 w 5166485"/>
              <a:gd name="connsiteY391" fmla="*/ 3265887 h 6855583"/>
              <a:gd name="connsiteX392" fmla="*/ 1053242 w 5166485"/>
              <a:gd name="connsiteY392" fmla="*/ 3265887 h 6855583"/>
              <a:gd name="connsiteX393" fmla="*/ 1052660 w 5166485"/>
              <a:gd name="connsiteY393" fmla="*/ 3265887 h 6855583"/>
              <a:gd name="connsiteX394" fmla="*/ 1033356 w 5166485"/>
              <a:gd name="connsiteY394" fmla="*/ 3265887 h 6855583"/>
              <a:gd name="connsiteX395" fmla="*/ 987049 w 5166485"/>
              <a:gd name="connsiteY395" fmla="*/ 3265887 h 6855583"/>
              <a:gd name="connsiteX396" fmla="*/ 987040 w 5166485"/>
              <a:gd name="connsiteY396" fmla="*/ 3265887 h 6855583"/>
              <a:gd name="connsiteX397" fmla="*/ 987030 w 5166485"/>
              <a:gd name="connsiteY397" fmla="*/ 3265887 h 6855583"/>
              <a:gd name="connsiteX398" fmla="*/ 986449 w 5166485"/>
              <a:gd name="connsiteY398" fmla="*/ 3265887 h 6855583"/>
              <a:gd name="connsiteX399" fmla="*/ 763788 w 5166485"/>
              <a:gd name="connsiteY399" fmla="*/ 3265887 h 6855583"/>
              <a:gd name="connsiteX400" fmla="*/ 697577 w 5166485"/>
              <a:gd name="connsiteY400" fmla="*/ 3265887 h 6855583"/>
              <a:gd name="connsiteX401" fmla="*/ 67379 w 5166485"/>
              <a:gd name="connsiteY401" fmla="*/ 3265887 h 6855583"/>
              <a:gd name="connsiteX402" fmla="*/ 1166 w 5166485"/>
              <a:gd name="connsiteY402" fmla="*/ 3265887 h 6855583"/>
              <a:gd name="connsiteX403" fmla="*/ 1166 w 5166485"/>
              <a:gd name="connsiteY403" fmla="*/ 3132833 h 6855583"/>
              <a:gd name="connsiteX404" fmla="*/ 1166 w 5166485"/>
              <a:gd name="connsiteY404" fmla="*/ 2291981 h 6855583"/>
              <a:gd name="connsiteX405" fmla="*/ 0 w 5166485"/>
              <a:gd name="connsiteY405" fmla="*/ 2291981 h 6855583"/>
              <a:gd name="connsiteX406" fmla="*/ 0 w 5166485"/>
              <a:gd name="connsiteY406" fmla="*/ 2237497 h 6855583"/>
              <a:gd name="connsiteX407" fmla="*/ 0 w 5166485"/>
              <a:gd name="connsiteY407" fmla="*/ 2175445 h 6855583"/>
              <a:gd name="connsiteX408" fmla="*/ 0 w 5166485"/>
              <a:gd name="connsiteY408" fmla="*/ 2121884 h 6855583"/>
              <a:gd name="connsiteX409" fmla="*/ 0 w 5166485"/>
              <a:gd name="connsiteY409" fmla="*/ 2059094 h 6855583"/>
              <a:gd name="connsiteX410" fmla="*/ 0 w 5166485"/>
              <a:gd name="connsiteY410" fmla="*/ 2034789 h 6855583"/>
              <a:gd name="connsiteX411" fmla="*/ 0 w 5166485"/>
              <a:gd name="connsiteY411" fmla="*/ 1946508 h 6855583"/>
              <a:gd name="connsiteX412" fmla="*/ 0 w 5166485"/>
              <a:gd name="connsiteY412" fmla="*/ 1922616 h 6855583"/>
              <a:gd name="connsiteX413" fmla="*/ 0 w 5166485"/>
              <a:gd name="connsiteY413" fmla="*/ 1493422 h 6855583"/>
              <a:gd name="connsiteX414" fmla="*/ 0 w 5166485"/>
              <a:gd name="connsiteY414" fmla="*/ 1390429 h 6855583"/>
              <a:gd name="connsiteX415" fmla="*/ 0 w 5166485"/>
              <a:gd name="connsiteY415" fmla="*/ 1234853 h 6855583"/>
              <a:gd name="connsiteX416" fmla="*/ 0 w 5166485"/>
              <a:gd name="connsiteY416" fmla="*/ 1136246 h 6855583"/>
              <a:gd name="connsiteX417" fmla="*/ 1178 w 5166485"/>
              <a:gd name="connsiteY417" fmla="*/ 1136246 h 6855583"/>
              <a:gd name="connsiteX418" fmla="*/ 1178 w 5166485"/>
              <a:gd name="connsiteY418" fmla="*/ 1136245 h 6855583"/>
              <a:gd name="connsiteX419" fmla="*/ 1178 w 5166485"/>
              <a:gd name="connsiteY419" fmla="*/ 1135849 h 6855583"/>
              <a:gd name="connsiteX420" fmla="*/ 1178 w 5166485"/>
              <a:gd name="connsiteY420" fmla="*/ 1118819 h 6855583"/>
              <a:gd name="connsiteX421" fmla="*/ 1178 w 5166485"/>
              <a:gd name="connsiteY421" fmla="*/ 1065915 h 6855583"/>
              <a:gd name="connsiteX422" fmla="*/ 3638 w 5166485"/>
              <a:gd name="connsiteY422" fmla="*/ 1065915 h 6855583"/>
              <a:gd name="connsiteX423" fmla="*/ 5656 w 5166485"/>
              <a:gd name="connsiteY423" fmla="*/ 1008533 h 6855583"/>
              <a:gd name="connsiteX424" fmla="*/ 6170 w 5166485"/>
              <a:gd name="connsiteY424" fmla="*/ 1003598 h 6855583"/>
              <a:gd name="connsiteX425" fmla="*/ 6271 w 5166485"/>
              <a:gd name="connsiteY425" fmla="*/ 1000874 h 6855583"/>
              <a:gd name="connsiteX426" fmla="*/ 9144 w 5166485"/>
              <a:gd name="connsiteY426" fmla="*/ 974994 h 6855583"/>
              <a:gd name="connsiteX427" fmla="*/ 17749 w 5166485"/>
              <a:gd name="connsiteY427" fmla="*/ 892259 h 6855583"/>
              <a:gd name="connsiteX428" fmla="*/ 19384 w 5166485"/>
              <a:gd name="connsiteY428" fmla="*/ 882743 h 6855583"/>
              <a:gd name="connsiteX429" fmla="*/ 20006 w 5166485"/>
              <a:gd name="connsiteY429" fmla="*/ 877139 h 6855583"/>
              <a:gd name="connsiteX430" fmla="*/ 25086 w 5166485"/>
              <a:gd name="connsiteY430" fmla="*/ 849474 h 6855583"/>
              <a:gd name="connsiteX431" fmla="*/ 26643 w 5166485"/>
              <a:gd name="connsiteY431" fmla="*/ 849474 h 6855583"/>
              <a:gd name="connsiteX432" fmla="*/ 26876 w 5166485"/>
              <a:gd name="connsiteY432" fmla="*/ 848439 h 6855583"/>
              <a:gd name="connsiteX433" fmla="*/ 38694 w 5166485"/>
              <a:gd name="connsiteY433" fmla="*/ 792304 h 6855583"/>
              <a:gd name="connsiteX434" fmla="*/ 42059 w 5166485"/>
              <a:gd name="connsiteY434" fmla="*/ 780948 h 6855583"/>
              <a:gd name="connsiteX435" fmla="*/ 43550 w 5166485"/>
              <a:gd name="connsiteY435" fmla="*/ 774321 h 6855583"/>
              <a:gd name="connsiteX436" fmla="*/ 50718 w 5166485"/>
              <a:gd name="connsiteY436" fmla="*/ 751729 h 6855583"/>
              <a:gd name="connsiteX437" fmla="*/ 65042 w 5166485"/>
              <a:gd name="connsiteY437" fmla="*/ 703398 h 6855583"/>
              <a:gd name="connsiteX438" fmla="*/ 70707 w 5166485"/>
              <a:gd name="connsiteY438" fmla="*/ 688731 h 6855583"/>
              <a:gd name="connsiteX439" fmla="*/ 73382 w 5166485"/>
              <a:gd name="connsiteY439" fmla="*/ 680300 h 6855583"/>
              <a:gd name="connsiteX440" fmla="*/ 81869 w 5166485"/>
              <a:gd name="connsiteY440" fmla="*/ 659842 h 6855583"/>
              <a:gd name="connsiteX441" fmla="*/ 98014 w 5166485"/>
              <a:gd name="connsiteY441" fmla="*/ 618045 h 6855583"/>
              <a:gd name="connsiteX442" fmla="*/ 106521 w 5166485"/>
              <a:gd name="connsiteY442" fmla="*/ 600402 h 6855583"/>
              <a:gd name="connsiteX443" fmla="*/ 110652 w 5166485"/>
              <a:gd name="connsiteY443" fmla="*/ 590437 h 6855583"/>
              <a:gd name="connsiteX444" fmla="*/ 119961 w 5166485"/>
              <a:gd name="connsiteY444" fmla="*/ 572526 h 6855583"/>
              <a:gd name="connsiteX445" fmla="*/ 137272 w 5166485"/>
              <a:gd name="connsiteY445" fmla="*/ 536617 h 6855583"/>
              <a:gd name="connsiteX446" fmla="*/ 149135 w 5166485"/>
              <a:gd name="connsiteY446" fmla="*/ 516375 h 6855583"/>
              <a:gd name="connsiteX447" fmla="*/ 154950 w 5166485"/>
              <a:gd name="connsiteY447" fmla="*/ 505184 h 6855583"/>
              <a:gd name="connsiteX448" fmla="*/ 164628 w 5166485"/>
              <a:gd name="connsiteY448" fmla="*/ 489942 h 6855583"/>
              <a:gd name="connsiteX449" fmla="*/ 182480 w 5166485"/>
              <a:gd name="connsiteY449" fmla="*/ 459481 h 6855583"/>
              <a:gd name="connsiteX450" fmla="*/ 198196 w 5166485"/>
              <a:gd name="connsiteY450" fmla="*/ 437070 h 6855583"/>
              <a:gd name="connsiteX451" fmla="*/ 205866 w 5166485"/>
              <a:gd name="connsiteY451" fmla="*/ 424989 h 6855583"/>
              <a:gd name="connsiteX452" fmla="*/ 215505 w 5166485"/>
              <a:gd name="connsiteY452" fmla="*/ 412388 h 6855583"/>
              <a:gd name="connsiteX453" fmla="*/ 233302 w 5166485"/>
              <a:gd name="connsiteY453" fmla="*/ 387010 h 6855583"/>
              <a:gd name="connsiteX454" fmla="*/ 253356 w 5166485"/>
              <a:gd name="connsiteY454" fmla="*/ 362902 h 6855583"/>
              <a:gd name="connsiteX455" fmla="*/ 262993 w 5166485"/>
              <a:gd name="connsiteY455" fmla="*/ 350303 h 6855583"/>
              <a:gd name="connsiteX456" fmla="*/ 272219 w 5166485"/>
              <a:gd name="connsiteY456" fmla="*/ 340225 h 6855583"/>
              <a:gd name="connsiteX457" fmla="*/ 289401 w 5166485"/>
              <a:gd name="connsiteY457" fmla="*/ 319569 h 6855583"/>
              <a:gd name="connsiteX458" fmla="*/ 314295 w 5166485"/>
              <a:gd name="connsiteY458" fmla="*/ 294271 h 6855583"/>
              <a:gd name="connsiteX459" fmla="*/ 325922 w 5166485"/>
              <a:gd name="connsiteY459" fmla="*/ 281570 h 6855583"/>
              <a:gd name="connsiteX460" fmla="*/ 334399 w 5166485"/>
              <a:gd name="connsiteY460" fmla="*/ 273838 h 6855583"/>
              <a:gd name="connsiteX461" fmla="*/ 350443 w 5166485"/>
              <a:gd name="connsiteY461" fmla="*/ 257532 h 6855583"/>
              <a:gd name="connsiteX462" fmla="*/ 380729 w 5166485"/>
              <a:gd name="connsiteY462" fmla="*/ 231573 h 6855583"/>
              <a:gd name="connsiteX463" fmla="*/ 394244 w 5166485"/>
              <a:gd name="connsiteY463" fmla="*/ 219244 h 6855583"/>
              <a:gd name="connsiteX464" fmla="*/ 401667 w 5166485"/>
              <a:gd name="connsiteY464" fmla="*/ 213629 h 6855583"/>
              <a:gd name="connsiteX465" fmla="*/ 416087 w 5166485"/>
              <a:gd name="connsiteY465" fmla="*/ 201267 h 6855583"/>
              <a:gd name="connsiteX466" fmla="*/ 452481 w 5166485"/>
              <a:gd name="connsiteY466" fmla="*/ 175174 h 6855583"/>
              <a:gd name="connsiteX467" fmla="*/ 467551 w 5166485"/>
              <a:gd name="connsiteY467" fmla="*/ 163770 h 6855583"/>
              <a:gd name="connsiteX468" fmla="*/ 473642 w 5166485"/>
              <a:gd name="connsiteY468" fmla="*/ 160005 h 6855583"/>
              <a:gd name="connsiteX469" fmla="*/ 485999 w 5166485"/>
              <a:gd name="connsiteY469" fmla="*/ 151145 h 6855583"/>
              <a:gd name="connsiteX470" fmla="*/ 529610 w 5166485"/>
              <a:gd name="connsiteY470" fmla="*/ 125388 h 6855583"/>
              <a:gd name="connsiteX471" fmla="*/ 545435 w 5166485"/>
              <a:gd name="connsiteY471" fmla="*/ 115600 h 6855583"/>
              <a:gd name="connsiteX472" fmla="*/ 549942 w 5166485"/>
              <a:gd name="connsiteY472" fmla="*/ 113381 h 6855583"/>
              <a:gd name="connsiteX473" fmla="*/ 559845 w 5166485"/>
              <a:gd name="connsiteY473" fmla="*/ 107533 h 6855583"/>
              <a:gd name="connsiteX474" fmla="*/ 612902 w 5166485"/>
              <a:gd name="connsiteY474" fmla="*/ 82367 h 6855583"/>
              <a:gd name="connsiteX475" fmla="*/ 627487 w 5166485"/>
              <a:gd name="connsiteY475" fmla="*/ 75182 h 6855583"/>
              <a:gd name="connsiteX476" fmla="*/ 630185 w 5166485"/>
              <a:gd name="connsiteY476" fmla="*/ 74169 h 6855583"/>
              <a:gd name="connsiteX477" fmla="*/ 637283 w 5166485"/>
              <a:gd name="connsiteY477" fmla="*/ 70802 h 6855583"/>
              <a:gd name="connsiteX478" fmla="*/ 706443 w 5166485"/>
              <a:gd name="connsiteY478" fmla="*/ 45538 h 6855583"/>
              <a:gd name="connsiteX479" fmla="*/ 713297 w 5166485"/>
              <a:gd name="connsiteY479" fmla="*/ 42964 h 6855583"/>
              <a:gd name="connsiteX480" fmla="*/ 713985 w 5166485"/>
              <a:gd name="connsiteY480" fmla="*/ 42781 h 6855583"/>
              <a:gd name="connsiteX481" fmla="*/ 717981 w 5166485"/>
              <a:gd name="connsiteY481" fmla="*/ 41323 h 6855583"/>
              <a:gd name="connsiteX482" fmla="*/ 887808 w 5166485"/>
              <a:gd name="connsiteY482" fmla="*/ 5593 h 6855583"/>
              <a:gd name="connsiteX483" fmla="*/ 891667 w 5166485"/>
              <a:gd name="connsiteY483" fmla="*/ 5380 h 6855583"/>
              <a:gd name="connsiteX484" fmla="*/ 894562 w 5166485"/>
              <a:gd name="connsiteY484" fmla="*/ 4925 h 6855583"/>
              <a:gd name="connsiteX485" fmla="*/ 942291 w 5166485"/>
              <a:gd name="connsiteY485" fmla="*/ 2441 h 6855583"/>
              <a:gd name="connsiteX486" fmla="*/ 942291 w 5166485"/>
              <a:gd name="connsiteY486" fmla="*/ 1 h 6855583"/>
              <a:gd name="connsiteX487" fmla="*/ 988599 w 5166485"/>
              <a:gd name="connsiteY487" fmla="*/ 1 h 6855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Lst>
            <a:rect l="l" t="t" r="r" b="b"/>
            <a:pathLst>
              <a:path w="5166485" h="6855583">
                <a:moveTo>
                  <a:pt x="1086626" y="3265888"/>
                </a:moveTo>
                <a:lnTo>
                  <a:pt x="1086635" y="3265890"/>
                </a:lnTo>
                <a:lnTo>
                  <a:pt x="1087274" y="3265890"/>
                </a:lnTo>
                <a:lnTo>
                  <a:pt x="1119550" y="3265890"/>
                </a:lnTo>
                <a:lnTo>
                  <a:pt x="1170447" y="3265890"/>
                </a:lnTo>
                <a:lnTo>
                  <a:pt x="1170458" y="3265888"/>
                </a:lnTo>
                <a:lnTo>
                  <a:pt x="1170468" y="3265890"/>
                </a:lnTo>
                <a:lnTo>
                  <a:pt x="1171107" y="3265890"/>
                </a:lnTo>
                <a:lnTo>
                  <a:pt x="1752107" y="3265890"/>
                </a:lnTo>
                <a:lnTo>
                  <a:pt x="1801177" y="3265890"/>
                </a:lnTo>
                <a:lnTo>
                  <a:pt x="1803005" y="3265890"/>
                </a:lnTo>
                <a:lnTo>
                  <a:pt x="1803015" y="3265888"/>
                </a:lnTo>
                <a:lnTo>
                  <a:pt x="1803026" y="3265890"/>
                </a:lnTo>
                <a:lnTo>
                  <a:pt x="1803664" y="3265890"/>
                </a:lnTo>
                <a:lnTo>
                  <a:pt x="1835940" y="3265890"/>
                </a:lnTo>
                <a:lnTo>
                  <a:pt x="1852074" y="3265890"/>
                </a:lnTo>
                <a:lnTo>
                  <a:pt x="1852084" y="3265888"/>
                </a:lnTo>
                <a:lnTo>
                  <a:pt x="1852095" y="3265890"/>
                </a:lnTo>
                <a:lnTo>
                  <a:pt x="1852734" y="3265890"/>
                </a:lnTo>
                <a:lnTo>
                  <a:pt x="1885010" y="3265890"/>
                </a:lnTo>
                <a:lnTo>
                  <a:pt x="1886837" y="3265890"/>
                </a:lnTo>
                <a:lnTo>
                  <a:pt x="1886846" y="3265888"/>
                </a:lnTo>
                <a:lnTo>
                  <a:pt x="1886857" y="3265890"/>
                </a:lnTo>
                <a:lnTo>
                  <a:pt x="1887496" y="3265890"/>
                </a:lnTo>
                <a:lnTo>
                  <a:pt x="1935905" y="3265890"/>
                </a:lnTo>
                <a:lnTo>
                  <a:pt x="1935916" y="3265888"/>
                </a:lnTo>
                <a:lnTo>
                  <a:pt x="1935926" y="3265890"/>
                </a:lnTo>
                <a:lnTo>
                  <a:pt x="1936565" y="3265890"/>
                </a:lnTo>
                <a:lnTo>
                  <a:pt x="2170246" y="3265890"/>
                </a:lnTo>
                <a:lnTo>
                  <a:pt x="2254079" y="3265890"/>
                </a:lnTo>
                <a:lnTo>
                  <a:pt x="2517566" y="3265890"/>
                </a:lnTo>
                <a:lnTo>
                  <a:pt x="2568463" y="3265890"/>
                </a:lnTo>
                <a:lnTo>
                  <a:pt x="2568473" y="3265888"/>
                </a:lnTo>
                <a:lnTo>
                  <a:pt x="2568484" y="3265890"/>
                </a:lnTo>
                <a:lnTo>
                  <a:pt x="2569123" y="3265890"/>
                </a:lnTo>
                <a:lnTo>
                  <a:pt x="2601399" y="3265890"/>
                </a:lnTo>
                <a:lnTo>
                  <a:pt x="2652295" y="3265890"/>
                </a:lnTo>
                <a:lnTo>
                  <a:pt x="2652306" y="3265888"/>
                </a:lnTo>
                <a:lnTo>
                  <a:pt x="2652315" y="3265890"/>
                </a:lnTo>
                <a:lnTo>
                  <a:pt x="2652954" y="3265890"/>
                </a:lnTo>
                <a:lnTo>
                  <a:pt x="2886635" y="3265890"/>
                </a:lnTo>
                <a:lnTo>
                  <a:pt x="2935705" y="3265890"/>
                </a:lnTo>
                <a:lnTo>
                  <a:pt x="2970468" y="3265890"/>
                </a:lnTo>
                <a:lnTo>
                  <a:pt x="3019538" y="3265890"/>
                </a:lnTo>
                <a:lnTo>
                  <a:pt x="3652094" y="3265890"/>
                </a:lnTo>
                <a:lnTo>
                  <a:pt x="3735927" y="3265890"/>
                </a:lnTo>
                <a:lnTo>
                  <a:pt x="3735927" y="4199586"/>
                </a:lnTo>
                <a:lnTo>
                  <a:pt x="3734217" y="4199586"/>
                </a:lnTo>
                <a:lnTo>
                  <a:pt x="3734217" y="4437486"/>
                </a:lnTo>
                <a:lnTo>
                  <a:pt x="3735499" y="4437486"/>
                </a:lnTo>
                <a:lnTo>
                  <a:pt x="3735499" y="4514790"/>
                </a:lnTo>
                <a:lnTo>
                  <a:pt x="3735499" y="4794177"/>
                </a:lnTo>
                <a:lnTo>
                  <a:pt x="3735500" y="5379128"/>
                </a:lnTo>
                <a:lnTo>
                  <a:pt x="3735500" y="5405390"/>
                </a:lnTo>
                <a:lnTo>
                  <a:pt x="3735500" y="5598154"/>
                </a:lnTo>
                <a:lnTo>
                  <a:pt x="3734205" y="5598154"/>
                </a:lnTo>
                <a:lnTo>
                  <a:pt x="3734205" y="5598486"/>
                </a:lnTo>
                <a:lnTo>
                  <a:pt x="3734205" y="5612740"/>
                </a:lnTo>
                <a:lnTo>
                  <a:pt x="3734205" y="5657025"/>
                </a:lnTo>
                <a:lnTo>
                  <a:pt x="3731500" y="5657025"/>
                </a:lnTo>
                <a:lnTo>
                  <a:pt x="3729283" y="5705056"/>
                </a:lnTo>
                <a:lnTo>
                  <a:pt x="3728718" y="5709186"/>
                </a:lnTo>
                <a:lnTo>
                  <a:pt x="3728606" y="5711467"/>
                </a:lnTo>
                <a:lnTo>
                  <a:pt x="3725448" y="5733130"/>
                </a:lnTo>
                <a:lnTo>
                  <a:pt x="3723149" y="5749961"/>
                </a:lnTo>
                <a:lnTo>
                  <a:pt x="3723149" y="5785114"/>
                </a:lnTo>
                <a:lnTo>
                  <a:pt x="3720444" y="5785114"/>
                </a:lnTo>
                <a:lnTo>
                  <a:pt x="3718226" y="5833975"/>
                </a:lnTo>
                <a:lnTo>
                  <a:pt x="3717662" y="5838176"/>
                </a:lnTo>
                <a:lnTo>
                  <a:pt x="3717549" y="5840496"/>
                </a:lnTo>
                <a:lnTo>
                  <a:pt x="3714391" y="5862534"/>
                </a:lnTo>
                <a:lnTo>
                  <a:pt x="3704933" y="5932981"/>
                </a:lnTo>
                <a:lnTo>
                  <a:pt x="3703137" y="5941083"/>
                </a:lnTo>
                <a:lnTo>
                  <a:pt x="3702452" y="5945855"/>
                </a:lnTo>
                <a:lnTo>
                  <a:pt x="3696614" y="5970492"/>
                </a:lnTo>
                <a:lnTo>
                  <a:pt x="3683622" y="6029051"/>
                </a:lnTo>
                <a:lnTo>
                  <a:pt x="3679923" y="6040897"/>
                </a:lnTo>
                <a:lnTo>
                  <a:pt x="3678285" y="6047812"/>
                </a:lnTo>
                <a:lnTo>
                  <a:pt x="3670406" y="6071379"/>
                </a:lnTo>
                <a:lnTo>
                  <a:pt x="3654662" y="6121798"/>
                </a:lnTo>
                <a:lnTo>
                  <a:pt x="3648434" y="6137099"/>
                </a:lnTo>
                <a:lnTo>
                  <a:pt x="3645495" y="6145895"/>
                </a:lnTo>
                <a:lnTo>
                  <a:pt x="3636168" y="6167235"/>
                </a:lnTo>
                <a:lnTo>
                  <a:pt x="3618421" y="6210838"/>
                </a:lnTo>
                <a:lnTo>
                  <a:pt x="3609070" y="6229244"/>
                </a:lnTo>
                <a:lnTo>
                  <a:pt x="3604529" y="6239639"/>
                </a:lnTo>
                <a:lnTo>
                  <a:pt x="3594298" y="6258324"/>
                </a:lnTo>
                <a:lnTo>
                  <a:pt x="3575270" y="6295785"/>
                </a:lnTo>
                <a:lnTo>
                  <a:pt x="3562231" y="6316901"/>
                </a:lnTo>
                <a:lnTo>
                  <a:pt x="3555841" y="6328575"/>
                </a:lnTo>
                <a:lnTo>
                  <a:pt x="3545203" y="6344476"/>
                </a:lnTo>
                <a:lnTo>
                  <a:pt x="3525580" y="6376252"/>
                </a:lnTo>
                <a:lnTo>
                  <a:pt x="3508306" y="6399630"/>
                </a:lnTo>
                <a:lnTo>
                  <a:pt x="3499876" y="6412234"/>
                </a:lnTo>
                <a:lnTo>
                  <a:pt x="3489281" y="6425379"/>
                </a:lnTo>
                <a:lnTo>
                  <a:pt x="3469720" y="6451856"/>
                </a:lnTo>
                <a:lnTo>
                  <a:pt x="3447676" y="6477005"/>
                </a:lnTo>
                <a:lnTo>
                  <a:pt x="3437085" y="6490148"/>
                </a:lnTo>
                <a:lnTo>
                  <a:pt x="3426944" y="6500661"/>
                </a:lnTo>
                <a:lnTo>
                  <a:pt x="3408058" y="6522209"/>
                </a:lnTo>
                <a:lnTo>
                  <a:pt x="3380698" y="6548600"/>
                </a:lnTo>
                <a:lnTo>
                  <a:pt x="3367917" y="6561848"/>
                </a:lnTo>
                <a:lnTo>
                  <a:pt x="3358599" y="6569916"/>
                </a:lnTo>
                <a:lnTo>
                  <a:pt x="3340966" y="6586926"/>
                </a:lnTo>
                <a:lnTo>
                  <a:pt x="3307673" y="6614008"/>
                </a:lnTo>
                <a:lnTo>
                  <a:pt x="3292820" y="6626869"/>
                </a:lnTo>
                <a:lnTo>
                  <a:pt x="3284662" y="6632728"/>
                </a:lnTo>
                <a:lnTo>
                  <a:pt x="3268811" y="6645621"/>
                </a:lnTo>
                <a:lnTo>
                  <a:pt x="3228808" y="6672841"/>
                </a:lnTo>
                <a:lnTo>
                  <a:pt x="3212245" y="6684739"/>
                </a:lnTo>
                <a:lnTo>
                  <a:pt x="3205551" y="6688665"/>
                </a:lnTo>
                <a:lnTo>
                  <a:pt x="3191968" y="6697909"/>
                </a:lnTo>
                <a:lnTo>
                  <a:pt x="3144033" y="6724779"/>
                </a:lnTo>
                <a:lnTo>
                  <a:pt x="3126640" y="6734990"/>
                </a:lnTo>
                <a:lnTo>
                  <a:pt x="3121686" y="6737306"/>
                </a:lnTo>
                <a:lnTo>
                  <a:pt x="3110802" y="6743407"/>
                </a:lnTo>
                <a:lnTo>
                  <a:pt x="3052483" y="6769660"/>
                </a:lnTo>
                <a:lnTo>
                  <a:pt x="3036452" y="6777154"/>
                </a:lnTo>
                <a:lnTo>
                  <a:pt x="3033487" y="6778211"/>
                </a:lnTo>
                <a:lnTo>
                  <a:pt x="3025684" y="6781724"/>
                </a:lnTo>
                <a:lnTo>
                  <a:pt x="2949668" y="6808079"/>
                </a:lnTo>
                <a:lnTo>
                  <a:pt x="2942133" y="6810763"/>
                </a:lnTo>
                <a:lnTo>
                  <a:pt x="2941376" y="6810955"/>
                </a:lnTo>
                <a:lnTo>
                  <a:pt x="2936985" y="6812477"/>
                </a:lnTo>
                <a:cubicBezTo>
                  <a:pt x="2876741" y="6830372"/>
                  <a:pt x="2814355" y="6842968"/>
                  <a:pt x="2750320" y="6849749"/>
                </a:cubicBezTo>
                <a:lnTo>
                  <a:pt x="2746081" y="6849972"/>
                </a:lnTo>
                <a:lnTo>
                  <a:pt x="2742897" y="6850446"/>
                </a:lnTo>
                <a:lnTo>
                  <a:pt x="2690435" y="6853038"/>
                </a:lnTo>
                <a:lnTo>
                  <a:pt x="2690435" y="6855583"/>
                </a:lnTo>
                <a:lnTo>
                  <a:pt x="2639538" y="6855583"/>
                </a:lnTo>
                <a:lnTo>
                  <a:pt x="2639527" y="6855583"/>
                </a:lnTo>
                <a:lnTo>
                  <a:pt x="2639516" y="6855583"/>
                </a:lnTo>
                <a:lnTo>
                  <a:pt x="2638878" y="6855583"/>
                </a:lnTo>
                <a:lnTo>
                  <a:pt x="2617659" y="6855583"/>
                </a:lnTo>
                <a:lnTo>
                  <a:pt x="2566761" y="6855583"/>
                </a:lnTo>
                <a:lnTo>
                  <a:pt x="2566750" y="6855583"/>
                </a:lnTo>
                <a:lnTo>
                  <a:pt x="2566740" y="6855583"/>
                </a:lnTo>
                <a:lnTo>
                  <a:pt x="2566100" y="6855583"/>
                </a:lnTo>
                <a:lnTo>
                  <a:pt x="1974046" y="6855583"/>
                </a:lnTo>
                <a:lnTo>
                  <a:pt x="1924977" y="6855583"/>
                </a:lnTo>
                <a:lnTo>
                  <a:pt x="1923149" y="6855583"/>
                </a:lnTo>
                <a:lnTo>
                  <a:pt x="1923138" y="6855583"/>
                </a:lnTo>
                <a:lnTo>
                  <a:pt x="1923127" y="6855583"/>
                </a:lnTo>
                <a:lnTo>
                  <a:pt x="1922488" y="6855583"/>
                </a:lnTo>
                <a:lnTo>
                  <a:pt x="1901270" y="6855583"/>
                </a:lnTo>
                <a:lnTo>
                  <a:pt x="1874079" y="6855583"/>
                </a:lnTo>
                <a:lnTo>
                  <a:pt x="1874068" y="6855583"/>
                </a:lnTo>
                <a:lnTo>
                  <a:pt x="1874058" y="6855583"/>
                </a:lnTo>
                <a:lnTo>
                  <a:pt x="1873420" y="6855583"/>
                </a:lnTo>
                <a:lnTo>
                  <a:pt x="1852200" y="6855583"/>
                </a:lnTo>
                <a:lnTo>
                  <a:pt x="1850372" y="6855583"/>
                </a:lnTo>
                <a:lnTo>
                  <a:pt x="1850361" y="6855583"/>
                </a:lnTo>
                <a:lnTo>
                  <a:pt x="1850351" y="6855583"/>
                </a:lnTo>
                <a:lnTo>
                  <a:pt x="1849711" y="6855583"/>
                </a:lnTo>
                <a:lnTo>
                  <a:pt x="1801303" y="6855583"/>
                </a:lnTo>
                <a:lnTo>
                  <a:pt x="1801292" y="6855583"/>
                </a:lnTo>
                <a:lnTo>
                  <a:pt x="1801282" y="6855583"/>
                </a:lnTo>
                <a:lnTo>
                  <a:pt x="1800642" y="6855583"/>
                </a:lnTo>
                <a:lnTo>
                  <a:pt x="1555906" y="6855583"/>
                </a:lnTo>
                <a:lnTo>
                  <a:pt x="1483128" y="6855583"/>
                </a:lnTo>
                <a:lnTo>
                  <a:pt x="1208587" y="6855583"/>
                </a:lnTo>
                <a:lnTo>
                  <a:pt x="1157689" y="6855583"/>
                </a:lnTo>
                <a:lnTo>
                  <a:pt x="1157678" y="6855583"/>
                </a:lnTo>
                <a:lnTo>
                  <a:pt x="1157669" y="6855583"/>
                </a:lnTo>
                <a:lnTo>
                  <a:pt x="1157031" y="6855583"/>
                </a:lnTo>
                <a:lnTo>
                  <a:pt x="1135810" y="6855583"/>
                </a:lnTo>
                <a:lnTo>
                  <a:pt x="1084913" y="6855583"/>
                </a:lnTo>
                <a:lnTo>
                  <a:pt x="1084902" y="6855583"/>
                </a:lnTo>
                <a:lnTo>
                  <a:pt x="1084893" y="6855583"/>
                </a:lnTo>
                <a:lnTo>
                  <a:pt x="1084253" y="6855583"/>
                </a:lnTo>
                <a:lnTo>
                  <a:pt x="839517" y="6855583"/>
                </a:lnTo>
                <a:lnTo>
                  <a:pt x="790448" y="6855583"/>
                </a:lnTo>
                <a:lnTo>
                  <a:pt x="766740" y="6855583"/>
                </a:lnTo>
                <a:lnTo>
                  <a:pt x="717671" y="6855583"/>
                </a:lnTo>
                <a:lnTo>
                  <a:pt x="74059" y="6855583"/>
                </a:lnTo>
                <a:lnTo>
                  <a:pt x="1282" y="6855583"/>
                </a:lnTo>
                <a:lnTo>
                  <a:pt x="1282" y="6709335"/>
                </a:lnTo>
                <a:lnTo>
                  <a:pt x="1282" y="5785114"/>
                </a:lnTo>
                <a:lnTo>
                  <a:pt x="0" y="5785114"/>
                </a:lnTo>
                <a:lnTo>
                  <a:pt x="0" y="5725228"/>
                </a:lnTo>
                <a:lnTo>
                  <a:pt x="0" y="5657025"/>
                </a:lnTo>
                <a:lnTo>
                  <a:pt x="0" y="5598154"/>
                </a:lnTo>
                <a:lnTo>
                  <a:pt x="0" y="5529139"/>
                </a:lnTo>
                <a:lnTo>
                  <a:pt x="0" y="5502424"/>
                </a:lnTo>
                <a:lnTo>
                  <a:pt x="0" y="5405390"/>
                </a:lnTo>
                <a:lnTo>
                  <a:pt x="0" y="5379128"/>
                </a:lnTo>
                <a:lnTo>
                  <a:pt x="0" y="4907380"/>
                </a:lnTo>
                <a:lnTo>
                  <a:pt x="0" y="4794177"/>
                </a:lnTo>
                <a:lnTo>
                  <a:pt x="0" y="4623176"/>
                </a:lnTo>
                <a:lnTo>
                  <a:pt x="0" y="4514791"/>
                </a:lnTo>
                <a:lnTo>
                  <a:pt x="1294" y="4514791"/>
                </a:lnTo>
                <a:lnTo>
                  <a:pt x="1294" y="4514790"/>
                </a:lnTo>
                <a:lnTo>
                  <a:pt x="1294" y="4514355"/>
                </a:lnTo>
                <a:lnTo>
                  <a:pt x="1294" y="4495635"/>
                </a:lnTo>
                <a:lnTo>
                  <a:pt x="1294" y="4437486"/>
                </a:lnTo>
                <a:lnTo>
                  <a:pt x="3998" y="4437486"/>
                </a:lnTo>
                <a:lnTo>
                  <a:pt x="6216" y="4374413"/>
                </a:lnTo>
                <a:lnTo>
                  <a:pt x="6782" y="4368991"/>
                </a:lnTo>
                <a:lnTo>
                  <a:pt x="6892" y="4365997"/>
                </a:lnTo>
                <a:lnTo>
                  <a:pt x="10050" y="4337551"/>
                </a:lnTo>
                <a:lnTo>
                  <a:pt x="19508" y="4246611"/>
                </a:lnTo>
                <a:lnTo>
                  <a:pt x="21306" y="4236154"/>
                </a:lnTo>
                <a:lnTo>
                  <a:pt x="21989" y="4229994"/>
                </a:lnTo>
                <a:lnTo>
                  <a:pt x="27574" y="4199586"/>
                </a:lnTo>
                <a:lnTo>
                  <a:pt x="29284" y="4199586"/>
                </a:lnTo>
                <a:lnTo>
                  <a:pt x="29540" y="4198449"/>
                </a:lnTo>
                <a:lnTo>
                  <a:pt x="42529" y="4136748"/>
                </a:lnTo>
                <a:lnTo>
                  <a:pt x="46228" y="4124266"/>
                </a:lnTo>
                <a:lnTo>
                  <a:pt x="47868" y="4116981"/>
                </a:lnTo>
                <a:lnTo>
                  <a:pt x="55747" y="4092151"/>
                </a:lnTo>
                <a:lnTo>
                  <a:pt x="71490" y="4039027"/>
                </a:lnTo>
                <a:lnTo>
                  <a:pt x="77718" y="4022906"/>
                </a:lnTo>
                <a:lnTo>
                  <a:pt x="80657" y="4013638"/>
                </a:lnTo>
                <a:lnTo>
                  <a:pt x="89984" y="3991153"/>
                </a:lnTo>
                <a:lnTo>
                  <a:pt x="107731" y="3945212"/>
                </a:lnTo>
                <a:lnTo>
                  <a:pt x="117082" y="3925819"/>
                </a:lnTo>
                <a:lnTo>
                  <a:pt x="121624" y="3914866"/>
                </a:lnTo>
                <a:lnTo>
                  <a:pt x="131854" y="3895180"/>
                </a:lnTo>
                <a:lnTo>
                  <a:pt x="150882" y="3855710"/>
                </a:lnTo>
                <a:lnTo>
                  <a:pt x="163921" y="3833461"/>
                </a:lnTo>
                <a:lnTo>
                  <a:pt x="170313" y="3821161"/>
                </a:lnTo>
                <a:lnTo>
                  <a:pt x="180949" y="3804408"/>
                </a:lnTo>
                <a:lnTo>
                  <a:pt x="200571" y="3770926"/>
                </a:lnTo>
                <a:lnTo>
                  <a:pt x="217848" y="3746294"/>
                </a:lnTo>
                <a:lnTo>
                  <a:pt x="226277" y="3733015"/>
                </a:lnTo>
                <a:lnTo>
                  <a:pt x="236872" y="3719164"/>
                </a:lnTo>
                <a:lnTo>
                  <a:pt x="256434" y="3691269"/>
                </a:lnTo>
                <a:lnTo>
                  <a:pt x="278476" y="3664770"/>
                </a:lnTo>
                <a:lnTo>
                  <a:pt x="289068" y="3650922"/>
                </a:lnTo>
                <a:lnTo>
                  <a:pt x="299210" y="3639845"/>
                </a:lnTo>
                <a:lnTo>
                  <a:pt x="318094" y="3617142"/>
                </a:lnTo>
                <a:lnTo>
                  <a:pt x="345456" y="3589336"/>
                </a:lnTo>
                <a:lnTo>
                  <a:pt x="358237" y="3575375"/>
                </a:lnTo>
                <a:lnTo>
                  <a:pt x="367555" y="3566877"/>
                </a:lnTo>
                <a:lnTo>
                  <a:pt x="385187" y="3548953"/>
                </a:lnTo>
                <a:lnTo>
                  <a:pt x="418478" y="3520422"/>
                </a:lnTo>
                <a:lnTo>
                  <a:pt x="433333" y="3506870"/>
                </a:lnTo>
                <a:lnTo>
                  <a:pt x="441492" y="3500699"/>
                </a:lnTo>
                <a:lnTo>
                  <a:pt x="457342" y="3487112"/>
                </a:lnTo>
                <a:lnTo>
                  <a:pt x="497345" y="3458431"/>
                </a:lnTo>
                <a:lnTo>
                  <a:pt x="513909" y="3445896"/>
                </a:lnTo>
                <a:lnTo>
                  <a:pt x="520601" y="3441758"/>
                </a:lnTo>
                <a:lnTo>
                  <a:pt x="534185" y="3432019"/>
                </a:lnTo>
                <a:lnTo>
                  <a:pt x="582120" y="3403709"/>
                </a:lnTo>
                <a:lnTo>
                  <a:pt x="599514" y="3392950"/>
                </a:lnTo>
                <a:lnTo>
                  <a:pt x="604468" y="3390510"/>
                </a:lnTo>
                <a:lnTo>
                  <a:pt x="615351" y="3384083"/>
                </a:lnTo>
                <a:lnTo>
                  <a:pt x="673670" y="3356422"/>
                </a:lnTo>
                <a:lnTo>
                  <a:pt x="689699" y="3348524"/>
                </a:lnTo>
                <a:lnTo>
                  <a:pt x="692665" y="3347410"/>
                </a:lnTo>
                <a:lnTo>
                  <a:pt x="700468" y="3343710"/>
                </a:lnTo>
                <a:lnTo>
                  <a:pt x="776485" y="3315941"/>
                </a:lnTo>
                <a:lnTo>
                  <a:pt x="784019" y="3313112"/>
                </a:lnTo>
                <a:lnTo>
                  <a:pt x="784777" y="3312912"/>
                </a:lnTo>
                <a:lnTo>
                  <a:pt x="789167" y="3311308"/>
                </a:lnTo>
                <a:cubicBezTo>
                  <a:pt x="849413" y="3292452"/>
                  <a:pt x="911798" y="3279182"/>
                  <a:pt x="975831" y="3272037"/>
                </a:cubicBezTo>
                <a:lnTo>
                  <a:pt x="980073" y="3271801"/>
                </a:lnTo>
                <a:lnTo>
                  <a:pt x="983256" y="3271301"/>
                </a:lnTo>
                <a:lnTo>
                  <a:pt x="1035718" y="3268571"/>
                </a:lnTo>
                <a:lnTo>
                  <a:pt x="1035718" y="3265890"/>
                </a:lnTo>
                <a:lnTo>
                  <a:pt x="1086616" y="3265890"/>
                </a:lnTo>
                <a:close/>
                <a:moveTo>
                  <a:pt x="4098476" y="852993"/>
                </a:moveTo>
                <a:cubicBezTo>
                  <a:pt x="4688321" y="852993"/>
                  <a:pt x="5166485" y="1331157"/>
                  <a:pt x="5166485" y="1921002"/>
                </a:cubicBezTo>
                <a:cubicBezTo>
                  <a:pt x="5166485" y="2473981"/>
                  <a:pt x="4746224" y="2928803"/>
                  <a:pt x="4207674" y="2983496"/>
                </a:cubicBezTo>
                <a:lnTo>
                  <a:pt x="4112812" y="2988286"/>
                </a:lnTo>
                <a:lnTo>
                  <a:pt x="4112812" y="2989010"/>
                </a:lnTo>
                <a:lnTo>
                  <a:pt x="4098476" y="2989010"/>
                </a:lnTo>
                <a:lnTo>
                  <a:pt x="3030468" y="2989010"/>
                </a:lnTo>
                <a:lnTo>
                  <a:pt x="3030468" y="1921011"/>
                </a:lnTo>
                <a:lnTo>
                  <a:pt x="3030468" y="1921002"/>
                </a:lnTo>
                <a:lnTo>
                  <a:pt x="3030468" y="1920991"/>
                </a:lnTo>
                <a:lnTo>
                  <a:pt x="3030468" y="1870827"/>
                </a:lnTo>
                <a:lnTo>
                  <a:pt x="3033002" y="1870827"/>
                </a:lnTo>
                <a:lnTo>
                  <a:pt x="3035982" y="1811804"/>
                </a:lnTo>
                <a:cubicBezTo>
                  <a:pt x="3090675" y="1273254"/>
                  <a:pt x="3545497" y="852993"/>
                  <a:pt x="4098476" y="852993"/>
                </a:cubicBezTo>
                <a:close/>
                <a:moveTo>
                  <a:pt x="988607" y="0"/>
                </a:moveTo>
                <a:lnTo>
                  <a:pt x="988617" y="1"/>
                </a:lnTo>
                <a:lnTo>
                  <a:pt x="989198" y="1"/>
                </a:lnTo>
                <a:lnTo>
                  <a:pt x="1018562" y="1"/>
                </a:lnTo>
                <a:lnTo>
                  <a:pt x="1064868" y="1"/>
                </a:lnTo>
                <a:lnTo>
                  <a:pt x="1064878" y="0"/>
                </a:lnTo>
                <a:lnTo>
                  <a:pt x="1064887" y="1"/>
                </a:lnTo>
                <a:lnTo>
                  <a:pt x="1065468" y="1"/>
                </a:lnTo>
                <a:lnTo>
                  <a:pt x="1638703" y="1"/>
                </a:lnTo>
                <a:lnTo>
                  <a:pt x="1685008" y="1"/>
                </a:lnTo>
                <a:lnTo>
                  <a:pt x="1685018" y="0"/>
                </a:lnTo>
                <a:lnTo>
                  <a:pt x="1685028" y="1"/>
                </a:lnTo>
                <a:lnTo>
                  <a:pt x="1685609" y="1"/>
                </a:lnTo>
                <a:lnTo>
                  <a:pt x="1714972" y="1"/>
                </a:lnTo>
                <a:lnTo>
                  <a:pt x="1761279" y="1"/>
                </a:lnTo>
                <a:lnTo>
                  <a:pt x="1761288" y="0"/>
                </a:lnTo>
                <a:lnTo>
                  <a:pt x="1761297" y="1"/>
                </a:lnTo>
                <a:lnTo>
                  <a:pt x="1761879" y="1"/>
                </a:lnTo>
                <a:lnTo>
                  <a:pt x="1974481" y="1"/>
                </a:lnTo>
                <a:lnTo>
                  <a:pt x="2050751" y="1"/>
                </a:lnTo>
                <a:lnTo>
                  <a:pt x="2670892" y="1"/>
                </a:lnTo>
                <a:lnTo>
                  <a:pt x="2747162" y="1"/>
                </a:lnTo>
                <a:lnTo>
                  <a:pt x="2747162" y="849474"/>
                </a:lnTo>
                <a:lnTo>
                  <a:pt x="2745606" y="849474"/>
                </a:lnTo>
                <a:lnTo>
                  <a:pt x="2745606" y="1065915"/>
                </a:lnTo>
                <a:lnTo>
                  <a:pt x="2746772" y="1065915"/>
                </a:lnTo>
                <a:lnTo>
                  <a:pt x="2746772" y="1136245"/>
                </a:lnTo>
                <a:lnTo>
                  <a:pt x="2746772" y="1390429"/>
                </a:lnTo>
                <a:lnTo>
                  <a:pt x="2746772" y="1922616"/>
                </a:lnTo>
                <a:lnTo>
                  <a:pt x="2746772" y="1946508"/>
                </a:lnTo>
                <a:lnTo>
                  <a:pt x="2746772" y="2121884"/>
                </a:lnTo>
                <a:lnTo>
                  <a:pt x="2745595" y="2121884"/>
                </a:lnTo>
                <a:lnTo>
                  <a:pt x="2745595" y="2122187"/>
                </a:lnTo>
                <a:lnTo>
                  <a:pt x="2745595" y="2135156"/>
                </a:lnTo>
                <a:lnTo>
                  <a:pt x="2745595" y="2175445"/>
                </a:lnTo>
                <a:lnTo>
                  <a:pt x="2743134" y="2175445"/>
                </a:lnTo>
                <a:lnTo>
                  <a:pt x="2741116" y="2219143"/>
                </a:lnTo>
                <a:lnTo>
                  <a:pt x="2740603" y="2222901"/>
                </a:lnTo>
                <a:lnTo>
                  <a:pt x="2740500" y="2224976"/>
                </a:lnTo>
                <a:lnTo>
                  <a:pt x="2737627" y="2244685"/>
                </a:lnTo>
                <a:lnTo>
                  <a:pt x="2735536" y="2259998"/>
                </a:lnTo>
                <a:lnTo>
                  <a:pt x="2735536" y="2291981"/>
                </a:lnTo>
                <a:lnTo>
                  <a:pt x="2733075" y="2291981"/>
                </a:lnTo>
                <a:lnTo>
                  <a:pt x="2731057" y="2336433"/>
                </a:lnTo>
                <a:lnTo>
                  <a:pt x="2730544" y="2340255"/>
                </a:lnTo>
                <a:lnTo>
                  <a:pt x="2730441" y="2342367"/>
                </a:lnTo>
                <a:lnTo>
                  <a:pt x="2727568" y="2362415"/>
                </a:lnTo>
                <a:lnTo>
                  <a:pt x="2718964" y="2426508"/>
                </a:lnTo>
                <a:lnTo>
                  <a:pt x="2717329" y="2433880"/>
                </a:lnTo>
                <a:lnTo>
                  <a:pt x="2716706" y="2438222"/>
                </a:lnTo>
                <a:lnTo>
                  <a:pt x="2711395" y="2460635"/>
                </a:lnTo>
                <a:lnTo>
                  <a:pt x="2699576" y="2513912"/>
                </a:lnTo>
                <a:lnTo>
                  <a:pt x="2696210" y="2524690"/>
                </a:lnTo>
                <a:lnTo>
                  <a:pt x="2694719" y="2530980"/>
                </a:lnTo>
                <a:lnTo>
                  <a:pt x="2687551" y="2552423"/>
                </a:lnTo>
                <a:lnTo>
                  <a:pt x="2673227" y="2598293"/>
                </a:lnTo>
                <a:lnTo>
                  <a:pt x="2667561" y="2612213"/>
                </a:lnTo>
                <a:lnTo>
                  <a:pt x="2664886" y="2620217"/>
                </a:lnTo>
                <a:lnTo>
                  <a:pt x="2656402" y="2639632"/>
                </a:lnTo>
                <a:lnTo>
                  <a:pt x="2640256" y="2679301"/>
                </a:lnTo>
                <a:lnTo>
                  <a:pt x="2631748" y="2696048"/>
                </a:lnTo>
                <a:lnTo>
                  <a:pt x="2627616" y="2705505"/>
                </a:lnTo>
                <a:lnTo>
                  <a:pt x="2618309" y="2722504"/>
                </a:lnTo>
                <a:lnTo>
                  <a:pt x="2600997" y="2756585"/>
                </a:lnTo>
                <a:lnTo>
                  <a:pt x="2589134" y="2775797"/>
                </a:lnTo>
                <a:lnTo>
                  <a:pt x="2583319" y="2786419"/>
                </a:lnTo>
                <a:lnTo>
                  <a:pt x="2573641" y="2800885"/>
                </a:lnTo>
                <a:lnTo>
                  <a:pt x="2555790" y="2829795"/>
                </a:lnTo>
                <a:lnTo>
                  <a:pt x="2540073" y="2851064"/>
                </a:lnTo>
                <a:lnTo>
                  <a:pt x="2532404" y="2862531"/>
                </a:lnTo>
                <a:lnTo>
                  <a:pt x="2522765" y="2874490"/>
                </a:lnTo>
                <a:lnTo>
                  <a:pt x="2504967" y="2898578"/>
                </a:lnTo>
                <a:lnTo>
                  <a:pt x="2484913" y="2921459"/>
                </a:lnTo>
                <a:lnTo>
                  <a:pt x="2475277" y="2933417"/>
                </a:lnTo>
                <a:lnTo>
                  <a:pt x="2466050" y="2942981"/>
                </a:lnTo>
                <a:lnTo>
                  <a:pt x="2448868" y="2962585"/>
                </a:lnTo>
                <a:lnTo>
                  <a:pt x="2423976" y="2986596"/>
                </a:lnTo>
                <a:lnTo>
                  <a:pt x="2412348" y="2998650"/>
                </a:lnTo>
                <a:lnTo>
                  <a:pt x="2403870" y="3005990"/>
                </a:lnTo>
                <a:lnTo>
                  <a:pt x="2387828" y="3021464"/>
                </a:lnTo>
                <a:lnTo>
                  <a:pt x="2357540" y="3046103"/>
                </a:lnTo>
                <a:lnTo>
                  <a:pt x="2344025" y="3057805"/>
                </a:lnTo>
                <a:lnTo>
                  <a:pt x="2336603" y="3063135"/>
                </a:lnTo>
                <a:lnTo>
                  <a:pt x="2322182" y="3074865"/>
                </a:lnTo>
                <a:lnTo>
                  <a:pt x="2285787" y="3099631"/>
                </a:lnTo>
                <a:lnTo>
                  <a:pt x="2270718" y="3110454"/>
                </a:lnTo>
                <a:lnTo>
                  <a:pt x="2264629" y="3114027"/>
                </a:lnTo>
                <a:lnTo>
                  <a:pt x="2252269" y="3122437"/>
                </a:lnTo>
                <a:lnTo>
                  <a:pt x="2208660" y="3146882"/>
                </a:lnTo>
                <a:lnTo>
                  <a:pt x="2192835" y="3156172"/>
                </a:lnTo>
                <a:lnTo>
                  <a:pt x="2188328" y="3158279"/>
                </a:lnTo>
                <a:lnTo>
                  <a:pt x="2178425" y="3163830"/>
                </a:lnTo>
                <a:lnTo>
                  <a:pt x="2125368" y="3187714"/>
                </a:lnTo>
                <a:lnTo>
                  <a:pt x="2110783" y="3194534"/>
                </a:lnTo>
                <a:lnTo>
                  <a:pt x="2108085" y="3195495"/>
                </a:lnTo>
                <a:lnTo>
                  <a:pt x="2100986" y="3198691"/>
                </a:lnTo>
                <a:lnTo>
                  <a:pt x="2031826" y="3222668"/>
                </a:lnTo>
                <a:lnTo>
                  <a:pt x="2024972" y="3225111"/>
                </a:lnTo>
                <a:lnTo>
                  <a:pt x="2024283" y="3225284"/>
                </a:lnTo>
                <a:lnTo>
                  <a:pt x="2020288" y="3226670"/>
                </a:lnTo>
                <a:cubicBezTo>
                  <a:pt x="1965477" y="3242950"/>
                  <a:pt x="1908719" y="3254410"/>
                  <a:pt x="1850461" y="3260580"/>
                </a:cubicBezTo>
                <a:lnTo>
                  <a:pt x="1846605" y="3260783"/>
                </a:lnTo>
                <a:lnTo>
                  <a:pt x="1843708" y="3261214"/>
                </a:lnTo>
                <a:lnTo>
                  <a:pt x="1795978" y="3263571"/>
                </a:lnTo>
                <a:lnTo>
                  <a:pt x="1795978" y="3265886"/>
                </a:lnTo>
                <a:lnTo>
                  <a:pt x="1749672" y="3265886"/>
                </a:lnTo>
                <a:lnTo>
                  <a:pt x="1749662" y="3265887"/>
                </a:lnTo>
                <a:lnTo>
                  <a:pt x="1749653" y="3265886"/>
                </a:lnTo>
                <a:lnTo>
                  <a:pt x="1749071" y="3265886"/>
                </a:lnTo>
                <a:lnTo>
                  <a:pt x="1729765" y="3265886"/>
                </a:lnTo>
                <a:lnTo>
                  <a:pt x="1683460" y="3265886"/>
                </a:lnTo>
                <a:lnTo>
                  <a:pt x="1683450" y="3265887"/>
                </a:lnTo>
                <a:lnTo>
                  <a:pt x="1683441" y="3265886"/>
                </a:lnTo>
                <a:lnTo>
                  <a:pt x="1682859" y="3265886"/>
                </a:lnTo>
                <a:lnTo>
                  <a:pt x="1099567" y="3265887"/>
                </a:lnTo>
                <a:lnTo>
                  <a:pt x="1053261" y="3265887"/>
                </a:lnTo>
                <a:lnTo>
                  <a:pt x="1053251" y="3265887"/>
                </a:lnTo>
                <a:lnTo>
                  <a:pt x="1053242" y="3265887"/>
                </a:lnTo>
                <a:lnTo>
                  <a:pt x="1052660" y="3265887"/>
                </a:lnTo>
                <a:lnTo>
                  <a:pt x="1033356" y="3265887"/>
                </a:lnTo>
                <a:lnTo>
                  <a:pt x="987049" y="3265887"/>
                </a:lnTo>
                <a:lnTo>
                  <a:pt x="987040" y="3265887"/>
                </a:lnTo>
                <a:lnTo>
                  <a:pt x="987030" y="3265887"/>
                </a:lnTo>
                <a:lnTo>
                  <a:pt x="986449" y="3265887"/>
                </a:lnTo>
                <a:lnTo>
                  <a:pt x="763788" y="3265887"/>
                </a:lnTo>
                <a:lnTo>
                  <a:pt x="697577" y="3265887"/>
                </a:lnTo>
                <a:lnTo>
                  <a:pt x="67379" y="3265887"/>
                </a:lnTo>
                <a:lnTo>
                  <a:pt x="1166" y="3265887"/>
                </a:lnTo>
                <a:lnTo>
                  <a:pt x="1166" y="3132833"/>
                </a:lnTo>
                <a:lnTo>
                  <a:pt x="1166" y="2291981"/>
                </a:lnTo>
                <a:lnTo>
                  <a:pt x="0" y="2291981"/>
                </a:lnTo>
                <a:lnTo>
                  <a:pt x="0" y="2237497"/>
                </a:lnTo>
                <a:lnTo>
                  <a:pt x="0" y="2175445"/>
                </a:lnTo>
                <a:lnTo>
                  <a:pt x="0" y="2121884"/>
                </a:lnTo>
                <a:lnTo>
                  <a:pt x="0" y="2059094"/>
                </a:lnTo>
                <a:lnTo>
                  <a:pt x="0" y="2034789"/>
                </a:lnTo>
                <a:lnTo>
                  <a:pt x="0" y="1946508"/>
                </a:lnTo>
                <a:lnTo>
                  <a:pt x="0" y="1922616"/>
                </a:lnTo>
                <a:lnTo>
                  <a:pt x="0" y="1493422"/>
                </a:lnTo>
                <a:lnTo>
                  <a:pt x="0" y="1390429"/>
                </a:lnTo>
                <a:lnTo>
                  <a:pt x="0" y="1234853"/>
                </a:lnTo>
                <a:lnTo>
                  <a:pt x="0" y="1136246"/>
                </a:lnTo>
                <a:lnTo>
                  <a:pt x="1178" y="1136246"/>
                </a:lnTo>
                <a:lnTo>
                  <a:pt x="1178" y="1136245"/>
                </a:lnTo>
                <a:lnTo>
                  <a:pt x="1178" y="1135849"/>
                </a:lnTo>
                <a:lnTo>
                  <a:pt x="1178" y="1118819"/>
                </a:lnTo>
                <a:lnTo>
                  <a:pt x="1178" y="1065915"/>
                </a:lnTo>
                <a:lnTo>
                  <a:pt x="3638" y="1065915"/>
                </a:lnTo>
                <a:lnTo>
                  <a:pt x="5656" y="1008533"/>
                </a:lnTo>
                <a:lnTo>
                  <a:pt x="6170" y="1003598"/>
                </a:lnTo>
                <a:lnTo>
                  <a:pt x="6271" y="1000874"/>
                </a:lnTo>
                <a:lnTo>
                  <a:pt x="9144" y="974994"/>
                </a:lnTo>
                <a:lnTo>
                  <a:pt x="17749" y="892259"/>
                </a:lnTo>
                <a:lnTo>
                  <a:pt x="19384" y="882743"/>
                </a:lnTo>
                <a:lnTo>
                  <a:pt x="20006" y="877139"/>
                </a:lnTo>
                <a:lnTo>
                  <a:pt x="25086" y="849474"/>
                </a:lnTo>
                <a:lnTo>
                  <a:pt x="26643" y="849474"/>
                </a:lnTo>
                <a:lnTo>
                  <a:pt x="26876" y="848439"/>
                </a:lnTo>
                <a:lnTo>
                  <a:pt x="38694" y="792304"/>
                </a:lnTo>
                <a:lnTo>
                  <a:pt x="42059" y="780948"/>
                </a:lnTo>
                <a:lnTo>
                  <a:pt x="43550" y="774321"/>
                </a:lnTo>
                <a:lnTo>
                  <a:pt x="50718" y="751729"/>
                </a:lnTo>
                <a:lnTo>
                  <a:pt x="65042" y="703398"/>
                </a:lnTo>
                <a:lnTo>
                  <a:pt x="70707" y="688731"/>
                </a:lnTo>
                <a:lnTo>
                  <a:pt x="73382" y="680300"/>
                </a:lnTo>
                <a:lnTo>
                  <a:pt x="81869" y="659842"/>
                </a:lnTo>
                <a:lnTo>
                  <a:pt x="98014" y="618045"/>
                </a:lnTo>
                <a:lnTo>
                  <a:pt x="106521" y="600402"/>
                </a:lnTo>
                <a:lnTo>
                  <a:pt x="110652" y="590437"/>
                </a:lnTo>
                <a:lnTo>
                  <a:pt x="119961" y="572526"/>
                </a:lnTo>
                <a:lnTo>
                  <a:pt x="137272" y="536617"/>
                </a:lnTo>
                <a:lnTo>
                  <a:pt x="149135" y="516375"/>
                </a:lnTo>
                <a:lnTo>
                  <a:pt x="154950" y="505184"/>
                </a:lnTo>
                <a:lnTo>
                  <a:pt x="164628" y="489942"/>
                </a:lnTo>
                <a:lnTo>
                  <a:pt x="182480" y="459481"/>
                </a:lnTo>
                <a:lnTo>
                  <a:pt x="198196" y="437070"/>
                </a:lnTo>
                <a:lnTo>
                  <a:pt x="205866" y="424989"/>
                </a:lnTo>
                <a:lnTo>
                  <a:pt x="215505" y="412388"/>
                </a:lnTo>
                <a:lnTo>
                  <a:pt x="233302" y="387010"/>
                </a:lnTo>
                <a:lnTo>
                  <a:pt x="253356" y="362902"/>
                </a:lnTo>
                <a:lnTo>
                  <a:pt x="262993" y="350303"/>
                </a:lnTo>
                <a:lnTo>
                  <a:pt x="272219" y="340225"/>
                </a:lnTo>
                <a:lnTo>
                  <a:pt x="289401" y="319569"/>
                </a:lnTo>
                <a:lnTo>
                  <a:pt x="314295" y="294271"/>
                </a:lnTo>
                <a:lnTo>
                  <a:pt x="325922" y="281570"/>
                </a:lnTo>
                <a:lnTo>
                  <a:pt x="334399" y="273838"/>
                </a:lnTo>
                <a:lnTo>
                  <a:pt x="350443" y="257532"/>
                </a:lnTo>
                <a:lnTo>
                  <a:pt x="380729" y="231573"/>
                </a:lnTo>
                <a:lnTo>
                  <a:pt x="394244" y="219244"/>
                </a:lnTo>
                <a:lnTo>
                  <a:pt x="401667" y="213629"/>
                </a:lnTo>
                <a:lnTo>
                  <a:pt x="416087" y="201267"/>
                </a:lnTo>
                <a:lnTo>
                  <a:pt x="452481" y="175174"/>
                </a:lnTo>
                <a:lnTo>
                  <a:pt x="467551" y="163770"/>
                </a:lnTo>
                <a:lnTo>
                  <a:pt x="473642" y="160005"/>
                </a:lnTo>
                <a:lnTo>
                  <a:pt x="485999" y="151145"/>
                </a:lnTo>
                <a:lnTo>
                  <a:pt x="529610" y="125388"/>
                </a:lnTo>
                <a:lnTo>
                  <a:pt x="545435" y="115600"/>
                </a:lnTo>
                <a:lnTo>
                  <a:pt x="549942" y="113381"/>
                </a:lnTo>
                <a:lnTo>
                  <a:pt x="559845" y="107533"/>
                </a:lnTo>
                <a:lnTo>
                  <a:pt x="612902" y="82367"/>
                </a:lnTo>
                <a:lnTo>
                  <a:pt x="627487" y="75182"/>
                </a:lnTo>
                <a:lnTo>
                  <a:pt x="630185" y="74169"/>
                </a:lnTo>
                <a:lnTo>
                  <a:pt x="637283" y="70802"/>
                </a:lnTo>
                <a:lnTo>
                  <a:pt x="706443" y="45538"/>
                </a:lnTo>
                <a:lnTo>
                  <a:pt x="713297" y="42964"/>
                </a:lnTo>
                <a:lnTo>
                  <a:pt x="713985" y="42781"/>
                </a:lnTo>
                <a:lnTo>
                  <a:pt x="717981" y="41323"/>
                </a:lnTo>
                <a:cubicBezTo>
                  <a:pt x="772791" y="24167"/>
                  <a:pt x="829549" y="12094"/>
                  <a:pt x="887808" y="5593"/>
                </a:cubicBezTo>
                <a:lnTo>
                  <a:pt x="891667" y="5380"/>
                </a:lnTo>
                <a:lnTo>
                  <a:pt x="894562" y="4925"/>
                </a:lnTo>
                <a:lnTo>
                  <a:pt x="942291" y="2441"/>
                </a:lnTo>
                <a:lnTo>
                  <a:pt x="942291" y="1"/>
                </a:lnTo>
                <a:lnTo>
                  <a:pt x="988599" y="1"/>
                </a:lnTo>
                <a:close/>
              </a:path>
            </a:pathLst>
          </a:custGeom>
        </p:spPr>
        <p:txBody>
          <a:bodyPr wrap="square">
            <a:noAutofit/>
          </a:bodyPr>
          <a:lstStyle/>
          <a:p>
            <a:endParaRPr lang="en-US"/>
          </a:p>
        </p:txBody>
      </p:sp>
    </p:spTree>
    <p:extLst>
      <p:ext uri="{BB962C8B-B14F-4D97-AF65-F5344CB8AC3E}">
        <p14:creationId xmlns:p14="http://schemas.microsoft.com/office/powerpoint/2010/main" val="343645551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BAA7BDF-0AF1-43DD-B25E-4180C4A3C32A}"/>
              </a:ext>
            </a:extLst>
          </p:cNvPr>
          <p:cNvSpPr>
            <a:spLocks noGrp="1"/>
          </p:cNvSpPr>
          <p:nvPr>
            <p:ph type="dt" sz="half" idx="10"/>
          </p:nvPr>
        </p:nvSpPr>
        <p:spPr/>
        <p:txBody>
          <a:bodyPr/>
          <a:lstStyle/>
          <a:p>
            <a:fld id="{AC427EFE-020E-4662-B68A-EB3CD7C19C13}" type="datetimeFigureOut">
              <a:rPr lang="en-ID" smtClean="0"/>
              <a:t>12/12/2023</a:t>
            </a:fld>
            <a:endParaRPr lang="en-ID"/>
          </a:p>
        </p:txBody>
      </p:sp>
      <p:sp>
        <p:nvSpPr>
          <p:cNvPr id="3" name="Footer Placeholder 2">
            <a:extLst>
              <a:ext uri="{FF2B5EF4-FFF2-40B4-BE49-F238E27FC236}">
                <a16:creationId xmlns:a16="http://schemas.microsoft.com/office/drawing/2014/main" id="{E1527088-8B53-411E-982B-9B7B7377E5C7}"/>
              </a:ext>
            </a:extLst>
          </p:cNvPr>
          <p:cNvSpPr>
            <a:spLocks noGrp="1"/>
          </p:cNvSpPr>
          <p:nvPr>
            <p:ph type="ftr" sz="quarter" idx="11"/>
          </p:nvPr>
        </p:nvSpPr>
        <p:spPr/>
        <p:txBody>
          <a:bodyPr/>
          <a:lstStyle/>
          <a:p>
            <a:endParaRPr lang="en-ID"/>
          </a:p>
        </p:txBody>
      </p:sp>
      <p:sp>
        <p:nvSpPr>
          <p:cNvPr id="4" name="Slide Number Placeholder 3">
            <a:extLst>
              <a:ext uri="{FF2B5EF4-FFF2-40B4-BE49-F238E27FC236}">
                <a16:creationId xmlns:a16="http://schemas.microsoft.com/office/drawing/2014/main" id="{D9F41C51-6A03-4D8D-A703-731ECDF8AD9E}"/>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187453080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3607880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38137C0-B9C0-4B21-B882-96A853CAE4F7}"/>
              </a:ext>
            </a:extLst>
          </p:cNvPr>
          <p:cNvSpPr>
            <a:spLocks noGrp="1"/>
          </p:cNvSpPr>
          <p:nvPr>
            <p:ph type="pic" sz="quarter" idx="10" hasCustomPrompt="1"/>
          </p:nvPr>
        </p:nvSpPr>
        <p:spPr>
          <a:xfrm>
            <a:off x="0" y="0"/>
            <a:ext cx="12192000" cy="6858000"/>
          </a:xfrm>
          <a:prstGeom prst="rect">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r>
              <a:rPr lang="id-ID">
                <a:latin typeface="Arial" panose="020B0604020202020204" pitchFamily="34" charset="0"/>
                <a:cs typeface="Arial" panose="020B0604020202020204" pitchFamily="34" charset="0"/>
              </a:rPr>
              <a:t>Picture</a:t>
            </a:r>
          </a:p>
          <a:p>
            <a:endParaRPr lang="en-US"/>
          </a:p>
        </p:txBody>
      </p:sp>
    </p:spTree>
    <p:extLst>
      <p:ext uri="{BB962C8B-B14F-4D97-AF65-F5344CB8AC3E}">
        <p14:creationId xmlns:p14="http://schemas.microsoft.com/office/powerpoint/2010/main" val="304613971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elcome Slide 02">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FE1A4C7F-1EEF-4F6D-FC87-ECD41FA9A880}"/>
              </a:ext>
            </a:extLst>
          </p:cNvPr>
          <p:cNvSpPr>
            <a:spLocks noGrp="1"/>
          </p:cNvSpPr>
          <p:nvPr>
            <p:ph type="pic" sz="quarter" idx="11"/>
          </p:nvPr>
        </p:nvSpPr>
        <p:spPr>
          <a:xfrm>
            <a:off x="10550553" y="908581"/>
            <a:ext cx="3959437" cy="3826347"/>
          </a:xfrm>
          <a:prstGeom prst="roundRect">
            <a:avLst>
              <a:gd name="adj" fmla="val 5391"/>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3" name="Picture Placeholder 2">
            <a:extLst>
              <a:ext uri="{FF2B5EF4-FFF2-40B4-BE49-F238E27FC236}">
                <a16:creationId xmlns:a16="http://schemas.microsoft.com/office/drawing/2014/main" id="{638137C0-B9C0-4B21-B882-96A853CAE4F7}"/>
              </a:ext>
            </a:extLst>
          </p:cNvPr>
          <p:cNvSpPr>
            <a:spLocks noGrp="1"/>
          </p:cNvSpPr>
          <p:nvPr>
            <p:ph type="pic" sz="quarter" idx="10"/>
          </p:nvPr>
        </p:nvSpPr>
        <p:spPr>
          <a:xfrm>
            <a:off x="5993558" y="908581"/>
            <a:ext cx="3959437" cy="3826347"/>
          </a:xfrm>
          <a:prstGeom prst="roundRect">
            <a:avLst>
              <a:gd name="adj" fmla="val 5391"/>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412327137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Intrroducing 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133712C1-A7A9-77D1-8A3C-5F8753F269E4}"/>
              </a:ext>
            </a:extLst>
          </p:cNvPr>
          <p:cNvSpPr>
            <a:spLocks noGrp="1"/>
          </p:cNvSpPr>
          <p:nvPr>
            <p:ph type="pic" sz="quarter" idx="12"/>
          </p:nvPr>
        </p:nvSpPr>
        <p:spPr>
          <a:xfrm>
            <a:off x="5980119" y="2964600"/>
            <a:ext cx="3072798" cy="2947981"/>
          </a:xfrm>
          <a:prstGeom prst="roundRect">
            <a:avLst>
              <a:gd name="adj" fmla="val 6683"/>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9" name="Picture Placeholder 2">
            <a:extLst>
              <a:ext uri="{FF2B5EF4-FFF2-40B4-BE49-F238E27FC236}">
                <a16:creationId xmlns:a16="http://schemas.microsoft.com/office/drawing/2014/main" id="{74CE940C-F1B1-E9E9-EA30-6CFA58A3DA8B}"/>
              </a:ext>
            </a:extLst>
          </p:cNvPr>
          <p:cNvSpPr>
            <a:spLocks noGrp="1"/>
          </p:cNvSpPr>
          <p:nvPr>
            <p:ph type="pic" sz="quarter" idx="13"/>
          </p:nvPr>
        </p:nvSpPr>
        <p:spPr>
          <a:xfrm>
            <a:off x="9194211" y="2964600"/>
            <a:ext cx="2314423" cy="2947981"/>
          </a:xfrm>
          <a:prstGeom prst="roundRect">
            <a:avLst>
              <a:gd name="adj" fmla="val 6683"/>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3" name="Picture Placeholder 2">
            <a:extLst>
              <a:ext uri="{FF2B5EF4-FFF2-40B4-BE49-F238E27FC236}">
                <a16:creationId xmlns:a16="http://schemas.microsoft.com/office/drawing/2014/main" id="{638137C0-B9C0-4B21-B882-96A853CAE4F7}"/>
              </a:ext>
            </a:extLst>
          </p:cNvPr>
          <p:cNvSpPr>
            <a:spLocks noGrp="1"/>
          </p:cNvSpPr>
          <p:nvPr>
            <p:ph type="pic" sz="quarter" idx="10"/>
          </p:nvPr>
        </p:nvSpPr>
        <p:spPr>
          <a:xfrm>
            <a:off x="766532" y="2964600"/>
            <a:ext cx="5072293" cy="2947981"/>
          </a:xfrm>
          <a:prstGeom prst="roundRect">
            <a:avLst>
              <a:gd name="adj" fmla="val 5391"/>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43051521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ntroducing 02">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BE1E6D8F-8CD7-4428-AEE2-996FB48FD857}"/>
              </a:ext>
            </a:extLst>
          </p:cNvPr>
          <p:cNvSpPr>
            <a:spLocks noGrp="1"/>
          </p:cNvSpPr>
          <p:nvPr>
            <p:ph type="pic" sz="quarter" idx="12"/>
          </p:nvPr>
        </p:nvSpPr>
        <p:spPr>
          <a:xfrm>
            <a:off x="695326" y="747244"/>
            <a:ext cx="7720829" cy="2947981"/>
          </a:xfrm>
          <a:prstGeom prst="roundRect">
            <a:avLst>
              <a:gd name="adj" fmla="val 8913"/>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0982561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24B328-6F1B-493B-9B72-E616073F85F4}"/>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0E168A5B-4E0C-484A-9EFA-F4B6EEAF303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ABD32CFF-EBD0-419D-834E-564303F2A852}"/>
              </a:ext>
            </a:extLst>
          </p:cNvPr>
          <p:cNvSpPr>
            <a:spLocks noGrp="1"/>
          </p:cNvSpPr>
          <p:nvPr>
            <p:ph type="dt" sz="half" idx="10"/>
          </p:nvPr>
        </p:nvSpPr>
        <p:spPr/>
        <p:txBody>
          <a:bodyPr/>
          <a:lstStyle/>
          <a:p>
            <a:fld id="{C67F9B67-2119-4870-B423-950E2B02F070}" type="datetimeFigureOut">
              <a:rPr lang="en-ID" smtClean="0">
                <a:solidFill>
                  <a:prstClr val="black">
                    <a:tint val="75000"/>
                  </a:prstClr>
                </a:solidFill>
              </a:rPr>
              <a:pPr/>
              <a:t>12/12/2023</a:t>
            </a:fld>
            <a:endParaRPr lang="en-ID">
              <a:solidFill>
                <a:prstClr val="black">
                  <a:tint val="75000"/>
                </a:prstClr>
              </a:solidFill>
            </a:endParaRPr>
          </a:p>
        </p:txBody>
      </p:sp>
      <p:sp>
        <p:nvSpPr>
          <p:cNvPr id="5" name="Footer Placeholder 4">
            <a:extLst>
              <a:ext uri="{FF2B5EF4-FFF2-40B4-BE49-F238E27FC236}">
                <a16:creationId xmlns:a16="http://schemas.microsoft.com/office/drawing/2014/main" id="{DE7A09EB-8629-458A-AAE5-92F2670763C1}"/>
              </a:ext>
            </a:extLst>
          </p:cNvPr>
          <p:cNvSpPr>
            <a:spLocks noGrp="1"/>
          </p:cNvSpPr>
          <p:nvPr>
            <p:ph type="ftr" sz="quarter" idx="11"/>
          </p:nvPr>
        </p:nvSpPr>
        <p:spPr/>
        <p:txBody>
          <a:bodyPr/>
          <a:lstStyle/>
          <a:p>
            <a:endParaRPr lang="en-ID">
              <a:solidFill>
                <a:prstClr val="black">
                  <a:tint val="75000"/>
                </a:prstClr>
              </a:solidFill>
            </a:endParaRPr>
          </a:p>
        </p:txBody>
      </p:sp>
      <p:sp>
        <p:nvSpPr>
          <p:cNvPr id="6" name="Slide Number Placeholder 5">
            <a:extLst>
              <a:ext uri="{FF2B5EF4-FFF2-40B4-BE49-F238E27FC236}">
                <a16:creationId xmlns:a16="http://schemas.microsoft.com/office/drawing/2014/main" id="{25D7393C-3017-46ED-AA96-73E58E8E752C}"/>
              </a:ext>
            </a:extLst>
          </p:cNvPr>
          <p:cNvSpPr>
            <a:spLocks noGrp="1"/>
          </p:cNvSpPr>
          <p:nvPr>
            <p:ph type="sldNum" sz="quarter" idx="12"/>
          </p:nvPr>
        </p:nvSpPr>
        <p:spPr/>
        <p:txBody>
          <a:bodyPr/>
          <a:lstStyle/>
          <a:p>
            <a:fld id="{5D8928EB-67EA-4DF5-8889-76A19408D29A}" type="slidenum">
              <a:rPr lang="en-ID" smtClean="0">
                <a:solidFill>
                  <a:prstClr val="black">
                    <a:tint val="75000"/>
                  </a:prstClr>
                </a:solidFill>
              </a:rPr>
              <a:pPr/>
              <a:t>‹#›</a:t>
            </a:fld>
            <a:endParaRPr lang="en-ID">
              <a:solidFill>
                <a:prstClr val="black">
                  <a:tint val="75000"/>
                </a:prstClr>
              </a:solidFill>
            </a:endParaRPr>
          </a:p>
        </p:txBody>
      </p:sp>
    </p:spTree>
    <p:extLst>
      <p:ext uri="{BB962C8B-B14F-4D97-AF65-F5344CB8AC3E}">
        <p14:creationId xmlns:p14="http://schemas.microsoft.com/office/powerpoint/2010/main" val="211307513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able Of Content 01">
    <p:spTree>
      <p:nvGrpSpPr>
        <p:cNvPr id="1" name=""/>
        <p:cNvGrpSpPr/>
        <p:nvPr/>
      </p:nvGrpSpPr>
      <p:grpSpPr>
        <a:xfrm>
          <a:off x="0" y="0"/>
          <a:ext cx="0" cy="0"/>
          <a:chOff x="0" y="0"/>
          <a:chExt cx="0" cy="0"/>
        </a:xfrm>
      </p:grpSpPr>
      <p:sp>
        <p:nvSpPr>
          <p:cNvPr id="18" name="Picture Placeholder 2">
            <a:extLst>
              <a:ext uri="{FF2B5EF4-FFF2-40B4-BE49-F238E27FC236}">
                <a16:creationId xmlns:a16="http://schemas.microsoft.com/office/drawing/2014/main" id="{BB75EC29-97CC-C853-D3E7-D5CDD94FDACC}"/>
              </a:ext>
            </a:extLst>
          </p:cNvPr>
          <p:cNvSpPr>
            <a:spLocks noGrp="1"/>
          </p:cNvSpPr>
          <p:nvPr>
            <p:ph type="pic" sz="quarter" idx="16"/>
          </p:nvPr>
        </p:nvSpPr>
        <p:spPr>
          <a:xfrm>
            <a:off x="4967747" y="1871745"/>
            <a:ext cx="2256506" cy="1557255"/>
          </a:xfrm>
          <a:prstGeom prst="roundRect">
            <a:avLst>
              <a:gd name="adj" fmla="val 11774"/>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19" name="Picture Placeholder 2">
            <a:extLst>
              <a:ext uri="{FF2B5EF4-FFF2-40B4-BE49-F238E27FC236}">
                <a16:creationId xmlns:a16="http://schemas.microsoft.com/office/drawing/2014/main" id="{A7C65008-E009-FE26-920D-6DADCFAEF291}"/>
              </a:ext>
            </a:extLst>
          </p:cNvPr>
          <p:cNvSpPr>
            <a:spLocks noGrp="1"/>
          </p:cNvSpPr>
          <p:nvPr>
            <p:ph type="pic" sz="quarter" idx="17"/>
          </p:nvPr>
        </p:nvSpPr>
        <p:spPr>
          <a:xfrm>
            <a:off x="8762653" y="1871745"/>
            <a:ext cx="2256506" cy="1557255"/>
          </a:xfrm>
          <a:prstGeom prst="roundRect">
            <a:avLst>
              <a:gd name="adj" fmla="val 11774"/>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20" name="Picture Placeholder 2">
            <a:extLst>
              <a:ext uri="{FF2B5EF4-FFF2-40B4-BE49-F238E27FC236}">
                <a16:creationId xmlns:a16="http://schemas.microsoft.com/office/drawing/2014/main" id="{8438CF18-C6CC-2943-E097-967060C2B695}"/>
              </a:ext>
            </a:extLst>
          </p:cNvPr>
          <p:cNvSpPr>
            <a:spLocks noGrp="1"/>
          </p:cNvSpPr>
          <p:nvPr>
            <p:ph type="pic" sz="quarter" idx="18"/>
          </p:nvPr>
        </p:nvSpPr>
        <p:spPr>
          <a:xfrm>
            <a:off x="3070294" y="4247535"/>
            <a:ext cx="2256506" cy="1557255"/>
          </a:xfrm>
          <a:prstGeom prst="roundRect">
            <a:avLst>
              <a:gd name="adj" fmla="val 11774"/>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21" name="Picture Placeholder 2">
            <a:extLst>
              <a:ext uri="{FF2B5EF4-FFF2-40B4-BE49-F238E27FC236}">
                <a16:creationId xmlns:a16="http://schemas.microsoft.com/office/drawing/2014/main" id="{C58B31F6-AB20-28D0-E6F5-816ADF087C34}"/>
              </a:ext>
            </a:extLst>
          </p:cNvPr>
          <p:cNvSpPr>
            <a:spLocks noGrp="1"/>
          </p:cNvSpPr>
          <p:nvPr>
            <p:ph type="pic" sz="quarter" idx="19"/>
          </p:nvPr>
        </p:nvSpPr>
        <p:spPr>
          <a:xfrm>
            <a:off x="6865200" y="4247535"/>
            <a:ext cx="2256506" cy="1557255"/>
          </a:xfrm>
          <a:prstGeom prst="roundRect">
            <a:avLst>
              <a:gd name="adj" fmla="val 11774"/>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3" name="Picture Placeholder 2">
            <a:extLst>
              <a:ext uri="{FF2B5EF4-FFF2-40B4-BE49-F238E27FC236}">
                <a16:creationId xmlns:a16="http://schemas.microsoft.com/office/drawing/2014/main" id="{638137C0-B9C0-4B21-B882-96A853CAE4F7}"/>
              </a:ext>
            </a:extLst>
          </p:cNvPr>
          <p:cNvSpPr>
            <a:spLocks noGrp="1"/>
          </p:cNvSpPr>
          <p:nvPr>
            <p:ph type="pic" sz="quarter" idx="10"/>
          </p:nvPr>
        </p:nvSpPr>
        <p:spPr>
          <a:xfrm>
            <a:off x="1172842" y="1871745"/>
            <a:ext cx="2256506" cy="1557255"/>
          </a:xfrm>
          <a:prstGeom prst="roundRect">
            <a:avLst>
              <a:gd name="adj" fmla="val 11774"/>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70902818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About 01">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8121159E-2995-4643-ACA1-5DD791F3CF07}"/>
              </a:ext>
            </a:extLst>
          </p:cNvPr>
          <p:cNvSpPr>
            <a:spLocks noGrp="1"/>
          </p:cNvSpPr>
          <p:nvPr>
            <p:ph type="pic" sz="quarter" idx="11"/>
          </p:nvPr>
        </p:nvSpPr>
        <p:spPr>
          <a:xfrm>
            <a:off x="4349023" y="1004754"/>
            <a:ext cx="3380601" cy="4848493"/>
          </a:xfrm>
          <a:prstGeom prst="roundRect">
            <a:avLst>
              <a:gd name="adj" fmla="val 8114"/>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916252074"/>
      </p:ext>
    </p:extLst>
  </p:cSld>
  <p:clrMapOvr>
    <a:masterClrMapping/>
  </p:clrMapOvr>
  <p:extLst>
    <p:ext uri="{DCECCB84-F9BA-43D5-87BE-67443E8EF086}">
      <p15:sldGuideLst xmlns:p15="http://schemas.microsoft.com/office/powerpoint/2012/main">
        <p15:guide id="1" orient="horz" pos="482">
          <p15:clr>
            <a:srgbClr val="FBAE40"/>
          </p15:clr>
        </p15:guide>
        <p15:guide id="2" pos="438">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About 02">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140D4C79-6CFD-486B-AF20-7F6D149A5269}"/>
              </a:ext>
            </a:extLst>
          </p:cNvPr>
          <p:cNvSpPr>
            <a:spLocks noGrp="1"/>
          </p:cNvSpPr>
          <p:nvPr>
            <p:ph type="pic" sz="quarter" idx="13"/>
          </p:nvPr>
        </p:nvSpPr>
        <p:spPr>
          <a:xfrm>
            <a:off x="0" y="0"/>
            <a:ext cx="12192000" cy="3981450"/>
          </a:xfrm>
          <a:prstGeom prst="rect">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893601064"/>
      </p:ext>
    </p:extLst>
  </p:cSld>
  <p:clrMapOvr>
    <a:masterClrMapping/>
  </p:clrMapOvr>
  <p:extLst>
    <p:ext uri="{DCECCB84-F9BA-43D5-87BE-67443E8EF086}">
      <p15:sldGuideLst xmlns:p15="http://schemas.microsoft.com/office/powerpoint/2012/main">
        <p15:guide id="1" orient="horz" pos="459">
          <p15:clr>
            <a:srgbClr val="FBAE40"/>
          </p15:clr>
        </p15:guide>
        <p15:guide id="2" pos="438">
          <p15:clr>
            <a:srgbClr val="FBAE40"/>
          </p15:clr>
        </p15:guide>
        <p15:guide id="3" orient="horz" pos="3861">
          <p15:clr>
            <a:srgbClr val="FBAE40"/>
          </p15:clr>
        </p15:guide>
        <p15:guide id="4" pos="7265">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About 03">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38137C0-B9C0-4B21-B882-96A853CAE4F7}"/>
              </a:ext>
            </a:extLst>
          </p:cNvPr>
          <p:cNvSpPr>
            <a:spLocks noGrp="1"/>
          </p:cNvSpPr>
          <p:nvPr>
            <p:ph type="pic" sz="quarter" idx="10"/>
          </p:nvPr>
        </p:nvSpPr>
        <p:spPr>
          <a:xfrm>
            <a:off x="1236662" y="0"/>
            <a:ext cx="5006975" cy="6858000"/>
          </a:xfrm>
          <a:prstGeom prst="rect">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20105179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roblem 01">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140D4C79-6CFD-486B-AF20-7F6D149A5269}"/>
              </a:ext>
            </a:extLst>
          </p:cNvPr>
          <p:cNvSpPr>
            <a:spLocks noGrp="1"/>
          </p:cNvSpPr>
          <p:nvPr>
            <p:ph type="pic" sz="quarter" idx="13"/>
          </p:nvPr>
        </p:nvSpPr>
        <p:spPr>
          <a:xfrm>
            <a:off x="3686174" y="765175"/>
            <a:ext cx="1628776" cy="5364163"/>
          </a:xfrm>
          <a:prstGeom prst="roundRect">
            <a:avLst>
              <a:gd name="adj" fmla="val 11989"/>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5" name="Picture Placeholder 2">
            <a:extLst>
              <a:ext uri="{FF2B5EF4-FFF2-40B4-BE49-F238E27FC236}">
                <a16:creationId xmlns:a16="http://schemas.microsoft.com/office/drawing/2014/main" id="{B36AEA63-6F3D-4C34-8FA4-EB829878BEE1}"/>
              </a:ext>
            </a:extLst>
          </p:cNvPr>
          <p:cNvSpPr>
            <a:spLocks noGrp="1"/>
          </p:cNvSpPr>
          <p:nvPr>
            <p:ph type="pic" sz="quarter" idx="15"/>
          </p:nvPr>
        </p:nvSpPr>
        <p:spPr>
          <a:xfrm>
            <a:off x="695323" y="765175"/>
            <a:ext cx="2638425" cy="5364163"/>
          </a:xfrm>
          <a:prstGeom prst="roundRect">
            <a:avLst>
              <a:gd name="adj" fmla="val 7281"/>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924729662"/>
      </p:ext>
    </p:extLst>
  </p:cSld>
  <p:clrMapOvr>
    <a:masterClrMapping/>
  </p:clrMapOvr>
  <p:extLst>
    <p:ext uri="{DCECCB84-F9BA-43D5-87BE-67443E8EF086}">
      <p15:sldGuideLst xmlns:p15="http://schemas.microsoft.com/office/powerpoint/2012/main">
        <p15:guide id="1" orient="horz" pos="459">
          <p15:clr>
            <a:srgbClr val="FBAE40"/>
          </p15:clr>
        </p15:guide>
        <p15:guide id="2" pos="438">
          <p15:clr>
            <a:srgbClr val="FBAE40"/>
          </p15:clr>
        </p15:guide>
        <p15:guide id="3" orient="horz" pos="3861">
          <p15:clr>
            <a:srgbClr val="FBAE40"/>
          </p15:clr>
        </p15:guide>
        <p15:guide id="4" pos="7265">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roblem 02">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B36AEA63-6F3D-4C34-8FA4-EB829878BEE1}"/>
              </a:ext>
            </a:extLst>
          </p:cNvPr>
          <p:cNvSpPr>
            <a:spLocks noGrp="1"/>
          </p:cNvSpPr>
          <p:nvPr>
            <p:ph type="pic" sz="quarter" idx="15"/>
          </p:nvPr>
        </p:nvSpPr>
        <p:spPr>
          <a:xfrm>
            <a:off x="771524" y="728663"/>
            <a:ext cx="3838576" cy="2700337"/>
          </a:xfrm>
          <a:prstGeom prst="roundRect">
            <a:avLst>
              <a:gd name="adj" fmla="val 6790"/>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6" name="Picture Placeholder 2">
            <a:extLst>
              <a:ext uri="{FF2B5EF4-FFF2-40B4-BE49-F238E27FC236}">
                <a16:creationId xmlns:a16="http://schemas.microsoft.com/office/drawing/2014/main" id="{56549C15-E4D2-4CE1-A7D6-F9DA56E2D242}"/>
              </a:ext>
            </a:extLst>
          </p:cNvPr>
          <p:cNvSpPr>
            <a:spLocks noGrp="1"/>
          </p:cNvSpPr>
          <p:nvPr>
            <p:ph type="pic" sz="quarter" idx="16"/>
          </p:nvPr>
        </p:nvSpPr>
        <p:spPr>
          <a:xfrm>
            <a:off x="4857752" y="728663"/>
            <a:ext cx="6675436" cy="2700337"/>
          </a:xfrm>
          <a:prstGeom prst="roundRect">
            <a:avLst>
              <a:gd name="adj" fmla="val 8201"/>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298467140"/>
      </p:ext>
    </p:extLst>
  </p:cSld>
  <p:clrMapOvr>
    <a:masterClrMapping/>
  </p:clrMapOvr>
  <p:extLst>
    <p:ext uri="{DCECCB84-F9BA-43D5-87BE-67443E8EF086}">
      <p15:sldGuideLst xmlns:p15="http://schemas.microsoft.com/office/powerpoint/2012/main">
        <p15:guide id="1" orient="horz" pos="459">
          <p15:clr>
            <a:srgbClr val="FBAE40"/>
          </p15:clr>
        </p15:guide>
        <p15:guide id="2" pos="438">
          <p15:clr>
            <a:srgbClr val="FBAE40"/>
          </p15:clr>
        </p15:guide>
        <p15:guide id="3" orient="horz" pos="3861">
          <p15:clr>
            <a:srgbClr val="FBAE40"/>
          </p15:clr>
        </p15:guide>
        <p15:guide id="4" pos="7265">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roblem 03">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1480D763-083D-C748-76AB-562E445E35C6}"/>
              </a:ext>
            </a:extLst>
          </p:cNvPr>
          <p:cNvSpPr>
            <a:spLocks noGrp="1"/>
          </p:cNvSpPr>
          <p:nvPr>
            <p:ph type="pic" sz="quarter" idx="11"/>
          </p:nvPr>
        </p:nvSpPr>
        <p:spPr>
          <a:xfrm>
            <a:off x="4591957" y="2278743"/>
            <a:ext cx="3008086" cy="2300514"/>
          </a:xfrm>
          <a:prstGeom prst="roundRect">
            <a:avLst>
              <a:gd name="adj" fmla="val 8465"/>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9" name="Picture Placeholder 2">
            <a:extLst>
              <a:ext uri="{FF2B5EF4-FFF2-40B4-BE49-F238E27FC236}">
                <a16:creationId xmlns:a16="http://schemas.microsoft.com/office/drawing/2014/main" id="{ED3FE090-360E-A201-40CB-06F244EFB8D1}"/>
              </a:ext>
            </a:extLst>
          </p:cNvPr>
          <p:cNvSpPr>
            <a:spLocks noGrp="1"/>
          </p:cNvSpPr>
          <p:nvPr>
            <p:ph type="pic" sz="quarter" idx="12"/>
          </p:nvPr>
        </p:nvSpPr>
        <p:spPr>
          <a:xfrm>
            <a:off x="8525102" y="2278743"/>
            <a:ext cx="3008086" cy="2300514"/>
          </a:xfrm>
          <a:prstGeom prst="roundRect">
            <a:avLst>
              <a:gd name="adj" fmla="val 8465"/>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3" name="Picture Placeholder 2">
            <a:extLst>
              <a:ext uri="{FF2B5EF4-FFF2-40B4-BE49-F238E27FC236}">
                <a16:creationId xmlns:a16="http://schemas.microsoft.com/office/drawing/2014/main" id="{638137C0-B9C0-4B21-B882-96A853CAE4F7}"/>
              </a:ext>
            </a:extLst>
          </p:cNvPr>
          <p:cNvSpPr>
            <a:spLocks noGrp="1"/>
          </p:cNvSpPr>
          <p:nvPr>
            <p:ph type="pic" sz="quarter" idx="10"/>
          </p:nvPr>
        </p:nvSpPr>
        <p:spPr>
          <a:xfrm>
            <a:off x="731838" y="2278743"/>
            <a:ext cx="3008086" cy="2300514"/>
          </a:xfrm>
          <a:prstGeom prst="roundRect">
            <a:avLst>
              <a:gd name="adj" fmla="val 8465"/>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61207354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Analysis 0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9431A546-2D13-EC82-D139-0BC261DB52BD}"/>
              </a:ext>
            </a:extLst>
          </p:cNvPr>
          <p:cNvSpPr>
            <a:spLocks noGrp="1"/>
          </p:cNvSpPr>
          <p:nvPr>
            <p:ph type="pic" sz="quarter" idx="13"/>
          </p:nvPr>
        </p:nvSpPr>
        <p:spPr>
          <a:xfrm>
            <a:off x="6270446" y="2528302"/>
            <a:ext cx="2216012" cy="2155988"/>
          </a:xfrm>
          <a:prstGeom prst="roundRect">
            <a:avLst>
              <a:gd name="adj" fmla="val 0"/>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9" name="Picture Placeholder 2">
            <a:extLst>
              <a:ext uri="{FF2B5EF4-FFF2-40B4-BE49-F238E27FC236}">
                <a16:creationId xmlns:a16="http://schemas.microsoft.com/office/drawing/2014/main" id="{65F73412-96A7-C2BC-778B-A8715516CDA9}"/>
              </a:ext>
            </a:extLst>
          </p:cNvPr>
          <p:cNvSpPr>
            <a:spLocks noGrp="1"/>
          </p:cNvSpPr>
          <p:nvPr>
            <p:ph type="pic" sz="quarter" idx="14"/>
          </p:nvPr>
        </p:nvSpPr>
        <p:spPr>
          <a:xfrm>
            <a:off x="3666557" y="2528302"/>
            <a:ext cx="2216012" cy="2155988"/>
          </a:xfrm>
          <a:prstGeom prst="roundRect">
            <a:avLst>
              <a:gd name="adj" fmla="val 0"/>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11" name="Picture Placeholder 2">
            <a:extLst>
              <a:ext uri="{FF2B5EF4-FFF2-40B4-BE49-F238E27FC236}">
                <a16:creationId xmlns:a16="http://schemas.microsoft.com/office/drawing/2014/main" id="{09257185-F78E-05E3-8838-82C8014A5637}"/>
              </a:ext>
            </a:extLst>
          </p:cNvPr>
          <p:cNvSpPr>
            <a:spLocks noGrp="1"/>
          </p:cNvSpPr>
          <p:nvPr>
            <p:ph type="pic" sz="quarter" idx="15"/>
          </p:nvPr>
        </p:nvSpPr>
        <p:spPr>
          <a:xfrm>
            <a:off x="1028839" y="2528302"/>
            <a:ext cx="2216012" cy="2155988"/>
          </a:xfrm>
          <a:prstGeom prst="roundRect">
            <a:avLst>
              <a:gd name="adj" fmla="val 0"/>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12" name="Picture Placeholder 2">
            <a:extLst>
              <a:ext uri="{FF2B5EF4-FFF2-40B4-BE49-F238E27FC236}">
                <a16:creationId xmlns:a16="http://schemas.microsoft.com/office/drawing/2014/main" id="{04007A95-D992-73BD-E7FC-11C648257DB2}"/>
              </a:ext>
            </a:extLst>
          </p:cNvPr>
          <p:cNvSpPr>
            <a:spLocks noGrp="1"/>
          </p:cNvSpPr>
          <p:nvPr>
            <p:ph type="pic" sz="quarter" idx="16"/>
          </p:nvPr>
        </p:nvSpPr>
        <p:spPr>
          <a:xfrm>
            <a:off x="9109379" y="2528302"/>
            <a:ext cx="2216012" cy="2155988"/>
          </a:xfrm>
          <a:prstGeom prst="roundRect">
            <a:avLst>
              <a:gd name="adj" fmla="val 0"/>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747523341"/>
      </p:ext>
    </p:extLst>
  </p:cSld>
  <p:clrMapOvr>
    <a:masterClrMapping/>
  </p:clrMapOvr>
  <p:extLst>
    <p:ext uri="{DCECCB84-F9BA-43D5-87BE-67443E8EF086}">
      <p15:sldGuideLst xmlns:p15="http://schemas.microsoft.com/office/powerpoint/2012/main">
        <p15:guide id="2" pos="7242">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Analysis 0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38137C0-B9C0-4B21-B882-96A853CAE4F7}"/>
              </a:ext>
            </a:extLst>
          </p:cNvPr>
          <p:cNvSpPr>
            <a:spLocks noGrp="1"/>
          </p:cNvSpPr>
          <p:nvPr>
            <p:ph type="pic" sz="quarter" idx="10"/>
          </p:nvPr>
        </p:nvSpPr>
        <p:spPr>
          <a:xfrm>
            <a:off x="6581775" y="0"/>
            <a:ext cx="4402138" cy="6858000"/>
          </a:xfrm>
          <a:prstGeom prst="rect">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90845362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olution 01">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BE1E6D8F-8CD7-4428-AEE2-996FB48FD857}"/>
              </a:ext>
            </a:extLst>
          </p:cNvPr>
          <p:cNvSpPr>
            <a:spLocks noGrp="1"/>
          </p:cNvSpPr>
          <p:nvPr>
            <p:ph type="pic" sz="quarter" idx="12"/>
          </p:nvPr>
        </p:nvSpPr>
        <p:spPr>
          <a:xfrm>
            <a:off x="0" y="0"/>
            <a:ext cx="12192000" cy="3997325"/>
          </a:xfrm>
          <a:prstGeom prst="roundRect">
            <a:avLst>
              <a:gd name="adj" fmla="val 0"/>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479117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D0201-D700-4E0B-BE04-57BDA2E62978}"/>
              </a:ext>
            </a:extLst>
          </p:cNvPr>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B61DD825-09D0-434D-B362-8E2AE472F972}"/>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223" indent="0">
              <a:buNone/>
              <a:defRPr sz="2000">
                <a:solidFill>
                  <a:schemeClr val="tx1">
                    <a:tint val="75000"/>
                  </a:schemeClr>
                </a:solidFill>
              </a:defRPr>
            </a:lvl2pPr>
            <a:lvl3pPr marL="914446" indent="0">
              <a:buNone/>
              <a:defRPr sz="1800">
                <a:solidFill>
                  <a:schemeClr val="tx1">
                    <a:tint val="75000"/>
                  </a:schemeClr>
                </a:solidFill>
              </a:defRPr>
            </a:lvl3pPr>
            <a:lvl4pPr marL="1371669" indent="0">
              <a:buNone/>
              <a:defRPr sz="1600">
                <a:solidFill>
                  <a:schemeClr val="tx1">
                    <a:tint val="75000"/>
                  </a:schemeClr>
                </a:solidFill>
              </a:defRPr>
            </a:lvl4pPr>
            <a:lvl5pPr marL="1828891" indent="0">
              <a:buNone/>
              <a:defRPr sz="1600">
                <a:solidFill>
                  <a:schemeClr val="tx1">
                    <a:tint val="75000"/>
                  </a:schemeClr>
                </a:solidFill>
              </a:defRPr>
            </a:lvl5pPr>
            <a:lvl6pPr marL="2286114" indent="0">
              <a:buNone/>
              <a:defRPr sz="1600">
                <a:solidFill>
                  <a:schemeClr val="tx1">
                    <a:tint val="75000"/>
                  </a:schemeClr>
                </a:solidFill>
              </a:defRPr>
            </a:lvl6pPr>
            <a:lvl7pPr marL="2743337" indent="0">
              <a:buNone/>
              <a:defRPr sz="1600">
                <a:solidFill>
                  <a:schemeClr val="tx1">
                    <a:tint val="75000"/>
                  </a:schemeClr>
                </a:solidFill>
              </a:defRPr>
            </a:lvl7pPr>
            <a:lvl8pPr marL="3200560" indent="0">
              <a:buNone/>
              <a:defRPr sz="1600">
                <a:solidFill>
                  <a:schemeClr val="tx1">
                    <a:tint val="75000"/>
                  </a:schemeClr>
                </a:solidFill>
              </a:defRPr>
            </a:lvl8pPr>
            <a:lvl9pPr marL="3657783"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AD92E1B-7BCF-4F77-BE90-3969F1545EDF}"/>
              </a:ext>
            </a:extLst>
          </p:cNvPr>
          <p:cNvSpPr>
            <a:spLocks noGrp="1"/>
          </p:cNvSpPr>
          <p:nvPr>
            <p:ph type="dt" sz="half" idx="10"/>
          </p:nvPr>
        </p:nvSpPr>
        <p:spPr/>
        <p:txBody>
          <a:bodyPr/>
          <a:lstStyle/>
          <a:p>
            <a:fld id="{C67F9B67-2119-4870-B423-950E2B02F070}" type="datetimeFigureOut">
              <a:rPr lang="en-ID" smtClean="0">
                <a:solidFill>
                  <a:prstClr val="black">
                    <a:tint val="75000"/>
                  </a:prstClr>
                </a:solidFill>
              </a:rPr>
              <a:pPr/>
              <a:t>12/12/2023</a:t>
            </a:fld>
            <a:endParaRPr lang="en-ID">
              <a:solidFill>
                <a:prstClr val="black">
                  <a:tint val="75000"/>
                </a:prstClr>
              </a:solidFill>
            </a:endParaRPr>
          </a:p>
        </p:txBody>
      </p:sp>
      <p:sp>
        <p:nvSpPr>
          <p:cNvPr id="5" name="Footer Placeholder 4">
            <a:extLst>
              <a:ext uri="{FF2B5EF4-FFF2-40B4-BE49-F238E27FC236}">
                <a16:creationId xmlns:a16="http://schemas.microsoft.com/office/drawing/2014/main" id="{E9F8AE9D-DA58-43D5-8EBB-49F996B785A4}"/>
              </a:ext>
            </a:extLst>
          </p:cNvPr>
          <p:cNvSpPr>
            <a:spLocks noGrp="1"/>
          </p:cNvSpPr>
          <p:nvPr>
            <p:ph type="ftr" sz="quarter" idx="11"/>
          </p:nvPr>
        </p:nvSpPr>
        <p:spPr/>
        <p:txBody>
          <a:bodyPr/>
          <a:lstStyle/>
          <a:p>
            <a:endParaRPr lang="en-ID">
              <a:solidFill>
                <a:prstClr val="black">
                  <a:tint val="75000"/>
                </a:prstClr>
              </a:solidFill>
            </a:endParaRPr>
          </a:p>
        </p:txBody>
      </p:sp>
      <p:sp>
        <p:nvSpPr>
          <p:cNvPr id="6" name="Slide Number Placeholder 5">
            <a:extLst>
              <a:ext uri="{FF2B5EF4-FFF2-40B4-BE49-F238E27FC236}">
                <a16:creationId xmlns:a16="http://schemas.microsoft.com/office/drawing/2014/main" id="{90C5A708-B6EB-4C19-B71D-D36F88D0BD5C}"/>
              </a:ext>
            </a:extLst>
          </p:cNvPr>
          <p:cNvSpPr>
            <a:spLocks noGrp="1"/>
          </p:cNvSpPr>
          <p:nvPr>
            <p:ph type="sldNum" sz="quarter" idx="12"/>
          </p:nvPr>
        </p:nvSpPr>
        <p:spPr/>
        <p:txBody>
          <a:bodyPr/>
          <a:lstStyle/>
          <a:p>
            <a:fld id="{5D8928EB-67EA-4DF5-8889-76A19408D29A}" type="slidenum">
              <a:rPr lang="en-ID" smtClean="0">
                <a:solidFill>
                  <a:prstClr val="black">
                    <a:tint val="75000"/>
                  </a:prstClr>
                </a:solidFill>
              </a:rPr>
              <a:pPr/>
              <a:t>‹#›</a:t>
            </a:fld>
            <a:endParaRPr lang="en-ID">
              <a:solidFill>
                <a:prstClr val="black">
                  <a:tint val="75000"/>
                </a:prstClr>
              </a:solidFill>
            </a:endParaRPr>
          </a:p>
        </p:txBody>
      </p:sp>
    </p:spTree>
    <p:extLst>
      <p:ext uri="{BB962C8B-B14F-4D97-AF65-F5344CB8AC3E}">
        <p14:creationId xmlns:p14="http://schemas.microsoft.com/office/powerpoint/2010/main" val="71857014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olution 02">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5F88831-3600-733D-86B5-9A979297A73E}"/>
              </a:ext>
            </a:extLst>
          </p:cNvPr>
          <p:cNvSpPr>
            <a:spLocks noGrp="1"/>
          </p:cNvSpPr>
          <p:nvPr>
            <p:ph type="pic" sz="quarter" idx="13"/>
          </p:nvPr>
        </p:nvSpPr>
        <p:spPr>
          <a:xfrm>
            <a:off x="6607278" y="0"/>
            <a:ext cx="5584722" cy="6858000"/>
          </a:xfrm>
          <a:prstGeom prst="roundRect">
            <a:avLst>
              <a:gd name="adj" fmla="val 0"/>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19" name="Rectangle 18">
            <a:extLst>
              <a:ext uri="{FF2B5EF4-FFF2-40B4-BE49-F238E27FC236}">
                <a16:creationId xmlns:a16="http://schemas.microsoft.com/office/drawing/2014/main" id="{7FFF599B-25DF-6DB0-62DE-CB1515A993C0}"/>
              </a:ext>
            </a:extLst>
          </p:cNvPr>
          <p:cNvSpPr/>
          <p:nvPr userDrawn="1"/>
        </p:nvSpPr>
        <p:spPr>
          <a:xfrm>
            <a:off x="0" y="0"/>
            <a:ext cx="6607278" cy="6858000"/>
          </a:xfrm>
          <a:prstGeom prst="rect">
            <a:avLst/>
          </a:prstGeom>
          <a:solidFill>
            <a:srgbClr val="024D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86012883"/>
      </p:ext>
    </p:extLst>
  </p:cSld>
  <p:clrMapOvr>
    <a:masterClrMapping/>
  </p:clrMapOvr>
  <p:extLst>
    <p:ext uri="{DCECCB84-F9BA-43D5-87BE-67443E8EF086}">
      <p15:sldGuideLst xmlns:p15="http://schemas.microsoft.com/office/powerpoint/2012/main">
        <p15:guide id="2" pos="7242">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Mockup 01">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595C6F78-695D-4A82-87F4-4749C4456742}"/>
              </a:ext>
            </a:extLst>
          </p:cNvPr>
          <p:cNvSpPr>
            <a:spLocks noGrp="1"/>
          </p:cNvSpPr>
          <p:nvPr>
            <p:ph type="pic" sz="quarter" idx="15"/>
          </p:nvPr>
        </p:nvSpPr>
        <p:spPr>
          <a:xfrm rot="1800000">
            <a:off x="9835308" y="-712419"/>
            <a:ext cx="1826495" cy="3867063"/>
          </a:xfrm>
          <a:prstGeom prst="round2SameRect">
            <a:avLst>
              <a:gd name="adj1" fmla="val 10030"/>
              <a:gd name="adj2" fmla="val 12023"/>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7" name="Picture Placeholder 2">
            <a:extLst>
              <a:ext uri="{FF2B5EF4-FFF2-40B4-BE49-F238E27FC236}">
                <a16:creationId xmlns:a16="http://schemas.microsoft.com/office/drawing/2014/main" id="{D9BB656D-6BB2-AFF7-00CB-A339043E6E3A}"/>
              </a:ext>
            </a:extLst>
          </p:cNvPr>
          <p:cNvSpPr>
            <a:spLocks noGrp="1"/>
          </p:cNvSpPr>
          <p:nvPr>
            <p:ph type="pic" sz="quarter" idx="16"/>
          </p:nvPr>
        </p:nvSpPr>
        <p:spPr>
          <a:xfrm rot="1800000">
            <a:off x="11133166" y="1567820"/>
            <a:ext cx="1826495" cy="3867063"/>
          </a:xfrm>
          <a:prstGeom prst="round2SameRect">
            <a:avLst>
              <a:gd name="adj1" fmla="val 10030"/>
              <a:gd name="adj2" fmla="val 12023"/>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9" name="Picture Placeholder 2">
            <a:extLst>
              <a:ext uri="{FF2B5EF4-FFF2-40B4-BE49-F238E27FC236}">
                <a16:creationId xmlns:a16="http://schemas.microsoft.com/office/drawing/2014/main" id="{0CE0E10E-0823-4FB8-826F-599FF854CA6E}"/>
              </a:ext>
            </a:extLst>
          </p:cNvPr>
          <p:cNvSpPr>
            <a:spLocks noGrp="1"/>
          </p:cNvSpPr>
          <p:nvPr>
            <p:ph type="pic" sz="quarter" idx="17"/>
          </p:nvPr>
        </p:nvSpPr>
        <p:spPr>
          <a:xfrm rot="1800000">
            <a:off x="7673885" y="2991041"/>
            <a:ext cx="1826495" cy="3867063"/>
          </a:xfrm>
          <a:prstGeom prst="round2SameRect">
            <a:avLst>
              <a:gd name="adj1" fmla="val 10030"/>
              <a:gd name="adj2" fmla="val 12023"/>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14" name="Picture Placeholder 2">
            <a:extLst>
              <a:ext uri="{FF2B5EF4-FFF2-40B4-BE49-F238E27FC236}">
                <a16:creationId xmlns:a16="http://schemas.microsoft.com/office/drawing/2014/main" id="{A5A5DB07-D86D-8B34-E651-F118D48B4E28}"/>
              </a:ext>
            </a:extLst>
          </p:cNvPr>
          <p:cNvSpPr>
            <a:spLocks noGrp="1"/>
          </p:cNvSpPr>
          <p:nvPr>
            <p:ph type="pic" sz="quarter" idx="18"/>
          </p:nvPr>
        </p:nvSpPr>
        <p:spPr>
          <a:xfrm rot="1800000">
            <a:off x="7209760" y="-674030"/>
            <a:ext cx="1826495" cy="3867063"/>
          </a:xfrm>
          <a:prstGeom prst="round2SameRect">
            <a:avLst>
              <a:gd name="adj1" fmla="val 10030"/>
              <a:gd name="adj2" fmla="val 12023"/>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16" name="Picture Placeholder 2">
            <a:extLst>
              <a:ext uri="{FF2B5EF4-FFF2-40B4-BE49-F238E27FC236}">
                <a16:creationId xmlns:a16="http://schemas.microsoft.com/office/drawing/2014/main" id="{E11AB2B7-8AFB-046F-7E5C-A56F9E45E770}"/>
              </a:ext>
            </a:extLst>
          </p:cNvPr>
          <p:cNvSpPr>
            <a:spLocks noGrp="1"/>
          </p:cNvSpPr>
          <p:nvPr>
            <p:ph type="pic" sz="quarter" idx="19"/>
          </p:nvPr>
        </p:nvSpPr>
        <p:spPr>
          <a:xfrm rot="1800000">
            <a:off x="8963102" y="5271281"/>
            <a:ext cx="1826495" cy="3867063"/>
          </a:xfrm>
          <a:prstGeom prst="round2SameRect">
            <a:avLst>
              <a:gd name="adj1" fmla="val 10030"/>
              <a:gd name="adj2" fmla="val 12023"/>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20973764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Mockup 02">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FF72231A-693F-4F96-9121-F2365B9745D6}"/>
              </a:ext>
            </a:extLst>
          </p:cNvPr>
          <p:cNvSpPr>
            <a:spLocks noGrp="1"/>
          </p:cNvSpPr>
          <p:nvPr>
            <p:ph type="pic" sz="quarter" idx="12"/>
          </p:nvPr>
        </p:nvSpPr>
        <p:spPr>
          <a:xfrm>
            <a:off x="0" y="1104900"/>
            <a:ext cx="5238750" cy="4248150"/>
          </a:xfrm>
          <a:prstGeom prst="rect">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4" name="Picture Placeholder 2">
            <a:extLst>
              <a:ext uri="{FF2B5EF4-FFF2-40B4-BE49-F238E27FC236}">
                <a16:creationId xmlns:a16="http://schemas.microsoft.com/office/drawing/2014/main" id="{FD5A0462-1F76-BF48-436E-D09FA2922E67}"/>
              </a:ext>
            </a:extLst>
          </p:cNvPr>
          <p:cNvSpPr>
            <a:spLocks noGrp="1"/>
          </p:cNvSpPr>
          <p:nvPr>
            <p:ph type="pic" sz="quarter" idx="13"/>
          </p:nvPr>
        </p:nvSpPr>
        <p:spPr>
          <a:xfrm>
            <a:off x="7410450" y="0"/>
            <a:ext cx="4781550" cy="6858000"/>
          </a:xfrm>
          <a:prstGeom prst="rect">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09596315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Mockup 03">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FF72231A-693F-4F96-9121-F2365B9745D6}"/>
              </a:ext>
            </a:extLst>
          </p:cNvPr>
          <p:cNvSpPr>
            <a:spLocks noGrp="1"/>
          </p:cNvSpPr>
          <p:nvPr>
            <p:ph type="pic" sz="quarter" idx="12"/>
          </p:nvPr>
        </p:nvSpPr>
        <p:spPr>
          <a:xfrm>
            <a:off x="6120428" y="845457"/>
            <a:ext cx="5266691" cy="3058886"/>
          </a:xfrm>
          <a:prstGeom prst="rect">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583240053"/>
      </p:ext>
    </p:extLst>
  </p:cSld>
  <p:clrMapOvr>
    <a:masterClrMapping/>
  </p:clrMapOvr>
  <p:extLst>
    <p:ext uri="{DCECCB84-F9BA-43D5-87BE-67443E8EF086}">
      <p15:sldGuideLst xmlns:p15="http://schemas.microsoft.com/office/powerpoint/2012/main">
        <p15:guide id="1" orient="horz" pos="459">
          <p15:clr>
            <a:srgbClr val="FBAE40"/>
          </p15:clr>
        </p15:guide>
        <p15:guide id="2" pos="438">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hart 01">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7B639079-A8A4-4A4E-9614-F4097EC15067}"/>
              </a:ext>
            </a:extLst>
          </p:cNvPr>
          <p:cNvSpPr>
            <a:spLocks noGrp="1"/>
          </p:cNvSpPr>
          <p:nvPr>
            <p:ph type="pic" sz="quarter" idx="10" hasCustomPrompt="1"/>
          </p:nvPr>
        </p:nvSpPr>
        <p:spPr>
          <a:xfrm>
            <a:off x="8553450" y="0"/>
            <a:ext cx="3638550" cy="6858000"/>
          </a:xfrm>
          <a:prstGeom prst="rect">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r>
              <a:rPr lang="id-ID">
                <a:latin typeface="Arial" panose="020B0604020202020204" pitchFamily="34" charset="0"/>
                <a:cs typeface="Arial" panose="020B0604020202020204" pitchFamily="34" charset="0"/>
              </a:rPr>
              <a:t>Picture</a:t>
            </a:r>
          </a:p>
          <a:p>
            <a:endParaRPr lang="en-US"/>
          </a:p>
        </p:txBody>
      </p:sp>
    </p:spTree>
    <p:extLst>
      <p:ext uri="{BB962C8B-B14F-4D97-AF65-F5344CB8AC3E}">
        <p14:creationId xmlns:p14="http://schemas.microsoft.com/office/powerpoint/2010/main" val="300155301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hart 02">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7B639079-A8A4-4A4E-9614-F4097EC15067}"/>
              </a:ext>
            </a:extLst>
          </p:cNvPr>
          <p:cNvSpPr>
            <a:spLocks noGrp="1"/>
          </p:cNvSpPr>
          <p:nvPr>
            <p:ph type="pic" sz="quarter" idx="10" hasCustomPrompt="1"/>
          </p:nvPr>
        </p:nvSpPr>
        <p:spPr>
          <a:xfrm>
            <a:off x="6096000" y="0"/>
            <a:ext cx="6096000" cy="6858000"/>
          </a:xfrm>
          <a:prstGeom prst="rect">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r>
              <a:rPr lang="id-ID">
                <a:latin typeface="Arial" panose="020B0604020202020204" pitchFamily="34" charset="0"/>
                <a:cs typeface="Arial" panose="020B0604020202020204" pitchFamily="34" charset="0"/>
              </a:rPr>
              <a:t>Picture</a:t>
            </a:r>
          </a:p>
          <a:p>
            <a:endParaRPr lang="en-US"/>
          </a:p>
        </p:txBody>
      </p:sp>
    </p:spTree>
    <p:extLst>
      <p:ext uri="{BB962C8B-B14F-4D97-AF65-F5344CB8AC3E}">
        <p14:creationId xmlns:p14="http://schemas.microsoft.com/office/powerpoint/2010/main" val="305812491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7B639079-A8A4-4A4E-9614-F4097EC15067}"/>
              </a:ext>
            </a:extLst>
          </p:cNvPr>
          <p:cNvSpPr>
            <a:spLocks noGrp="1"/>
          </p:cNvSpPr>
          <p:nvPr>
            <p:ph type="pic" sz="quarter" idx="10" hasCustomPrompt="1"/>
          </p:nvPr>
        </p:nvSpPr>
        <p:spPr>
          <a:xfrm>
            <a:off x="0" y="0"/>
            <a:ext cx="12192000" cy="4793673"/>
          </a:xfrm>
          <a:prstGeom prst="rect">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r>
              <a:rPr lang="id-ID">
                <a:latin typeface="Arial" panose="020B0604020202020204" pitchFamily="34" charset="0"/>
                <a:cs typeface="Arial" panose="020B0604020202020204" pitchFamily="34" charset="0"/>
              </a:rPr>
              <a:t>Picture</a:t>
            </a:r>
          </a:p>
          <a:p>
            <a:endParaRPr lang="en-US"/>
          </a:p>
        </p:txBody>
      </p:sp>
      <p:sp>
        <p:nvSpPr>
          <p:cNvPr id="3" name="Rectangle 2">
            <a:extLst>
              <a:ext uri="{FF2B5EF4-FFF2-40B4-BE49-F238E27FC236}">
                <a16:creationId xmlns:a16="http://schemas.microsoft.com/office/drawing/2014/main" id="{6454B2C0-6E8F-41F7-88DB-AB026A382D39}"/>
              </a:ext>
            </a:extLst>
          </p:cNvPr>
          <p:cNvSpPr/>
          <p:nvPr userDrawn="1"/>
        </p:nvSpPr>
        <p:spPr>
          <a:xfrm>
            <a:off x="0" y="4793672"/>
            <a:ext cx="12192000" cy="20643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0943367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Pricing 0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38137C0-B9C0-4B21-B882-96A853CAE4F7}"/>
              </a:ext>
            </a:extLst>
          </p:cNvPr>
          <p:cNvSpPr>
            <a:spLocks noGrp="1"/>
          </p:cNvSpPr>
          <p:nvPr>
            <p:ph type="pic" sz="quarter" idx="10"/>
          </p:nvPr>
        </p:nvSpPr>
        <p:spPr>
          <a:xfrm>
            <a:off x="0" y="0"/>
            <a:ext cx="4873288" cy="6858000"/>
          </a:xfrm>
          <a:prstGeom prst="roundRect">
            <a:avLst>
              <a:gd name="adj" fmla="val 0"/>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8" name="Picture Placeholder 2">
            <a:extLst>
              <a:ext uri="{FF2B5EF4-FFF2-40B4-BE49-F238E27FC236}">
                <a16:creationId xmlns:a16="http://schemas.microsoft.com/office/drawing/2014/main" id="{1480D763-083D-C748-76AB-562E445E35C6}"/>
              </a:ext>
            </a:extLst>
          </p:cNvPr>
          <p:cNvSpPr>
            <a:spLocks noGrp="1"/>
          </p:cNvSpPr>
          <p:nvPr>
            <p:ph type="pic" sz="quarter" idx="11"/>
          </p:nvPr>
        </p:nvSpPr>
        <p:spPr>
          <a:xfrm>
            <a:off x="5347116" y="2638269"/>
            <a:ext cx="2033148" cy="2690495"/>
          </a:xfrm>
          <a:prstGeom prst="roundRect">
            <a:avLst>
              <a:gd name="adj" fmla="val 8465"/>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12" name="Picture Placeholder 2">
            <a:extLst>
              <a:ext uri="{FF2B5EF4-FFF2-40B4-BE49-F238E27FC236}">
                <a16:creationId xmlns:a16="http://schemas.microsoft.com/office/drawing/2014/main" id="{5D34ABD2-3FDC-4CAC-7A1B-27A66EDB3584}"/>
              </a:ext>
            </a:extLst>
          </p:cNvPr>
          <p:cNvSpPr>
            <a:spLocks noGrp="1"/>
          </p:cNvSpPr>
          <p:nvPr>
            <p:ph type="pic" sz="quarter" idx="16"/>
          </p:nvPr>
        </p:nvSpPr>
        <p:spPr>
          <a:xfrm>
            <a:off x="10333738" y="2638269"/>
            <a:ext cx="2033148" cy="2690495"/>
          </a:xfrm>
          <a:prstGeom prst="roundRect">
            <a:avLst>
              <a:gd name="adj" fmla="val 8465"/>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13" name="Picture Placeholder 2">
            <a:extLst>
              <a:ext uri="{FF2B5EF4-FFF2-40B4-BE49-F238E27FC236}">
                <a16:creationId xmlns:a16="http://schemas.microsoft.com/office/drawing/2014/main" id="{CF8FC029-CA6E-E7BA-858A-77A565CCB7E2}"/>
              </a:ext>
            </a:extLst>
          </p:cNvPr>
          <p:cNvSpPr>
            <a:spLocks noGrp="1"/>
          </p:cNvSpPr>
          <p:nvPr>
            <p:ph type="pic" sz="quarter" idx="17"/>
          </p:nvPr>
        </p:nvSpPr>
        <p:spPr>
          <a:xfrm>
            <a:off x="7840427" y="2638269"/>
            <a:ext cx="2033148" cy="2690495"/>
          </a:xfrm>
          <a:prstGeom prst="roundRect">
            <a:avLst>
              <a:gd name="adj" fmla="val 8465"/>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65239051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Pricing 0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38137C0-B9C0-4B21-B882-96A853CAE4F7}"/>
              </a:ext>
            </a:extLst>
          </p:cNvPr>
          <p:cNvSpPr>
            <a:spLocks noGrp="1"/>
          </p:cNvSpPr>
          <p:nvPr>
            <p:ph type="pic" sz="quarter" idx="10"/>
          </p:nvPr>
        </p:nvSpPr>
        <p:spPr>
          <a:xfrm>
            <a:off x="0" y="0"/>
            <a:ext cx="12192000" cy="4704735"/>
          </a:xfrm>
          <a:prstGeom prst="roundRect">
            <a:avLst>
              <a:gd name="adj" fmla="val 0"/>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67936224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Ending Slide 2">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FF72231A-693F-4F96-9121-F2365B9745D6}"/>
              </a:ext>
            </a:extLst>
          </p:cNvPr>
          <p:cNvSpPr>
            <a:spLocks noGrp="1"/>
          </p:cNvSpPr>
          <p:nvPr>
            <p:ph type="pic" sz="quarter" idx="12"/>
          </p:nvPr>
        </p:nvSpPr>
        <p:spPr>
          <a:xfrm>
            <a:off x="3829050" y="7938"/>
            <a:ext cx="8362950" cy="6858000"/>
          </a:xfrm>
          <a:prstGeom prst="rect">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9" name="Picture Placeholder 8">
            <a:extLst>
              <a:ext uri="{FF2B5EF4-FFF2-40B4-BE49-F238E27FC236}">
                <a16:creationId xmlns:a16="http://schemas.microsoft.com/office/drawing/2014/main" id="{AE38DE84-A9BE-3E9A-C3C3-35AFFF8F8C0D}"/>
              </a:ext>
            </a:extLst>
          </p:cNvPr>
          <p:cNvSpPr>
            <a:spLocks noGrp="1"/>
          </p:cNvSpPr>
          <p:nvPr>
            <p:ph type="pic" sz="quarter" idx="15"/>
          </p:nvPr>
        </p:nvSpPr>
        <p:spPr>
          <a:xfrm>
            <a:off x="6096000" y="7938"/>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3048000 w 6096000"/>
              <a:gd name="connsiteY3" fmla="*/ 6858000 h 6858000"/>
              <a:gd name="connsiteX4" fmla="*/ 0 w 6096000"/>
              <a:gd name="connsiteY4" fmla="*/ 3810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3048000" y="6858000"/>
                </a:lnTo>
                <a:cubicBezTo>
                  <a:pt x="1364636" y="6858000"/>
                  <a:pt x="0" y="5493364"/>
                  <a:pt x="0" y="3810000"/>
                </a:cubicBezTo>
                <a:close/>
              </a:path>
            </a:pathLst>
          </a:custGeom>
          <a:pattFill prst="pct20">
            <a:fgClr>
              <a:schemeClr val="accent6">
                <a:lumMod val="75000"/>
              </a:schemeClr>
            </a:fgClr>
            <a:bgClr>
              <a:schemeClr val="bg1"/>
            </a:bgClr>
          </a:pattFill>
        </p:spPr>
        <p:txBody>
          <a:bodyPr wrap="square">
            <a:noAutofit/>
          </a:bodyPr>
          <a:lstStyle/>
          <a:p>
            <a:endParaRPr lang="en-US"/>
          </a:p>
        </p:txBody>
      </p:sp>
    </p:spTree>
    <p:extLst>
      <p:ext uri="{BB962C8B-B14F-4D97-AF65-F5344CB8AC3E}">
        <p14:creationId xmlns:p14="http://schemas.microsoft.com/office/powerpoint/2010/main" val="2915230620"/>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586BA-4D75-4ABC-956A-A4DEB9041D5E}"/>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0D4714AF-98FF-4F50-9A51-96C237E40FD4}"/>
              </a:ext>
            </a:extLst>
          </p:cNvPr>
          <p:cNvSpPr>
            <a:spLocks noGrp="1"/>
          </p:cNvSpPr>
          <p:nvPr>
            <p:ph sz="half" idx="1"/>
          </p:nvPr>
        </p:nvSpPr>
        <p:spPr>
          <a:xfrm>
            <a:off x="838200" y="18256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23B0D727-A5F3-4C32-AAF2-91C0D2E2834B}"/>
              </a:ext>
            </a:extLst>
          </p:cNvPr>
          <p:cNvSpPr>
            <a:spLocks noGrp="1"/>
          </p:cNvSpPr>
          <p:nvPr>
            <p:ph sz="half" idx="2"/>
          </p:nvPr>
        </p:nvSpPr>
        <p:spPr>
          <a:xfrm>
            <a:off x="6172200" y="18256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Slide Number Placeholder 6">
            <a:extLst>
              <a:ext uri="{FF2B5EF4-FFF2-40B4-BE49-F238E27FC236}">
                <a16:creationId xmlns:a16="http://schemas.microsoft.com/office/drawing/2014/main" id="{74B7EF9B-CB1F-453E-A6EE-BD7C39748898}"/>
              </a:ext>
            </a:extLst>
          </p:cNvPr>
          <p:cNvSpPr>
            <a:spLocks noGrp="1"/>
          </p:cNvSpPr>
          <p:nvPr>
            <p:ph type="sldNum" sz="quarter" idx="12"/>
          </p:nvPr>
        </p:nvSpPr>
        <p:spPr>
          <a:xfrm>
            <a:off x="5891214" y="6332538"/>
            <a:ext cx="409575" cy="320675"/>
          </a:xfrm>
        </p:spPr>
        <p:txBody>
          <a:bodyPr/>
          <a:lstStyle>
            <a:lvl1pPr algn="ctr">
              <a:defRPr sz="1400" b="1">
                <a:solidFill>
                  <a:schemeClr val="accent1"/>
                </a:solidFill>
                <a:latin typeface="+mj-lt"/>
              </a:defRPr>
            </a:lvl1pPr>
          </a:lstStyle>
          <a:p>
            <a:fld id="{5D8928EB-67EA-4DF5-8889-76A19408D29A}" type="slidenum">
              <a:rPr lang="en-ID" smtClean="0">
                <a:solidFill>
                  <a:srgbClr val="F5C02B"/>
                </a:solidFill>
              </a:rPr>
              <a:pPr/>
              <a:t>‹#›</a:t>
            </a:fld>
            <a:endParaRPr lang="en-ID">
              <a:solidFill>
                <a:srgbClr val="F5C02B"/>
              </a:solidFill>
            </a:endParaRPr>
          </a:p>
        </p:txBody>
      </p:sp>
      <p:sp>
        <p:nvSpPr>
          <p:cNvPr id="6" name="Rectangle 5">
            <a:extLst>
              <a:ext uri="{FF2B5EF4-FFF2-40B4-BE49-F238E27FC236}">
                <a16:creationId xmlns:a16="http://schemas.microsoft.com/office/drawing/2014/main" id="{5F932589-445A-4301-B95B-564CD2EDFEB1}"/>
              </a:ext>
            </a:extLst>
          </p:cNvPr>
          <p:cNvSpPr/>
          <p:nvPr userDrawn="1"/>
        </p:nvSpPr>
        <p:spPr>
          <a:xfrm>
            <a:off x="5881688" y="6332537"/>
            <a:ext cx="419100" cy="525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D" sz="1800">
              <a:solidFill>
                <a:prstClr val="white"/>
              </a:solidFill>
            </a:endParaRPr>
          </a:p>
        </p:txBody>
      </p:sp>
      <p:grpSp>
        <p:nvGrpSpPr>
          <p:cNvPr id="8" name="Group 7">
            <a:extLst>
              <a:ext uri="{FF2B5EF4-FFF2-40B4-BE49-F238E27FC236}">
                <a16:creationId xmlns:a16="http://schemas.microsoft.com/office/drawing/2014/main" id="{6AAB14DB-A525-4D6E-ABA2-34921E9927F1}"/>
              </a:ext>
            </a:extLst>
          </p:cNvPr>
          <p:cNvGrpSpPr/>
          <p:nvPr userDrawn="1"/>
        </p:nvGrpSpPr>
        <p:grpSpPr>
          <a:xfrm>
            <a:off x="5881689" y="395605"/>
            <a:ext cx="428625" cy="45720"/>
            <a:chOff x="6069806" y="395605"/>
            <a:chExt cx="428625" cy="45720"/>
          </a:xfrm>
        </p:grpSpPr>
        <p:sp>
          <p:nvSpPr>
            <p:cNvPr id="9" name="Rectangle: Rounded Corners 8">
              <a:extLst>
                <a:ext uri="{FF2B5EF4-FFF2-40B4-BE49-F238E27FC236}">
                  <a16:creationId xmlns:a16="http://schemas.microsoft.com/office/drawing/2014/main" id="{115C1A49-53A9-45BF-BC23-166648B52FB2}"/>
                </a:ext>
              </a:extLst>
            </p:cNvPr>
            <p:cNvSpPr/>
            <p:nvPr/>
          </p:nvSpPr>
          <p:spPr>
            <a:xfrm>
              <a:off x="6069806" y="395605"/>
              <a:ext cx="285750" cy="45719"/>
            </a:xfrm>
            <a:prstGeom prst="roundRect">
              <a:avLst>
                <a:gd name="adj" fmla="val 50000"/>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D" sz="1800">
                <a:solidFill>
                  <a:prstClr val="white"/>
                </a:solidFill>
              </a:endParaRPr>
            </a:p>
          </p:txBody>
        </p:sp>
        <p:sp>
          <p:nvSpPr>
            <p:cNvPr id="10" name="Rectangle: Rounded Corners 9">
              <a:extLst>
                <a:ext uri="{FF2B5EF4-FFF2-40B4-BE49-F238E27FC236}">
                  <a16:creationId xmlns:a16="http://schemas.microsoft.com/office/drawing/2014/main" id="{F083A820-8D34-435A-84A8-D1FE6517AFC8}"/>
                </a:ext>
              </a:extLst>
            </p:cNvPr>
            <p:cNvSpPr/>
            <p:nvPr/>
          </p:nvSpPr>
          <p:spPr>
            <a:xfrm>
              <a:off x="6212681" y="395606"/>
              <a:ext cx="285750" cy="457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D" sz="1800">
                <a:solidFill>
                  <a:prstClr val="white"/>
                </a:solidFill>
              </a:endParaRPr>
            </a:p>
          </p:txBody>
        </p:sp>
      </p:grpSp>
    </p:spTree>
    <p:extLst>
      <p:ext uri="{BB962C8B-B14F-4D97-AF65-F5344CB8AC3E}">
        <p14:creationId xmlns:p14="http://schemas.microsoft.com/office/powerpoint/2010/main" val="314615674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552749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38137C0-B9C0-4B21-B882-96A853CAE4F7}"/>
              </a:ext>
            </a:extLst>
          </p:cNvPr>
          <p:cNvSpPr>
            <a:spLocks noGrp="1"/>
          </p:cNvSpPr>
          <p:nvPr>
            <p:ph type="pic" sz="quarter" idx="10" hasCustomPrompt="1"/>
          </p:nvPr>
        </p:nvSpPr>
        <p:spPr>
          <a:xfrm>
            <a:off x="0" y="0"/>
            <a:ext cx="12192000" cy="6858000"/>
          </a:xfrm>
          <a:prstGeom prst="rect">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r>
              <a:rPr lang="id-ID">
                <a:latin typeface="Arial" panose="020B0604020202020204" pitchFamily="34" charset="0"/>
                <a:cs typeface="Arial" panose="020B0604020202020204" pitchFamily="34" charset="0"/>
              </a:rPr>
              <a:t>Picture</a:t>
            </a:r>
          </a:p>
          <a:p>
            <a:endParaRPr lang="en-US"/>
          </a:p>
        </p:txBody>
      </p:sp>
    </p:spTree>
    <p:extLst>
      <p:ext uri="{BB962C8B-B14F-4D97-AF65-F5344CB8AC3E}">
        <p14:creationId xmlns:p14="http://schemas.microsoft.com/office/powerpoint/2010/main" val="359498864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elcome Slide 02">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FE1A4C7F-1EEF-4F6D-FC87-ECD41FA9A880}"/>
              </a:ext>
            </a:extLst>
          </p:cNvPr>
          <p:cNvSpPr>
            <a:spLocks noGrp="1"/>
          </p:cNvSpPr>
          <p:nvPr>
            <p:ph type="pic" sz="quarter" idx="11"/>
          </p:nvPr>
        </p:nvSpPr>
        <p:spPr>
          <a:xfrm>
            <a:off x="10550553" y="908581"/>
            <a:ext cx="3959437" cy="3826347"/>
          </a:xfrm>
          <a:prstGeom prst="roundRect">
            <a:avLst>
              <a:gd name="adj" fmla="val 5391"/>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3" name="Picture Placeholder 2">
            <a:extLst>
              <a:ext uri="{FF2B5EF4-FFF2-40B4-BE49-F238E27FC236}">
                <a16:creationId xmlns:a16="http://schemas.microsoft.com/office/drawing/2014/main" id="{638137C0-B9C0-4B21-B882-96A853CAE4F7}"/>
              </a:ext>
            </a:extLst>
          </p:cNvPr>
          <p:cNvSpPr>
            <a:spLocks noGrp="1"/>
          </p:cNvSpPr>
          <p:nvPr>
            <p:ph type="pic" sz="quarter" idx="10"/>
          </p:nvPr>
        </p:nvSpPr>
        <p:spPr>
          <a:xfrm>
            <a:off x="5993558" y="908581"/>
            <a:ext cx="3959437" cy="3826347"/>
          </a:xfrm>
          <a:prstGeom prst="roundRect">
            <a:avLst>
              <a:gd name="adj" fmla="val 5391"/>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52696047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Intrroducing 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133712C1-A7A9-77D1-8A3C-5F8753F269E4}"/>
              </a:ext>
            </a:extLst>
          </p:cNvPr>
          <p:cNvSpPr>
            <a:spLocks noGrp="1"/>
          </p:cNvSpPr>
          <p:nvPr>
            <p:ph type="pic" sz="quarter" idx="12"/>
          </p:nvPr>
        </p:nvSpPr>
        <p:spPr>
          <a:xfrm>
            <a:off x="5980119" y="2964600"/>
            <a:ext cx="3072798" cy="2947981"/>
          </a:xfrm>
          <a:prstGeom prst="roundRect">
            <a:avLst>
              <a:gd name="adj" fmla="val 6683"/>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9" name="Picture Placeholder 2">
            <a:extLst>
              <a:ext uri="{FF2B5EF4-FFF2-40B4-BE49-F238E27FC236}">
                <a16:creationId xmlns:a16="http://schemas.microsoft.com/office/drawing/2014/main" id="{74CE940C-F1B1-E9E9-EA30-6CFA58A3DA8B}"/>
              </a:ext>
            </a:extLst>
          </p:cNvPr>
          <p:cNvSpPr>
            <a:spLocks noGrp="1"/>
          </p:cNvSpPr>
          <p:nvPr>
            <p:ph type="pic" sz="quarter" idx="13"/>
          </p:nvPr>
        </p:nvSpPr>
        <p:spPr>
          <a:xfrm>
            <a:off x="9194211" y="2964600"/>
            <a:ext cx="2314423" cy="2947981"/>
          </a:xfrm>
          <a:prstGeom prst="roundRect">
            <a:avLst>
              <a:gd name="adj" fmla="val 6683"/>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3" name="Picture Placeholder 2">
            <a:extLst>
              <a:ext uri="{FF2B5EF4-FFF2-40B4-BE49-F238E27FC236}">
                <a16:creationId xmlns:a16="http://schemas.microsoft.com/office/drawing/2014/main" id="{638137C0-B9C0-4B21-B882-96A853CAE4F7}"/>
              </a:ext>
            </a:extLst>
          </p:cNvPr>
          <p:cNvSpPr>
            <a:spLocks noGrp="1"/>
          </p:cNvSpPr>
          <p:nvPr>
            <p:ph type="pic" sz="quarter" idx="10"/>
          </p:nvPr>
        </p:nvSpPr>
        <p:spPr>
          <a:xfrm>
            <a:off x="766532" y="2964600"/>
            <a:ext cx="5072293" cy="2947981"/>
          </a:xfrm>
          <a:prstGeom prst="roundRect">
            <a:avLst>
              <a:gd name="adj" fmla="val 5391"/>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90052118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Introducing 02">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BE1E6D8F-8CD7-4428-AEE2-996FB48FD857}"/>
              </a:ext>
            </a:extLst>
          </p:cNvPr>
          <p:cNvSpPr>
            <a:spLocks noGrp="1"/>
          </p:cNvSpPr>
          <p:nvPr>
            <p:ph type="pic" sz="quarter" idx="12"/>
          </p:nvPr>
        </p:nvSpPr>
        <p:spPr>
          <a:xfrm>
            <a:off x="695326" y="747244"/>
            <a:ext cx="7720829" cy="2947981"/>
          </a:xfrm>
          <a:prstGeom prst="roundRect">
            <a:avLst>
              <a:gd name="adj" fmla="val 8913"/>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64278670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able Of Content 01">
    <p:spTree>
      <p:nvGrpSpPr>
        <p:cNvPr id="1" name=""/>
        <p:cNvGrpSpPr/>
        <p:nvPr/>
      </p:nvGrpSpPr>
      <p:grpSpPr>
        <a:xfrm>
          <a:off x="0" y="0"/>
          <a:ext cx="0" cy="0"/>
          <a:chOff x="0" y="0"/>
          <a:chExt cx="0" cy="0"/>
        </a:xfrm>
      </p:grpSpPr>
      <p:sp>
        <p:nvSpPr>
          <p:cNvPr id="18" name="Picture Placeholder 2">
            <a:extLst>
              <a:ext uri="{FF2B5EF4-FFF2-40B4-BE49-F238E27FC236}">
                <a16:creationId xmlns:a16="http://schemas.microsoft.com/office/drawing/2014/main" id="{BB75EC29-97CC-C853-D3E7-D5CDD94FDACC}"/>
              </a:ext>
            </a:extLst>
          </p:cNvPr>
          <p:cNvSpPr>
            <a:spLocks noGrp="1"/>
          </p:cNvSpPr>
          <p:nvPr>
            <p:ph type="pic" sz="quarter" idx="16"/>
          </p:nvPr>
        </p:nvSpPr>
        <p:spPr>
          <a:xfrm>
            <a:off x="4967747" y="1871745"/>
            <a:ext cx="2256506" cy="1557255"/>
          </a:xfrm>
          <a:prstGeom prst="roundRect">
            <a:avLst>
              <a:gd name="adj" fmla="val 11774"/>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19" name="Picture Placeholder 2">
            <a:extLst>
              <a:ext uri="{FF2B5EF4-FFF2-40B4-BE49-F238E27FC236}">
                <a16:creationId xmlns:a16="http://schemas.microsoft.com/office/drawing/2014/main" id="{A7C65008-E009-FE26-920D-6DADCFAEF291}"/>
              </a:ext>
            </a:extLst>
          </p:cNvPr>
          <p:cNvSpPr>
            <a:spLocks noGrp="1"/>
          </p:cNvSpPr>
          <p:nvPr>
            <p:ph type="pic" sz="quarter" idx="17"/>
          </p:nvPr>
        </p:nvSpPr>
        <p:spPr>
          <a:xfrm>
            <a:off x="8762653" y="1871745"/>
            <a:ext cx="2256506" cy="1557255"/>
          </a:xfrm>
          <a:prstGeom prst="roundRect">
            <a:avLst>
              <a:gd name="adj" fmla="val 11774"/>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20" name="Picture Placeholder 2">
            <a:extLst>
              <a:ext uri="{FF2B5EF4-FFF2-40B4-BE49-F238E27FC236}">
                <a16:creationId xmlns:a16="http://schemas.microsoft.com/office/drawing/2014/main" id="{8438CF18-C6CC-2943-E097-967060C2B695}"/>
              </a:ext>
            </a:extLst>
          </p:cNvPr>
          <p:cNvSpPr>
            <a:spLocks noGrp="1"/>
          </p:cNvSpPr>
          <p:nvPr>
            <p:ph type="pic" sz="quarter" idx="18"/>
          </p:nvPr>
        </p:nvSpPr>
        <p:spPr>
          <a:xfrm>
            <a:off x="3070294" y="4247535"/>
            <a:ext cx="2256506" cy="1557255"/>
          </a:xfrm>
          <a:prstGeom prst="roundRect">
            <a:avLst>
              <a:gd name="adj" fmla="val 11774"/>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21" name="Picture Placeholder 2">
            <a:extLst>
              <a:ext uri="{FF2B5EF4-FFF2-40B4-BE49-F238E27FC236}">
                <a16:creationId xmlns:a16="http://schemas.microsoft.com/office/drawing/2014/main" id="{C58B31F6-AB20-28D0-E6F5-816ADF087C34}"/>
              </a:ext>
            </a:extLst>
          </p:cNvPr>
          <p:cNvSpPr>
            <a:spLocks noGrp="1"/>
          </p:cNvSpPr>
          <p:nvPr>
            <p:ph type="pic" sz="quarter" idx="19"/>
          </p:nvPr>
        </p:nvSpPr>
        <p:spPr>
          <a:xfrm>
            <a:off x="6865200" y="4247535"/>
            <a:ext cx="2256506" cy="1557255"/>
          </a:xfrm>
          <a:prstGeom prst="roundRect">
            <a:avLst>
              <a:gd name="adj" fmla="val 11774"/>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3" name="Picture Placeholder 2">
            <a:extLst>
              <a:ext uri="{FF2B5EF4-FFF2-40B4-BE49-F238E27FC236}">
                <a16:creationId xmlns:a16="http://schemas.microsoft.com/office/drawing/2014/main" id="{638137C0-B9C0-4B21-B882-96A853CAE4F7}"/>
              </a:ext>
            </a:extLst>
          </p:cNvPr>
          <p:cNvSpPr>
            <a:spLocks noGrp="1"/>
          </p:cNvSpPr>
          <p:nvPr>
            <p:ph type="pic" sz="quarter" idx="10"/>
          </p:nvPr>
        </p:nvSpPr>
        <p:spPr>
          <a:xfrm>
            <a:off x="1172842" y="1871745"/>
            <a:ext cx="2256506" cy="1557255"/>
          </a:xfrm>
          <a:prstGeom prst="roundRect">
            <a:avLst>
              <a:gd name="adj" fmla="val 11774"/>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72418396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About 01">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8121159E-2995-4643-ACA1-5DD791F3CF07}"/>
              </a:ext>
            </a:extLst>
          </p:cNvPr>
          <p:cNvSpPr>
            <a:spLocks noGrp="1"/>
          </p:cNvSpPr>
          <p:nvPr>
            <p:ph type="pic" sz="quarter" idx="11"/>
          </p:nvPr>
        </p:nvSpPr>
        <p:spPr>
          <a:xfrm>
            <a:off x="4349023" y="1004754"/>
            <a:ext cx="3380601" cy="4848493"/>
          </a:xfrm>
          <a:prstGeom prst="roundRect">
            <a:avLst>
              <a:gd name="adj" fmla="val 8114"/>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468197080"/>
      </p:ext>
    </p:extLst>
  </p:cSld>
  <p:clrMapOvr>
    <a:masterClrMapping/>
  </p:clrMapOvr>
  <p:extLst>
    <p:ext uri="{DCECCB84-F9BA-43D5-87BE-67443E8EF086}">
      <p15:sldGuideLst xmlns:p15="http://schemas.microsoft.com/office/powerpoint/2012/main">
        <p15:guide id="1" orient="horz" pos="482">
          <p15:clr>
            <a:srgbClr val="FBAE40"/>
          </p15:clr>
        </p15:guide>
        <p15:guide id="2" pos="438">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About 02">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140D4C79-6CFD-486B-AF20-7F6D149A5269}"/>
              </a:ext>
            </a:extLst>
          </p:cNvPr>
          <p:cNvSpPr>
            <a:spLocks noGrp="1"/>
          </p:cNvSpPr>
          <p:nvPr>
            <p:ph type="pic" sz="quarter" idx="13"/>
          </p:nvPr>
        </p:nvSpPr>
        <p:spPr>
          <a:xfrm>
            <a:off x="0" y="0"/>
            <a:ext cx="12192000" cy="3981450"/>
          </a:xfrm>
          <a:prstGeom prst="rect">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534734874"/>
      </p:ext>
    </p:extLst>
  </p:cSld>
  <p:clrMapOvr>
    <a:masterClrMapping/>
  </p:clrMapOvr>
  <p:extLst>
    <p:ext uri="{DCECCB84-F9BA-43D5-87BE-67443E8EF086}">
      <p15:sldGuideLst xmlns:p15="http://schemas.microsoft.com/office/powerpoint/2012/main">
        <p15:guide id="1" orient="horz" pos="459">
          <p15:clr>
            <a:srgbClr val="FBAE40"/>
          </p15:clr>
        </p15:guide>
        <p15:guide id="2" pos="438">
          <p15:clr>
            <a:srgbClr val="FBAE40"/>
          </p15:clr>
        </p15:guide>
        <p15:guide id="3" orient="horz" pos="3861">
          <p15:clr>
            <a:srgbClr val="FBAE40"/>
          </p15:clr>
        </p15:guide>
        <p15:guide id="4" pos="7265">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About 03">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38137C0-B9C0-4B21-B882-96A853CAE4F7}"/>
              </a:ext>
            </a:extLst>
          </p:cNvPr>
          <p:cNvSpPr>
            <a:spLocks noGrp="1"/>
          </p:cNvSpPr>
          <p:nvPr>
            <p:ph type="pic" sz="quarter" idx="10"/>
          </p:nvPr>
        </p:nvSpPr>
        <p:spPr>
          <a:xfrm>
            <a:off x="1236662" y="0"/>
            <a:ext cx="5006975" cy="6858000"/>
          </a:xfrm>
          <a:prstGeom prst="rect">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84517546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Problem 01">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140D4C79-6CFD-486B-AF20-7F6D149A5269}"/>
              </a:ext>
            </a:extLst>
          </p:cNvPr>
          <p:cNvSpPr>
            <a:spLocks noGrp="1"/>
          </p:cNvSpPr>
          <p:nvPr>
            <p:ph type="pic" sz="quarter" idx="13"/>
          </p:nvPr>
        </p:nvSpPr>
        <p:spPr>
          <a:xfrm>
            <a:off x="3686174" y="765175"/>
            <a:ext cx="1628776" cy="5364163"/>
          </a:xfrm>
          <a:prstGeom prst="roundRect">
            <a:avLst>
              <a:gd name="adj" fmla="val 11989"/>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5" name="Picture Placeholder 2">
            <a:extLst>
              <a:ext uri="{FF2B5EF4-FFF2-40B4-BE49-F238E27FC236}">
                <a16:creationId xmlns:a16="http://schemas.microsoft.com/office/drawing/2014/main" id="{B36AEA63-6F3D-4C34-8FA4-EB829878BEE1}"/>
              </a:ext>
            </a:extLst>
          </p:cNvPr>
          <p:cNvSpPr>
            <a:spLocks noGrp="1"/>
          </p:cNvSpPr>
          <p:nvPr>
            <p:ph type="pic" sz="quarter" idx="15"/>
          </p:nvPr>
        </p:nvSpPr>
        <p:spPr>
          <a:xfrm>
            <a:off x="695323" y="765175"/>
            <a:ext cx="2638425" cy="5364163"/>
          </a:xfrm>
          <a:prstGeom prst="roundRect">
            <a:avLst>
              <a:gd name="adj" fmla="val 7281"/>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637109138"/>
      </p:ext>
    </p:extLst>
  </p:cSld>
  <p:clrMapOvr>
    <a:masterClrMapping/>
  </p:clrMapOvr>
  <p:extLst>
    <p:ext uri="{DCECCB84-F9BA-43D5-87BE-67443E8EF086}">
      <p15:sldGuideLst xmlns:p15="http://schemas.microsoft.com/office/powerpoint/2012/main">
        <p15:guide id="1" orient="horz" pos="459">
          <p15:clr>
            <a:srgbClr val="FBAE40"/>
          </p15:clr>
        </p15:guide>
        <p15:guide id="2" pos="438">
          <p15:clr>
            <a:srgbClr val="FBAE40"/>
          </p15:clr>
        </p15:guide>
        <p15:guide id="3" orient="horz" pos="3861">
          <p15:clr>
            <a:srgbClr val="FBAE40"/>
          </p15:clr>
        </p15:guide>
        <p15:guide id="4" pos="726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71DA7F-A0B4-4468-9C4D-5C651EB951C2}"/>
              </a:ext>
            </a:extLst>
          </p:cNvPr>
          <p:cNvSpPr>
            <a:spLocks noGrp="1"/>
          </p:cNvSpPr>
          <p:nvPr>
            <p:ph type="title"/>
          </p:nvPr>
        </p:nvSpPr>
        <p:spPr>
          <a:xfrm>
            <a:off x="839788" y="365126"/>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id="{914DCDA7-97D2-4A39-95B5-03767F31091B}"/>
              </a:ext>
            </a:extLst>
          </p:cNvPr>
          <p:cNvSpPr>
            <a:spLocks noGrp="1"/>
          </p:cNvSpPr>
          <p:nvPr>
            <p:ph type="body" idx="1"/>
          </p:nvPr>
        </p:nvSpPr>
        <p:spPr>
          <a:xfrm>
            <a:off x="839789" y="1681163"/>
            <a:ext cx="5157787" cy="823912"/>
          </a:xfrm>
        </p:spPr>
        <p:txBody>
          <a:bodyPr anchor="b"/>
          <a:lstStyle>
            <a:lvl1pPr marL="0" indent="0">
              <a:buNone/>
              <a:defRPr sz="2400" b="1"/>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49F4129-E396-4AA6-B35E-4B572329B397}"/>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id="{0318F135-5DB3-4751-97D9-E23F2F5594F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6C50820-A4BD-4052-9081-396EBE06968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id="{2D146BFB-D262-4332-90D0-61C51713495A}"/>
              </a:ext>
            </a:extLst>
          </p:cNvPr>
          <p:cNvSpPr>
            <a:spLocks noGrp="1"/>
          </p:cNvSpPr>
          <p:nvPr>
            <p:ph type="dt" sz="half" idx="10"/>
          </p:nvPr>
        </p:nvSpPr>
        <p:spPr/>
        <p:txBody>
          <a:bodyPr/>
          <a:lstStyle/>
          <a:p>
            <a:fld id="{C67F9B67-2119-4870-B423-950E2B02F070}" type="datetimeFigureOut">
              <a:rPr lang="en-ID" smtClean="0">
                <a:solidFill>
                  <a:prstClr val="black">
                    <a:tint val="75000"/>
                  </a:prstClr>
                </a:solidFill>
              </a:rPr>
              <a:pPr/>
              <a:t>12/12/2023</a:t>
            </a:fld>
            <a:endParaRPr lang="en-ID">
              <a:solidFill>
                <a:prstClr val="black">
                  <a:tint val="75000"/>
                </a:prstClr>
              </a:solidFill>
            </a:endParaRPr>
          </a:p>
        </p:txBody>
      </p:sp>
      <p:sp>
        <p:nvSpPr>
          <p:cNvPr id="8" name="Footer Placeholder 7">
            <a:extLst>
              <a:ext uri="{FF2B5EF4-FFF2-40B4-BE49-F238E27FC236}">
                <a16:creationId xmlns:a16="http://schemas.microsoft.com/office/drawing/2014/main" id="{62F37EAC-AE8B-4E51-8D54-96A405B5D47A}"/>
              </a:ext>
            </a:extLst>
          </p:cNvPr>
          <p:cNvSpPr>
            <a:spLocks noGrp="1"/>
          </p:cNvSpPr>
          <p:nvPr>
            <p:ph type="ftr" sz="quarter" idx="11"/>
          </p:nvPr>
        </p:nvSpPr>
        <p:spPr/>
        <p:txBody>
          <a:bodyPr/>
          <a:lstStyle/>
          <a:p>
            <a:endParaRPr lang="en-ID">
              <a:solidFill>
                <a:prstClr val="black">
                  <a:tint val="75000"/>
                </a:prstClr>
              </a:solidFill>
            </a:endParaRPr>
          </a:p>
        </p:txBody>
      </p:sp>
      <p:sp>
        <p:nvSpPr>
          <p:cNvPr id="9" name="Slide Number Placeholder 8">
            <a:extLst>
              <a:ext uri="{FF2B5EF4-FFF2-40B4-BE49-F238E27FC236}">
                <a16:creationId xmlns:a16="http://schemas.microsoft.com/office/drawing/2014/main" id="{9D3162F0-C272-4AF2-9794-2D89A83FBAF8}"/>
              </a:ext>
            </a:extLst>
          </p:cNvPr>
          <p:cNvSpPr>
            <a:spLocks noGrp="1"/>
          </p:cNvSpPr>
          <p:nvPr>
            <p:ph type="sldNum" sz="quarter" idx="12"/>
          </p:nvPr>
        </p:nvSpPr>
        <p:spPr/>
        <p:txBody>
          <a:bodyPr/>
          <a:lstStyle/>
          <a:p>
            <a:fld id="{5D8928EB-67EA-4DF5-8889-76A19408D29A}" type="slidenum">
              <a:rPr lang="en-ID" smtClean="0">
                <a:solidFill>
                  <a:prstClr val="black">
                    <a:tint val="75000"/>
                  </a:prstClr>
                </a:solidFill>
              </a:rPr>
              <a:pPr/>
              <a:t>‹#›</a:t>
            </a:fld>
            <a:endParaRPr lang="en-ID">
              <a:solidFill>
                <a:prstClr val="black">
                  <a:tint val="75000"/>
                </a:prstClr>
              </a:solidFill>
            </a:endParaRPr>
          </a:p>
        </p:txBody>
      </p:sp>
    </p:spTree>
    <p:extLst>
      <p:ext uri="{BB962C8B-B14F-4D97-AF65-F5344CB8AC3E}">
        <p14:creationId xmlns:p14="http://schemas.microsoft.com/office/powerpoint/2010/main" val="287843122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roblem 02">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B36AEA63-6F3D-4C34-8FA4-EB829878BEE1}"/>
              </a:ext>
            </a:extLst>
          </p:cNvPr>
          <p:cNvSpPr>
            <a:spLocks noGrp="1"/>
          </p:cNvSpPr>
          <p:nvPr>
            <p:ph type="pic" sz="quarter" idx="15"/>
          </p:nvPr>
        </p:nvSpPr>
        <p:spPr>
          <a:xfrm>
            <a:off x="771524" y="728663"/>
            <a:ext cx="3838576" cy="2700337"/>
          </a:xfrm>
          <a:prstGeom prst="roundRect">
            <a:avLst>
              <a:gd name="adj" fmla="val 6790"/>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6" name="Picture Placeholder 2">
            <a:extLst>
              <a:ext uri="{FF2B5EF4-FFF2-40B4-BE49-F238E27FC236}">
                <a16:creationId xmlns:a16="http://schemas.microsoft.com/office/drawing/2014/main" id="{56549C15-E4D2-4CE1-A7D6-F9DA56E2D242}"/>
              </a:ext>
            </a:extLst>
          </p:cNvPr>
          <p:cNvSpPr>
            <a:spLocks noGrp="1"/>
          </p:cNvSpPr>
          <p:nvPr>
            <p:ph type="pic" sz="quarter" idx="16"/>
          </p:nvPr>
        </p:nvSpPr>
        <p:spPr>
          <a:xfrm>
            <a:off x="4857752" y="728663"/>
            <a:ext cx="6675436" cy="2700337"/>
          </a:xfrm>
          <a:prstGeom prst="roundRect">
            <a:avLst>
              <a:gd name="adj" fmla="val 8201"/>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920227603"/>
      </p:ext>
    </p:extLst>
  </p:cSld>
  <p:clrMapOvr>
    <a:masterClrMapping/>
  </p:clrMapOvr>
  <p:extLst>
    <p:ext uri="{DCECCB84-F9BA-43D5-87BE-67443E8EF086}">
      <p15:sldGuideLst xmlns:p15="http://schemas.microsoft.com/office/powerpoint/2012/main">
        <p15:guide id="1" orient="horz" pos="459">
          <p15:clr>
            <a:srgbClr val="FBAE40"/>
          </p15:clr>
        </p15:guide>
        <p15:guide id="2" pos="438">
          <p15:clr>
            <a:srgbClr val="FBAE40"/>
          </p15:clr>
        </p15:guide>
        <p15:guide id="3" orient="horz" pos="3861">
          <p15:clr>
            <a:srgbClr val="FBAE40"/>
          </p15:clr>
        </p15:guide>
        <p15:guide id="4" pos="7265">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roblem 03">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1480D763-083D-C748-76AB-562E445E35C6}"/>
              </a:ext>
            </a:extLst>
          </p:cNvPr>
          <p:cNvSpPr>
            <a:spLocks noGrp="1"/>
          </p:cNvSpPr>
          <p:nvPr>
            <p:ph type="pic" sz="quarter" idx="11"/>
          </p:nvPr>
        </p:nvSpPr>
        <p:spPr>
          <a:xfrm>
            <a:off x="4591957" y="2278743"/>
            <a:ext cx="3008086" cy="2300514"/>
          </a:xfrm>
          <a:prstGeom prst="roundRect">
            <a:avLst>
              <a:gd name="adj" fmla="val 8465"/>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9" name="Picture Placeholder 2">
            <a:extLst>
              <a:ext uri="{FF2B5EF4-FFF2-40B4-BE49-F238E27FC236}">
                <a16:creationId xmlns:a16="http://schemas.microsoft.com/office/drawing/2014/main" id="{ED3FE090-360E-A201-40CB-06F244EFB8D1}"/>
              </a:ext>
            </a:extLst>
          </p:cNvPr>
          <p:cNvSpPr>
            <a:spLocks noGrp="1"/>
          </p:cNvSpPr>
          <p:nvPr>
            <p:ph type="pic" sz="quarter" idx="12"/>
          </p:nvPr>
        </p:nvSpPr>
        <p:spPr>
          <a:xfrm>
            <a:off x="8525102" y="2278743"/>
            <a:ext cx="3008086" cy="2300514"/>
          </a:xfrm>
          <a:prstGeom prst="roundRect">
            <a:avLst>
              <a:gd name="adj" fmla="val 8465"/>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3" name="Picture Placeholder 2">
            <a:extLst>
              <a:ext uri="{FF2B5EF4-FFF2-40B4-BE49-F238E27FC236}">
                <a16:creationId xmlns:a16="http://schemas.microsoft.com/office/drawing/2014/main" id="{638137C0-B9C0-4B21-B882-96A853CAE4F7}"/>
              </a:ext>
            </a:extLst>
          </p:cNvPr>
          <p:cNvSpPr>
            <a:spLocks noGrp="1"/>
          </p:cNvSpPr>
          <p:nvPr>
            <p:ph type="pic" sz="quarter" idx="10"/>
          </p:nvPr>
        </p:nvSpPr>
        <p:spPr>
          <a:xfrm>
            <a:off x="731838" y="2278743"/>
            <a:ext cx="3008086" cy="2300514"/>
          </a:xfrm>
          <a:prstGeom prst="roundRect">
            <a:avLst>
              <a:gd name="adj" fmla="val 8465"/>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56245216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Analysis 0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9431A546-2D13-EC82-D139-0BC261DB52BD}"/>
              </a:ext>
            </a:extLst>
          </p:cNvPr>
          <p:cNvSpPr>
            <a:spLocks noGrp="1"/>
          </p:cNvSpPr>
          <p:nvPr>
            <p:ph type="pic" sz="quarter" idx="13"/>
          </p:nvPr>
        </p:nvSpPr>
        <p:spPr>
          <a:xfrm>
            <a:off x="6270446" y="2528302"/>
            <a:ext cx="2216012" cy="2155988"/>
          </a:xfrm>
          <a:prstGeom prst="roundRect">
            <a:avLst>
              <a:gd name="adj" fmla="val 0"/>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9" name="Picture Placeholder 2">
            <a:extLst>
              <a:ext uri="{FF2B5EF4-FFF2-40B4-BE49-F238E27FC236}">
                <a16:creationId xmlns:a16="http://schemas.microsoft.com/office/drawing/2014/main" id="{65F73412-96A7-C2BC-778B-A8715516CDA9}"/>
              </a:ext>
            </a:extLst>
          </p:cNvPr>
          <p:cNvSpPr>
            <a:spLocks noGrp="1"/>
          </p:cNvSpPr>
          <p:nvPr>
            <p:ph type="pic" sz="quarter" idx="14"/>
          </p:nvPr>
        </p:nvSpPr>
        <p:spPr>
          <a:xfrm>
            <a:off x="3666557" y="2528302"/>
            <a:ext cx="2216012" cy="2155988"/>
          </a:xfrm>
          <a:prstGeom prst="roundRect">
            <a:avLst>
              <a:gd name="adj" fmla="val 0"/>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11" name="Picture Placeholder 2">
            <a:extLst>
              <a:ext uri="{FF2B5EF4-FFF2-40B4-BE49-F238E27FC236}">
                <a16:creationId xmlns:a16="http://schemas.microsoft.com/office/drawing/2014/main" id="{09257185-F78E-05E3-8838-82C8014A5637}"/>
              </a:ext>
            </a:extLst>
          </p:cNvPr>
          <p:cNvSpPr>
            <a:spLocks noGrp="1"/>
          </p:cNvSpPr>
          <p:nvPr>
            <p:ph type="pic" sz="quarter" idx="15"/>
          </p:nvPr>
        </p:nvSpPr>
        <p:spPr>
          <a:xfrm>
            <a:off x="1028839" y="2528302"/>
            <a:ext cx="2216012" cy="2155988"/>
          </a:xfrm>
          <a:prstGeom prst="roundRect">
            <a:avLst>
              <a:gd name="adj" fmla="val 0"/>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12" name="Picture Placeholder 2">
            <a:extLst>
              <a:ext uri="{FF2B5EF4-FFF2-40B4-BE49-F238E27FC236}">
                <a16:creationId xmlns:a16="http://schemas.microsoft.com/office/drawing/2014/main" id="{04007A95-D992-73BD-E7FC-11C648257DB2}"/>
              </a:ext>
            </a:extLst>
          </p:cNvPr>
          <p:cNvSpPr>
            <a:spLocks noGrp="1"/>
          </p:cNvSpPr>
          <p:nvPr>
            <p:ph type="pic" sz="quarter" idx="16"/>
          </p:nvPr>
        </p:nvSpPr>
        <p:spPr>
          <a:xfrm>
            <a:off x="9109379" y="2528302"/>
            <a:ext cx="2216012" cy="2155988"/>
          </a:xfrm>
          <a:prstGeom prst="roundRect">
            <a:avLst>
              <a:gd name="adj" fmla="val 0"/>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863693313"/>
      </p:ext>
    </p:extLst>
  </p:cSld>
  <p:clrMapOvr>
    <a:masterClrMapping/>
  </p:clrMapOvr>
  <p:extLst>
    <p:ext uri="{DCECCB84-F9BA-43D5-87BE-67443E8EF086}">
      <p15:sldGuideLst xmlns:p15="http://schemas.microsoft.com/office/powerpoint/2012/main">
        <p15:guide id="2" pos="7242">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Analysis 0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38137C0-B9C0-4B21-B882-96A853CAE4F7}"/>
              </a:ext>
            </a:extLst>
          </p:cNvPr>
          <p:cNvSpPr>
            <a:spLocks noGrp="1"/>
          </p:cNvSpPr>
          <p:nvPr>
            <p:ph type="pic" sz="quarter" idx="10"/>
          </p:nvPr>
        </p:nvSpPr>
        <p:spPr>
          <a:xfrm>
            <a:off x="6581775" y="0"/>
            <a:ext cx="4402138" cy="6858000"/>
          </a:xfrm>
          <a:prstGeom prst="rect">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23927581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olution 01">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BE1E6D8F-8CD7-4428-AEE2-996FB48FD857}"/>
              </a:ext>
            </a:extLst>
          </p:cNvPr>
          <p:cNvSpPr>
            <a:spLocks noGrp="1"/>
          </p:cNvSpPr>
          <p:nvPr>
            <p:ph type="pic" sz="quarter" idx="12"/>
          </p:nvPr>
        </p:nvSpPr>
        <p:spPr>
          <a:xfrm>
            <a:off x="0" y="0"/>
            <a:ext cx="12192000" cy="3997325"/>
          </a:xfrm>
          <a:prstGeom prst="roundRect">
            <a:avLst>
              <a:gd name="adj" fmla="val 0"/>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6391434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olution 02">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45F88831-3600-733D-86B5-9A979297A73E}"/>
              </a:ext>
            </a:extLst>
          </p:cNvPr>
          <p:cNvSpPr>
            <a:spLocks noGrp="1"/>
          </p:cNvSpPr>
          <p:nvPr>
            <p:ph type="pic" sz="quarter" idx="13"/>
          </p:nvPr>
        </p:nvSpPr>
        <p:spPr>
          <a:xfrm>
            <a:off x="6607278" y="0"/>
            <a:ext cx="5584722" cy="6858000"/>
          </a:xfrm>
          <a:prstGeom prst="roundRect">
            <a:avLst>
              <a:gd name="adj" fmla="val 0"/>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19" name="Rectangle 18">
            <a:extLst>
              <a:ext uri="{FF2B5EF4-FFF2-40B4-BE49-F238E27FC236}">
                <a16:creationId xmlns:a16="http://schemas.microsoft.com/office/drawing/2014/main" id="{7FFF599B-25DF-6DB0-62DE-CB1515A993C0}"/>
              </a:ext>
            </a:extLst>
          </p:cNvPr>
          <p:cNvSpPr/>
          <p:nvPr userDrawn="1"/>
        </p:nvSpPr>
        <p:spPr>
          <a:xfrm>
            <a:off x="0" y="0"/>
            <a:ext cx="6607278" cy="6858000"/>
          </a:xfrm>
          <a:prstGeom prst="rect">
            <a:avLst/>
          </a:prstGeom>
          <a:solidFill>
            <a:srgbClr val="024D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48600857"/>
      </p:ext>
    </p:extLst>
  </p:cSld>
  <p:clrMapOvr>
    <a:masterClrMapping/>
  </p:clrMapOvr>
  <p:extLst>
    <p:ext uri="{DCECCB84-F9BA-43D5-87BE-67443E8EF086}">
      <p15:sldGuideLst xmlns:p15="http://schemas.microsoft.com/office/powerpoint/2012/main">
        <p15:guide id="2" pos="7242">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Mockup 01">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595C6F78-695D-4A82-87F4-4749C4456742}"/>
              </a:ext>
            </a:extLst>
          </p:cNvPr>
          <p:cNvSpPr>
            <a:spLocks noGrp="1"/>
          </p:cNvSpPr>
          <p:nvPr>
            <p:ph type="pic" sz="quarter" idx="15"/>
          </p:nvPr>
        </p:nvSpPr>
        <p:spPr>
          <a:xfrm rot="1800000">
            <a:off x="9835308" y="-712419"/>
            <a:ext cx="1826495" cy="3867063"/>
          </a:xfrm>
          <a:prstGeom prst="round2SameRect">
            <a:avLst>
              <a:gd name="adj1" fmla="val 10030"/>
              <a:gd name="adj2" fmla="val 12023"/>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7" name="Picture Placeholder 2">
            <a:extLst>
              <a:ext uri="{FF2B5EF4-FFF2-40B4-BE49-F238E27FC236}">
                <a16:creationId xmlns:a16="http://schemas.microsoft.com/office/drawing/2014/main" id="{D9BB656D-6BB2-AFF7-00CB-A339043E6E3A}"/>
              </a:ext>
            </a:extLst>
          </p:cNvPr>
          <p:cNvSpPr>
            <a:spLocks noGrp="1"/>
          </p:cNvSpPr>
          <p:nvPr>
            <p:ph type="pic" sz="quarter" idx="16"/>
          </p:nvPr>
        </p:nvSpPr>
        <p:spPr>
          <a:xfrm rot="1800000">
            <a:off x="11133166" y="1567820"/>
            <a:ext cx="1826495" cy="3867063"/>
          </a:xfrm>
          <a:prstGeom prst="round2SameRect">
            <a:avLst>
              <a:gd name="adj1" fmla="val 10030"/>
              <a:gd name="adj2" fmla="val 12023"/>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9" name="Picture Placeholder 2">
            <a:extLst>
              <a:ext uri="{FF2B5EF4-FFF2-40B4-BE49-F238E27FC236}">
                <a16:creationId xmlns:a16="http://schemas.microsoft.com/office/drawing/2014/main" id="{0CE0E10E-0823-4FB8-826F-599FF854CA6E}"/>
              </a:ext>
            </a:extLst>
          </p:cNvPr>
          <p:cNvSpPr>
            <a:spLocks noGrp="1"/>
          </p:cNvSpPr>
          <p:nvPr>
            <p:ph type="pic" sz="quarter" idx="17"/>
          </p:nvPr>
        </p:nvSpPr>
        <p:spPr>
          <a:xfrm rot="1800000">
            <a:off x="7673885" y="2991041"/>
            <a:ext cx="1826495" cy="3867063"/>
          </a:xfrm>
          <a:prstGeom prst="round2SameRect">
            <a:avLst>
              <a:gd name="adj1" fmla="val 10030"/>
              <a:gd name="adj2" fmla="val 12023"/>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14" name="Picture Placeholder 2">
            <a:extLst>
              <a:ext uri="{FF2B5EF4-FFF2-40B4-BE49-F238E27FC236}">
                <a16:creationId xmlns:a16="http://schemas.microsoft.com/office/drawing/2014/main" id="{A5A5DB07-D86D-8B34-E651-F118D48B4E28}"/>
              </a:ext>
            </a:extLst>
          </p:cNvPr>
          <p:cNvSpPr>
            <a:spLocks noGrp="1"/>
          </p:cNvSpPr>
          <p:nvPr>
            <p:ph type="pic" sz="quarter" idx="18"/>
          </p:nvPr>
        </p:nvSpPr>
        <p:spPr>
          <a:xfrm rot="1800000">
            <a:off x="7209760" y="-674030"/>
            <a:ext cx="1826495" cy="3867063"/>
          </a:xfrm>
          <a:prstGeom prst="round2SameRect">
            <a:avLst>
              <a:gd name="adj1" fmla="val 10030"/>
              <a:gd name="adj2" fmla="val 12023"/>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16" name="Picture Placeholder 2">
            <a:extLst>
              <a:ext uri="{FF2B5EF4-FFF2-40B4-BE49-F238E27FC236}">
                <a16:creationId xmlns:a16="http://schemas.microsoft.com/office/drawing/2014/main" id="{E11AB2B7-8AFB-046F-7E5C-A56F9E45E770}"/>
              </a:ext>
            </a:extLst>
          </p:cNvPr>
          <p:cNvSpPr>
            <a:spLocks noGrp="1"/>
          </p:cNvSpPr>
          <p:nvPr>
            <p:ph type="pic" sz="quarter" idx="19"/>
          </p:nvPr>
        </p:nvSpPr>
        <p:spPr>
          <a:xfrm rot="1800000">
            <a:off x="8963102" y="5271281"/>
            <a:ext cx="1826495" cy="3867063"/>
          </a:xfrm>
          <a:prstGeom prst="round2SameRect">
            <a:avLst>
              <a:gd name="adj1" fmla="val 10030"/>
              <a:gd name="adj2" fmla="val 12023"/>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58190837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Mockup 02">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FF72231A-693F-4F96-9121-F2365B9745D6}"/>
              </a:ext>
            </a:extLst>
          </p:cNvPr>
          <p:cNvSpPr>
            <a:spLocks noGrp="1"/>
          </p:cNvSpPr>
          <p:nvPr>
            <p:ph type="pic" sz="quarter" idx="12"/>
          </p:nvPr>
        </p:nvSpPr>
        <p:spPr>
          <a:xfrm>
            <a:off x="0" y="1104900"/>
            <a:ext cx="5238750" cy="4248150"/>
          </a:xfrm>
          <a:prstGeom prst="rect">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4" name="Picture Placeholder 2">
            <a:extLst>
              <a:ext uri="{FF2B5EF4-FFF2-40B4-BE49-F238E27FC236}">
                <a16:creationId xmlns:a16="http://schemas.microsoft.com/office/drawing/2014/main" id="{FD5A0462-1F76-BF48-436E-D09FA2922E67}"/>
              </a:ext>
            </a:extLst>
          </p:cNvPr>
          <p:cNvSpPr>
            <a:spLocks noGrp="1"/>
          </p:cNvSpPr>
          <p:nvPr>
            <p:ph type="pic" sz="quarter" idx="13"/>
          </p:nvPr>
        </p:nvSpPr>
        <p:spPr>
          <a:xfrm>
            <a:off x="7410450" y="0"/>
            <a:ext cx="4781550" cy="6858000"/>
          </a:xfrm>
          <a:prstGeom prst="rect">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06766415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Mockup 03">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FF72231A-693F-4F96-9121-F2365B9745D6}"/>
              </a:ext>
            </a:extLst>
          </p:cNvPr>
          <p:cNvSpPr>
            <a:spLocks noGrp="1"/>
          </p:cNvSpPr>
          <p:nvPr>
            <p:ph type="pic" sz="quarter" idx="12"/>
          </p:nvPr>
        </p:nvSpPr>
        <p:spPr>
          <a:xfrm>
            <a:off x="6120428" y="845457"/>
            <a:ext cx="5266691" cy="3058886"/>
          </a:xfrm>
          <a:prstGeom prst="rect">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012980178"/>
      </p:ext>
    </p:extLst>
  </p:cSld>
  <p:clrMapOvr>
    <a:masterClrMapping/>
  </p:clrMapOvr>
  <p:extLst>
    <p:ext uri="{DCECCB84-F9BA-43D5-87BE-67443E8EF086}">
      <p15:sldGuideLst xmlns:p15="http://schemas.microsoft.com/office/powerpoint/2012/main">
        <p15:guide id="1" orient="horz" pos="459">
          <p15:clr>
            <a:srgbClr val="FBAE40"/>
          </p15:clr>
        </p15:guide>
        <p15:guide id="2" pos="438">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hart 01">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7B639079-A8A4-4A4E-9614-F4097EC15067}"/>
              </a:ext>
            </a:extLst>
          </p:cNvPr>
          <p:cNvSpPr>
            <a:spLocks noGrp="1"/>
          </p:cNvSpPr>
          <p:nvPr>
            <p:ph type="pic" sz="quarter" idx="10" hasCustomPrompt="1"/>
          </p:nvPr>
        </p:nvSpPr>
        <p:spPr>
          <a:xfrm>
            <a:off x="8553450" y="0"/>
            <a:ext cx="3638550" cy="6858000"/>
          </a:xfrm>
          <a:prstGeom prst="rect">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r>
              <a:rPr lang="id-ID">
                <a:latin typeface="Arial" panose="020B0604020202020204" pitchFamily="34" charset="0"/>
                <a:cs typeface="Arial" panose="020B0604020202020204" pitchFamily="34" charset="0"/>
              </a:rPr>
              <a:t>Picture</a:t>
            </a:r>
          </a:p>
          <a:p>
            <a:endParaRPr lang="en-US"/>
          </a:p>
        </p:txBody>
      </p:sp>
    </p:spTree>
    <p:extLst>
      <p:ext uri="{BB962C8B-B14F-4D97-AF65-F5344CB8AC3E}">
        <p14:creationId xmlns:p14="http://schemas.microsoft.com/office/powerpoint/2010/main" val="495381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16C53D-C22C-4E6A-A5C9-340B03CC184A}"/>
              </a:ext>
            </a:extLst>
          </p:cNvPr>
          <p:cNvSpPr>
            <a:spLocks noGrp="1"/>
          </p:cNvSpPr>
          <p:nvPr>
            <p:ph type="title"/>
          </p:nvPr>
        </p:nvSpPr>
        <p:spPr/>
        <p:txBody>
          <a:bodyPr/>
          <a:lstStyle/>
          <a:p>
            <a:r>
              <a:rPr lang="en-US"/>
              <a:t>Click to edit Master title style</a:t>
            </a:r>
            <a:endParaRPr lang="en-ID"/>
          </a:p>
        </p:txBody>
      </p:sp>
      <p:sp>
        <p:nvSpPr>
          <p:cNvPr id="3" name="Date Placeholder 2">
            <a:extLst>
              <a:ext uri="{FF2B5EF4-FFF2-40B4-BE49-F238E27FC236}">
                <a16:creationId xmlns:a16="http://schemas.microsoft.com/office/drawing/2014/main" id="{530014A7-ADEF-4004-A44B-35511397FC14}"/>
              </a:ext>
            </a:extLst>
          </p:cNvPr>
          <p:cNvSpPr>
            <a:spLocks noGrp="1"/>
          </p:cNvSpPr>
          <p:nvPr>
            <p:ph type="dt" sz="half" idx="10"/>
          </p:nvPr>
        </p:nvSpPr>
        <p:spPr/>
        <p:txBody>
          <a:bodyPr/>
          <a:lstStyle/>
          <a:p>
            <a:fld id="{C67F9B67-2119-4870-B423-950E2B02F070}" type="datetimeFigureOut">
              <a:rPr lang="en-ID" smtClean="0">
                <a:solidFill>
                  <a:prstClr val="black">
                    <a:tint val="75000"/>
                  </a:prstClr>
                </a:solidFill>
              </a:rPr>
              <a:pPr/>
              <a:t>12/12/2023</a:t>
            </a:fld>
            <a:endParaRPr lang="en-ID">
              <a:solidFill>
                <a:prstClr val="black">
                  <a:tint val="75000"/>
                </a:prstClr>
              </a:solidFill>
            </a:endParaRPr>
          </a:p>
        </p:txBody>
      </p:sp>
      <p:sp>
        <p:nvSpPr>
          <p:cNvPr id="4" name="Footer Placeholder 3">
            <a:extLst>
              <a:ext uri="{FF2B5EF4-FFF2-40B4-BE49-F238E27FC236}">
                <a16:creationId xmlns:a16="http://schemas.microsoft.com/office/drawing/2014/main" id="{80B7397D-95B4-424B-8915-39A6FCE82690}"/>
              </a:ext>
            </a:extLst>
          </p:cNvPr>
          <p:cNvSpPr>
            <a:spLocks noGrp="1"/>
          </p:cNvSpPr>
          <p:nvPr>
            <p:ph type="ftr" sz="quarter" idx="11"/>
          </p:nvPr>
        </p:nvSpPr>
        <p:spPr/>
        <p:txBody>
          <a:bodyPr/>
          <a:lstStyle/>
          <a:p>
            <a:endParaRPr lang="en-ID">
              <a:solidFill>
                <a:prstClr val="black">
                  <a:tint val="75000"/>
                </a:prstClr>
              </a:solidFill>
            </a:endParaRPr>
          </a:p>
        </p:txBody>
      </p:sp>
      <p:sp>
        <p:nvSpPr>
          <p:cNvPr id="5" name="Slide Number Placeholder 4">
            <a:extLst>
              <a:ext uri="{FF2B5EF4-FFF2-40B4-BE49-F238E27FC236}">
                <a16:creationId xmlns:a16="http://schemas.microsoft.com/office/drawing/2014/main" id="{5B83CDE0-ED52-4917-8E6D-12CFDB3F5B56}"/>
              </a:ext>
            </a:extLst>
          </p:cNvPr>
          <p:cNvSpPr>
            <a:spLocks noGrp="1"/>
          </p:cNvSpPr>
          <p:nvPr>
            <p:ph type="sldNum" sz="quarter" idx="12"/>
          </p:nvPr>
        </p:nvSpPr>
        <p:spPr/>
        <p:txBody>
          <a:bodyPr/>
          <a:lstStyle/>
          <a:p>
            <a:fld id="{5D8928EB-67EA-4DF5-8889-76A19408D29A}" type="slidenum">
              <a:rPr lang="en-ID" smtClean="0">
                <a:solidFill>
                  <a:prstClr val="black">
                    <a:tint val="75000"/>
                  </a:prstClr>
                </a:solidFill>
              </a:rPr>
              <a:pPr/>
              <a:t>‹#›</a:t>
            </a:fld>
            <a:endParaRPr lang="en-ID">
              <a:solidFill>
                <a:prstClr val="black">
                  <a:tint val="75000"/>
                </a:prstClr>
              </a:solidFill>
            </a:endParaRPr>
          </a:p>
        </p:txBody>
      </p:sp>
    </p:spTree>
    <p:extLst>
      <p:ext uri="{BB962C8B-B14F-4D97-AF65-F5344CB8AC3E}">
        <p14:creationId xmlns:p14="http://schemas.microsoft.com/office/powerpoint/2010/main" val="371893230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hart 02">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7B639079-A8A4-4A4E-9614-F4097EC15067}"/>
              </a:ext>
            </a:extLst>
          </p:cNvPr>
          <p:cNvSpPr>
            <a:spLocks noGrp="1"/>
          </p:cNvSpPr>
          <p:nvPr>
            <p:ph type="pic" sz="quarter" idx="10" hasCustomPrompt="1"/>
          </p:nvPr>
        </p:nvSpPr>
        <p:spPr>
          <a:xfrm>
            <a:off x="6096000" y="0"/>
            <a:ext cx="6096000" cy="6858000"/>
          </a:xfrm>
          <a:prstGeom prst="rect">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r>
              <a:rPr lang="id-ID">
                <a:latin typeface="Arial" panose="020B0604020202020204" pitchFamily="34" charset="0"/>
                <a:cs typeface="Arial" panose="020B0604020202020204" pitchFamily="34" charset="0"/>
              </a:rPr>
              <a:t>Picture</a:t>
            </a:r>
          </a:p>
          <a:p>
            <a:endParaRPr lang="en-US"/>
          </a:p>
        </p:txBody>
      </p:sp>
    </p:spTree>
    <p:extLst>
      <p:ext uri="{BB962C8B-B14F-4D97-AF65-F5344CB8AC3E}">
        <p14:creationId xmlns:p14="http://schemas.microsoft.com/office/powerpoint/2010/main" val="262232535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Picture Placeholder 2">
            <a:extLst>
              <a:ext uri="{FF2B5EF4-FFF2-40B4-BE49-F238E27FC236}">
                <a16:creationId xmlns:a16="http://schemas.microsoft.com/office/drawing/2014/main" id="{7B639079-A8A4-4A4E-9614-F4097EC15067}"/>
              </a:ext>
            </a:extLst>
          </p:cNvPr>
          <p:cNvSpPr>
            <a:spLocks noGrp="1"/>
          </p:cNvSpPr>
          <p:nvPr>
            <p:ph type="pic" sz="quarter" idx="10" hasCustomPrompt="1"/>
          </p:nvPr>
        </p:nvSpPr>
        <p:spPr>
          <a:xfrm>
            <a:off x="0" y="0"/>
            <a:ext cx="12192000" cy="4793673"/>
          </a:xfrm>
          <a:prstGeom prst="rect">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r>
              <a:rPr lang="id-ID">
                <a:latin typeface="Arial" panose="020B0604020202020204" pitchFamily="34" charset="0"/>
                <a:cs typeface="Arial" panose="020B0604020202020204" pitchFamily="34" charset="0"/>
              </a:rPr>
              <a:t>Picture</a:t>
            </a:r>
          </a:p>
          <a:p>
            <a:endParaRPr lang="en-US"/>
          </a:p>
        </p:txBody>
      </p:sp>
      <p:sp>
        <p:nvSpPr>
          <p:cNvPr id="3" name="Rectangle 2">
            <a:extLst>
              <a:ext uri="{FF2B5EF4-FFF2-40B4-BE49-F238E27FC236}">
                <a16:creationId xmlns:a16="http://schemas.microsoft.com/office/drawing/2014/main" id="{6454B2C0-6E8F-41F7-88DB-AB026A382D39}"/>
              </a:ext>
            </a:extLst>
          </p:cNvPr>
          <p:cNvSpPr/>
          <p:nvPr userDrawn="1"/>
        </p:nvSpPr>
        <p:spPr>
          <a:xfrm>
            <a:off x="0" y="4793672"/>
            <a:ext cx="12192000" cy="20643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7287163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Pricing 0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38137C0-B9C0-4B21-B882-96A853CAE4F7}"/>
              </a:ext>
            </a:extLst>
          </p:cNvPr>
          <p:cNvSpPr>
            <a:spLocks noGrp="1"/>
          </p:cNvSpPr>
          <p:nvPr>
            <p:ph type="pic" sz="quarter" idx="10"/>
          </p:nvPr>
        </p:nvSpPr>
        <p:spPr>
          <a:xfrm>
            <a:off x="0" y="0"/>
            <a:ext cx="4873288" cy="6858000"/>
          </a:xfrm>
          <a:prstGeom prst="roundRect">
            <a:avLst>
              <a:gd name="adj" fmla="val 0"/>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8" name="Picture Placeholder 2">
            <a:extLst>
              <a:ext uri="{FF2B5EF4-FFF2-40B4-BE49-F238E27FC236}">
                <a16:creationId xmlns:a16="http://schemas.microsoft.com/office/drawing/2014/main" id="{1480D763-083D-C748-76AB-562E445E35C6}"/>
              </a:ext>
            </a:extLst>
          </p:cNvPr>
          <p:cNvSpPr>
            <a:spLocks noGrp="1"/>
          </p:cNvSpPr>
          <p:nvPr>
            <p:ph type="pic" sz="quarter" idx="11"/>
          </p:nvPr>
        </p:nvSpPr>
        <p:spPr>
          <a:xfrm>
            <a:off x="5347116" y="2638269"/>
            <a:ext cx="2033148" cy="2690495"/>
          </a:xfrm>
          <a:prstGeom prst="roundRect">
            <a:avLst>
              <a:gd name="adj" fmla="val 8465"/>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12" name="Picture Placeholder 2">
            <a:extLst>
              <a:ext uri="{FF2B5EF4-FFF2-40B4-BE49-F238E27FC236}">
                <a16:creationId xmlns:a16="http://schemas.microsoft.com/office/drawing/2014/main" id="{5D34ABD2-3FDC-4CAC-7A1B-27A66EDB3584}"/>
              </a:ext>
            </a:extLst>
          </p:cNvPr>
          <p:cNvSpPr>
            <a:spLocks noGrp="1"/>
          </p:cNvSpPr>
          <p:nvPr>
            <p:ph type="pic" sz="quarter" idx="16"/>
          </p:nvPr>
        </p:nvSpPr>
        <p:spPr>
          <a:xfrm>
            <a:off x="10333738" y="2638269"/>
            <a:ext cx="2033148" cy="2690495"/>
          </a:xfrm>
          <a:prstGeom prst="roundRect">
            <a:avLst>
              <a:gd name="adj" fmla="val 8465"/>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13" name="Picture Placeholder 2">
            <a:extLst>
              <a:ext uri="{FF2B5EF4-FFF2-40B4-BE49-F238E27FC236}">
                <a16:creationId xmlns:a16="http://schemas.microsoft.com/office/drawing/2014/main" id="{CF8FC029-CA6E-E7BA-858A-77A565CCB7E2}"/>
              </a:ext>
            </a:extLst>
          </p:cNvPr>
          <p:cNvSpPr>
            <a:spLocks noGrp="1"/>
          </p:cNvSpPr>
          <p:nvPr>
            <p:ph type="pic" sz="quarter" idx="17"/>
          </p:nvPr>
        </p:nvSpPr>
        <p:spPr>
          <a:xfrm>
            <a:off x="7840427" y="2638269"/>
            <a:ext cx="2033148" cy="2690495"/>
          </a:xfrm>
          <a:prstGeom prst="roundRect">
            <a:avLst>
              <a:gd name="adj" fmla="val 8465"/>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416123771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Pricing 0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38137C0-B9C0-4B21-B882-96A853CAE4F7}"/>
              </a:ext>
            </a:extLst>
          </p:cNvPr>
          <p:cNvSpPr>
            <a:spLocks noGrp="1"/>
          </p:cNvSpPr>
          <p:nvPr>
            <p:ph type="pic" sz="quarter" idx="10"/>
          </p:nvPr>
        </p:nvSpPr>
        <p:spPr>
          <a:xfrm>
            <a:off x="0" y="0"/>
            <a:ext cx="12192000" cy="4704735"/>
          </a:xfrm>
          <a:prstGeom prst="roundRect">
            <a:avLst>
              <a:gd name="adj" fmla="val 0"/>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9406326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Ending Slide 2">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FF72231A-693F-4F96-9121-F2365B9745D6}"/>
              </a:ext>
            </a:extLst>
          </p:cNvPr>
          <p:cNvSpPr>
            <a:spLocks noGrp="1"/>
          </p:cNvSpPr>
          <p:nvPr>
            <p:ph type="pic" sz="quarter" idx="12"/>
          </p:nvPr>
        </p:nvSpPr>
        <p:spPr>
          <a:xfrm>
            <a:off x="3829050" y="7938"/>
            <a:ext cx="8362950" cy="6858000"/>
          </a:xfrm>
          <a:prstGeom prst="rect">
            <a:avLst/>
          </a:prstGeom>
          <a:pattFill prst="smConfetti">
            <a:fgClr>
              <a:schemeClr val="accent6">
                <a:lumMod val="75000"/>
              </a:schemeClr>
            </a:fgClr>
            <a:bgClr>
              <a:schemeClr val="bg1"/>
            </a:bgClr>
          </a:pattFill>
        </p:spPr>
        <p:txBody>
          <a:bodyPr/>
          <a:lstStyle>
            <a:lvl1pPr>
              <a:defRPr sz="1200">
                <a:latin typeface="Arial" panose="020B0604020202020204" pitchFamily="34" charset="0"/>
                <a:cs typeface="Arial" panose="020B0604020202020204" pitchFamily="34" charset="0"/>
              </a:defRPr>
            </a:lvl1pPr>
          </a:lstStyle>
          <a:p>
            <a:endParaRPr lang="en-US"/>
          </a:p>
        </p:txBody>
      </p:sp>
      <p:sp>
        <p:nvSpPr>
          <p:cNvPr id="9" name="Picture Placeholder 8">
            <a:extLst>
              <a:ext uri="{FF2B5EF4-FFF2-40B4-BE49-F238E27FC236}">
                <a16:creationId xmlns:a16="http://schemas.microsoft.com/office/drawing/2014/main" id="{AE38DE84-A9BE-3E9A-C3C3-35AFFF8F8C0D}"/>
              </a:ext>
            </a:extLst>
          </p:cNvPr>
          <p:cNvSpPr>
            <a:spLocks noGrp="1"/>
          </p:cNvSpPr>
          <p:nvPr>
            <p:ph type="pic" sz="quarter" idx="15"/>
          </p:nvPr>
        </p:nvSpPr>
        <p:spPr>
          <a:xfrm>
            <a:off x="6096000" y="7938"/>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3048000 w 6096000"/>
              <a:gd name="connsiteY3" fmla="*/ 6858000 h 6858000"/>
              <a:gd name="connsiteX4" fmla="*/ 0 w 6096000"/>
              <a:gd name="connsiteY4" fmla="*/ 3810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3048000" y="6858000"/>
                </a:lnTo>
                <a:cubicBezTo>
                  <a:pt x="1364636" y="6858000"/>
                  <a:pt x="0" y="5493364"/>
                  <a:pt x="0" y="3810000"/>
                </a:cubicBezTo>
                <a:close/>
              </a:path>
            </a:pathLst>
          </a:custGeom>
          <a:pattFill prst="pct20">
            <a:fgClr>
              <a:schemeClr val="accent6">
                <a:lumMod val="75000"/>
              </a:schemeClr>
            </a:fgClr>
            <a:bgClr>
              <a:schemeClr val="bg1"/>
            </a:bgClr>
          </a:pattFill>
        </p:spPr>
        <p:txBody>
          <a:bodyPr wrap="square">
            <a:noAutofit/>
          </a:bodyPr>
          <a:lstStyle/>
          <a:p>
            <a:endParaRPr lang="en-US"/>
          </a:p>
        </p:txBody>
      </p:sp>
    </p:spTree>
    <p:extLst>
      <p:ext uri="{BB962C8B-B14F-4D97-AF65-F5344CB8AC3E}">
        <p14:creationId xmlns:p14="http://schemas.microsoft.com/office/powerpoint/2010/main" val="3109874018"/>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E27A143-173D-4E1B-9A8D-F170721DFEF4}"/>
              </a:ext>
            </a:extLst>
          </p:cNvPr>
          <p:cNvSpPr>
            <a:spLocks noGrp="1"/>
          </p:cNvSpPr>
          <p:nvPr>
            <p:ph type="pic" sz="quarter" idx="10"/>
          </p:nvPr>
        </p:nvSpPr>
        <p:spPr>
          <a:xfrm>
            <a:off x="8286467" y="3"/>
            <a:ext cx="3905533" cy="6196063"/>
          </a:xfrm>
          <a:custGeom>
            <a:avLst/>
            <a:gdLst>
              <a:gd name="connsiteX0" fmla="*/ 0 w 3906042"/>
              <a:gd name="connsiteY0" fmla="*/ 0 h 6196063"/>
              <a:gd name="connsiteX1" fmla="*/ 3906042 w 3906042"/>
              <a:gd name="connsiteY1" fmla="*/ 0 h 6196063"/>
              <a:gd name="connsiteX2" fmla="*/ 3906042 w 3906042"/>
              <a:gd name="connsiteY2" fmla="*/ 5880002 h 6196063"/>
              <a:gd name="connsiteX3" fmla="*/ 3887038 w 3906042"/>
              <a:gd name="connsiteY3" fmla="*/ 5890088 h 6196063"/>
              <a:gd name="connsiteX4" fmla="*/ 1284899 w 3906042"/>
              <a:gd name="connsiteY4" fmla="*/ 5850996 h 6196063"/>
              <a:gd name="connsiteX5" fmla="*/ 890451 w 3906042"/>
              <a:gd name="connsiteY5" fmla="*/ 5554365 h 6196063"/>
              <a:gd name="connsiteX6" fmla="*/ 137343 w 3906042"/>
              <a:gd name="connsiteY6" fmla="*/ 3616228 h 6196063"/>
              <a:gd name="connsiteX7" fmla="*/ 753195 w 3906042"/>
              <a:gd name="connsiteY7" fmla="*/ 1510988 h 6196063"/>
              <a:gd name="connsiteX8" fmla="*/ 2860 w 3906042"/>
              <a:gd name="connsiteY8" fmla="*/ 6698 h 6196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6042" h="6196063">
                <a:moveTo>
                  <a:pt x="0" y="0"/>
                </a:moveTo>
                <a:lnTo>
                  <a:pt x="3906042" y="0"/>
                </a:lnTo>
                <a:lnTo>
                  <a:pt x="3906042" y="5880002"/>
                </a:lnTo>
                <a:lnTo>
                  <a:pt x="3887038" y="5890088"/>
                </a:lnTo>
                <a:cubicBezTo>
                  <a:pt x="3071766" y="6290767"/>
                  <a:pt x="2059134" y="6318336"/>
                  <a:pt x="1284899" y="5850996"/>
                </a:cubicBezTo>
                <a:cubicBezTo>
                  <a:pt x="1142738" y="5767187"/>
                  <a:pt x="1010672" y="5667250"/>
                  <a:pt x="890451" y="5554365"/>
                </a:cubicBezTo>
                <a:cubicBezTo>
                  <a:pt x="369493" y="5065199"/>
                  <a:pt x="70956" y="4332906"/>
                  <a:pt x="137343" y="3616228"/>
                </a:cubicBezTo>
                <a:cubicBezTo>
                  <a:pt x="176790" y="3018400"/>
                  <a:pt x="939611" y="2315363"/>
                  <a:pt x="753195" y="1510988"/>
                </a:cubicBezTo>
                <a:cubicBezTo>
                  <a:pt x="619947" y="963170"/>
                  <a:pt x="215374" y="464285"/>
                  <a:pt x="2860" y="6698"/>
                </a:cubicBezTo>
                <a:close/>
              </a:path>
            </a:pathLst>
          </a:custGeom>
          <a:pattFill prst="pct20">
            <a:fgClr>
              <a:srgbClr val="A0A0A0"/>
            </a:fgClr>
            <a:bgClr>
              <a:schemeClr val="bg1"/>
            </a:bgClr>
          </a:pattFill>
        </p:spPr>
        <p:txBody>
          <a:bodyPr wrap="square" anchor="ctr" anchorCtr="1">
            <a:noAutofit/>
          </a:bodyPr>
          <a:lstStyle>
            <a:lvl1pPr>
              <a:defRPr sz="600">
                <a:solidFill>
                  <a:srgbClr val="A0A0A0"/>
                </a:solidFill>
              </a:defRPr>
            </a:lvl1pPr>
          </a:lstStyle>
          <a:p>
            <a:endParaRPr lang="en-ID"/>
          </a:p>
        </p:txBody>
      </p:sp>
    </p:spTree>
    <p:extLst>
      <p:ext uri="{BB962C8B-B14F-4D97-AF65-F5344CB8AC3E}">
        <p14:creationId xmlns:p14="http://schemas.microsoft.com/office/powerpoint/2010/main" val="287904031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B31DEB7-9447-438D-9EEA-6575D637C83A}"/>
              </a:ext>
            </a:extLst>
          </p:cNvPr>
          <p:cNvSpPr>
            <a:spLocks noGrp="1"/>
          </p:cNvSpPr>
          <p:nvPr>
            <p:ph type="pic" sz="quarter" idx="10"/>
          </p:nvPr>
        </p:nvSpPr>
        <p:spPr>
          <a:xfrm>
            <a:off x="5922515" y="0"/>
            <a:ext cx="6269485" cy="6858000"/>
          </a:xfrm>
          <a:custGeom>
            <a:avLst/>
            <a:gdLst>
              <a:gd name="connsiteX0" fmla="*/ 426887 w 6270302"/>
              <a:gd name="connsiteY0" fmla="*/ 0 h 6858000"/>
              <a:gd name="connsiteX1" fmla="*/ 5699832 w 6270302"/>
              <a:gd name="connsiteY1" fmla="*/ 0 h 6858000"/>
              <a:gd name="connsiteX2" fmla="*/ 6270302 w 6270302"/>
              <a:gd name="connsiteY2" fmla="*/ 0 h 6858000"/>
              <a:gd name="connsiteX3" fmla="*/ 6270302 w 6270302"/>
              <a:gd name="connsiteY3" fmla="*/ 686970 h 6858000"/>
              <a:gd name="connsiteX4" fmla="*/ 6270302 w 6270302"/>
              <a:gd name="connsiteY4" fmla="*/ 5169274 h 6858000"/>
              <a:gd name="connsiteX5" fmla="*/ 6270302 w 6270302"/>
              <a:gd name="connsiteY5" fmla="*/ 6858000 h 6858000"/>
              <a:gd name="connsiteX6" fmla="*/ 5086904 w 6270302"/>
              <a:gd name="connsiteY6" fmla="*/ 6858000 h 6858000"/>
              <a:gd name="connsiteX7" fmla="*/ 1787428 w 6270302"/>
              <a:gd name="connsiteY7" fmla="*/ 6858000 h 6858000"/>
              <a:gd name="connsiteX8" fmla="*/ 1753895 w 6270302"/>
              <a:gd name="connsiteY8" fmla="*/ 6751726 h 6858000"/>
              <a:gd name="connsiteX9" fmla="*/ 1824771 w 6270302"/>
              <a:gd name="connsiteY9" fmla="*/ 4496473 h 6858000"/>
              <a:gd name="connsiteX10" fmla="*/ 298440 w 6270302"/>
              <a:gd name="connsiteY10" fmla="*/ 2645499 h 6858000"/>
              <a:gd name="connsiteX11" fmla="*/ 220316 w 6270302"/>
              <a:gd name="connsiteY11" fmla="*/ 372580 h 6858000"/>
              <a:gd name="connsiteX12" fmla="*/ 341699 w 6270302"/>
              <a:gd name="connsiteY12" fmla="*/ 1310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70302" h="6858000">
                <a:moveTo>
                  <a:pt x="426887" y="0"/>
                </a:moveTo>
                <a:lnTo>
                  <a:pt x="5699832" y="0"/>
                </a:lnTo>
                <a:lnTo>
                  <a:pt x="6270302" y="0"/>
                </a:lnTo>
                <a:lnTo>
                  <a:pt x="6270302" y="686970"/>
                </a:lnTo>
                <a:lnTo>
                  <a:pt x="6270302" y="5169274"/>
                </a:lnTo>
                <a:lnTo>
                  <a:pt x="6270302" y="6858000"/>
                </a:lnTo>
                <a:lnTo>
                  <a:pt x="5086904" y="6858000"/>
                </a:lnTo>
                <a:lnTo>
                  <a:pt x="1787428" y="6858000"/>
                </a:lnTo>
                <a:lnTo>
                  <a:pt x="1753895" y="6751726"/>
                </a:lnTo>
                <a:cubicBezTo>
                  <a:pt x="1608736" y="6154165"/>
                  <a:pt x="1954745" y="5270461"/>
                  <a:pt x="1824771" y="4496473"/>
                </a:cubicBezTo>
                <a:cubicBezTo>
                  <a:pt x="1665537" y="3607513"/>
                  <a:pt x="595723" y="3229488"/>
                  <a:pt x="298440" y="2645499"/>
                </a:cubicBezTo>
                <a:cubicBezTo>
                  <a:pt x="-77137" y="1953644"/>
                  <a:pt x="-92596" y="1088831"/>
                  <a:pt x="220316" y="372580"/>
                </a:cubicBezTo>
                <a:cubicBezTo>
                  <a:pt x="256422" y="289936"/>
                  <a:pt x="296899" y="209270"/>
                  <a:pt x="341699" y="131075"/>
                </a:cubicBezTo>
                <a:close/>
              </a:path>
            </a:pathLst>
          </a:custGeom>
          <a:pattFill prst="pct20">
            <a:fgClr>
              <a:srgbClr val="A0A0A0"/>
            </a:fgClr>
            <a:bgClr>
              <a:schemeClr val="bg1"/>
            </a:bgClr>
          </a:pattFill>
        </p:spPr>
        <p:txBody>
          <a:bodyPr wrap="square" anchor="ctr" anchorCtr="1">
            <a:noAutofit/>
          </a:bodyPr>
          <a:lstStyle>
            <a:lvl1pPr>
              <a:defRPr sz="600">
                <a:solidFill>
                  <a:srgbClr val="A0A0A0"/>
                </a:solidFill>
              </a:defRPr>
            </a:lvl1pPr>
          </a:lstStyle>
          <a:p>
            <a:endParaRPr lang="en-ID"/>
          </a:p>
        </p:txBody>
      </p:sp>
    </p:spTree>
    <p:extLst>
      <p:ext uri="{BB962C8B-B14F-4D97-AF65-F5344CB8AC3E}">
        <p14:creationId xmlns:p14="http://schemas.microsoft.com/office/powerpoint/2010/main" val="34170866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656015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6" name="Freeform 5"/>
          <p:cNvSpPr>
            <a:spLocks noEditPoints="1"/>
          </p:cNvSpPr>
          <p:nvPr userDrawn="1"/>
        </p:nvSpPr>
        <p:spPr bwMode="auto">
          <a:xfrm flipH="1">
            <a:off x="1" y="4274596"/>
            <a:ext cx="12187237" cy="2583404"/>
          </a:xfrm>
          <a:custGeom>
            <a:avLst/>
            <a:gdLst>
              <a:gd name="T0" fmla="*/ 5744 w 5836"/>
              <a:gd name="T1" fmla="*/ 743 h 1235"/>
              <a:gd name="T2" fmla="*/ 5474 w 5836"/>
              <a:gd name="T3" fmla="*/ 743 h 1235"/>
              <a:gd name="T4" fmla="*/ 5415 w 5836"/>
              <a:gd name="T5" fmla="*/ 900 h 1235"/>
              <a:gd name="T6" fmla="*/ 5214 w 5836"/>
              <a:gd name="T7" fmla="*/ 852 h 1235"/>
              <a:gd name="T8" fmla="*/ 5019 w 5836"/>
              <a:gd name="T9" fmla="*/ 744 h 1235"/>
              <a:gd name="T10" fmla="*/ 4784 w 5836"/>
              <a:gd name="T11" fmla="*/ 764 h 1235"/>
              <a:gd name="T12" fmla="*/ 4717 w 5836"/>
              <a:gd name="T13" fmla="*/ 437 h 1235"/>
              <a:gd name="T14" fmla="*/ 4304 w 5836"/>
              <a:gd name="T15" fmla="*/ 818 h 1235"/>
              <a:gd name="T16" fmla="*/ 4087 w 5836"/>
              <a:gd name="T17" fmla="*/ 818 h 1235"/>
              <a:gd name="T18" fmla="*/ 3963 w 5836"/>
              <a:gd name="T19" fmla="*/ 842 h 1235"/>
              <a:gd name="T20" fmla="*/ 3757 w 5836"/>
              <a:gd name="T21" fmla="*/ 383 h 1235"/>
              <a:gd name="T22" fmla="*/ 3474 w 5836"/>
              <a:gd name="T23" fmla="*/ 852 h 1235"/>
              <a:gd name="T24" fmla="*/ 3019 w 5836"/>
              <a:gd name="T25" fmla="*/ 932 h 1235"/>
              <a:gd name="T26" fmla="*/ 3001 w 5836"/>
              <a:gd name="T27" fmla="*/ 762 h 1235"/>
              <a:gd name="T28" fmla="*/ 2990 w 5836"/>
              <a:gd name="T29" fmla="*/ 455 h 1235"/>
              <a:gd name="T30" fmla="*/ 2975 w 5836"/>
              <a:gd name="T31" fmla="*/ 420 h 1235"/>
              <a:gd name="T32" fmla="*/ 2977 w 5836"/>
              <a:gd name="T33" fmla="*/ 387 h 1235"/>
              <a:gd name="T34" fmla="*/ 2967 w 5836"/>
              <a:gd name="T35" fmla="*/ 351 h 1235"/>
              <a:gd name="T36" fmla="*/ 2958 w 5836"/>
              <a:gd name="T37" fmla="*/ 327 h 1235"/>
              <a:gd name="T38" fmla="*/ 2953 w 5836"/>
              <a:gd name="T39" fmla="*/ 340 h 1235"/>
              <a:gd name="T40" fmla="*/ 2946 w 5836"/>
              <a:gd name="T41" fmla="*/ 356 h 1235"/>
              <a:gd name="T42" fmla="*/ 2939 w 5836"/>
              <a:gd name="T43" fmla="*/ 387 h 1235"/>
              <a:gd name="T44" fmla="*/ 2924 w 5836"/>
              <a:gd name="T45" fmla="*/ 442 h 1235"/>
              <a:gd name="T46" fmla="*/ 2924 w 5836"/>
              <a:gd name="T47" fmla="*/ 507 h 1235"/>
              <a:gd name="T48" fmla="*/ 2846 w 5836"/>
              <a:gd name="T49" fmla="*/ 644 h 1235"/>
              <a:gd name="T50" fmla="*/ 2678 w 5836"/>
              <a:gd name="T51" fmla="*/ 762 h 1235"/>
              <a:gd name="T52" fmla="*/ 2626 w 5836"/>
              <a:gd name="T53" fmla="*/ 810 h 1235"/>
              <a:gd name="T54" fmla="*/ 2422 w 5836"/>
              <a:gd name="T55" fmla="*/ 900 h 1235"/>
              <a:gd name="T56" fmla="*/ 2211 w 5836"/>
              <a:gd name="T57" fmla="*/ 909 h 1235"/>
              <a:gd name="T58" fmla="*/ 2185 w 5836"/>
              <a:gd name="T59" fmla="*/ 395 h 1235"/>
              <a:gd name="T60" fmla="*/ 2163 w 5836"/>
              <a:gd name="T61" fmla="*/ 374 h 1235"/>
              <a:gd name="T62" fmla="*/ 2087 w 5836"/>
              <a:gd name="T63" fmla="*/ 0 h 1235"/>
              <a:gd name="T64" fmla="*/ 2011 w 5836"/>
              <a:gd name="T65" fmla="*/ 374 h 1235"/>
              <a:gd name="T66" fmla="*/ 1989 w 5836"/>
              <a:gd name="T67" fmla="*/ 395 h 1235"/>
              <a:gd name="T68" fmla="*/ 1978 w 5836"/>
              <a:gd name="T69" fmla="*/ 808 h 1235"/>
              <a:gd name="T70" fmla="*/ 1774 w 5836"/>
              <a:gd name="T71" fmla="*/ 897 h 1235"/>
              <a:gd name="T72" fmla="*/ 1655 w 5836"/>
              <a:gd name="T73" fmla="*/ 818 h 1235"/>
              <a:gd name="T74" fmla="*/ 1391 w 5836"/>
              <a:gd name="T75" fmla="*/ 499 h 1235"/>
              <a:gd name="T76" fmla="*/ 1317 w 5836"/>
              <a:gd name="T77" fmla="*/ 818 h 1235"/>
              <a:gd name="T78" fmla="*/ 1227 w 5836"/>
              <a:gd name="T79" fmla="*/ 877 h 1235"/>
              <a:gd name="T80" fmla="*/ 1155 w 5836"/>
              <a:gd name="T81" fmla="*/ 437 h 1235"/>
              <a:gd name="T82" fmla="*/ 904 w 5836"/>
              <a:gd name="T83" fmla="*/ 842 h 1235"/>
              <a:gd name="T84" fmla="*/ 704 w 5836"/>
              <a:gd name="T85" fmla="*/ 730 h 1235"/>
              <a:gd name="T86" fmla="*/ 651 w 5836"/>
              <a:gd name="T87" fmla="*/ 713 h 1235"/>
              <a:gd name="T88" fmla="*/ 453 w 5836"/>
              <a:gd name="T89" fmla="*/ 686 h 1235"/>
              <a:gd name="T90" fmla="*/ 249 w 5836"/>
              <a:gd name="T91" fmla="*/ 932 h 1235"/>
              <a:gd name="T92" fmla="*/ 52 w 5836"/>
              <a:gd name="T93" fmla="*/ 928 h 1235"/>
              <a:gd name="T94" fmla="*/ 5836 w 5836"/>
              <a:gd name="T95" fmla="*/ 1000 h 1235"/>
              <a:gd name="T96" fmla="*/ 2991 w 5836"/>
              <a:gd name="T97" fmla="*/ 637 h 1235"/>
              <a:gd name="T98" fmla="*/ 2968 w 5836"/>
              <a:gd name="T99" fmla="*/ 598 h 1235"/>
              <a:gd name="T100" fmla="*/ 2973 w 5836"/>
              <a:gd name="T101" fmla="*/ 429 h 1235"/>
              <a:gd name="T102" fmla="*/ 2968 w 5836"/>
              <a:gd name="T103" fmla="*/ 462 h 1235"/>
              <a:gd name="T104" fmla="*/ 2968 w 5836"/>
              <a:gd name="T105" fmla="*/ 462 h 1235"/>
              <a:gd name="T106" fmla="*/ 2965 w 5836"/>
              <a:gd name="T107" fmla="*/ 507 h 1235"/>
              <a:gd name="T108" fmla="*/ 2964 w 5836"/>
              <a:gd name="T109" fmla="*/ 413 h 1235"/>
              <a:gd name="T110" fmla="*/ 2944 w 5836"/>
              <a:gd name="T111" fmla="*/ 433 h 1235"/>
              <a:gd name="T112" fmla="*/ 2940 w 5836"/>
              <a:gd name="T113" fmla="*/ 457 h 1235"/>
              <a:gd name="T114" fmla="*/ 2933 w 5836"/>
              <a:gd name="T115" fmla="*/ 489 h 1235"/>
              <a:gd name="T116" fmla="*/ 2933 w 5836"/>
              <a:gd name="T117" fmla="*/ 489 h 1235"/>
              <a:gd name="T118" fmla="*/ 2923 w 5836"/>
              <a:gd name="T119" fmla="*/ 598 h 1235"/>
              <a:gd name="T120" fmla="*/ 2945 w 5836"/>
              <a:gd name="T121" fmla="*/ 681 h 1235"/>
              <a:gd name="T122" fmla="*/ 786 w 5836"/>
              <a:gd name="T123" fmla="*/ 932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6" h="1235">
                <a:moveTo>
                  <a:pt x="5784" y="1000"/>
                </a:moveTo>
                <a:cubicBezTo>
                  <a:pt x="5784" y="762"/>
                  <a:pt x="5784" y="762"/>
                  <a:pt x="5784" y="762"/>
                </a:cubicBezTo>
                <a:cubicBezTo>
                  <a:pt x="5757" y="762"/>
                  <a:pt x="5757" y="762"/>
                  <a:pt x="5757" y="762"/>
                </a:cubicBezTo>
                <a:cubicBezTo>
                  <a:pt x="5757" y="743"/>
                  <a:pt x="5757" y="743"/>
                  <a:pt x="5757" y="743"/>
                </a:cubicBezTo>
                <a:cubicBezTo>
                  <a:pt x="5744" y="743"/>
                  <a:pt x="5744" y="743"/>
                  <a:pt x="5744" y="743"/>
                </a:cubicBezTo>
                <a:cubicBezTo>
                  <a:pt x="5744" y="726"/>
                  <a:pt x="5744" y="726"/>
                  <a:pt x="5744" y="726"/>
                </a:cubicBezTo>
                <a:cubicBezTo>
                  <a:pt x="5616" y="644"/>
                  <a:pt x="5616" y="644"/>
                  <a:pt x="5616" y="644"/>
                </a:cubicBezTo>
                <a:cubicBezTo>
                  <a:pt x="5487" y="726"/>
                  <a:pt x="5487" y="726"/>
                  <a:pt x="5487" y="726"/>
                </a:cubicBezTo>
                <a:cubicBezTo>
                  <a:pt x="5487" y="743"/>
                  <a:pt x="5487" y="743"/>
                  <a:pt x="5487" y="743"/>
                </a:cubicBezTo>
                <a:cubicBezTo>
                  <a:pt x="5474" y="743"/>
                  <a:pt x="5474" y="743"/>
                  <a:pt x="5474" y="743"/>
                </a:cubicBezTo>
                <a:cubicBezTo>
                  <a:pt x="5474" y="762"/>
                  <a:pt x="5474" y="762"/>
                  <a:pt x="5474" y="762"/>
                </a:cubicBezTo>
                <a:cubicBezTo>
                  <a:pt x="5447" y="762"/>
                  <a:pt x="5447" y="762"/>
                  <a:pt x="5447" y="762"/>
                </a:cubicBezTo>
                <a:cubicBezTo>
                  <a:pt x="5447" y="884"/>
                  <a:pt x="5447" y="884"/>
                  <a:pt x="5447" y="884"/>
                </a:cubicBezTo>
                <a:cubicBezTo>
                  <a:pt x="5415" y="884"/>
                  <a:pt x="5415" y="884"/>
                  <a:pt x="5415" y="884"/>
                </a:cubicBezTo>
                <a:cubicBezTo>
                  <a:pt x="5415" y="900"/>
                  <a:pt x="5415" y="900"/>
                  <a:pt x="5415" y="900"/>
                </a:cubicBezTo>
                <a:cubicBezTo>
                  <a:pt x="5395" y="900"/>
                  <a:pt x="5395" y="900"/>
                  <a:pt x="5395" y="900"/>
                </a:cubicBezTo>
                <a:cubicBezTo>
                  <a:pt x="5395" y="810"/>
                  <a:pt x="5395" y="810"/>
                  <a:pt x="5395" y="810"/>
                </a:cubicBezTo>
                <a:cubicBezTo>
                  <a:pt x="5247" y="810"/>
                  <a:pt x="5247" y="810"/>
                  <a:pt x="5247" y="810"/>
                </a:cubicBezTo>
                <a:cubicBezTo>
                  <a:pt x="5214" y="848"/>
                  <a:pt x="5214" y="848"/>
                  <a:pt x="5214" y="848"/>
                </a:cubicBezTo>
                <a:cubicBezTo>
                  <a:pt x="5214" y="852"/>
                  <a:pt x="5214" y="852"/>
                  <a:pt x="5214" y="852"/>
                </a:cubicBezTo>
                <a:cubicBezTo>
                  <a:pt x="5192" y="852"/>
                  <a:pt x="5192" y="852"/>
                  <a:pt x="5192" y="852"/>
                </a:cubicBezTo>
                <a:cubicBezTo>
                  <a:pt x="5192" y="900"/>
                  <a:pt x="5192" y="900"/>
                  <a:pt x="5192" y="900"/>
                </a:cubicBezTo>
                <a:cubicBezTo>
                  <a:pt x="5162" y="900"/>
                  <a:pt x="5162" y="900"/>
                  <a:pt x="5162" y="900"/>
                </a:cubicBezTo>
                <a:cubicBezTo>
                  <a:pt x="5162" y="744"/>
                  <a:pt x="5162" y="744"/>
                  <a:pt x="5162" y="744"/>
                </a:cubicBezTo>
                <a:cubicBezTo>
                  <a:pt x="5019" y="744"/>
                  <a:pt x="5019" y="744"/>
                  <a:pt x="5019" y="744"/>
                </a:cubicBezTo>
                <a:cubicBezTo>
                  <a:pt x="5019" y="909"/>
                  <a:pt x="5019" y="909"/>
                  <a:pt x="5019" y="909"/>
                </a:cubicBezTo>
                <a:cubicBezTo>
                  <a:pt x="4981" y="909"/>
                  <a:pt x="4981" y="909"/>
                  <a:pt x="4981" y="909"/>
                </a:cubicBezTo>
                <a:cubicBezTo>
                  <a:pt x="4981" y="686"/>
                  <a:pt x="4981" y="686"/>
                  <a:pt x="4981" y="686"/>
                </a:cubicBezTo>
                <a:cubicBezTo>
                  <a:pt x="4784" y="686"/>
                  <a:pt x="4784" y="686"/>
                  <a:pt x="4784" y="686"/>
                </a:cubicBezTo>
                <a:cubicBezTo>
                  <a:pt x="4784" y="764"/>
                  <a:pt x="4784" y="764"/>
                  <a:pt x="4784" y="764"/>
                </a:cubicBezTo>
                <a:cubicBezTo>
                  <a:pt x="4781" y="764"/>
                  <a:pt x="4781" y="764"/>
                  <a:pt x="4781" y="764"/>
                </a:cubicBezTo>
                <a:cubicBezTo>
                  <a:pt x="4748" y="802"/>
                  <a:pt x="4748" y="802"/>
                  <a:pt x="4748" y="802"/>
                </a:cubicBezTo>
                <a:cubicBezTo>
                  <a:pt x="4748" y="808"/>
                  <a:pt x="4748" y="808"/>
                  <a:pt x="4748" y="808"/>
                </a:cubicBezTo>
                <a:cubicBezTo>
                  <a:pt x="4717" y="808"/>
                  <a:pt x="4717" y="808"/>
                  <a:pt x="4717" y="808"/>
                </a:cubicBezTo>
                <a:cubicBezTo>
                  <a:pt x="4717" y="437"/>
                  <a:pt x="4717" y="437"/>
                  <a:pt x="4717" y="437"/>
                </a:cubicBezTo>
                <a:cubicBezTo>
                  <a:pt x="4415" y="437"/>
                  <a:pt x="4415" y="437"/>
                  <a:pt x="4415" y="437"/>
                </a:cubicBezTo>
                <a:cubicBezTo>
                  <a:pt x="4415" y="594"/>
                  <a:pt x="4415" y="594"/>
                  <a:pt x="4415" y="594"/>
                </a:cubicBezTo>
                <a:cubicBezTo>
                  <a:pt x="4367" y="594"/>
                  <a:pt x="4367" y="594"/>
                  <a:pt x="4367" y="594"/>
                </a:cubicBezTo>
                <a:cubicBezTo>
                  <a:pt x="4367" y="818"/>
                  <a:pt x="4367" y="818"/>
                  <a:pt x="4367" y="818"/>
                </a:cubicBezTo>
                <a:cubicBezTo>
                  <a:pt x="4304" y="818"/>
                  <a:pt x="4304" y="818"/>
                  <a:pt x="4304" y="818"/>
                </a:cubicBezTo>
                <a:cubicBezTo>
                  <a:pt x="4304" y="686"/>
                  <a:pt x="4304" y="686"/>
                  <a:pt x="4304" y="686"/>
                </a:cubicBezTo>
                <a:cubicBezTo>
                  <a:pt x="4133" y="686"/>
                  <a:pt x="4133" y="686"/>
                  <a:pt x="4133" y="686"/>
                </a:cubicBezTo>
                <a:cubicBezTo>
                  <a:pt x="4133" y="751"/>
                  <a:pt x="4133" y="751"/>
                  <a:pt x="4133" y="751"/>
                </a:cubicBezTo>
                <a:cubicBezTo>
                  <a:pt x="4087" y="751"/>
                  <a:pt x="4087" y="751"/>
                  <a:pt x="4087" y="751"/>
                </a:cubicBezTo>
                <a:cubicBezTo>
                  <a:pt x="4087" y="818"/>
                  <a:pt x="4087" y="818"/>
                  <a:pt x="4087" y="818"/>
                </a:cubicBezTo>
                <a:cubicBezTo>
                  <a:pt x="4028" y="818"/>
                  <a:pt x="4028" y="818"/>
                  <a:pt x="4028" y="818"/>
                </a:cubicBezTo>
                <a:cubicBezTo>
                  <a:pt x="4028" y="909"/>
                  <a:pt x="4028" y="909"/>
                  <a:pt x="4028" y="909"/>
                </a:cubicBezTo>
                <a:cubicBezTo>
                  <a:pt x="3996" y="909"/>
                  <a:pt x="3996" y="909"/>
                  <a:pt x="3996" y="909"/>
                </a:cubicBezTo>
                <a:cubicBezTo>
                  <a:pt x="3996" y="877"/>
                  <a:pt x="3996" y="877"/>
                  <a:pt x="3996" y="877"/>
                </a:cubicBezTo>
                <a:cubicBezTo>
                  <a:pt x="3963" y="842"/>
                  <a:pt x="3963" y="842"/>
                  <a:pt x="3963" y="842"/>
                </a:cubicBezTo>
                <a:cubicBezTo>
                  <a:pt x="3962" y="842"/>
                  <a:pt x="3962" y="842"/>
                  <a:pt x="3962" y="842"/>
                </a:cubicBezTo>
                <a:cubicBezTo>
                  <a:pt x="3962" y="810"/>
                  <a:pt x="3962" y="810"/>
                  <a:pt x="3962" y="810"/>
                </a:cubicBezTo>
                <a:cubicBezTo>
                  <a:pt x="3868" y="810"/>
                  <a:pt x="3868" y="810"/>
                  <a:pt x="3868" y="810"/>
                </a:cubicBezTo>
                <a:cubicBezTo>
                  <a:pt x="3868" y="383"/>
                  <a:pt x="3868" y="383"/>
                  <a:pt x="3868" y="383"/>
                </a:cubicBezTo>
                <a:cubicBezTo>
                  <a:pt x="3757" y="383"/>
                  <a:pt x="3757" y="383"/>
                  <a:pt x="3757" y="383"/>
                </a:cubicBezTo>
                <a:cubicBezTo>
                  <a:pt x="3757" y="311"/>
                  <a:pt x="3757" y="311"/>
                  <a:pt x="3757" y="311"/>
                </a:cubicBezTo>
                <a:cubicBezTo>
                  <a:pt x="3535" y="311"/>
                  <a:pt x="3535" y="311"/>
                  <a:pt x="3535" y="311"/>
                </a:cubicBezTo>
                <a:cubicBezTo>
                  <a:pt x="3535" y="730"/>
                  <a:pt x="3535" y="730"/>
                  <a:pt x="3535" y="730"/>
                </a:cubicBezTo>
                <a:cubicBezTo>
                  <a:pt x="3474" y="730"/>
                  <a:pt x="3474" y="730"/>
                  <a:pt x="3474" y="730"/>
                </a:cubicBezTo>
                <a:cubicBezTo>
                  <a:pt x="3474" y="852"/>
                  <a:pt x="3474" y="852"/>
                  <a:pt x="3474" y="852"/>
                </a:cubicBezTo>
                <a:cubicBezTo>
                  <a:pt x="3232" y="852"/>
                  <a:pt x="3232" y="852"/>
                  <a:pt x="3232" y="852"/>
                </a:cubicBezTo>
                <a:cubicBezTo>
                  <a:pt x="3232" y="877"/>
                  <a:pt x="3232" y="877"/>
                  <a:pt x="3232" y="877"/>
                </a:cubicBezTo>
                <a:cubicBezTo>
                  <a:pt x="3049" y="877"/>
                  <a:pt x="3049" y="877"/>
                  <a:pt x="3049" y="877"/>
                </a:cubicBezTo>
                <a:cubicBezTo>
                  <a:pt x="3019" y="894"/>
                  <a:pt x="3019" y="894"/>
                  <a:pt x="3019" y="894"/>
                </a:cubicBezTo>
                <a:cubicBezTo>
                  <a:pt x="3019" y="932"/>
                  <a:pt x="3019" y="932"/>
                  <a:pt x="3019" y="932"/>
                </a:cubicBezTo>
                <a:cubicBezTo>
                  <a:pt x="3018" y="932"/>
                  <a:pt x="3018" y="932"/>
                  <a:pt x="3018" y="932"/>
                </a:cubicBezTo>
                <a:cubicBezTo>
                  <a:pt x="3018" y="900"/>
                  <a:pt x="3018" y="900"/>
                  <a:pt x="3018" y="900"/>
                </a:cubicBezTo>
                <a:cubicBezTo>
                  <a:pt x="3014" y="900"/>
                  <a:pt x="3014" y="900"/>
                  <a:pt x="3014" y="900"/>
                </a:cubicBezTo>
                <a:cubicBezTo>
                  <a:pt x="3014" y="762"/>
                  <a:pt x="3014" y="762"/>
                  <a:pt x="3014" y="762"/>
                </a:cubicBezTo>
                <a:cubicBezTo>
                  <a:pt x="3001" y="762"/>
                  <a:pt x="3001" y="762"/>
                  <a:pt x="3001" y="762"/>
                </a:cubicBezTo>
                <a:cubicBezTo>
                  <a:pt x="3001" y="525"/>
                  <a:pt x="3001" y="525"/>
                  <a:pt x="3001" y="525"/>
                </a:cubicBezTo>
                <a:cubicBezTo>
                  <a:pt x="3005" y="518"/>
                  <a:pt x="3005" y="518"/>
                  <a:pt x="3005" y="518"/>
                </a:cubicBezTo>
                <a:cubicBezTo>
                  <a:pt x="3005" y="507"/>
                  <a:pt x="3005" y="507"/>
                  <a:pt x="3005" y="507"/>
                </a:cubicBezTo>
                <a:cubicBezTo>
                  <a:pt x="2990" y="507"/>
                  <a:pt x="2990" y="507"/>
                  <a:pt x="2990" y="507"/>
                </a:cubicBezTo>
                <a:cubicBezTo>
                  <a:pt x="2990" y="455"/>
                  <a:pt x="2990" y="455"/>
                  <a:pt x="2990" y="455"/>
                </a:cubicBezTo>
                <a:cubicBezTo>
                  <a:pt x="2993" y="455"/>
                  <a:pt x="2993" y="455"/>
                  <a:pt x="2993" y="455"/>
                </a:cubicBezTo>
                <a:cubicBezTo>
                  <a:pt x="2993" y="448"/>
                  <a:pt x="2993" y="448"/>
                  <a:pt x="2993" y="448"/>
                </a:cubicBezTo>
                <a:cubicBezTo>
                  <a:pt x="2990" y="448"/>
                  <a:pt x="2990" y="448"/>
                  <a:pt x="2990" y="448"/>
                </a:cubicBezTo>
                <a:cubicBezTo>
                  <a:pt x="2990" y="445"/>
                  <a:pt x="2990" y="444"/>
                  <a:pt x="2990" y="442"/>
                </a:cubicBezTo>
                <a:cubicBezTo>
                  <a:pt x="2990" y="430"/>
                  <a:pt x="2981" y="423"/>
                  <a:pt x="2975" y="420"/>
                </a:cubicBezTo>
                <a:cubicBezTo>
                  <a:pt x="2977" y="420"/>
                  <a:pt x="2977" y="420"/>
                  <a:pt x="2977" y="420"/>
                </a:cubicBezTo>
                <a:cubicBezTo>
                  <a:pt x="2977" y="413"/>
                  <a:pt x="2977" y="413"/>
                  <a:pt x="2977" y="413"/>
                </a:cubicBezTo>
                <a:cubicBezTo>
                  <a:pt x="2974" y="413"/>
                  <a:pt x="2974" y="413"/>
                  <a:pt x="2974" y="413"/>
                </a:cubicBezTo>
                <a:cubicBezTo>
                  <a:pt x="2974" y="404"/>
                  <a:pt x="2974" y="395"/>
                  <a:pt x="2974" y="387"/>
                </a:cubicBezTo>
                <a:cubicBezTo>
                  <a:pt x="2977" y="387"/>
                  <a:pt x="2977" y="387"/>
                  <a:pt x="2977" y="387"/>
                </a:cubicBezTo>
                <a:cubicBezTo>
                  <a:pt x="2977" y="380"/>
                  <a:pt x="2977" y="380"/>
                  <a:pt x="2977" y="380"/>
                </a:cubicBezTo>
                <a:cubicBezTo>
                  <a:pt x="2974" y="380"/>
                  <a:pt x="2974" y="380"/>
                  <a:pt x="2974" y="380"/>
                </a:cubicBezTo>
                <a:cubicBezTo>
                  <a:pt x="2974" y="374"/>
                  <a:pt x="2974" y="370"/>
                  <a:pt x="2974" y="368"/>
                </a:cubicBezTo>
                <a:cubicBezTo>
                  <a:pt x="2974" y="362"/>
                  <a:pt x="2970" y="358"/>
                  <a:pt x="2967" y="356"/>
                </a:cubicBezTo>
                <a:cubicBezTo>
                  <a:pt x="2967" y="351"/>
                  <a:pt x="2967" y="351"/>
                  <a:pt x="2967" y="351"/>
                </a:cubicBezTo>
                <a:cubicBezTo>
                  <a:pt x="2961" y="351"/>
                  <a:pt x="2961" y="351"/>
                  <a:pt x="2961" y="351"/>
                </a:cubicBezTo>
                <a:cubicBezTo>
                  <a:pt x="2961" y="347"/>
                  <a:pt x="2961" y="347"/>
                  <a:pt x="2961" y="347"/>
                </a:cubicBezTo>
                <a:cubicBezTo>
                  <a:pt x="2960" y="347"/>
                  <a:pt x="2960" y="347"/>
                  <a:pt x="2960" y="347"/>
                </a:cubicBezTo>
                <a:cubicBezTo>
                  <a:pt x="2960" y="340"/>
                  <a:pt x="2960" y="340"/>
                  <a:pt x="2960" y="340"/>
                </a:cubicBezTo>
                <a:cubicBezTo>
                  <a:pt x="2958" y="327"/>
                  <a:pt x="2958" y="327"/>
                  <a:pt x="2958" y="327"/>
                </a:cubicBezTo>
                <a:cubicBezTo>
                  <a:pt x="2962" y="326"/>
                  <a:pt x="2964" y="323"/>
                  <a:pt x="2964" y="319"/>
                </a:cubicBezTo>
                <a:cubicBezTo>
                  <a:pt x="2964" y="315"/>
                  <a:pt x="2961" y="311"/>
                  <a:pt x="2957" y="311"/>
                </a:cubicBezTo>
                <a:cubicBezTo>
                  <a:pt x="2952" y="311"/>
                  <a:pt x="2949" y="315"/>
                  <a:pt x="2949" y="319"/>
                </a:cubicBezTo>
                <a:cubicBezTo>
                  <a:pt x="2949" y="323"/>
                  <a:pt x="2951" y="326"/>
                  <a:pt x="2955" y="327"/>
                </a:cubicBezTo>
                <a:cubicBezTo>
                  <a:pt x="2953" y="340"/>
                  <a:pt x="2953" y="340"/>
                  <a:pt x="2953" y="340"/>
                </a:cubicBezTo>
                <a:cubicBezTo>
                  <a:pt x="2953" y="347"/>
                  <a:pt x="2953" y="347"/>
                  <a:pt x="2953" y="347"/>
                </a:cubicBezTo>
                <a:cubicBezTo>
                  <a:pt x="2952" y="347"/>
                  <a:pt x="2952" y="347"/>
                  <a:pt x="2952" y="347"/>
                </a:cubicBezTo>
                <a:cubicBezTo>
                  <a:pt x="2952" y="351"/>
                  <a:pt x="2952" y="351"/>
                  <a:pt x="2952" y="351"/>
                </a:cubicBezTo>
                <a:cubicBezTo>
                  <a:pt x="2946" y="351"/>
                  <a:pt x="2946" y="351"/>
                  <a:pt x="2946" y="351"/>
                </a:cubicBezTo>
                <a:cubicBezTo>
                  <a:pt x="2946" y="356"/>
                  <a:pt x="2946" y="356"/>
                  <a:pt x="2946" y="356"/>
                </a:cubicBezTo>
                <a:cubicBezTo>
                  <a:pt x="2943" y="358"/>
                  <a:pt x="2939" y="362"/>
                  <a:pt x="2939" y="368"/>
                </a:cubicBezTo>
                <a:cubicBezTo>
                  <a:pt x="2939" y="370"/>
                  <a:pt x="2939" y="374"/>
                  <a:pt x="2939" y="380"/>
                </a:cubicBezTo>
                <a:cubicBezTo>
                  <a:pt x="2936" y="380"/>
                  <a:pt x="2936" y="380"/>
                  <a:pt x="2936" y="380"/>
                </a:cubicBezTo>
                <a:cubicBezTo>
                  <a:pt x="2936" y="387"/>
                  <a:pt x="2936" y="387"/>
                  <a:pt x="2936" y="387"/>
                </a:cubicBezTo>
                <a:cubicBezTo>
                  <a:pt x="2939" y="387"/>
                  <a:pt x="2939" y="387"/>
                  <a:pt x="2939" y="387"/>
                </a:cubicBezTo>
                <a:cubicBezTo>
                  <a:pt x="2939" y="395"/>
                  <a:pt x="2939" y="404"/>
                  <a:pt x="2939" y="413"/>
                </a:cubicBezTo>
                <a:cubicBezTo>
                  <a:pt x="2936" y="413"/>
                  <a:pt x="2936" y="413"/>
                  <a:pt x="2936" y="413"/>
                </a:cubicBezTo>
                <a:cubicBezTo>
                  <a:pt x="2936" y="420"/>
                  <a:pt x="2936" y="420"/>
                  <a:pt x="2936" y="420"/>
                </a:cubicBezTo>
                <a:cubicBezTo>
                  <a:pt x="2938" y="420"/>
                  <a:pt x="2938" y="420"/>
                  <a:pt x="2938" y="420"/>
                </a:cubicBezTo>
                <a:cubicBezTo>
                  <a:pt x="2932" y="423"/>
                  <a:pt x="2924" y="430"/>
                  <a:pt x="2924" y="442"/>
                </a:cubicBezTo>
                <a:cubicBezTo>
                  <a:pt x="2924" y="444"/>
                  <a:pt x="2924" y="445"/>
                  <a:pt x="2924" y="448"/>
                </a:cubicBezTo>
                <a:cubicBezTo>
                  <a:pt x="2920" y="448"/>
                  <a:pt x="2920" y="448"/>
                  <a:pt x="2920" y="448"/>
                </a:cubicBezTo>
                <a:cubicBezTo>
                  <a:pt x="2920" y="455"/>
                  <a:pt x="2920" y="455"/>
                  <a:pt x="2920" y="455"/>
                </a:cubicBezTo>
                <a:cubicBezTo>
                  <a:pt x="2924" y="455"/>
                  <a:pt x="2924" y="455"/>
                  <a:pt x="2924" y="455"/>
                </a:cubicBezTo>
                <a:cubicBezTo>
                  <a:pt x="2924" y="507"/>
                  <a:pt x="2924" y="507"/>
                  <a:pt x="2924" y="507"/>
                </a:cubicBezTo>
                <a:cubicBezTo>
                  <a:pt x="2908" y="507"/>
                  <a:pt x="2908" y="507"/>
                  <a:pt x="2908" y="507"/>
                </a:cubicBezTo>
                <a:cubicBezTo>
                  <a:pt x="2908" y="518"/>
                  <a:pt x="2908" y="518"/>
                  <a:pt x="2908" y="518"/>
                </a:cubicBezTo>
                <a:cubicBezTo>
                  <a:pt x="2912" y="525"/>
                  <a:pt x="2912" y="525"/>
                  <a:pt x="2912" y="525"/>
                </a:cubicBezTo>
                <a:cubicBezTo>
                  <a:pt x="2912" y="686"/>
                  <a:pt x="2912" y="686"/>
                  <a:pt x="2912" y="686"/>
                </a:cubicBezTo>
                <a:cubicBezTo>
                  <a:pt x="2846" y="644"/>
                  <a:pt x="2846" y="644"/>
                  <a:pt x="2846" y="644"/>
                </a:cubicBezTo>
                <a:cubicBezTo>
                  <a:pt x="2717" y="726"/>
                  <a:pt x="2717" y="726"/>
                  <a:pt x="2717" y="726"/>
                </a:cubicBezTo>
                <a:cubicBezTo>
                  <a:pt x="2717" y="743"/>
                  <a:pt x="2717" y="743"/>
                  <a:pt x="2717" y="743"/>
                </a:cubicBezTo>
                <a:cubicBezTo>
                  <a:pt x="2704" y="743"/>
                  <a:pt x="2704" y="743"/>
                  <a:pt x="2704" y="743"/>
                </a:cubicBezTo>
                <a:cubicBezTo>
                  <a:pt x="2704" y="762"/>
                  <a:pt x="2704" y="762"/>
                  <a:pt x="2704" y="762"/>
                </a:cubicBezTo>
                <a:cubicBezTo>
                  <a:pt x="2678" y="762"/>
                  <a:pt x="2678" y="762"/>
                  <a:pt x="2678" y="762"/>
                </a:cubicBezTo>
                <a:cubicBezTo>
                  <a:pt x="2678" y="884"/>
                  <a:pt x="2678" y="884"/>
                  <a:pt x="2678" y="884"/>
                </a:cubicBezTo>
                <a:cubicBezTo>
                  <a:pt x="2646" y="884"/>
                  <a:pt x="2646" y="884"/>
                  <a:pt x="2646" y="884"/>
                </a:cubicBezTo>
                <a:cubicBezTo>
                  <a:pt x="2646" y="900"/>
                  <a:pt x="2646" y="900"/>
                  <a:pt x="2646" y="900"/>
                </a:cubicBezTo>
                <a:cubicBezTo>
                  <a:pt x="2626" y="900"/>
                  <a:pt x="2626" y="900"/>
                  <a:pt x="2626" y="900"/>
                </a:cubicBezTo>
                <a:cubicBezTo>
                  <a:pt x="2626" y="810"/>
                  <a:pt x="2626" y="810"/>
                  <a:pt x="2626" y="810"/>
                </a:cubicBezTo>
                <a:cubicBezTo>
                  <a:pt x="2478" y="810"/>
                  <a:pt x="2478" y="810"/>
                  <a:pt x="2478" y="810"/>
                </a:cubicBezTo>
                <a:cubicBezTo>
                  <a:pt x="2444" y="848"/>
                  <a:pt x="2444" y="848"/>
                  <a:pt x="2444" y="848"/>
                </a:cubicBezTo>
                <a:cubicBezTo>
                  <a:pt x="2444" y="852"/>
                  <a:pt x="2444" y="852"/>
                  <a:pt x="2444" y="852"/>
                </a:cubicBezTo>
                <a:cubicBezTo>
                  <a:pt x="2422" y="852"/>
                  <a:pt x="2422" y="852"/>
                  <a:pt x="2422" y="852"/>
                </a:cubicBezTo>
                <a:cubicBezTo>
                  <a:pt x="2422" y="900"/>
                  <a:pt x="2422" y="900"/>
                  <a:pt x="2422" y="900"/>
                </a:cubicBezTo>
                <a:cubicBezTo>
                  <a:pt x="2392" y="900"/>
                  <a:pt x="2392" y="900"/>
                  <a:pt x="2392" y="900"/>
                </a:cubicBezTo>
                <a:cubicBezTo>
                  <a:pt x="2392" y="744"/>
                  <a:pt x="2392" y="744"/>
                  <a:pt x="2392" y="744"/>
                </a:cubicBezTo>
                <a:cubicBezTo>
                  <a:pt x="2250" y="744"/>
                  <a:pt x="2250" y="744"/>
                  <a:pt x="2250" y="744"/>
                </a:cubicBezTo>
                <a:cubicBezTo>
                  <a:pt x="2250" y="909"/>
                  <a:pt x="2250" y="909"/>
                  <a:pt x="2250" y="909"/>
                </a:cubicBezTo>
                <a:cubicBezTo>
                  <a:pt x="2211" y="909"/>
                  <a:pt x="2211" y="909"/>
                  <a:pt x="2211" y="909"/>
                </a:cubicBezTo>
                <a:cubicBezTo>
                  <a:pt x="2211" y="686"/>
                  <a:pt x="2211" y="686"/>
                  <a:pt x="2211" y="686"/>
                </a:cubicBezTo>
                <a:cubicBezTo>
                  <a:pt x="2195" y="686"/>
                  <a:pt x="2195" y="686"/>
                  <a:pt x="2195" y="686"/>
                </a:cubicBezTo>
                <a:cubicBezTo>
                  <a:pt x="2195" y="398"/>
                  <a:pt x="2195" y="398"/>
                  <a:pt x="2195" y="398"/>
                </a:cubicBezTo>
                <a:cubicBezTo>
                  <a:pt x="2185" y="398"/>
                  <a:pt x="2185" y="398"/>
                  <a:pt x="2185" y="398"/>
                </a:cubicBezTo>
                <a:cubicBezTo>
                  <a:pt x="2185" y="395"/>
                  <a:pt x="2185" y="395"/>
                  <a:pt x="2185" y="395"/>
                </a:cubicBezTo>
                <a:cubicBezTo>
                  <a:pt x="2174" y="395"/>
                  <a:pt x="2174" y="395"/>
                  <a:pt x="2174" y="395"/>
                </a:cubicBezTo>
                <a:cubicBezTo>
                  <a:pt x="2174" y="385"/>
                  <a:pt x="2174" y="385"/>
                  <a:pt x="2174" y="385"/>
                </a:cubicBezTo>
                <a:cubicBezTo>
                  <a:pt x="2172" y="384"/>
                  <a:pt x="2172" y="384"/>
                  <a:pt x="2172" y="384"/>
                </a:cubicBezTo>
                <a:cubicBezTo>
                  <a:pt x="2172" y="374"/>
                  <a:pt x="2172" y="374"/>
                  <a:pt x="2172" y="374"/>
                </a:cubicBezTo>
                <a:cubicBezTo>
                  <a:pt x="2163" y="374"/>
                  <a:pt x="2163" y="374"/>
                  <a:pt x="2163" y="374"/>
                </a:cubicBezTo>
                <a:cubicBezTo>
                  <a:pt x="2163" y="317"/>
                  <a:pt x="2163" y="317"/>
                  <a:pt x="2163" y="317"/>
                </a:cubicBezTo>
                <a:cubicBezTo>
                  <a:pt x="2126" y="272"/>
                  <a:pt x="2126" y="272"/>
                  <a:pt x="2126" y="272"/>
                </a:cubicBezTo>
                <a:cubicBezTo>
                  <a:pt x="2126" y="225"/>
                  <a:pt x="2126" y="225"/>
                  <a:pt x="2126" y="225"/>
                </a:cubicBezTo>
                <a:cubicBezTo>
                  <a:pt x="2101" y="225"/>
                  <a:pt x="2101" y="225"/>
                  <a:pt x="2101" y="225"/>
                </a:cubicBezTo>
                <a:cubicBezTo>
                  <a:pt x="2087" y="0"/>
                  <a:pt x="2087" y="0"/>
                  <a:pt x="2087" y="0"/>
                </a:cubicBezTo>
                <a:cubicBezTo>
                  <a:pt x="2072" y="225"/>
                  <a:pt x="2072" y="225"/>
                  <a:pt x="2072" y="225"/>
                </a:cubicBezTo>
                <a:cubicBezTo>
                  <a:pt x="2048" y="225"/>
                  <a:pt x="2048" y="225"/>
                  <a:pt x="2048" y="225"/>
                </a:cubicBezTo>
                <a:cubicBezTo>
                  <a:pt x="2048" y="272"/>
                  <a:pt x="2048" y="272"/>
                  <a:pt x="2048" y="272"/>
                </a:cubicBezTo>
                <a:cubicBezTo>
                  <a:pt x="2011" y="317"/>
                  <a:pt x="2011" y="317"/>
                  <a:pt x="2011" y="317"/>
                </a:cubicBezTo>
                <a:cubicBezTo>
                  <a:pt x="2011" y="374"/>
                  <a:pt x="2011" y="374"/>
                  <a:pt x="2011" y="374"/>
                </a:cubicBezTo>
                <a:cubicBezTo>
                  <a:pt x="2002" y="374"/>
                  <a:pt x="2002" y="374"/>
                  <a:pt x="2002" y="374"/>
                </a:cubicBezTo>
                <a:cubicBezTo>
                  <a:pt x="2002" y="384"/>
                  <a:pt x="2002" y="384"/>
                  <a:pt x="2002" y="384"/>
                </a:cubicBezTo>
                <a:cubicBezTo>
                  <a:pt x="2000" y="385"/>
                  <a:pt x="2000" y="385"/>
                  <a:pt x="2000" y="385"/>
                </a:cubicBezTo>
                <a:cubicBezTo>
                  <a:pt x="2000" y="395"/>
                  <a:pt x="2000" y="395"/>
                  <a:pt x="2000" y="395"/>
                </a:cubicBezTo>
                <a:cubicBezTo>
                  <a:pt x="1989" y="395"/>
                  <a:pt x="1989" y="395"/>
                  <a:pt x="1989" y="395"/>
                </a:cubicBezTo>
                <a:cubicBezTo>
                  <a:pt x="1989" y="398"/>
                  <a:pt x="1989" y="398"/>
                  <a:pt x="1989" y="398"/>
                </a:cubicBezTo>
                <a:cubicBezTo>
                  <a:pt x="1979" y="398"/>
                  <a:pt x="1979" y="398"/>
                  <a:pt x="1979" y="398"/>
                </a:cubicBezTo>
                <a:cubicBezTo>
                  <a:pt x="1979" y="801"/>
                  <a:pt x="1979" y="801"/>
                  <a:pt x="1979" y="801"/>
                </a:cubicBezTo>
                <a:cubicBezTo>
                  <a:pt x="1978" y="802"/>
                  <a:pt x="1978" y="802"/>
                  <a:pt x="1978" y="802"/>
                </a:cubicBezTo>
                <a:cubicBezTo>
                  <a:pt x="1978" y="808"/>
                  <a:pt x="1978" y="808"/>
                  <a:pt x="1978" y="808"/>
                </a:cubicBezTo>
                <a:cubicBezTo>
                  <a:pt x="1856" y="808"/>
                  <a:pt x="1856" y="808"/>
                  <a:pt x="1856" y="808"/>
                </a:cubicBezTo>
                <a:cubicBezTo>
                  <a:pt x="1856" y="874"/>
                  <a:pt x="1856" y="874"/>
                  <a:pt x="1856" y="874"/>
                </a:cubicBezTo>
                <a:cubicBezTo>
                  <a:pt x="1797" y="874"/>
                  <a:pt x="1797" y="874"/>
                  <a:pt x="1797" y="874"/>
                </a:cubicBezTo>
                <a:cubicBezTo>
                  <a:pt x="1797" y="897"/>
                  <a:pt x="1797" y="897"/>
                  <a:pt x="1797" y="897"/>
                </a:cubicBezTo>
                <a:cubicBezTo>
                  <a:pt x="1774" y="897"/>
                  <a:pt x="1774" y="897"/>
                  <a:pt x="1774" y="897"/>
                </a:cubicBezTo>
                <a:cubicBezTo>
                  <a:pt x="1737" y="897"/>
                  <a:pt x="1737" y="897"/>
                  <a:pt x="1737" y="897"/>
                </a:cubicBezTo>
                <a:cubicBezTo>
                  <a:pt x="1737" y="880"/>
                  <a:pt x="1737" y="880"/>
                  <a:pt x="1737" y="880"/>
                </a:cubicBezTo>
                <a:cubicBezTo>
                  <a:pt x="1715" y="866"/>
                  <a:pt x="1715" y="866"/>
                  <a:pt x="1715" y="866"/>
                </a:cubicBezTo>
                <a:cubicBezTo>
                  <a:pt x="1655" y="866"/>
                  <a:pt x="1655" y="866"/>
                  <a:pt x="1655" y="866"/>
                </a:cubicBezTo>
                <a:cubicBezTo>
                  <a:pt x="1655" y="818"/>
                  <a:pt x="1655" y="818"/>
                  <a:pt x="1655" y="818"/>
                </a:cubicBezTo>
                <a:cubicBezTo>
                  <a:pt x="1633" y="818"/>
                  <a:pt x="1633" y="818"/>
                  <a:pt x="1633" y="818"/>
                </a:cubicBezTo>
                <a:cubicBezTo>
                  <a:pt x="1633" y="745"/>
                  <a:pt x="1633" y="745"/>
                  <a:pt x="1633" y="745"/>
                </a:cubicBezTo>
                <a:cubicBezTo>
                  <a:pt x="1605" y="745"/>
                  <a:pt x="1605" y="745"/>
                  <a:pt x="1605" y="745"/>
                </a:cubicBezTo>
                <a:cubicBezTo>
                  <a:pt x="1605" y="499"/>
                  <a:pt x="1605" y="499"/>
                  <a:pt x="1605" y="499"/>
                </a:cubicBezTo>
                <a:cubicBezTo>
                  <a:pt x="1391" y="499"/>
                  <a:pt x="1391" y="499"/>
                  <a:pt x="1391" y="499"/>
                </a:cubicBezTo>
                <a:cubicBezTo>
                  <a:pt x="1391" y="745"/>
                  <a:pt x="1391" y="745"/>
                  <a:pt x="1391" y="745"/>
                </a:cubicBezTo>
                <a:cubicBezTo>
                  <a:pt x="1363" y="745"/>
                  <a:pt x="1363" y="745"/>
                  <a:pt x="1363" y="745"/>
                </a:cubicBezTo>
                <a:cubicBezTo>
                  <a:pt x="1363" y="751"/>
                  <a:pt x="1363" y="751"/>
                  <a:pt x="1363" y="751"/>
                </a:cubicBezTo>
                <a:cubicBezTo>
                  <a:pt x="1317" y="751"/>
                  <a:pt x="1317" y="751"/>
                  <a:pt x="1317" y="751"/>
                </a:cubicBezTo>
                <a:cubicBezTo>
                  <a:pt x="1317" y="818"/>
                  <a:pt x="1317" y="818"/>
                  <a:pt x="1317" y="818"/>
                </a:cubicBezTo>
                <a:cubicBezTo>
                  <a:pt x="1308" y="818"/>
                  <a:pt x="1308" y="818"/>
                  <a:pt x="1308" y="818"/>
                </a:cubicBezTo>
                <a:cubicBezTo>
                  <a:pt x="1308" y="909"/>
                  <a:pt x="1308" y="909"/>
                  <a:pt x="1308" y="909"/>
                </a:cubicBezTo>
                <a:cubicBezTo>
                  <a:pt x="1273" y="909"/>
                  <a:pt x="1273" y="909"/>
                  <a:pt x="1273" y="909"/>
                </a:cubicBezTo>
                <a:cubicBezTo>
                  <a:pt x="1227" y="909"/>
                  <a:pt x="1227" y="909"/>
                  <a:pt x="1227" y="909"/>
                </a:cubicBezTo>
                <a:cubicBezTo>
                  <a:pt x="1227" y="877"/>
                  <a:pt x="1227" y="877"/>
                  <a:pt x="1227" y="877"/>
                </a:cubicBezTo>
                <a:cubicBezTo>
                  <a:pt x="1193" y="842"/>
                  <a:pt x="1193" y="842"/>
                  <a:pt x="1193" y="842"/>
                </a:cubicBezTo>
                <a:cubicBezTo>
                  <a:pt x="1192" y="842"/>
                  <a:pt x="1192" y="842"/>
                  <a:pt x="1192" y="842"/>
                </a:cubicBezTo>
                <a:cubicBezTo>
                  <a:pt x="1192" y="810"/>
                  <a:pt x="1192" y="810"/>
                  <a:pt x="1192" y="810"/>
                </a:cubicBezTo>
                <a:cubicBezTo>
                  <a:pt x="1155" y="810"/>
                  <a:pt x="1155" y="810"/>
                  <a:pt x="1155" y="810"/>
                </a:cubicBezTo>
                <a:cubicBezTo>
                  <a:pt x="1155" y="437"/>
                  <a:pt x="1155" y="437"/>
                  <a:pt x="1155" y="437"/>
                </a:cubicBezTo>
                <a:cubicBezTo>
                  <a:pt x="938" y="437"/>
                  <a:pt x="938" y="437"/>
                  <a:pt x="938" y="437"/>
                </a:cubicBezTo>
                <a:cubicBezTo>
                  <a:pt x="938" y="594"/>
                  <a:pt x="938" y="594"/>
                  <a:pt x="938" y="594"/>
                </a:cubicBezTo>
                <a:cubicBezTo>
                  <a:pt x="904" y="594"/>
                  <a:pt x="904" y="594"/>
                  <a:pt x="904" y="594"/>
                </a:cubicBezTo>
                <a:cubicBezTo>
                  <a:pt x="904" y="628"/>
                  <a:pt x="904" y="628"/>
                  <a:pt x="904" y="628"/>
                </a:cubicBezTo>
                <a:cubicBezTo>
                  <a:pt x="904" y="842"/>
                  <a:pt x="904" y="842"/>
                  <a:pt x="904" y="842"/>
                </a:cubicBezTo>
                <a:cubicBezTo>
                  <a:pt x="845" y="842"/>
                  <a:pt x="845" y="842"/>
                  <a:pt x="845" y="842"/>
                </a:cubicBezTo>
                <a:cubicBezTo>
                  <a:pt x="845" y="909"/>
                  <a:pt x="845" y="909"/>
                  <a:pt x="845" y="909"/>
                </a:cubicBezTo>
                <a:cubicBezTo>
                  <a:pt x="816" y="909"/>
                  <a:pt x="816" y="909"/>
                  <a:pt x="816" y="909"/>
                </a:cubicBezTo>
                <a:cubicBezTo>
                  <a:pt x="816" y="730"/>
                  <a:pt x="816" y="730"/>
                  <a:pt x="816" y="730"/>
                </a:cubicBezTo>
                <a:cubicBezTo>
                  <a:pt x="704" y="730"/>
                  <a:pt x="704" y="730"/>
                  <a:pt x="704" y="730"/>
                </a:cubicBezTo>
                <a:cubicBezTo>
                  <a:pt x="704" y="852"/>
                  <a:pt x="704" y="852"/>
                  <a:pt x="704" y="852"/>
                </a:cubicBezTo>
                <a:cubicBezTo>
                  <a:pt x="667" y="852"/>
                  <a:pt x="667" y="852"/>
                  <a:pt x="667" y="852"/>
                </a:cubicBezTo>
                <a:cubicBezTo>
                  <a:pt x="667" y="739"/>
                  <a:pt x="667" y="739"/>
                  <a:pt x="667" y="739"/>
                </a:cubicBezTo>
                <a:cubicBezTo>
                  <a:pt x="651" y="739"/>
                  <a:pt x="651" y="739"/>
                  <a:pt x="651" y="739"/>
                </a:cubicBezTo>
                <a:cubicBezTo>
                  <a:pt x="651" y="713"/>
                  <a:pt x="651" y="713"/>
                  <a:pt x="651" y="713"/>
                </a:cubicBezTo>
                <a:cubicBezTo>
                  <a:pt x="641" y="713"/>
                  <a:pt x="641" y="713"/>
                  <a:pt x="641" y="713"/>
                </a:cubicBezTo>
                <a:cubicBezTo>
                  <a:pt x="641" y="643"/>
                  <a:pt x="641" y="643"/>
                  <a:pt x="641" y="643"/>
                </a:cubicBezTo>
                <a:cubicBezTo>
                  <a:pt x="547" y="531"/>
                  <a:pt x="547" y="531"/>
                  <a:pt x="547" y="531"/>
                </a:cubicBezTo>
                <a:cubicBezTo>
                  <a:pt x="453" y="643"/>
                  <a:pt x="453" y="643"/>
                  <a:pt x="453" y="643"/>
                </a:cubicBezTo>
                <a:cubicBezTo>
                  <a:pt x="453" y="686"/>
                  <a:pt x="453" y="686"/>
                  <a:pt x="453" y="686"/>
                </a:cubicBezTo>
                <a:cubicBezTo>
                  <a:pt x="294" y="686"/>
                  <a:pt x="294" y="686"/>
                  <a:pt x="294" y="686"/>
                </a:cubicBezTo>
                <a:cubicBezTo>
                  <a:pt x="294" y="877"/>
                  <a:pt x="294" y="877"/>
                  <a:pt x="294" y="877"/>
                </a:cubicBezTo>
                <a:cubicBezTo>
                  <a:pt x="279" y="877"/>
                  <a:pt x="279" y="877"/>
                  <a:pt x="279" y="877"/>
                </a:cubicBezTo>
                <a:cubicBezTo>
                  <a:pt x="249" y="894"/>
                  <a:pt x="249" y="894"/>
                  <a:pt x="249" y="894"/>
                </a:cubicBezTo>
                <a:cubicBezTo>
                  <a:pt x="249" y="932"/>
                  <a:pt x="249" y="932"/>
                  <a:pt x="249" y="932"/>
                </a:cubicBezTo>
                <a:cubicBezTo>
                  <a:pt x="249" y="932"/>
                  <a:pt x="249" y="932"/>
                  <a:pt x="249" y="932"/>
                </a:cubicBezTo>
                <a:cubicBezTo>
                  <a:pt x="249" y="900"/>
                  <a:pt x="249" y="900"/>
                  <a:pt x="249" y="900"/>
                </a:cubicBezTo>
                <a:cubicBezTo>
                  <a:pt x="67" y="900"/>
                  <a:pt x="67" y="900"/>
                  <a:pt x="67" y="900"/>
                </a:cubicBezTo>
                <a:cubicBezTo>
                  <a:pt x="67" y="928"/>
                  <a:pt x="67" y="928"/>
                  <a:pt x="67" y="928"/>
                </a:cubicBezTo>
                <a:cubicBezTo>
                  <a:pt x="52" y="928"/>
                  <a:pt x="52" y="928"/>
                  <a:pt x="52" y="928"/>
                </a:cubicBezTo>
                <a:cubicBezTo>
                  <a:pt x="52" y="1000"/>
                  <a:pt x="52" y="1000"/>
                  <a:pt x="52" y="1000"/>
                </a:cubicBezTo>
                <a:cubicBezTo>
                  <a:pt x="0" y="1000"/>
                  <a:pt x="0" y="1000"/>
                  <a:pt x="0" y="1000"/>
                </a:cubicBezTo>
                <a:cubicBezTo>
                  <a:pt x="0" y="1235"/>
                  <a:pt x="0" y="1235"/>
                  <a:pt x="0" y="1235"/>
                </a:cubicBezTo>
                <a:cubicBezTo>
                  <a:pt x="5836" y="1235"/>
                  <a:pt x="5836" y="1235"/>
                  <a:pt x="5836" y="1235"/>
                </a:cubicBezTo>
                <a:cubicBezTo>
                  <a:pt x="5836" y="1000"/>
                  <a:pt x="5836" y="1000"/>
                  <a:pt x="5836" y="1000"/>
                </a:cubicBezTo>
                <a:lnTo>
                  <a:pt x="5784" y="1000"/>
                </a:lnTo>
                <a:close/>
                <a:moveTo>
                  <a:pt x="2968" y="681"/>
                </a:moveTo>
                <a:cubicBezTo>
                  <a:pt x="2968" y="637"/>
                  <a:pt x="2968" y="637"/>
                  <a:pt x="2968" y="637"/>
                </a:cubicBezTo>
                <a:cubicBezTo>
                  <a:pt x="2968" y="631"/>
                  <a:pt x="2973" y="626"/>
                  <a:pt x="2979" y="626"/>
                </a:cubicBezTo>
                <a:cubicBezTo>
                  <a:pt x="2985" y="626"/>
                  <a:pt x="2991" y="631"/>
                  <a:pt x="2991" y="637"/>
                </a:cubicBezTo>
                <a:cubicBezTo>
                  <a:pt x="2991" y="681"/>
                  <a:pt x="2991" y="681"/>
                  <a:pt x="2991" y="681"/>
                </a:cubicBezTo>
                <a:lnTo>
                  <a:pt x="2968" y="681"/>
                </a:lnTo>
                <a:close/>
                <a:moveTo>
                  <a:pt x="2991" y="554"/>
                </a:moveTo>
                <a:cubicBezTo>
                  <a:pt x="2991" y="598"/>
                  <a:pt x="2991" y="598"/>
                  <a:pt x="2991" y="598"/>
                </a:cubicBezTo>
                <a:cubicBezTo>
                  <a:pt x="2968" y="598"/>
                  <a:pt x="2968" y="598"/>
                  <a:pt x="2968" y="598"/>
                </a:cubicBezTo>
                <a:cubicBezTo>
                  <a:pt x="2968" y="554"/>
                  <a:pt x="2968" y="554"/>
                  <a:pt x="2968" y="554"/>
                </a:cubicBezTo>
                <a:cubicBezTo>
                  <a:pt x="2968" y="548"/>
                  <a:pt x="2973" y="542"/>
                  <a:pt x="2979" y="542"/>
                </a:cubicBezTo>
                <a:cubicBezTo>
                  <a:pt x="2985" y="542"/>
                  <a:pt x="2991" y="548"/>
                  <a:pt x="2991" y="554"/>
                </a:cubicBezTo>
                <a:close/>
                <a:moveTo>
                  <a:pt x="2969" y="433"/>
                </a:moveTo>
                <a:cubicBezTo>
                  <a:pt x="2969" y="431"/>
                  <a:pt x="2971" y="429"/>
                  <a:pt x="2973" y="429"/>
                </a:cubicBezTo>
                <a:cubicBezTo>
                  <a:pt x="2975" y="429"/>
                  <a:pt x="2976" y="431"/>
                  <a:pt x="2976" y="433"/>
                </a:cubicBezTo>
                <a:cubicBezTo>
                  <a:pt x="2976" y="439"/>
                  <a:pt x="2976" y="439"/>
                  <a:pt x="2976" y="439"/>
                </a:cubicBezTo>
                <a:cubicBezTo>
                  <a:pt x="2969" y="439"/>
                  <a:pt x="2969" y="439"/>
                  <a:pt x="2969" y="439"/>
                </a:cubicBezTo>
                <a:lnTo>
                  <a:pt x="2969" y="433"/>
                </a:lnTo>
                <a:close/>
                <a:moveTo>
                  <a:pt x="2968" y="462"/>
                </a:moveTo>
                <a:cubicBezTo>
                  <a:pt x="2968" y="460"/>
                  <a:pt x="2970" y="457"/>
                  <a:pt x="2973" y="457"/>
                </a:cubicBezTo>
                <a:cubicBezTo>
                  <a:pt x="2976" y="457"/>
                  <a:pt x="2978" y="460"/>
                  <a:pt x="2978" y="462"/>
                </a:cubicBezTo>
                <a:cubicBezTo>
                  <a:pt x="2978" y="470"/>
                  <a:pt x="2978" y="470"/>
                  <a:pt x="2978" y="470"/>
                </a:cubicBezTo>
                <a:cubicBezTo>
                  <a:pt x="2968" y="470"/>
                  <a:pt x="2968" y="470"/>
                  <a:pt x="2968" y="470"/>
                </a:cubicBezTo>
                <a:lnTo>
                  <a:pt x="2968" y="462"/>
                </a:lnTo>
                <a:close/>
                <a:moveTo>
                  <a:pt x="2965" y="489"/>
                </a:moveTo>
                <a:cubicBezTo>
                  <a:pt x="2965" y="485"/>
                  <a:pt x="2969" y="481"/>
                  <a:pt x="2973" y="481"/>
                </a:cubicBezTo>
                <a:cubicBezTo>
                  <a:pt x="2977" y="481"/>
                  <a:pt x="2980" y="485"/>
                  <a:pt x="2980" y="489"/>
                </a:cubicBezTo>
                <a:cubicBezTo>
                  <a:pt x="2980" y="507"/>
                  <a:pt x="2980" y="507"/>
                  <a:pt x="2980" y="507"/>
                </a:cubicBezTo>
                <a:cubicBezTo>
                  <a:pt x="2965" y="507"/>
                  <a:pt x="2965" y="507"/>
                  <a:pt x="2965" y="507"/>
                </a:cubicBezTo>
                <a:lnTo>
                  <a:pt x="2965" y="489"/>
                </a:lnTo>
                <a:close/>
                <a:moveTo>
                  <a:pt x="2948" y="395"/>
                </a:moveTo>
                <a:cubicBezTo>
                  <a:pt x="2948" y="391"/>
                  <a:pt x="2952" y="387"/>
                  <a:pt x="2956" y="387"/>
                </a:cubicBezTo>
                <a:cubicBezTo>
                  <a:pt x="2960" y="387"/>
                  <a:pt x="2964" y="391"/>
                  <a:pt x="2964" y="395"/>
                </a:cubicBezTo>
                <a:cubicBezTo>
                  <a:pt x="2964" y="413"/>
                  <a:pt x="2964" y="413"/>
                  <a:pt x="2964" y="413"/>
                </a:cubicBezTo>
                <a:cubicBezTo>
                  <a:pt x="2948" y="413"/>
                  <a:pt x="2948" y="413"/>
                  <a:pt x="2948" y="413"/>
                </a:cubicBezTo>
                <a:lnTo>
                  <a:pt x="2948" y="395"/>
                </a:lnTo>
                <a:close/>
                <a:moveTo>
                  <a:pt x="2937" y="433"/>
                </a:moveTo>
                <a:cubicBezTo>
                  <a:pt x="2937" y="431"/>
                  <a:pt x="2938" y="429"/>
                  <a:pt x="2940" y="429"/>
                </a:cubicBezTo>
                <a:cubicBezTo>
                  <a:pt x="2942" y="429"/>
                  <a:pt x="2944" y="431"/>
                  <a:pt x="2944" y="433"/>
                </a:cubicBezTo>
                <a:cubicBezTo>
                  <a:pt x="2944" y="439"/>
                  <a:pt x="2944" y="439"/>
                  <a:pt x="2944" y="439"/>
                </a:cubicBezTo>
                <a:cubicBezTo>
                  <a:pt x="2937" y="439"/>
                  <a:pt x="2937" y="439"/>
                  <a:pt x="2937" y="439"/>
                </a:cubicBezTo>
                <a:lnTo>
                  <a:pt x="2937" y="433"/>
                </a:lnTo>
                <a:close/>
                <a:moveTo>
                  <a:pt x="2935" y="462"/>
                </a:moveTo>
                <a:cubicBezTo>
                  <a:pt x="2935" y="460"/>
                  <a:pt x="2938" y="457"/>
                  <a:pt x="2940" y="457"/>
                </a:cubicBezTo>
                <a:cubicBezTo>
                  <a:pt x="2943" y="457"/>
                  <a:pt x="2945" y="460"/>
                  <a:pt x="2945" y="462"/>
                </a:cubicBezTo>
                <a:cubicBezTo>
                  <a:pt x="2945" y="470"/>
                  <a:pt x="2945" y="470"/>
                  <a:pt x="2945" y="470"/>
                </a:cubicBezTo>
                <a:cubicBezTo>
                  <a:pt x="2935" y="470"/>
                  <a:pt x="2935" y="470"/>
                  <a:pt x="2935" y="470"/>
                </a:cubicBezTo>
                <a:lnTo>
                  <a:pt x="2935" y="462"/>
                </a:lnTo>
                <a:close/>
                <a:moveTo>
                  <a:pt x="2933" y="489"/>
                </a:moveTo>
                <a:cubicBezTo>
                  <a:pt x="2933" y="485"/>
                  <a:pt x="2936" y="481"/>
                  <a:pt x="2940" y="481"/>
                </a:cubicBezTo>
                <a:cubicBezTo>
                  <a:pt x="2945" y="481"/>
                  <a:pt x="2948" y="485"/>
                  <a:pt x="2948" y="489"/>
                </a:cubicBezTo>
                <a:cubicBezTo>
                  <a:pt x="2948" y="507"/>
                  <a:pt x="2948" y="507"/>
                  <a:pt x="2948" y="507"/>
                </a:cubicBezTo>
                <a:cubicBezTo>
                  <a:pt x="2933" y="507"/>
                  <a:pt x="2933" y="507"/>
                  <a:pt x="2933" y="507"/>
                </a:cubicBezTo>
                <a:lnTo>
                  <a:pt x="2933" y="489"/>
                </a:lnTo>
                <a:close/>
                <a:moveTo>
                  <a:pt x="2923" y="554"/>
                </a:moveTo>
                <a:cubicBezTo>
                  <a:pt x="2923" y="548"/>
                  <a:pt x="2928" y="542"/>
                  <a:pt x="2934" y="542"/>
                </a:cubicBezTo>
                <a:cubicBezTo>
                  <a:pt x="2940" y="542"/>
                  <a:pt x="2945" y="548"/>
                  <a:pt x="2945" y="554"/>
                </a:cubicBezTo>
                <a:cubicBezTo>
                  <a:pt x="2945" y="598"/>
                  <a:pt x="2945" y="598"/>
                  <a:pt x="2945" y="598"/>
                </a:cubicBezTo>
                <a:cubicBezTo>
                  <a:pt x="2923" y="598"/>
                  <a:pt x="2923" y="598"/>
                  <a:pt x="2923" y="598"/>
                </a:cubicBezTo>
                <a:lnTo>
                  <a:pt x="2923" y="554"/>
                </a:lnTo>
                <a:close/>
                <a:moveTo>
                  <a:pt x="2923" y="637"/>
                </a:moveTo>
                <a:cubicBezTo>
                  <a:pt x="2923" y="631"/>
                  <a:pt x="2928" y="626"/>
                  <a:pt x="2934" y="626"/>
                </a:cubicBezTo>
                <a:cubicBezTo>
                  <a:pt x="2940" y="626"/>
                  <a:pt x="2945" y="631"/>
                  <a:pt x="2945" y="637"/>
                </a:cubicBezTo>
                <a:cubicBezTo>
                  <a:pt x="2945" y="681"/>
                  <a:pt x="2945" y="681"/>
                  <a:pt x="2945" y="681"/>
                </a:cubicBezTo>
                <a:cubicBezTo>
                  <a:pt x="2923" y="681"/>
                  <a:pt x="2923" y="681"/>
                  <a:pt x="2923" y="681"/>
                </a:cubicBezTo>
                <a:lnTo>
                  <a:pt x="2923" y="637"/>
                </a:lnTo>
                <a:close/>
                <a:moveTo>
                  <a:pt x="778" y="928"/>
                </a:moveTo>
                <a:cubicBezTo>
                  <a:pt x="786" y="928"/>
                  <a:pt x="786" y="928"/>
                  <a:pt x="786" y="928"/>
                </a:cubicBezTo>
                <a:cubicBezTo>
                  <a:pt x="786" y="932"/>
                  <a:pt x="786" y="932"/>
                  <a:pt x="786" y="932"/>
                </a:cubicBezTo>
                <a:cubicBezTo>
                  <a:pt x="778" y="932"/>
                  <a:pt x="778" y="932"/>
                  <a:pt x="778" y="932"/>
                </a:cubicBezTo>
                <a:lnTo>
                  <a:pt x="778" y="928"/>
                </a:lnTo>
                <a:close/>
              </a:path>
            </a:pathLst>
          </a:custGeom>
          <a:solidFill>
            <a:schemeClr val="tx1">
              <a:alpha val="5000"/>
            </a:schemeClr>
          </a:solidFill>
          <a:ln>
            <a:noFill/>
          </a:ln>
        </p:spPr>
        <p:txBody>
          <a:bodyPr vert="horz" wrap="square" lIns="91428" tIns="45714" rIns="91428" bIns="45714" numCol="1" anchor="t" anchorCtr="0" compatLnSpc="1">
            <a:prstTxWarp prst="textNoShape">
              <a:avLst/>
            </a:prstTxWarp>
          </a:bodyPr>
          <a:lstStyle/>
          <a:p>
            <a:endParaRPr lang="en-US" sz="1351"/>
          </a:p>
        </p:txBody>
      </p:sp>
      <p:sp>
        <p:nvSpPr>
          <p:cNvPr id="7" name="TextBox 6"/>
          <p:cNvSpPr txBox="1"/>
          <p:nvPr userDrawn="1"/>
        </p:nvSpPr>
        <p:spPr>
          <a:xfrm>
            <a:off x="10882745" y="540330"/>
            <a:ext cx="753732" cy="276999"/>
          </a:xfrm>
          <a:prstGeom prst="rect">
            <a:avLst/>
          </a:prstGeom>
          <a:noFill/>
        </p:spPr>
        <p:txBody>
          <a:bodyPr wrap="none" rtlCol="0">
            <a:spAutoFit/>
          </a:bodyPr>
          <a:lstStyle/>
          <a:p>
            <a:pPr marL="0" marR="0" indent="0" algn="l" defTabSz="914309" rtl="0" eaLnBrk="1" fontAlgn="auto" latinLnBrk="0" hangingPunct="1">
              <a:lnSpc>
                <a:spcPct val="100000"/>
              </a:lnSpc>
              <a:spcBef>
                <a:spcPts val="0"/>
              </a:spcBef>
              <a:spcAft>
                <a:spcPts val="0"/>
              </a:spcAft>
              <a:buClrTx/>
              <a:buSzTx/>
              <a:buFontTx/>
              <a:buNone/>
              <a:tabLst/>
              <a:defRPr/>
            </a:pPr>
            <a:r>
              <a:rPr lang="en-ID" sz="700" spc="300" dirty="0">
                <a:solidFill>
                  <a:schemeClr val="tx1">
                    <a:lumMod val="75000"/>
                    <a:lumOff val="25000"/>
                  </a:schemeClr>
                </a:solidFill>
              </a:rPr>
              <a:t>PAGE</a:t>
            </a:r>
            <a:r>
              <a:rPr lang="en-ID" sz="1200" dirty="0">
                <a:solidFill>
                  <a:schemeClr val="tx1">
                    <a:lumMod val="75000"/>
                    <a:lumOff val="25000"/>
                  </a:schemeClr>
                </a:solidFill>
              </a:rPr>
              <a:t> </a:t>
            </a:r>
            <a:fld id="{66DBA9ED-0BD1-4583-826F-4EF9BAC8450E}" type="slidenum">
              <a:rPr lang="en-ID" sz="1200" b="1" smtClean="0">
                <a:solidFill>
                  <a:schemeClr val="accent1"/>
                </a:solidFill>
                <a:latin typeface="+mj-lt"/>
              </a:rPr>
              <a:pPr marL="0" marR="0" indent="0" algn="l" defTabSz="914309" rtl="0" eaLnBrk="1" fontAlgn="auto" latinLnBrk="0" hangingPunct="1">
                <a:lnSpc>
                  <a:spcPct val="100000"/>
                </a:lnSpc>
                <a:spcBef>
                  <a:spcPts val="0"/>
                </a:spcBef>
                <a:spcAft>
                  <a:spcPts val="0"/>
                </a:spcAft>
                <a:buClrTx/>
                <a:buSzTx/>
                <a:buFontTx/>
                <a:buNone/>
                <a:tabLst/>
                <a:defRPr/>
              </a:pPr>
              <a:t>‹#›</a:t>
            </a:fld>
            <a:endParaRPr lang="en-ID" sz="1800" b="1" dirty="0">
              <a:solidFill>
                <a:schemeClr val="accent1"/>
              </a:solidFill>
              <a:latin typeface="+mj-lt"/>
            </a:endParaRPr>
          </a:p>
        </p:txBody>
      </p:sp>
      <p:grpSp>
        <p:nvGrpSpPr>
          <p:cNvPr id="9" name="Group 8"/>
          <p:cNvGrpSpPr/>
          <p:nvPr userDrawn="1"/>
        </p:nvGrpSpPr>
        <p:grpSpPr>
          <a:xfrm>
            <a:off x="904984" y="6216381"/>
            <a:ext cx="3157391" cy="261610"/>
            <a:chOff x="904984" y="6216381"/>
            <a:chExt cx="3157391" cy="261610"/>
          </a:xfrm>
        </p:grpSpPr>
        <p:sp>
          <p:nvSpPr>
            <p:cNvPr id="10" name="TextBox 9"/>
            <p:cNvSpPr txBox="1"/>
            <p:nvPr userDrawn="1"/>
          </p:nvSpPr>
          <p:spPr>
            <a:xfrm>
              <a:off x="1213518" y="6216381"/>
              <a:ext cx="2848857" cy="261610"/>
            </a:xfrm>
            <a:prstGeom prst="rect">
              <a:avLst/>
            </a:prstGeom>
            <a:noFill/>
          </p:spPr>
          <p:txBody>
            <a:bodyPr wrap="none" rtlCol="0">
              <a:spAutoFit/>
            </a:bodyPr>
            <a:lstStyle/>
            <a:p>
              <a:pPr algn="ctr"/>
              <a:r>
                <a:rPr lang="en-ID" sz="1100" b="0" i="0" kern="1200" dirty="0">
                  <a:solidFill>
                    <a:schemeClr val="tx1">
                      <a:lumMod val="75000"/>
                      <a:lumOff val="25000"/>
                    </a:schemeClr>
                  </a:solidFill>
                  <a:effectLst/>
                  <a:latin typeface="+mn-lt"/>
                  <a:ea typeface="+mn-ea"/>
                  <a:cs typeface="+mn-cs"/>
                </a:rPr>
                <a:t>© 2017 </a:t>
              </a:r>
              <a:r>
                <a:rPr lang="en-ID" sz="1100" b="1" i="0" kern="1200" dirty="0">
                  <a:solidFill>
                    <a:schemeClr val="accent1"/>
                  </a:solidFill>
                  <a:effectLst/>
                  <a:latin typeface="+mn-lt"/>
                  <a:ea typeface="+mn-ea"/>
                  <a:cs typeface="+mn-cs"/>
                </a:rPr>
                <a:t>Planner-Template</a:t>
              </a:r>
              <a:r>
                <a:rPr lang="en-ID" sz="1100" b="0" i="0" kern="1200" dirty="0">
                  <a:solidFill>
                    <a:schemeClr val="tx1">
                      <a:lumMod val="75000"/>
                      <a:lumOff val="25000"/>
                    </a:schemeClr>
                  </a:solidFill>
                  <a:effectLst/>
                  <a:latin typeface="+mn-lt"/>
                  <a:ea typeface="+mn-ea"/>
                  <a:cs typeface="+mn-cs"/>
                </a:rPr>
                <a:t> All rights reserved</a:t>
              </a:r>
              <a:endParaRPr lang="en-ID" sz="1100" dirty="0">
                <a:solidFill>
                  <a:schemeClr val="tx1">
                    <a:lumMod val="75000"/>
                    <a:lumOff val="25000"/>
                  </a:schemeClr>
                </a:solidFill>
              </a:endParaRPr>
            </a:p>
          </p:txBody>
        </p:sp>
        <p:grpSp>
          <p:nvGrpSpPr>
            <p:cNvPr id="13" name="Group 12"/>
            <p:cNvGrpSpPr/>
            <p:nvPr userDrawn="1"/>
          </p:nvGrpSpPr>
          <p:grpSpPr>
            <a:xfrm>
              <a:off x="904984" y="6254930"/>
              <a:ext cx="357425" cy="184511"/>
              <a:chOff x="4858544" y="3598069"/>
              <a:chExt cx="1614487" cy="833438"/>
            </a:xfrm>
            <a:solidFill>
              <a:schemeClr val="accent1"/>
            </a:solidFill>
          </p:grpSpPr>
          <p:sp>
            <p:nvSpPr>
              <p:cNvPr id="14" name="Freeform 20"/>
              <p:cNvSpPr>
                <a:spLocks/>
              </p:cNvSpPr>
              <p:nvPr userDrawn="1"/>
            </p:nvSpPr>
            <p:spPr bwMode="auto">
              <a:xfrm>
                <a:off x="4858544" y="3777457"/>
                <a:ext cx="1355725" cy="654050"/>
              </a:xfrm>
              <a:custGeom>
                <a:avLst/>
                <a:gdLst>
                  <a:gd name="T0" fmla="*/ 89 w 257"/>
                  <a:gd name="T1" fmla="*/ 59 h 124"/>
                  <a:gd name="T2" fmla="*/ 101 w 257"/>
                  <a:gd name="T3" fmla="*/ 45 h 124"/>
                  <a:gd name="T4" fmla="*/ 214 w 257"/>
                  <a:gd name="T5" fmla="*/ 2 h 124"/>
                  <a:gd name="T6" fmla="*/ 247 w 257"/>
                  <a:gd name="T7" fmla="*/ 29 h 124"/>
                  <a:gd name="T8" fmla="*/ 247 w 257"/>
                  <a:gd name="T9" fmla="*/ 60 h 124"/>
                  <a:gd name="T10" fmla="*/ 148 w 257"/>
                  <a:gd name="T11" fmla="*/ 119 h 124"/>
                  <a:gd name="T12" fmla="*/ 139 w 257"/>
                  <a:gd name="T13" fmla="*/ 119 h 124"/>
                  <a:gd name="T14" fmla="*/ 45 w 257"/>
                  <a:gd name="T15" fmla="*/ 110 h 124"/>
                  <a:gd name="T16" fmla="*/ 138 w 257"/>
                  <a:gd name="T17" fmla="*/ 69 h 124"/>
                  <a:gd name="T18" fmla="*/ 149 w 257"/>
                  <a:gd name="T19" fmla="*/ 69 h 124"/>
                  <a:gd name="T20" fmla="*/ 156 w 257"/>
                  <a:gd name="T21" fmla="*/ 57 h 124"/>
                  <a:gd name="T22" fmla="*/ 142 w 257"/>
                  <a:gd name="T23" fmla="*/ 55 h 124"/>
                  <a:gd name="T24" fmla="*/ 135 w 257"/>
                  <a:gd name="T25" fmla="*/ 64 h 124"/>
                  <a:gd name="T26" fmla="*/ 89 w 257"/>
                  <a:gd name="T27" fmla="*/ 59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7" h="124">
                    <a:moveTo>
                      <a:pt x="89" y="59"/>
                    </a:moveTo>
                    <a:cubicBezTo>
                      <a:pt x="98" y="44"/>
                      <a:pt x="101" y="45"/>
                      <a:pt x="101" y="45"/>
                    </a:cubicBezTo>
                    <a:cubicBezTo>
                      <a:pt x="145" y="34"/>
                      <a:pt x="214" y="2"/>
                      <a:pt x="214" y="2"/>
                    </a:cubicBezTo>
                    <a:cubicBezTo>
                      <a:pt x="221" y="0"/>
                      <a:pt x="236" y="8"/>
                      <a:pt x="247" y="29"/>
                    </a:cubicBezTo>
                    <a:cubicBezTo>
                      <a:pt x="257" y="50"/>
                      <a:pt x="247" y="60"/>
                      <a:pt x="247" y="60"/>
                    </a:cubicBezTo>
                    <a:cubicBezTo>
                      <a:pt x="148" y="119"/>
                      <a:pt x="148" y="119"/>
                      <a:pt x="148" y="119"/>
                    </a:cubicBezTo>
                    <a:cubicBezTo>
                      <a:pt x="145" y="121"/>
                      <a:pt x="139" y="119"/>
                      <a:pt x="139" y="119"/>
                    </a:cubicBezTo>
                    <a:cubicBezTo>
                      <a:pt x="108" y="105"/>
                      <a:pt x="49" y="118"/>
                      <a:pt x="45" y="110"/>
                    </a:cubicBezTo>
                    <a:cubicBezTo>
                      <a:pt x="138" y="69"/>
                      <a:pt x="138" y="69"/>
                      <a:pt x="138" y="69"/>
                    </a:cubicBezTo>
                    <a:cubicBezTo>
                      <a:pt x="141" y="71"/>
                      <a:pt x="145" y="71"/>
                      <a:pt x="149" y="69"/>
                    </a:cubicBezTo>
                    <a:cubicBezTo>
                      <a:pt x="155" y="67"/>
                      <a:pt x="158" y="61"/>
                      <a:pt x="156" y="57"/>
                    </a:cubicBezTo>
                    <a:cubicBezTo>
                      <a:pt x="154" y="53"/>
                      <a:pt x="148" y="52"/>
                      <a:pt x="142" y="55"/>
                    </a:cubicBezTo>
                    <a:cubicBezTo>
                      <a:pt x="138" y="56"/>
                      <a:pt x="135" y="60"/>
                      <a:pt x="135" y="64"/>
                    </a:cubicBezTo>
                    <a:cubicBezTo>
                      <a:pt x="0" y="124"/>
                      <a:pt x="41" y="122"/>
                      <a:pt x="89" y="5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00"/>
              </a:p>
            </p:txBody>
          </p:sp>
          <p:sp>
            <p:nvSpPr>
              <p:cNvPr id="15" name="Freeform 21"/>
              <p:cNvSpPr>
                <a:spLocks/>
              </p:cNvSpPr>
              <p:nvPr userDrawn="1"/>
            </p:nvSpPr>
            <p:spPr bwMode="auto">
              <a:xfrm>
                <a:off x="5977731" y="3598069"/>
                <a:ext cx="495300" cy="558800"/>
              </a:xfrm>
              <a:custGeom>
                <a:avLst/>
                <a:gdLst>
                  <a:gd name="T0" fmla="*/ 36 w 94"/>
                  <a:gd name="T1" fmla="*/ 58 h 106"/>
                  <a:gd name="T2" fmla="*/ 2 w 94"/>
                  <a:gd name="T3" fmla="*/ 34 h 106"/>
                  <a:gd name="T4" fmla="*/ 14 w 94"/>
                  <a:gd name="T5" fmla="*/ 15 h 106"/>
                  <a:gd name="T6" fmla="*/ 21 w 94"/>
                  <a:gd name="T7" fmla="*/ 8 h 106"/>
                  <a:gd name="T8" fmla="*/ 54 w 94"/>
                  <a:gd name="T9" fmla="*/ 0 h 106"/>
                  <a:gd name="T10" fmla="*/ 88 w 94"/>
                  <a:gd name="T11" fmla="*/ 45 h 106"/>
                  <a:gd name="T12" fmla="*/ 92 w 94"/>
                  <a:gd name="T13" fmla="*/ 84 h 106"/>
                  <a:gd name="T14" fmla="*/ 69 w 94"/>
                  <a:gd name="T15" fmla="*/ 101 h 106"/>
                  <a:gd name="T16" fmla="*/ 57 w 94"/>
                  <a:gd name="T17" fmla="*/ 103 h 106"/>
                  <a:gd name="T18" fmla="*/ 51 w 94"/>
                  <a:gd name="T19" fmla="*/ 102 h 106"/>
                  <a:gd name="T20" fmla="*/ 32 w 94"/>
                  <a:gd name="T21" fmla="*/ 98 h 106"/>
                  <a:gd name="T22" fmla="*/ 36 w 94"/>
                  <a:gd name="T23" fmla="*/ 5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06">
                    <a:moveTo>
                      <a:pt x="36" y="58"/>
                    </a:moveTo>
                    <a:cubicBezTo>
                      <a:pt x="19" y="26"/>
                      <a:pt x="2" y="34"/>
                      <a:pt x="2" y="34"/>
                    </a:cubicBezTo>
                    <a:cubicBezTo>
                      <a:pt x="0" y="19"/>
                      <a:pt x="14" y="15"/>
                      <a:pt x="14" y="15"/>
                    </a:cubicBezTo>
                    <a:cubicBezTo>
                      <a:pt x="14" y="15"/>
                      <a:pt x="15" y="9"/>
                      <a:pt x="21" y="8"/>
                    </a:cubicBezTo>
                    <a:cubicBezTo>
                      <a:pt x="26" y="8"/>
                      <a:pt x="40" y="4"/>
                      <a:pt x="54" y="0"/>
                    </a:cubicBezTo>
                    <a:cubicBezTo>
                      <a:pt x="70" y="12"/>
                      <a:pt x="81" y="27"/>
                      <a:pt x="88" y="45"/>
                    </a:cubicBezTo>
                    <a:cubicBezTo>
                      <a:pt x="92" y="57"/>
                      <a:pt x="94" y="71"/>
                      <a:pt x="92" y="84"/>
                    </a:cubicBezTo>
                    <a:cubicBezTo>
                      <a:pt x="84" y="90"/>
                      <a:pt x="71" y="99"/>
                      <a:pt x="69" y="101"/>
                    </a:cubicBezTo>
                    <a:cubicBezTo>
                      <a:pt x="66" y="103"/>
                      <a:pt x="60" y="104"/>
                      <a:pt x="57" y="103"/>
                    </a:cubicBezTo>
                    <a:cubicBezTo>
                      <a:pt x="54" y="101"/>
                      <a:pt x="51" y="102"/>
                      <a:pt x="51" y="102"/>
                    </a:cubicBezTo>
                    <a:cubicBezTo>
                      <a:pt x="42" y="106"/>
                      <a:pt x="32" y="98"/>
                      <a:pt x="32" y="98"/>
                    </a:cubicBezTo>
                    <a:cubicBezTo>
                      <a:pt x="32" y="98"/>
                      <a:pt x="53" y="91"/>
                      <a:pt x="36" y="5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800"/>
              </a:p>
            </p:txBody>
          </p:sp>
        </p:grpSp>
      </p:grpSp>
    </p:spTree>
    <p:extLst>
      <p:ext uri="{BB962C8B-B14F-4D97-AF65-F5344CB8AC3E}">
        <p14:creationId xmlns:p14="http://schemas.microsoft.com/office/powerpoint/2010/main" val="101932854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234971" y="424062"/>
            <a:ext cx="8348983" cy="967132"/>
          </a:xfrm>
        </p:spPr>
        <p:txBody>
          <a:bodyPr>
            <a:normAutofit/>
          </a:bodyPr>
          <a:lstStyle>
            <a:lvl1pPr algn="l">
              <a:defRPr sz="4800">
                <a:solidFill>
                  <a:srgbClr val="0070C0"/>
                </a:solidFill>
                <a:effectLst>
                  <a:outerShdw blurRad="50800" dist="38100" dir="2700000" algn="tl" rotWithShape="0">
                    <a:prstClr val="black">
                      <a:alpha val="40000"/>
                    </a:prstClr>
                  </a:outerShdw>
                </a:effectLst>
              </a:defRPr>
            </a:lvl1pPr>
          </a:lstStyle>
          <a:p>
            <a:r>
              <a:rPr lang="en-US" dirty="0"/>
              <a:t>Click to edit Master title style</a:t>
            </a:r>
          </a:p>
        </p:txBody>
      </p:sp>
      <p:sp>
        <p:nvSpPr>
          <p:cNvPr id="3" name="Content Placeholder 2"/>
          <p:cNvSpPr>
            <a:spLocks noGrp="1"/>
          </p:cNvSpPr>
          <p:nvPr>
            <p:ph idx="1"/>
          </p:nvPr>
        </p:nvSpPr>
        <p:spPr>
          <a:xfrm>
            <a:off x="3224982" y="1425678"/>
            <a:ext cx="8377087" cy="4825652"/>
          </a:xfrm>
        </p:spPr>
        <p:txBody>
          <a:bodyPr/>
          <a:lstStyle>
            <a:lvl1pPr>
              <a:defRPr sz="3733">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3074F12-AA26-4AC8-9962-C36BB8F32554}" type="datetimeFigureOut">
              <a:rPr lang="en-US" smtClean="0"/>
              <a:pPr/>
              <a:t>12/12/2023</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82CCC60-E8CD-4174-8B1A-7DF615B22EEF}" type="slidenum">
              <a:rPr lang="en-US" smtClean="0"/>
              <a:pPr/>
              <a:t>‹#›</a:t>
            </a:fld>
            <a:endParaRPr lang="en-US"/>
          </a:p>
        </p:txBody>
      </p:sp>
    </p:spTree>
    <p:extLst>
      <p:ext uri="{BB962C8B-B14F-4D97-AF65-F5344CB8AC3E}">
        <p14:creationId xmlns:p14="http://schemas.microsoft.com/office/powerpoint/2010/main" val="14042962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898B7D1-F4FF-4919-B89E-5B43627CF9CC}"/>
              </a:ext>
            </a:extLst>
          </p:cNvPr>
          <p:cNvSpPr>
            <a:spLocks noGrp="1"/>
          </p:cNvSpPr>
          <p:nvPr>
            <p:ph type="dt" sz="half" idx="10"/>
          </p:nvPr>
        </p:nvSpPr>
        <p:spPr/>
        <p:txBody>
          <a:bodyPr/>
          <a:lstStyle/>
          <a:p>
            <a:fld id="{C67F9B67-2119-4870-B423-950E2B02F070}" type="datetimeFigureOut">
              <a:rPr lang="en-ID" smtClean="0">
                <a:solidFill>
                  <a:prstClr val="black">
                    <a:tint val="75000"/>
                  </a:prstClr>
                </a:solidFill>
              </a:rPr>
              <a:pPr/>
              <a:t>12/12/2023</a:t>
            </a:fld>
            <a:endParaRPr lang="en-ID">
              <a:solidFill>
                <a:prstClr val="black">
                  <a:tint val="75000"/>
                </a:prstClr>
              </a:solidFill>
            </a:endParaRPr>
          </a:p>
        </p:txBody>
      </p:sp>
      <p:sp>
        <p:nvSpPr>
          <p:cNvPr id="3" name="Footer Placeholder 2">
            <a:extLst>
              <a:ext uri="{FF2B5EF4-FFF2-40B4-BE49-F238E27FC236}">
                <a16:creationId xmlns:a16="http://schemas.microsoft.com/office/drawing/2014/main" id="{5639C9D6-00BA-4BFE-AE54-029451D0E528}"/>
              </a:ext>
            </a:extLst>
          </p:cNvPr>
          <p:cNvSpPr>
            <a:spLocks noGrp="1"/>
          </p:cNvSpPr>
          <p:nvPr>
            <p:ph type="ftr" sz="quarter" idx="11"/>
          </p:nvPr>
        </p:nvSpPr>
        <p:spPr/>
        <p:txBody>
          <a:bodyPr/>
          <a:lstStyle/>
          <a:p>
            <a:endParaRPr lang="en-ID">
              <a:solidFill>
                <a:prstClr val="black">
                  <a:tint val="75000"/>
                </a:prstClr>
              </a:solidFill>
            </a:endParaRPr>
          </a:p>
        </p:txBody>
      </p:sp>
      <p:sp>
        <p:nvSpPr>
          <p:cNvPr id="4" name="Slide Number Placeholder 3">
            <a:extLst>
              <a:ext uri="{FF2B5EF4-FFF2-40B4-BE49-F238E27FC236}">
                <a16:creationId xmlns:a16="http://schemas.microsoft.com/office/drawing/2014/main" id="{EB3F6785-B379-4FA0-BBD9-59FF532661E9}"/>
              </a:ext>
            </a:extLst>
          </p:cNvPr>
          <p:cNvSpPr>
            <a:spLocks noGrp="1"/>
          </p:cNvSpPr>
          <p:nvPr>
            <p:ph type="sldNum" sz="quarter" idx="12"/>
          </p:nvPr>
        </p:nvSpPr>
        <p:spPr/>
        <p:txBody>
          <a:bodyPr/>
          <a:lstStyle/>
          <a:p>
            <a:fld id="{5D8928EB-67EA-4DF5-8889-76A19408D29A}" type="slidenum">
              <a:rPr lang="en-ID" smtClean="0">
                <a:solidFill>
                  <a:prstClr val="black">
                    <a:tint val="75000"/>
                  </a:prstClr>
                </a:solidFill>
              </a:rPr>
              <a:pPr/>
              <a:t>‹#›</a:t>
            </a:fld>
            <a:endParaRPr lang="en-ID">
              <a:solidFill>
                <a:prstClr val="black">
                  <a:tint val="75000"/>
                </a:prstClr>
              </a:solidFill>
            </a:endParaRPr>
          </a:p>
        </p:txBody>
      </p:sp>
    </p:spTree>
    <p:extLst>
      <p:ext uri="{BB962C8B-B14F-4D97-AF65-F5344CB8AC3E}">
        <p14:creationId xmlns:p14="http://schemas.microsoft.com/office/powerpoint/2010/main" val="164437014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matchingName="Title only" type="titleOnly">
  <p:cSld name="1_Title only">
    <p:spTree>
      <p:nvGrpSpPr>
        <p:cNvPr id="1" name="Shape 23"/>
        <p:cNvGrpSpPr/>
        <p:nvPr/>
      </p:nvGrpSpPr>
      <p:grpSpPr>
        <a:xfrm>
          <a:off x="0" y="0"/>
          <a:ext cx="0" cy="0"/>
          <a:chOff x="0" y="0"/>
          <a:chExt cx="0" cy="0"/>
        </a:xfrm>
      </p:grpSpPr>
      <p:sp>
        <p:nvSpPr>
          <p:cNvPr id="24" name="Google Shape;24;p6"/>
          <p:cNvSpPr txBox="1">
            <a:spLocks noGrp="1"/>
          </p:cNvSpPr>
          <p:nvPr>
            <p:ph type="title"/>
          </p:nvPr>
        </p:nvSpPr>
        <p:spPr>
          <a:xfrm>
            <a:off x="673101" y="634900"/>
            <a:ext cx="10846000" cy="284800"/>
          </a:xfrm>
          <a:prstGeom prst="rect">
            <a:avLst/>
          </a:prstGeom>
        </p:spPr>
        <p:txBody>
          <a:bodyPr spcFirstLastPara="1" wrap="square" lIns="91425" tIns="91425" rIns="91425" bIns="91425" anchor="t" anchorCtr="0">
            <a:noAutofit/>
          </a:bodyPr>
          <a:lstStyle>
            <a:lvl1pPr lvl="0" algn="ctr">
              <a:spcBef>
                <a:spcPts val="0"/>
              </a:spcBef>
              <a:spcAft>
                <a:spcPts val="0"/>
              </a:spcAft>
              <a:buSzPts val="2800"/>
              <a:buNone/>
              <a:defRPr sz="3600"/>
            </a:lvl1pPr>
            <a:lvl2pPr lvl="1" algn="ctr">
              <a:spcBef>
                <a:spcPts val="0"/>
              </a:spcBef>
              <a:spcAft>
                <a:spcPts val="0"/>
              </a:spcAft>
              <a:buSzPts val="2800"/>
              <a:buNone/>
              <a:defRPr/>
            </a:lvl2pPr>
            <a:lvl3pPr lvl="2" algn="ctr">
              <a:spcBef>
                <a:spcPts val="0"/>
              </a:spcBef>
              <a:spcAft>
                <a:spcPts val="0"/>
              </a:spcAft>
              <a:buSzPts val="2800"/>
              <a:buNone/>
              <a:defRPr/>
            </a:lvl3pPr>
            <a:lvl4pPr lvl="3" algn="ctr">
              <a:spcBef>
                <a:spcPts val="0"/>
              </a:spcBef>
              <a:spcAft>
                <a:spcPts val="0"/>
              </a:spcAft>
              <a:buSzPts val="2800"/>
              <a:buNone/>
              <a:defRPr/>
            </a:lvl4pPr>
            <a:lvl5pPr lvl="4" algn="ctr">
              <a:spcBef>
                <a:spcPts val="0"/>
              </a:spcBef>
              <a:spcAft>
                <a:spcPts val="0"/>
              </a:spcAft>
              <a:buSzPts val="2800"/>
              <a:buNone/>
              <a:defRPr/>
            </a:lvl5pPr>
            <a:lvl6pPr lvl="5" algn="ctr">
              <a:spcBef>
                <a:spcPts val="0"/>
              </a:spcBef>
              <a:spcAft>
                <a:spcPts val="0"/>
              </a:spcAft>
              <a:buSzPts val="2800"/>
              <a:buNone/>
              <a:defRPr/>
            </a:lvl6pPr>
            <a:lvl7pPr lvl="6" algn="ctr">
              <a:spcBef>
                <a:spcPts val="0"/>
              </a:spcBef>
              <a:spcAft>
                <a:spcPts val="0"/>
              </a:spcAft>
              <a:buSzPts val="2800"/>
              <a:buNone/>
              <a:defRPr/>
            </a:lvl7pPr>
            <a:lvl8pPr lvl="7" algn="ctr">
              <a:spcBef>
                <a:spcPts val="0"/>
              </a:spcBef>
              <a:spcAft>
                <a:spcPts val="0"/>
              </a:spcAft>
              <a:buSzPts val="2800"/>
              <a:buNone/>
              <a:defRPr/>
            </a:lvl8pPr>
            <a:lvl9pPr lvl="8" algn="ctr">
              <a:spcBef>
                <a:spcPts val="0"/>
              </a:spcBef>
              <a:spcAft>
                <a:spcPts val="0"/>
              </a:spcAft>
              <a:buSzPts val="2800"/>
              <a:buNone/>
              <a:defRPr/>
            </a:lvl9pPr>
          </a:lstStyle>
          <a:p>
            <a:endParaRPr/>
          </a:p>
        </p:txBody>
      </p:sp>
      <p:sp>
        <p:nvSpPr>
          <p:cNvPr id="25" name="Google Shape;25;p6"/>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l"/>
            <a:fld id="{00000000-1234-1234-1234-123412341234}" type="slidenum">
              <a:rPr lang="en" smtClean="0"/>
              <a:pPr algn="l"/>
              <a:t>‹#›</a:t>
            </a:fld>
            <a:endParaRPr lang="en"/>
          </a:p>
        </p:txBody>
      </p:sp>
    </p:spTree>
    <p:extLst>
      <p:ext uri="{BB962C8B-B14F-4D97-AF65-F5344CB8AC3E}">
        <p14:creationId xmlns:p14="http://schemas.microsoft.com/office/powerpoint/2010/main" val="212383389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EF40E30-8894-4D54-A50E-8A2BA4F1EB17}"/>
              </a:ext>
            </a:extLst>
          </p:cNvPr>
          <p:cNvSpPr>
            <a:spLocks noGrp="1"/>
          </p:cNvSpPr>
          <p:nvPr>
            <p:ph type="pic" sz="quarter" idx="10"/>
          </p:nvPr>
        </p:nvSpPr>
        <p:spPr>
          <a:xfrm>
            <a:off x="0" y="0"/>
            <a:ext cx="5847588" cy="6858000"/>
          </a:xfrm>
          <a:custGeom>
            <a:avLst/>
            <a:gdLst>
              <a:gd name="connsiteX0" fmla="*/ 0 w 5848350"/>
              <a:gd name="connsiteY0" fmla="*/ 0 h 6858000"/>
              <a:gd name="connsiteX1" fmla="*/ 3942780 w 5848350"/>
              <a:gd name="connsiteY1" fmla="*/ 0 h 6858000"/>
              <a:gd name="connsiteX2" fmla="*/ 4067770 w 5848350"/>
              <a:gd name="connsiteY2" fmla="*/ 80130 h 6858000"/>
              <a:gd name="connsiteX3" fmla="*/ 5848350 w 5848350"/>
              <a:gd name="connsiteY3" fmla="*/ 3429000 h 6858000"/>
              <a:gd name="connsiteX4" fmla="*/ 4067770 w 5848350"/>
              <a:gd name="connsiteY4" fmla="*/ 6777871 h 6858000"/>
              <a:gd name="connsiteX5" fmla="*/ 3942780 w 5848350"/>
              <a:gd name="connsiteY5" fmla="*/ 6858000 h 6858000"/>
              <a:gd name="connsiteX6" fmla="*/ 0 w 584835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48350" h="6858000">
                <a:moveTo>
                  <a:pt x="0" y="0"/>
                </a:moveTo>
                <a:lnTo>
                  <a:pt x="3942780" y="0"/>
                </a:lnTo>
                <a:lnTo>
                  <a:pt x="4067770" y="80130"/>
                </a:lnTo>
                <a:cubicBezTo>
                  <a:pt x="5142044" y="805895"/>
                  <a:pt x="5848350" y="2034965"/>
                  <a:pt x="5848350" y="3429000"/>
                </a:cubicBezTo>
                <a:cubicBezTo>
                  <a:pt x="5848350" y="4823036"/>
                  <a:pt x="5142044" y="6052105"/>
                  <a:pt x="4067770" y="6777871"/>
                </a:cubicBezTo>
                <a:lnTo>
                  <a:pt x="3942780" y="6858000"/>
                </a:lnTo>
                <a:lnTo>
                  <a:pt x="0" y="6858000"/>
                </a:lnTo>
                <a:close/>
              </a:path>
            </a:pathLst>
          </a:custGeom>
          <a:pattFill prst="pct20">
            <a:fgClr>
              <a:srgbClr val="A0A0A0"/>
            </a:fgClr>
            <a:bgClr>
              <a:schemeClr val="bg1"/>
            </a:bgClr>
          </a:pattFill>
        </p:spPr>
        <p:txBody>
          <a:bodyPr wrap="square" anchor="ctr" anchorCtr="1">
            <a:noAutofit/>
          </a:bodyPr>
          <a:lstStyle>
            <a:lvl1pPr>
              <a:defRPr sz="600">
                <a:solidFill>
                  <a:srgbClr val="A0A0A0"/>
                </a:solidFill>
              </a:defRPr>
            </a:lvl1pPr>
          </a:lstStyle>
          <a:p>
            <a:endParaRPr lang="en-ID"/>
          </a:p>
        </p:txBody>
      </p:sp>
    </p:spTree>
    <p:extLst>
      <p:ext uri="{BB962C8B-B14F-4D97-AF65-F5344CB8AC3E}">
        <p14:creationId xmlns:p14="http://schemas.microsoft.com/office/powerpoint/2010/main" val="20151367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879B9ED-25CA-A8C8-F222-30FCC35E57E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3"/>
            <a:ext cx="12192000" cy="6854573"/>
          </a:xfrm>
          <a:prstGeom prst="rect">
            <a:avLst/>
          </a:prstGeom>
        </p:spPr>
      </p:pic>
      <p:sp>
        <p:nvSpPr>
          <p:cNvPr id="2" name="Title 1">
            <a:extLst>
              <a:ext uri="{FF2B5EF4-FFF2-40B4-BE49-F238E27FC236}">
                <a16:creationId xmlns:a16="http://schemas.microsoft.com/office/drawing/2014/main" id="{693EE3CD-09C9-3198-1D0E-1695CCC0779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B3EA2334-0F1A-9761-6267-ACD50D903C1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49CE2C75-318C-8894-4133-D53DB78AD880}"/>
              </a:ext>
            </a:extLst>
          </p:cNvPr>
          <p:cNvSpPr>
            <a:spLocks noGrp="1"/>
          </p:cNvSpPr>
          <p:nvPr>
            <p:ph type="dt" sz="half" idx="10"/>
          </p:nvPr>
        </p:nvSpPr>
        <p:spPr/>
        <p:txBody>
          <a:bodyPr/>
          <a:lstStyle/>
          <a:p>
            <a:fld id="{484ED6E5-7F45-4282-B189-698C06F862DD}" type="datetimeFigureOut">
              <a:rPr lang="en-ID" smtClean="0"/>
              <a:t>12/12/2023</a:t>
            </a:fld>
            <a:endParaRPr lang="en-ID"/>
          </a:p>
        </p:txBody>
      </p:sp>
      <p:sp>
        <p:nvSpPr>
          <p:cNvPr id="5" name="Footer Placeholder 4">
            <a:extLst>
              <a:ext uri="{FF2B5EF4-FFF2-40B4-BE49-F238E27FC236}">
                <a16:creationId xmlns:a16="http://schemas.microsoft.com/office/drawing/2014/main" id="{A7EEF5C8-1B3C-E6F1-24F3-8EEE1ABF7FF6}"/>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A76B31C8-85DE-05CC-BAC2-7BFE5E34A785}"/>
              </a:ext>
            </a:extLst>
          </p:cNvPr>
          <p:cNvSpPr>
            <a:spLocks noGrp="1"/>
          </p:cNvSpPr>
          <p:nvPr>
            <p:ph type="sldNum" sz="quarter" idx="12"/>
          </p:nvPr>
        </p:nvSpPr>
        <p:spPr/>
        <p:txBody>
          <a:bodyPr/>
          <a:lstStyle/>
          <a:p>
            <a:fld id="{D438B275-EEAF-4280-B421-105E2A74F45A}" type="slidenum">
              <a:rPr lang="en-ID" smtClean="0"/>
              <a:t>‹#›</a:t>
            </a:fld>
            <a:endParaRPr lang="en-ID"/>
          </a:p>
        </p:txBody>
      </p:sp>
    </p:spTree>
    <p:extLst>
      <p:ext uri="{BB962C8B-B14F-4D97-AF65-F5344CB8AC3E}">
        <p14:creationId xmlns:p14="http://schemas.microsoft.com/office/powerpoint/2010/main" val="220072716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DBB85C8-8FDA-14BF-276C-F58E72F89C7F}"/>
              </a:ext>
            </a:extLst>
          </p:cNvPr>
          <p:cNvSpPr/>
          <p:nvPr userDrawn="1"/>
        </p:nvSpPr>
        <p:spPr>
          <a:xfrm>
            <a:off x="-2" y="0"/>
            <a:ext cx="99152" cy="6858000"/>
          </a:xfrm>
          <a:prstGeom prst="rect">
            <a:avLst/>
          </a:prstGeom>
          <a:gradFill>
            <a:gsLst>
              <a:gs pos="60000">
                <a:srgbClr val="1F3368"/>
              </a:gs>
              <a:gs pos="100000">
                <a:srgbClr val="FFC000"/>
              </a:gs>
              <a:gs pos="92000">
                <a:srgbClr val="FDB813"/>
              </a:gs>
              <a:gs pos="100000">
                <a:schemeClr val="accent1">
                  <a:lumMod val="30000"/>
                  <a:lumOff val="70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8" name="Rectangle 7">
            <a:extLst>
              <a:ext uri="{FF2B5EF4-FFF2-40B4-BE49-F238E27FC236}">
                <a16:creationId xmlns:a16="http://schemas.microsoft.com/office/drawing/2014/main" id="{4B67317C-AFB3-3C0F-6275-70D72CB58A55}"/>
              </a:ext>
            </a:extLst>
          </p:cNvPr>
          <p:cNvSpPr/>
          <p:nvPr userDrawn="1"/>
        </p:nvSpPr>
        <p:spPr>
          <a:xfrm>
            <a:off x="12092846" y="0"/>
            <a:ext cx="99152" cy="6858000"/>
          </a:xfrm>
          <a:prstGeom prst="rect">
            <a:avLst/>
          </a:prstGeom>
          <a:gradFill>
            <a:gsLst>
              <a:gs pos="60000">
                <a:srgbClr val="1F3368"/>
              </a:gs>
              <a:gs pos="100000">
                <a:srgbClr val="FFC000"/>
              </a:gs>
              <a:gs pos="92000">
                <a:srgbClr val="FDB813"/>
              </a:gs>
              <a:gs pos="100000">
                <a:schemeClr val="accent1">
                  <a:lumMod val="30000"/>
                  <a:lumOff val="70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4" name="Rectangle 13">
            <a:extLst>
              <a:ext uri="{FF2B5EF4-FFF2-40B4-BE49-F238E27FC236}">
                <a16:creationId xmlns:a16="http://schemas.microsoft.com/office/drawing/2014/main" id="{D49B0C8B-FBD9-AEF0-989F-39E7D6EFB643}"/>
              </a:ext>
            </a:extLst>
          </p:cNvPr>
          <p:cNvSpPr/>
          <p:nvPr userDrawn="1"/>
        </p:nvSpPr>
        <p:spPr>
          <a:xfrm>
            <a:off x="-2" y="0"/>
            <a:ext cx="12192000" cy="936000"/>
          </a:xfrm>
          <a:prstGeom prst="rect">
            <a:avLst/>
          </a:prstGeom>
          <a:solidFill>
            <a:srgbClr val="1F33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13" name="Content Placeholder 4">
            <a:extLst>
              <a:ext uri="{FF2B5EF4-FFF2-40B4-BE49-F238E27FC236}">
                <a16:creationId xmlns:a16="http://schemas.microsoft.com/office/drawing/2014/main" id="{20BE1A9A-DE96-568F-3CE2-D8F10F4F4C5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62980" y="40192"/>
            <a:ext cx="2629020" cy="856178"/>
          </a:xfrm>
          <a:prstGeom prst="rect">
            <a:avLst/>
          </a:prstGeom>
          <a:effectLst>
            <a:outerShdw blurRad="50800" dist="38100" dir="8100000" algn="tr" rotWithShape="0">
              <a:prstClr val="black">
                <a:alpha val="40000"/>
              </a:prstClr>
            </a:outerShdw>
          </a:effectLst>
        </p:spPr>
      </p:pic>
      <p:sp>
        <p:nvSpPr>
          <p:cNvPr id="2" name="Title 1">
            <a:extLst>
              <a:ext uri="{FF2B5EF4-FFF2-40B4-BE49-F238E27FC236}">
                <a16:creationId xmlns:a16="http://schemas.microsoft.com/office/drawing/2014/main" id="{F1D2715E-6F0F-5975-E1C0-3558023411FD}"/>
              </a:ext>
            </a:extLst>
          </p:cNvPr>
          <p:cNvSpPr>
            <a:spLocks noGrp="1"/>
          </p:cNvSpPr>
          <p:nvPr>
            <p:ph type="title"/>
          </p:nvPr>
        </p:nvSpPr>
        <p:spPr>
          <a:xfrm>
            <a:off x="99150" y="0"/>
            <a:ext cx="9463830" cy="936562"/>
          </a:xfrm>
          <a:noFill/>
          <a:ln>
            <a:noFill/>
          </a:ln>
        </p:spPr>
        <p:txBody>
          <a:bodyPr>
            <a:normAutofit/>
          </a:bodyPr>
          <a:lstStyle>
            <a:lvl1pPr>
              <a:defRPr sz="2200" b="1">
                <a:solidFill>
                  <a:schemeClr val="bg1"/>
                </a:solidFill>
                <a:latin typeface="Trebuchet MS" panose="020B0603020202020204" pitchFamily="34" charset="0"/>
              </a:defRPr>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29DC6BDF-092F-9F48-5EA8-1BECB1B44AE4}"/>
              </a:ext>
            </a:extLst>
          </p:cNvPr>
          <p:cNvSpPr>
            <a:spLocks noGrp="1"/>
          </p:cNvSpPr>
          <p:nvPr>
            <p:ph idx="1"/>
          </p:nvPr>
        </p:nvSpPr>
        <p:spPr>
          <a:xfrm>
            <a:off x="143217" y="998741"/>
            <a:ext cx="11893342" cy="5594790"/>
          </a:xfrm>
        </p:spPr>
        <p:txBody>
          <a:bodyPr>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38634846-3A3A-52A8-B51F-4B38576E6F54}"/>
              </a:ext>
            </a:extLst>
          </p:cNvPr>
          <p:cNvSpPr>
            <a:spLocks noGrp="1"/>
          </p:cNvSpPr>
          <p:nvPr>
            <p:ph type="dt" sz="half" idx="10"/>
          </p:nvPr>
        </p:nvSpPr>
        <p:spPr/>
        <p:txBody>
          <a:bodyPr/>
          <a:lstStyle/>
          <a:p>
            <a:fld id="{484ED6E5-7F45-4282-B189-698C06F862DD}" type="datetimeFigureOut">
              <a:rPr lang="en-ID" smtClean="0"/>
              <a:t>12/12/2023</a:t>
            </a:fld>
            <a:endParaRPr lang="en-ID"/>
          </a:p>
        </p:txBody>
      </p:sp>
      <p:sp>
        <p:nvSpPr>
          <p:cNvPr id="5" name="Footer Placeholder 4">
            <a:extLst>
              <a:ext uri="{FF2B5EF4-FFF2-40B4-BE49-F238E27FC236}">
                <a16:creationId xmlns:a16="http://schemas.microsoft.com/office/drawing/2014/main" id="{78F68056-BADD-2E12-45FD-8F7917B0DEF4}"/>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4280C558-C709-F3BD-3761-FF16EDBE8DF7}"/>
              </a:ext>
            </a:extLst>
          </p:cNvPr>
          <p:cNvSpPr>
            <a:spLocks noGrp="1"/>
          </p:cNvSpPr>
          <p:nvPr>
            <p:ph type="sldNum" sz="quarter" idx="12"/>
          </p:nvPr>
        </p:nvSpPr>
        <p:spPr/>
        <p:txBody>
          <a:bodyPr/>
          <a:lstStyle/>
          <a:p>
            <a:fld id="{D438B275-EEAF-4280-B421-105E2A74F45A}" type="slidenum">
              <a:rPr lang="en-ID" smtClean="0"/>
              <a:t>‹#›</a:t>
            </a:fld>
            <a:endParaRPr lang="en-ID"/>
          </a:p>
        </p:txBody>
      </p:sp>
      <p:sp>
        <p:nvSpPr>
          <p:cNvPr id="10" name="Rectangle 9">
            <a:extLst>
              <a:ext uri="{FF2B5EF4-FFF2-40B4-BE49-F238E27FC236}">
                <a16:creationId xmlns:a16="http://schemas.microsoft.com/office/drawing/2014/main" id="{E1222ED3-D4C8-7A8D-BCA9-DD30506D5E67}"/>
              </a:ext>
            </a:extLst>
          </p:cNvPr>
          <p:cNvSpPr/>
          <p:nvPr userDrawn="1"/>
        </p:nvSpPr>
        <p:spPr>
          <a:xfrm rot="5400000">
            <a:off x="5639793" y="1114545"/>
            <a:ext cx="100800" cy="11380390"/>
          </a:xfrm>
          <a:prstGeom prst="rect">
            <a:avLst/>
          </a:prstGeom>
          <a:gradFill>
            <a:gsLst>
              <a:gs pos="60000">
                <a:srgbClr val="1F3368"/>
              </a:gs>
              <a:gs pos="100000">
                <a:srgbClr val="FFC000"/>
              </a:gs>
              <a:gs pos="92000">
                <a:srgbClr val="FDB813"/>
              </a:gs>
              <a:gs pos="100000">
                <a:schemeClr val="accent1">
                  <a:lumMod val="30000"/>
                  <a:lumOff val="70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1" name="TextBox 10">
            <a:extLst>
              <a:ext uri="{FF2B5EF4-FFF2-40B4-BE49-F238E27FC236}">
                <a16:creationId xmlns:a16="http://schemas.microsoft.com/office/drawing/2014/main" id="{0114B24B-4D8D-3410-A67A-2B6A5D472528}"/>
              </a:ext>
            </a:extLst>
          </p:cNvPr>
          <p:cNvSpPr txBox="1"/>
          <p:nvPr userDrawn="1"/>
        </p:nvSpPr>
        <p:spPr>
          <a:xfrm>
            <a:off x="11338295" y="6645755"/>
            <a:ext cx="798617" cy="261610"/>
          </a:xfrm>
          <a:prstGeom prst="rect">
            <a:avLst/>
          </a:prstGeom>
          <a:noFill/>
        </p:spPr>
        <p:txBody>
          <a:bodyPr wrap="none" rtlCol="0">
            <a:spAutoFit/>
          </a:bodyPr>
          <a:lstStyle/>
          <a:p>
            <a:pPr algn="r"/>
            <a:r>
              <a:rPr lang="en-ID" sz="1100" b="1">
                <a:solidFill>
                  <a:srgbClr val="1F3368"/>
                </a:solidFill>
                <a:latin typeface="Agency FB" panose="020B0503020202020204" pitchFamily="34" charset="0"/>
              </a:rPr>
              <a:t>DKSDK-DJBK</a:t>
            </a:r>
          </a:p>
        </p:txBody>
      </p:sp>
    </p:spTree>
    <p:extLst>
      <p:ext uri="{BB962C8B-B14F-4D97-AF65-F5344CB8AC3E}">
        <p14:creationId xmlns:p14="http://schemas.microsoft.com/office/powerpoint/2010/main" val="161542459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9B4B3B-D87A-D061-83F5-96D68F61AFD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34F2F9D9-998E-7F45-9EDD-1BB2423053D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4102CD4-3734-5B75-F5E3-1D1500B0A599}"/>
              </a:ext>
            </a:extLst>
          </p:cNvPr>
          <p:cNvSpPr>
            <a:spLocks noGrp="1"/>
          </p:cNvSpPr>
          <p:nvPr>
            <p:ph type="dt" sz="half" idx="10"/>
          </p:nvPr>
        </p:nvSpPr>
        <p:spPr/>
        <p:txBody>
          <a:bodyPr/>
          <a:lstStyle/>
          <a:p>
            <a:fld id="{484ED6E5-7F45-4282-B189-698C06F862DD}" type="datetimeFigureOut">
              <a:rPr lang="en-ID" smtClean="0"/>
              <a:t>12/12/2023</a:t>
            </a:fld>
            <a:endParaRPr lang="en-ID"/>
          </a:p>
        </p:txBody>
      </p:sp>
      <p:sp>
        <p:nvSpPr>
          <p:cNvPr id="5" name="Footer Placeholder 4">
            <a:extLst>
              <a:ext uri="{FF2B5EF4-FFF2-40B4-BE49-F238E27FC236}">
                <a16:creationId xmlns:a16="http://schemas.microsoft.com/office/drawing/2014/main" id="{E11DDC5B-38AD-7AFB-911D-2953A355CBA3}"/>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229C4AC8-73C7-A80A-E856-795CF5096D36}"/>
              </a:ext>
            </a:extLst>
          </p:cNvPr>
          <p:cNvSpPr>
            <a:spLocks noGrp="1"/>
          </p:cNvSpPr>
          <p:nvPr>
            <p:ph type="sldNum" sz="quarter" idx="12"/>
          </p:nvPr>
        </p:nvSpPr>
        <p:spPr/>
        <p:txBody>
          <a:bodyPr/>
          <a:lstStyle/>
          <a:p>
            <a:fld id="{D438B275-EEAF-4280-B421-105E2A74F45A}" type="slidenum">
              <a:rPr lang="en-ID" smtClean="0"/>
              <a:t>‹#›</a:t>
            </a:fld>
            <a:endParaRPr lang="en-ID"/>
          </a:p>
        </p:txBody>
      </p:sp>
    </p:spTree>
    <p:extLst>
      <p:ext uri="{BB962C8B-B14F-4D97-AF65-F5344CB8AC3E}">
        <p14:creationId xmlns:p14="http://schemas.microsoft.com/office/powerpoint/2010/main" val="264132149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846ABA-7791-536D-F828-37C1E2E22DBA}"/>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33E11A22-935E-B903-7D50-42328687228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CC549ED9-C8C3-A6C4-498D-A77D00A348C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4">
            <a:extLst>
              <a:ext uri="{FF2B5EF4-FFF2-40B4-BE49-F238E27FC236}">
                <a16:creationId xmlns:a16="http://schemas.microsoft.com/office/drawing/2014/main" id="{6805C86B-7C63-F90B-3039-D993E855206E}"/>
              </a:ext>
            </a:extLst>
          </p:cNvPr>
          <p:cNvSpPr>
            <a:spLocks noGrp="1"/>
          </p:cNvSpPr>
          <p:nvPr>
            <p:ph type="dt" sz="half" idx="10"/>
          </p:nvPr>
        </p:nvSpPr>
        <p:spPr/>
        <p:txBody>
          <a:bodyPr/>
          <a:lstStyle/>
          <a:p>
            <a:fld id="{484ED6E5-7F45-4282-B189-698C06F862DD}" type="datetimeFigureOut">
              <a:rPr lang="en-ID" smtClean="0"/>
              <a:t>12/12/2023</a:t>
            </a:fld>
            <a:endParaRPr lang="en-ID"/>
          </a:p>
        </p:txBody>
      </p:sp>
      <p:sp>
        <p:nvSpPr>
          <p:cNvPr id="6" name="Footer Placeholder 5">
            <a:extLst>
              <a:ext uri="{FF2B5EF4-FFF2-40B4-BE49-F238E27FC236}">
                <a16:creationId xmlns:a16="http://schemas.microsoft.com/office/drawing/2014/main" id="{A0FE071B-E528-E740-4A72-146BF0801E2C}"/>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9A65422F-5F50-B99C-3475-E06A220E1DB8}"/>
              </a:ext>
            </a:extLst>
          </p:cNvPr>
          <p:cNvSpPr>
            <a:spLocks noGrp="1"/>
          </p:cNvSpPr>
          <p:nvPr>
            <p:ph type="sldNum" sz="quarter" idx="12"/>
          </p:nvPr>
        </p:nvSpPr>
        <p:spPr/>
        <p:txBody>
          <a:bodyPr/>
          <a:lstStyle/>
          <a:p>
            <a:fld id="{D438B275-EEAF-4280-B421-105E2A74F45A}" type="slidenum">
              <a:rPr lang="en-ID" smtClean="0"/>
              <a:t>‹#›</a:t>
            </a:fld>
            <a:endParaRPr lang="en-ID"/>
          </a:p>
        </p:txBody>
      </p:sp>
    </p:spTree>
    <p:extLst>
      <p:ext uri="{BB962C8B-B14F-4D97-AF65-F5344CB8AC3E}">
        <p14:creationId xmlns:p14="http://schemas.microsoft.com/office/powerpoint/2010/main" val="428752834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683942-287C-8D77-D587-1465593DEFA4}"/>
              </a:ext>
            </a:extLst>
          </p:cNvPr>
          <p:cNvSpPr>
            <a:spLocks noGrp="1"/>
          </p:cNvSpPr>
          <p:nvPr>
            <p:ph type="title"/>
          </p:nvPr>
        </p:nvSpPr>
        <p:spPr>
          <a:xfrm>
            <a:off x="839788" y="365125"/>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id="{F78EDD8A-63E9-3624-FE6D-5ADC2C9E340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F78AC2B-0430-3E87-6CDE-2A80ADC30CB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id="{EB48088B-CF97-C290-0CFB-64433A227DC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EDBDD27-8CAF-5296-F246-FA4F90D7D95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id="{5570267C-BB35-DC8A-4F28-D17CCE5FE0BC}"/>
              </a:ext>
            </a:extLst>
          </p:cNvPr>
          <p:cNvSpPr>
            <a:spLocks noGrp="1"/>
          </p:cNvSpPr>
          <p:nvPr>
            <p:ph type="dt" sz="half" idx="10"/>
          </p:nvPr>
        </p:nvSpPr>
        <p:spPr/>
        <p:txBody>
          <a:bodyPr/>
          <a:lstStyle/>
          <a:p>
            <a:fld id="{484ED6E5-7F45-4282-B189-698C06F862DD}" type="datetimeFigureOut">
              <a:rPr lang="en-ID" smtClean="0"/>
              <a:t>12/12/2023</a:t>
            </a:fld>
            <a:endParaRPr lang="en-ID"/>
          </a:p>
        </p:txBody>
      </p:sp>
      <p:sp>
        <p:nvSpPr>
          <p:cNvPr id="8" name="Footer Placeholder 7">
            <a:extLst>
              <a:ext uri="{FF2B5EF4-FFF2-40B4-BE49-F238E27FC236}">
                <a16:creationId xmlns:a16="http://schemas.microsoft.com/office/drawing/2014/main" id="{F4DD487A-98C9-981C-C573-8073797498CD}"/>
              </a:ext>
            </a:extLst>
          </p:cNvPr>
          <p:cNvSpPr>
            <a:spLocks noGrp="1"/>
          </p:cNvSpPr>
          <p:nvPr>
            <p:ph type="ftr" sz="quarter" idx="11"/>
          </p:nvPr>
        </p:nvSpPr>
        <p:spPr/>
        <p:txBody>
          <a:bodyPr/>
          <a:lstStyle/>
          <a:p>
            <a:endParaRPr lang="en-ID"/>
          </a:p>
        </p:txBody>
      </p:sp>
      <p:sp>
        <p:nvSpPr>
          <p:cNvPr id="9" name="Slide Number Placeholder 8">
            <a:extLst>
              <a:ext uri="{FF2B5EF4-FFF2-40B4-BE49-F238E27FC236}">
                <a16:creationId xmlns:a16="http://schemas.microsoft.com/office/drawing/2014/main" id="{E7CFCD1F-A54D-250F-FFCF-FF57216F0253}"/>
              </a:ext>
            </a:extLst>
          </p:cNvPr>
          <p:cNvSpPr>
            <a:spLocks noGrp="1"/>
          </p:cNvSpPr>
          <p:nvPr>
            <p:ph type="sldNum" sz="quarter" idx="12"/>
          </p:nvPr>
        </p:nvSpPr>
        <p:spPr/>
        <p:txBody>
          <a:bodyPr/>
          <a:lstStyle/>
          <a:p>
            <a:fld id="{D438B275-EEAF-4280-B421-105E2A74F45A}" type="slidenum">
              <a:rPr lang="en-ID" smtClean="0"/>
              <a:t>‹#›</a:t>
            </a:fld>
            <a:endParaRPr lang="en-ID"/>
          </a:p>
        </p:txBody>
      </p:sp>
    </p:spTree>
    <p:extLst>
      <p:ext uri="{BB962C8B-B14F-4D97-AF65-F5344CB8AC3E}">
        <p14:creationId xmlns:p14="http://schemas.microsoft.com/office/powerpoint/2010/main" val="426961825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BA81A6C-F85F-36A7-871C-5F45F3F94E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3"/>
            <a:ext cx="12192000" cy="6854573"/>
          </a:xfrm>
          <a:prstGeom prst="rect">
            <a:avLst/>
          </a:prstGeom>
        </p:spPr>
      </p:pic>
      <p:sp>
        <p:nvSpPr>
          <p:cNvPr id="2" name="Title 1">
            <a:extLst>
              <a:ext uri="{FF2B5EF4-FFF2-40B4-BE49-F238E27FC236}">
                <a16:creationId xmlns:a16="http://schemas.microsoft.com/office/drawing/2014/main" id="{6313DDA6-74A4-520A-EEF1-A96B1BED14FB}"/>
              </a:ext>
            </a:extLst>
          </p:cNvPr>
          <p:cNvSpPr>
            <a:spLocks noGrp="1"/>
          </p:cNvSpPr>
          <p:nvPr>
            <p:ph type="title"/>
          </p:nvPr>
        </p:nvSpPr>
        <p:spPr>
          <a:xfrm>
            <a:off x="1729648" y="2645617"/>
            <a:ext cx="9624152" cy="1325563"/>
          </a:xfrm>
        </p:spPr>
        <p:txBody>
          <a:bodyPr>
            <a:normAutofit/>
          </a:bodyPr>
          <a:lstStyle>
            <a:lvl1pPr>
              <a:defRPr sz="3200" b="1">
                <a:latin typeface="Trebuchet MS" panose="020B0603020202020204" pitchFamily="34" charset="0"/>
              </a:defRPr>
            </a:lvl1pPr>
          </a:lstStyle>
          <a:p>
            <a:r>
              <a:rPr lang="en-US"/>
              <a:t>Click to edit Master title style</a:t>
            </a:r>
            <a:endParaRPr lang="en-ID"/>
          </a:p>
        </p:txBody>
      </p:sp>
      <p:sp>
        <p:nvSpPr>
          <p:cNvPr id="3" name="Date Placeholder 2">
            <a:extLst>
              <a:ext uri="{FF2B5EF4-FFF2-40B4-BE49-F238E27FC236}">
                <a16:creationId xmlns:a16="http://schemas.microsoft.com/office/drawing/2014/main" id="{4CE196A4-DD75-E09E-2D09-9B4BF217DD77}"/>
              </a:ext>
            </a:extLst>
          </p:cNvPr>
          <p:cNvSpPr>
            <a:spLocks noGrp="1"/>
          </p:cNvSpPr>
          <p:nvPr>
            <p:ph type="dt" sz="half" idx="10"/>
          </p:nvPr>
        </p:nvSpPr>
        <p:spPr/>
        <p:txBody>
          <a:bodyPr/>
          <a:lstStyle/>
          <a:p>
            <a:fld id="{484ED6E5-7F45-4282-B189-698C06F862DD}" type="datetimeFigureOut">
              <a:rPr lang="en-ID" smtClean="0"/>
              <a:t>12/12/2023</a:t>
            </a:fld>
            <a:endParaRPr lang="en-ID"/>
          </a:p>
        </p:txBody>
      </p:sp>
      <p:sp>
        <p:nvSpPr>
          <p:cNvPr id="4" name="Footer Placeholder 3">
            <a:extLst>
              <a:ext uri="{FF2B5EF4-FFF2-40B4-BE49-F238E27FC236}">
                <a16:creationId xmlns:a16="http://schemas.microsoft.com/office/drawing/2014/main" id="{1C59DAB1-AB5C-268B-3791-E8246E76633C}"/>
              </a:ext>
            </a:extLst>
          </p:cNvPr>
          <p:cNvSpPr>
            <a:spLocks noGrp="1"/>
          </p:cNvSpPr>
          <p:nvPr>
            <p:ph type="ftr" sz="quarter" idx="11"/>
          </p:nvPr>
        </p:nvSpPr>
        <p:spPr/>
        <p:txBody>
          <a:bodyPr/>
          <a:lstStyle/>
          <a:p>
            <a:endParaRPr lang="en-ID"/>
          </a:p>
        </p:txBody>
      </p:sp>
      <p:sp>
        <p:nvSpPr>
          <p:cNvPr id="5" name="Slide Number Placeholder 4">
            <a:extLst>
              <a:ext uri="{FF2B5EF4-FFF2-40B4-BE49-F238E27FC236}">
                <a16:creationId xmlns:a16="http://schemas.microsoft.com/office/drawing/2014/main" id="{5ECB34E1-1BFF-5F24-93A1-F0B54D68CCF8}"/>
              </a:ext>
            </a:extLst>
          </p:cNvPr>
          <p:cNvSpPr>
            <a:spLocks noGrp="1"/>
          </p:cNvSpPr>
          <p:nvPr>
            <p:ph type="sldNum" sz="quarter" idx="12"/>
          </p:nvPr>
        </p:nvSpPr>
        <p:spPr/>
        <p:txBody>
          <a:bodyPr/>
          <a:lstStyle/>
          <a:p>
            <a:fld id="{D438B275-EEAF-4280-B421-105E2A74F45A}" type="slidenum">
              <a:rPr lang="en-ID" smtClean="0"/>
              <a:t>‹#›</a:t>
            </a:fld>
            <a:endParaRPr lang="en-ID"/>
          </a:p>
        </p:txBody>
      </p:sp>
    </p:spTree>
    <p:extLst>
      <p:ext uri="{BB962C8B-B14F-4D97-AF65-F5344CB8AC3E}">
        <p14:creationId xmlns:p14="http://schemas.microsoft.com/office/powerpoint/2010/main" val="99849621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FB1AFB9-1646-9234-89E0-E2AE755AE89B}"/>
              </a:ext>
            </a:extLst>
          </p:cNvPr>
          <p:cNvSpPr>
            <a:spLocks noGrp="1"/>
          </p:cNvSpPr>
          <p:nvPr>
            <p:ph type="dt" sz="half" idx="10"/>
          </p:nvPr>
        </p:nvSpPr>
        <p:spPr/>
        <p:txBody>
          <a:bodyPr/>
          <a:lstStyle/>
          <a:p>
            <a:fld id="{484ED6E5-7F45-4282-B189-698C06F862DD}" type="datetimeFigureOut">
              <a:rPr lang="en-ID" smtClean="0"/>
              <a:t>12/12/2023</a:t>
            </a:fld>
            <a:endParaRPr lang="en-ID"/>
          </a:p>
        </p:txBody>
      </p:sp>
      <p:sp>
        <p:nvSpPr>
          <p:cNvPr id="3" name="Footer Placeholder 2">
            <a:extLst>
              <a:ext uri="{FF2B5EF4-FFF2-40B4-BE49-F238E27FC236}">
                <a16:creationId xmlns:a16="http://schemas.microsoft.com/office/drawing/2014/main" id="{CCD3E024-1175-886D-22C8-4C8B668FB1BD}"/>
              </a:ext>
            </a:extLst>
          </p:cNvPr>
          <p:cNvSpPr>
            <a:spLocks noGrp="1"/>
          </p:cNvSpPr>
          <p:nvPr>
            <p:ph type="ftr" sz="quarter" idx="11"/>
          </p:nvPr>
        </p:nvSpPr>
        <p:spPr/>
        <p:txBody>
          <a:bodyPr/>
          <a:lstStyle/>
          <a:p>
            <a:endParaRPr lang="en-ID"/>
          </a:p>
        </p:txBody>
      </p:sp>
      <p:sp>
        <p:nvSpPr>
          <p:cNvPr id="4" name="Slide Number Placeholder 3">
            <a:extLst>
              <a:ext uri="{FF2B5EF4-FFF2-40B4-BE49-F238E27FC236}">
                <a16:creationId xmlns:a16="http://schemas.microsoft.com/office/drawing/2014/main" id="{0AFC82D8-BC0D-D428-4655-CAE068EDEE72}"/>
              </a:ext>
            </a:extLst>
          </p:cNvPr>
          <p:cNvSpPr>
            <a:spLocks noGrp="1"/>
          </p:cNvSpPr>
          <p:nvPr>
            <p:ph type="sldNum" sz="quarter" idx="12"/>
          </p:nvPr>
        </p:nvSpPr>
        <p:spPr/>
        <p:txBody>
          <a:bodyPr/>
          <a:lstStyle/>
          <a:p>
            <a:fld id="{D438B275-EEAF-4280-B421-105E2A74F45A}" type="slidenum">
              <a:rPr lang="en-ID" smtClean="0"/>
              <a:t>‹#›</a:t>
            </a:fld>
            <a:endParaRPr lang="en-ID"/>
          </a:p>
        </p:txBody>
      </p:sp>
    </p:spTree>
    <p:extLst>
      <p:ext uri="{BB962C8B-B14F-4D97-AF65-F5344CB8AC3E}">
        <p14:creationId xmlns:p14="http://schemas.microsoft.com/office/powerpoint/2010/main" val="155953724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ACF1B5-64AE-B1C9-3291-2CD49C7C71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3"/>
            <a:ext cx="12192000" cy="6854573"/>
          </a:xfrm>
          <a:prstGeom prst="rect">
            <a:avLst/>
          </a:prstGeom>
        </p:spPr>
      </p:pic>
      <p:sp>
        <p:nvSpPr>
          <p:cNvPr id="2" name="Date Placeholder 1">
            <a:extLst>
              <a:ext uri="{FF2B5EF4-FFF2-40B4-BE49-F238E27FC236}">
                <a16:creationId xmlns:a16="http://schemas.microsoft.com/office/drawing/2014/main" id="{FFB1AFB9-1646-9234-89E0-E2AE755AE89B}"/>
              </a:ext>
            </a:extLst>
          </p:cNvPr>
          <p:cNvSpPr>
            <a:spLocks noGrp="1"/>
          </p:cNvSpPr>
          <p:nvPr>
            <p:ph type="dt" sz="half" idx="10"/>
          </p:nvPr>
        </p:nvSpPr>
        <p:spPr/>
        <p:txBody>
          <a:bodyPr/>
          <a:lstStyle/>
          <a:p>
            <a:fld id="{484ED6E5-7F45-4282-B189-698C06F862DD}" type="datetimeFigureOut">
              <a:rPr lang="en-ID" smtClean="0"/>
              <a:t>12/12/2023</a:t>
            </a:fld>
            <a:endParaRPr lang="en-ID"/>
          </a:p>
        </p:txBody>
      </p:sp>
      <p:sp>
        <p:nvSpPr>
          <p:cNvPr id="3" name="Footer Placeholder 2">
            <a:extLst>
              <a:ext uri="{FF2B5EF4-FFF2-40B4-BE49-F238E27FC236}">
                <a16:creationId xmlns:a16="http://schemas.microsoft.com/office/drawing/2014/main" id="{CCD3E024-1175-886D-22C8-4C8B668FB1BD}"/>
              </a:ext>
            </a:extLst>
          </p:cNvPr>
          <p:cNvSpPr>
            <a:spLocks noGrp="1"/>
          </p:cNvSpPr>
          <p:nvPr>
            <p:ph type="ftr" sz="quarter" idx="11"/>
          </p:nvPr>
        </p:nvSpPr>
        <p:spPr/>
        <p:txBody>
          <a:bodyPr/>
          <a:lstStyle/>
          <a:p>
            <a:endParaRPr lang="en-ID"/>
          </a:p>
        </p:txBody>
      </p:sp>
      <p:sp>
        <p:nvSpPr>
          <p:cNvPr id="4" name="Slide Number Placeholder 3">
            <a:extLst>
              <a:ext uri="{FF2B5EF4-FFF2-40B4-BE49-F238E27FC236}">
                <a16:creationId xmlns:a16="http://schemas.microsoft.com/office/drawing/2014/main" id="{0AFC82D8-BC0D-D428-4655-CAE068EDEE72}"/>
              </a:ext>
            </a:extLst>
          </p:cNvPr>
          <p:cNvSpPr>
            <a:spLocks noGrp="1"/>
          </p:cNvSpPr>
          <p:nvPr>
            <p:ph type="sldNum" sz="quarter" idx="12"/>
          </p:nvPr>
        </p:nvSpPr>
        <p:spPr/>
        <p:txBody>
          <a:bodyPr/>
          <a:lstStyle/>
          <a:p>
            <a:fld id="{D438B275-EEAF-4280-B421-105E2A74F45A}" type="slidenum">
              <a:rPr lang="en-ID" smtClean="0"/>
              <a:t>‹#›</a:t>
            </a:fld>
            <a:endParaRPr lang="en-ID"/>
          </a:p>
        </p:txBody>
      </p:sp>
      <p:sp>
        <p:nvSpPr>
          <p:cNvPr id="12" name="TextBox 11">
            <a:extLst>
              <a:ext uri="{FF2B5EF4-FFF2-40B4-BE49-F238E27FC236}">
                <a16:creationId xmlns:a16="http://schemas.microsoft.com/office/drawing/2014/main" id="{AC428A20-98ED-45DD-2B71-BF5122687759}"/>
              </a:ext>
            </a:extLst>
          </p:cNvPr>
          <p:cNvSpPr txBox="1"/>
          <p:nvPr userDrawn="1"/>
        </p:nvSpPr>
        <p:spPr>
          <a:xfrm>
            <a:off x="539897" y="4890321"/>
            <a:ext cx="5615448" cy="1107996"/>
          </a:xfrm>
          <a:prstGeom prst="rect">
            <a:avLst/>
          </a:prstGeom>
          <a:noFill/>
        </p:spPr>
        <p:txBody>
          <a:bodyPr wrap="none" rtlCol="0" anchor="ctr">
            <a:spAutoFit/>
          </a:bodyPr>
          <a:lstStyle/>
          <a:p>
            <a:pPr algn="ctr"/>
            <a:r>
              <a:rPr lang="en-ID" sz="6600" b="1">
                <a:solidFill>
                  <a:srgbClr val="F8B500"/>
                </a:solidFill>
                <a:latin typeface="Trebuchet MS" panose="020B0603020202020204" pitchFamily="34" charset="0"/>
              </a:rPr>
              <a:t>TERIMA KASIH</a:t>
            </a:r>
          </a:p>
        </p:txBody>
      </p:sp>
      <p:sp>
        <p:nvSpPr>
          <p:cNvPr id="13" name="TextBox 12">
            <a:extLst>
              <a:ext uri="{FF2B5EF4-FFF2-40B4-BE49-F238E27FC236}">
                <a16:creationId xmlns:a16="http://schemas.microsoft.com/office/drawing/2014/main" id="{4BF95B64-1CCD-0C1F-8B14-BF74053B1C9B}"/>
              </a:ext>
            </a:extLst>
          </p:cNvPr>
          <p:cNvSpPr txBox="1"/>
          <p:nvPr userDrawn="1"/>
        </p:nvSpPr>
        <p:spPr>
          <a:xfrm>
            <a:off x="507998" y="4869055"/>
            <a:ext cx="5615448" cy="1107996"/>
          </a:xfrm>
          <a:prstGeom prst="rect">
            <a:avLst/>
          </a:prstGeom>
          <a:noFill/>
        </p:spPr>
        <p:txBody>
          <a:bodyPr wrap="none" rtlCol="0" anchor="ctr">
            <a:spAutoFit/>
          </a:bodyPr>
          <a:lstStyle/>
          <a:p>
            <a:pPr algn="ctr"/>
            <a:r>
              <a:rPr lang="en-ID" sz="6600" b="1">
                <a:solidFill>
                  <a:srgbClr val="1F3368"/>
                </a:solidFill>
                <a:latin typeface="Trebuchet MS" panose="020B0603020202020204" pitchFamily="34" charset="0"/>
              </a:rPr>
              <a:t>TERIMA KASIH</a:t>
            </a:r>
          </a:p>
        </p:txBody>
      </p:sp>
      <p:pic>
        <p:nvPicPr>
          <p:cNvPr id="14" name="Picture 2" descr="https://upload.wikimedia.org/wikipedia/commons/a/af/Bangga_Buatan_Indonesia_Tipe_Normal.png">
            <a:extLst>
              <a:ext uri="{FF2B5EF4-FFF2-40B4-BE49-F238E27FC236}">
                <a16:creationId xmlns:a16="http://schemas.microsoft.com/office/drawing/2014/main" id="{9AE6C4EA-91D7-AD5D-5216-4C35A2A9A8D6}"/>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131214" y="44246"/>
            <a:ext cx="1069624" cy="1069624"/>
          </a:xfrm>
          <a:prstGeom prst="rect">
            <a:avLst/>
          </a:prstGeom>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67F92212-6CAB-6DA3-01C9-06626812920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49255" y="3307817"/>
            <a:ext cx="902210" cy="902210"/>
          </a:xfrm>
          <a:prstGeom prst="rect">
            <a:avLst/>
          </a:prstGeom>
        </p:spPr>
      </p:pic>
      <p:sp>
        <p:nvSpPr>
          <p:cNvPr id="16" name="TextBox 15">
            <a:extLst>
              <a:ext uri="{FF2B5EF4-FFF2-40B4-BE49-F238E27FC236}">
                <a16:creationId xmlns:a16="http://schemas.microsoft.com/office/drawing/2014/main" id="{0D70EFFB-1CF6-DB84-6866-121A15AC7744}"/>
              </a:ext>
            </a:extLst>
          </p:cNvPr>
          <p:cNvSpPr txBox="1"/>
          <p:nvPr userDrawn="1"/>
        </p:nvSpPr>
        <p:spPr>
          <a:xfrm>
            <a:off x="8286859" y="4210027"/>
            <a:ext cx="2627001" cy="523220"/>
          </a:xfrm>
          <a:prstGeom prst="rect">
            <a:avLst/>
          </a:prstGeom>
          <a:noFill/>
        </p:spPr>
        <p:txBody>
          <a:bodyPr wrap="none" rtlCol="0" anchor="ctr">
            <a:spAutoFit/>
          </a:bodyPr>
          <a:lstStyle/>
          <a:p>
            <a:pPr algn="ctr"/>
            <a:r>
              <a:rPr lang="en-ID" sz="1400">
                <a:latin typeface="Myriad Pro" panose="020B0703030403020204" pitchFamily="34" charset="0"/>
              </a:rPr>
              <a:t>Kementerian Pekerjaan Umum</a:t>
            </a:r>
          </a:p>
          <a:p>
            <a:pPr algn="ctr"/>
            <a:r>
              <a:rPr lang="en-ID" sz="1400">
                <a:latin typeface="Myriad Pro" panose="020B0703030403020204" pitchFamily="34" charset="0"/>
              </a:rPr>
              <a:t>dan Perumahan Rakyat</a:t>
            </a:r>
          </a:p>
        </p:txBody>
      </p:sp>
      <p:pic>
        <p:nvPicPr>
          <p:cNvPr id="17" name="Picture 16">
            <a:extLst>
              <a:ext uri="{FF2B5EF4-FFF2-40B4-BE49-F238E27FC236}">
                <a16:creationId xmlns:a16="http://schemas.microsoft.com/office/drawing/2014/main" id="{B40656F9-4E52-464A-DB9F-8B3000EB0212}"/>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19347" b="21484"/>
          <a:stretch/>
        </p:blipFill>
        <p:spPr>
          <a:xfrm>
            <a:off x="975568" y="71788"/>
            <a:ext cx="2340154" cy="971313"/>
          </a:xfrm>
          <a:prstGeom prst="rect">
            <a:avLst/>
          </a:prstGeom>
        </p:spPr>
      </p:pic>
    </p:spTree>
    <p:extLst>
      <p:ext uri="{BB962C8B-B14F-4D97-AF65-F5344CB8AC3E}">
        <p14:creationId xmlns:p14="http://schemas.microsoft.com/office/powerpoint/2010/main" val="21947957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B8803-EE0A-4838-BABA-A37872726BAC}"/>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8FA9C621-0DB9-4A41-8E49-A0F996D4075F}"/>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4AAA95D9-165B-4DBF-A80F-C714F5609335}"/>
              </a:ext>
            </a:extLst>
          </p:cNvPr>
          <p:cNvSpPr>
            <a:spLocks noGrp="1"/>
          </p:cNvSpPr>
          <p:nvPr>
            <p:ph type="body" sz="half" idx="2"/>
          </p:nvPr>
        </p:nvSpPr>
        <p:spPr>
          <a:xfrm>
            <a:off x="839789" y="2057400"/>
            <a:ext cx="3932237" cy="3811588"/>
          </a:xfrm>
        </p:spPr>
        <p:txBody>
          <a:bodyPr/>
          <a:lstStyle>
            <a:lvl1pPr marL="0" indent="0">
              <a:buNone/>
              <a:defRPr sz="1600"/>
            </a:lvl1pPr>
            <a:lvl2pPr marL="457223" indent="0">
              <a:buNone/>
              <a:defRPr sz="1400"/>
            </a:lvl2pPr>
            <a:lvl3pPr marL="914446" indent="0">
              <a:buNone/>
              <a:defRPr sz="1200"/>
            </a:lvl3pPr>
            <a:lvl4pPr marL="1371669" indent="0">
              <a:buNone/>
              <a:defRPr sz="1000"/>
            </a:lvl4pPr>
            <a:lvl5pPr marL="1828891" indent="0">
              <a:buNone/>
              <a:defRPr sz="1000"/>
            </a:lvl5pPr>
            <a:lvl6pPr marL="2286114" indent="0">
              <a:buNone/>
              <a:defRPr sz="1000"/>
            </a:lvl6pPr>
            <a:lvl7pPr marL="2743337" indent="0">
              <a:buNone/>
              <a:defRPr sz="1000"/>
            </a:lvl7pPr>
            <a:lvl8pPr marL="3200560" indent="0">
              <a:buNone/>
              <a:defRPr sz="1000"/>
            </a:lvl8pPr>
            <a:lvl9pPr marL="3657783"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67F0F8-962A-4A39-8EA1-162285AF8C01}"/>
              </a:ext>
            </a:extLst>
          </p:cNvPr>
          <p:cNvSpPr>
            <a:spLocks noGrp="1"/>
          </p:cNvSpPr>
          <p:nvPr>
            <p:ph type="dt" sz="half" idx="10"/>
          </p:nvPr>
        </p:nvSpPr>
        <p:spPr/>
        <p:txBody>
          <a:bodyPr/>
          <a:lstStyle/>
          <a:p>
            <a:fld id="{C67F9B67-2119-4870-B423-950E2B02F070}" type="datetimeFigureOut">
              <a:rPr lang="en-ID" smtClean="0">
                <a:solidFill>
                  <a:prstClr val="black">
                    <a:tint val="75000"/>
                  </a:prstClr>
                </a:solidFill>
              </a:rPr>
              <a:pPr/>
              <a:t>12/12/2023</a:t>
            </a:fld>
            <a:endParaRPr lang="en-ID">
              <a:solidFill>
                <a:prstClr val="black">
                  <a:tint val="75000"/>
                </a:prstClr>
              </a:solidFill>
            </a:endParaRPr>
          </a:p>
        </p:txBody>
      </p:sp>
      <p:sp>
        <p:nvSpPr>
          <p:cNvPr id="6" name="Footer Placeholder 5">
            <a:extLst>
              <a:ext uri="{FF2B5EF4-FFF2-40B4-BE49-F238E27FC236}">
                <a16:creationId xmlns:a16="http://schemas.microsoft.com/office/drawing/2014/main" id="{E3ACC09F-0522-4880-B7DE-3D72C46D65A7}"/>
              </a:ext>
            </a:extLst>
          </p:cNvPr>
          <p:cNvSpPr>
            <a:spLocks noGrp="1"/>
          </p:cNvSpPr>
          <p:nvPr>
            <p:ph type="ftr" sz="quarter" idx="11"/>
          </p:nvPr>
        </p:nvSpPr>
        <p:spPr/>
        <p:txBody>
          <a:bodyPr/>
          <a:lstStyle/>
          <a:p>
            <a:endParaRPr lang="en-ID">
              <a:solidFill>
                <a:prstClr val="black">
                  <a:tint val="75000"/>
                </a:prstClr>
              </a:solidFill>
            </a:endParaRPr>
          </a:p>
        </p:txBody>
      </p:sp>
      <p:sp>
        <p:nvSpPr>
          <p:cNvPr id="7" name="Slide Number Placeholder 6">
            <a:extLst>
              <a:ext uri="{FF2B5EF4-FFF2-40B4-BE49-F238E27FC236}">
                <a16:creationId xmlns:a16="http://schemas.microsoft.com/office/drawing/2014/main" id="{B555A204-7C24-4CDD-8C1E-A2A39BE736A1}"/>
              </a:ext>
            </a:extLst>
          </p:cNvPr>
          <p:cNvSpPr>
            <a:spLocks noGrp="1"/>
          </p:cNvSpPr>
          <p:nvPr>
            <p:ph type="sldNum" sz="quarter" idx="12"/>
          </p:nvPr>
        </p:nvSpPr>
        <p:spPr/>
        <p:txBody>
          <a:bodyPr/>
          <a:lstStyle/>
          <a:p>
            <a:fld id="{5D8928EB-67EA-4DF5-8889-76A19408D29A}" type="slidenum">
              <a:rPr lang="en-ID" smtClean="0">
                <a:solidFill>
                  <a:prstClr val="black">
                    <a:tint val="75000"/>
                  </a:prstClr>
                </a:solidFill>
              </a:rPr>
              <a:pPr/>
              <a:t>‹#›</a:t>
            </a:fld>
            <a:endParaRPr lang="en-ID">
              <a:solidFill>
                <a:prstClr val="black">
                  <a:tint val="75000"/>
                </a:prstClr>
              </a:solidFill>
            </a:endParaRPr>
          </a:p>
        </p:txBody>
      </p:sp>
    </p:spTree>
    <p:extLst>
      <p:ext uri="{BB962C8B-B14F-4D97-AF65-F5344CB8AC3E}">
        <p14:creationId xmlns:p14="http://schemas.microsoft.com/office/powerpoint/2010/main" val="321359096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2F6118-31EC-99A3-D889-25AAF18CC08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BFD0FEA0-E29B-93D1-1C32-D78CDC0C72D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A16FDD12-54CF-8B7B-97B2-AB55E1B929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354E63-0E23-6142-E381-3A4C53A56A78}"/>
              </a:ext>
            </a:extLst>
          </p:cNvPr>
          <p:cNvSpPr>
            <a:spLocks noGrp="1"/>
          </p:cNvSpPr>
          <p:nvPr>
            <p:ph type="dt" sz="half" idx="10"/>
          </p:nvPr>
        </p:nvSpPr>
        <p:spPr/>
        <p:txBody>
          <a:bodyPr/>
          <a:lstStyle/>
          <a:p>
            <a:fld id="{484ED6E5-7F45-4282-B189-698C06F862DD}" type="datetimeFigureOut">
              <a:rPr lang="en-ID" smtClean="0"/>
              <a:t>12/12/2023</a:t>
            </a:fld>
            <a:endParaRPr lang="en-ID"/>
          </a:p>
        </p:txBody>
      </p:sp>
      <p:sp>
        <p:nvSpPr>
          <p:cNvPr id="6" name="Footer Placeholder 5">
            <a:extLst>
              <a:ext uri="{FF2B5EF4-FFF2-40B4-BE49-F238E27FC236}">
                <a16:creationId xmlns:a16="http://schemas.microsoft.com/office/drawing/2014/main" id="{6A81DFBF-29BA-0CAA-CD8C-E813F0CBEA29}"/>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EE68C567-AA54-C6E3-0FBD-0BABFD895A4C}"/>
              </a:ext>
            </a:extLst>
          </p:cNvPr>
          <p:cNvSpPr>
            <a:spLocks noGrp="1"/>
          </p:cNvSpPr>
          <p:nvPr>
            <p:ph type="sldNum" sz="quarter" idx="12"/>
          </p:nvPr>
        </p:nvSpPr>
        <p:spPr/>
        <p:txBody>
          <a:bodyPr/>
          <a:lstStyle/>
          <a:p>
            <a:fld id="{D438B275-EEAF-4280-B421-105E2A74F45A}" type="slidenum">
              <a:rPr lang="en-ID" smtClean="0"/>
              <a:t>‹#›</a:t>
            </a:fld>
            <a:endParaRPr lang="en-ID"/>
          </a:p>
        </p:txBody>
      </p:sp>
    </p:spTree>
    <p:extLst>
      <p:ext uri="{BB962C8B-B14F-4D97-AF65-F5344CB8AC3E}">
        <p14:creationId xmlns:p14="http://schemas.microsoft.com/office/powerpoint/2010/main" val="68482749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EF4F0E-FA8C-C6A2-5532-A90F1AB1958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73CDFF6B-CF41-E960-412D-62AAF3644C7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8DDF30A7-E76E-DAAD-3294-7A878DFD663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E12CA5-B048-0804-6425-4714FE36A636}"/>
              </a:ext>
            </a:extLst>
          </p:cNvPr>
          <p:cNvSpPr>
            <a:spLocks noGrp="1"/>
          </p:cNvSpPr>
          <p:nvPr>
            <p:ph type="dt" sz="half" idx="10"/>
          </p:nvPr>
        </p:nvSpPr>
        <p:spPr/>
        <p:txBody>
          <a:bodyPr/>
          <a:lstStyle/>
          <a:p>
            <a:fld id="{484ED6E5-7F45-4282-B189-698C06F862DD}" type="datetimeFigureOut">
              <a:rPr lang="en-ID" smtClean="0"/>
              <a:t>12/12/2023</a:t>
            </a:fld>
            <a:endParaRPr lang="en-ID"/>
          </a:p>
        </p:txBody>
      </p:sp>
      <p:sp>
        <p:nvSpPr>
          <p:cNvPr id="6" name="Footer Placeholder 5">
            <a:extLst>
              <a:ext uri="{FF2B5EF4-FFF2-40B4-BE49-F238E27FC236}">
                <a16:creationId xmlns:a16="http://schemas.microsoft.com/office/drawing/2014/main" id="{B6E5D29A-8F44-8E8C-8D13-AEF07FD0DC58}"/>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CA6640DC-9439-A6EF-308A-921A899BB951}"/>
              </a:ext>
            </a:extLst>
          </p:cNvPr>
          <p:cNvSpPr>
            <a:spLocks noGrp="1"/>
          </p:cNvSpPr>
          <p:nvPr>
            <p:ph type="sldNum" sz="quarter" idx="12"/>
          </p:nvPr>
        </p:nvSpPr>
        <p:spPr/>
        <p:txBody>
          <a:bodyPr/>
          <a:lstStyle/>
          <a:p>
            <a:fld id="{D438B275-EEAF-4280-B421-105E2A74F45A}" type="slidenum">
              <a:rPr lang="en-ID" smtClean="0"/>
              <a:t>‹#›</a:t>
            </a:fld>
            <a:endParaRPr lang="en-ID"/>
          </a:p>
        </p:txBody>
      </p:sp>
    </p:spTree>
    <p:extLst>
      <p:ext uri="{BB962C8B-B14F-4D97-AF65-F5344CB8AC3E}">
        <p14:creationId xmlns:p14="http://schemas.microsoft.com/office/powerpoint/2010/main" val="317316845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E77A8F-5165-7680-6E40-B0647198E375}"/>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B2E2A68C-8037-03A7-F16D-E9076FC230C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CE2C635C-1805-D70A-50CF-992C6D14155C}"/>
              </a:ext>
            </a:extLst>
          </p:cNvPr>
          <p:cNvSpPr>
            <a:spLocks noGrp="1"/>
          </p:cNvSpPr>
          <p:nvPr>
            <p:ph type="dt" sz="half" idx="10"/>
          </p:nvPr>
        </p:nvSpPr>
        <p:spPr/>
        <p:txBody>
          <a:bodyPr/>
          <a:lstStyle/>
          <a:p>
            <a:fld id="{484ED6E5-7F45-4282-B189-698C06F862DD}" type="datetimeFigureOut">
              <a:rPr lang="en-ID" smtClean="0"/>
              <a:t>12/12/2023</a:t>
            </a:fld>
            <a:endParaRPr lang="en-ID"/>
          </a:p>
        </p:txBody>
      </p:sp>
      <p:sp>
        <p:nvSpPr>
          <p:cNvPr id="5" name="Footer Placeholder 4">
            <a:extLst>
              <a:ext uri="{FF2B5EF4-FFF2-40B4-BE49-F238E27FC236}">
                <a16:creationId xmlns:a16="http://schemas.microsoft.com/office/drawing/2014/main" id="{3B96015B-0824-4390-75B7-5DD311FACE52}"/>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C32B84F5-71FB-5053-911C-480CD65E11C1}"/>
              </a:ext>
            </a:extLst>
          </p:cNvPr>
          <p:cNvSpPr>
            <a:spLocks noGrp="1"/>
          </p:cNvSpPr>
          <p:nvPr>
            <p:ph type="sldNum" sz="quarter" idx="12"/>
          </p:nvPr>
        </p:nvSpPr>
        <p:spPr/>
        <p:txBody>
          <a:bodyPr/>
          <a:lstStyle/>
          <a:p>
            <a:fld id="{D438B275-EEAF-4280-B421-105E2A74F45A}" type="slidenum">
              <a:rPr lang="en-ID" smtClean="0"/>
              <a:t>‹#›</a:t>
            </a:fld>
            <a:endParaRPr lang="en-ID"/>
          </a:p>
        </p:txBody>
      </p:sp>
    </p:spTree>
    <p:extLst>
      <p:ext uri="{BB962C8B-B14F-4D97-AF65-F5344CB8AC3E}">
        <p14:creationId xmlns:p14="http://schemas.microsoft.com/office/powerpoint/2010/main" val="18281907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26A28E8-D507-542D-5F34-367C1034539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CEEFABF2-E47A-D7B9-05A7-F1FBF264516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65F42AA3-055A-FD8C-B193-6E5B98A73FC5}"/>
              </a:ext>
            </a:extLst>
          </p:cNvPr>
          <p:cNvSpPr>
            <a:spLocks noGrp="1"/>
          </p:cNvSpPr>
          <p:nvPr>
            <p:ph type="dt" sz="half" idx="10"/>
          </p:nvPr>
        </p:nvSpPr>
        <p:spPr/>
        <p:txBody>
          <a:bodyPr/>
          <a:lstStyle/>
          <a:p>
            <a:fld id="{484ED6E5-7F45-4282-B189-698C06F862DD}" type="datetimeFigureOut">
              <a:rPr lang="en-ID" smtClean="0"/>
              <a:t>12/12/2023</a:t>
            </a:fld>
            <a:endParaRPr lang="en-ID"/>
          </a:p>
        </p:txBody>
      </p:sp>
      <p:sp>
        <p:nvSpPr>
          <p:cNvPr id="5" name="Footer Placeholder 4">
            <a:extLst>
              <a:ext uri="{FF2B5EF4-FFF2-40B4-BE49-F238E27FC236}">
                <a16:creationId xmlns:a16="http://schemas.microsoft.com/office/drawing/2014/main" id="{C96EA690-D875-ABBB-4610-9365FCEC5372}"/>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9453B34D-0565-34EF-47B1-1D726E177AE9}"/>
              </a:ext>
            </a:extLst>
          </p:cNvPr>
          <p:cNvSpPr>
            <a:spLocks noGrp="1"/>
          </p:cNvSpPr>
          <p:nvPr>
            <p:ph type="sldNum" sz="quarter" idx="12"/>
          </p:nvPr>
        </p:nvSpPr>
        <p:spPr/>
        <p:txBody>
          <a:bodyPr/>
          <a:lstStyle/>
          <a:p>
            <a:fld id="{D438B275-EEAF-4280-B421-105E2A74F45A}" type="slidenum">
              <a:rPr lang="en-ID" smtClean="0"/>
              <a:t>‹#›</a:t>
            </a:fld>
            <a:endParaRPr lang="en-ID"/>
          </a:p>
        </p:txBody>
      </p:sp>
    </p:spTree>
    <p:extLst>
      <p:ext uri="{BB962C8B-B14F-4D97-AF65-F5344CB8AC3E}">
        <p14:creationId xmlns:p14="http://schemas.microsoft.com/office/powerpoint/2010/main" val="400767484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FA75CF4-0495-44F0-9919-2BE2E9C3353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8" name="Object 7" hidden="1">
                        <a:extLst>
                          <a:ext uri="{FF2B5EF4-FFF2-40B4-BE49-F238E27FC236}">
                            <a16:creationId xmlns:a16="http://schemas.microsoft.com/office/drawing/2014/main" id="{1FA75CF4-0495-44F0-9919-2BE2E9C335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6903CF4-CF7A-4D3B-9206-A558CF8F191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9BF01D88-14DC-4E8C-BC51-F6E29BA416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4E956F14-30EB-46F0-BB34-23C7D0B00E2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BC4FD2C7-F87E-4333-A1F2-06B61B355C15}"/>
              </a:ext>
            </a:extLst>
          </p:cNvPr>
          <p:cNvSpPr>
            <a:spLocks noGrp="1"/>
          </p:cNvSpPr>
          <p:nvPr>
            <p:ph type="dt" sz="half" idx="10"/>
          </p:nvPr>
        </p:nvSpPr>
        <p:spPr/>
        <p:txBody>
          <a:bodyPr/>
          <a:lstStyle/>
          <a:p>
            <a:fld id="{AC427EFE-020E-4662-B68A-EB3CD7C19C13}" type="datetimeFigureOut">
              <a:rPr lang="en-ID" smtClean="0"/>
              <a:t>12/12/2023</a:t>
            </a:fld>
            <a:endParaRPr lang="en-ID"/>
          </a:p>
        </p:txBody>
      </p:sp>
      <p:sp>
        <p:nvSpPr>
          <p:cNvPr id="5" name="Footer Placeholder 4">
            <a:extLst>
              <a:ext uri="{FF2B5EF4-FFF2-40B4-BE49-F238E27FC236}">
                <a16:creationId xmlns:a16="http://schemas.microsoft.com/office/drawing/2014/main" id="{C67364F3-044E-4210-9FE8-5F892F067056}"/>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8D429688-1D12-4543-A348-2B8D4B848DCF}"/>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352734674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9B4D2A1-5732-4B0E-AD8F-F79D4D8E10F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8" name="Object 7" hidden="1">
                        <a:extLst>
                          <a:ext uri="{FF2B5EF4-FFF2-40B4-BE49-F238E27FC236}">
                            <a16:creationId xmlns:a16="http://schemas.microsoft.com/office/drawing/2014/main" id="{B9B4D2A1-5732-4B0E-AD8F-F79D4D8E10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D2E193-527D-4DD9-8E64-AF3CF266320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6EB45756-886E-4ED6-A056-7F53A7CFD1E0}"/>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1391E3EA-5251-41DF-A072-D6E0FF8ED7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BFCD2ACE-899B-4B44-866B-D792AC29DE99}"/>
              </a:ext>
            </a:extLst>
          </p:cNvPr>
          <p:cNvSpPr>
            <a:spLocks noGrp="1"/>
          </p:cNvSpPr>
          <p:nvPr>
            <p:ph type="dt" sz="half" idx="10"/>
          </p:nvPr>
        </p:nvSpPr>
        <p:spPr/>
        <p:txBody>
          <a:bodyPr/>
          <a:lstStyle/>
          <a:p>
            <a:fld id="{AC427EFE-020E-4662-B68A-EB3CD7C19C13}" type="datetimeFigureOut">
              <a:rPr lang="en-ID" smtClean="0"/>
              <a:t>12/12/2023</a:t>
            </a:fld>
            <a:endParaRPr lang="en-ID"/>
          </a:p>
        </p:txBody>
      </p:sp>
      <p:sp>
        <p:nvSpPr>
          <p:cNvPr id="5" name="Footer Placeholder 4">
            <a:extLst>
              <a:ext uri="{FF2B5EF4-FFF2-40B4-BE49-F238E27FC236}">
                <a16:creationId xmlns:a16="http://schemas.microsoft.com/office/drawing/2014/main" id="{3D72871A-7A4D-4FC3-86FC-B611CCDD2908}"/>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A5111E3D-076A-44A8-B2CB-5B57C3630328}"/>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226830620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3AD1D6A-C5C0-473B-926F-DF87BC63F36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8" name="Object 7" hidden="1">
                        <a:extLst>
                          <a:ext uri="{FF2B5EF4-FFF2-40B4-BE49-F238E27FC236}">
                            <a16:creationId xmlns:a16="http://schemas.microsoft.com/office/drawing/2014/main" id="{B3AD1D6A-C5C0-473B-926F-DF87BC63F3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C40A597-CFF5-42CD-B59A-7690C0936F6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1E5743E9-1B90-44BE-8018-6AD5508D4D4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B74ABA70-9411-48B5-9A79-D2FA933FA32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663BA19-713B-4C9B-9631-201C58ABCFE8}"/>
              </a:ext>
            </a:extLst>
          </p:cNvPr>
          <p:cNvSpPr>
            <a:spLocks noGrp="1"/>
          </p:cNvSpPr>
          <p:nvPr>
            <p:ph type="dt" sz="half" idx="10"/>
          </p:nvPr>
        </p:nvSpPr>
        <p:spPr/>
        <p:txBody>
          <a:bodyPr/>
          <a:lstStyle/>
          <a:p>
            <a:fld id="{AC427EFE-020E-4662-B68A-EB3CD7C19C13}" type="datetimeFigureOut">
              <a:rPr lang="en-ID" smtClean="0"/>
              <a:t>12/12/2023</a:t>
            </a:fld>
            <a:endParaRPr lang="en-ID"/>
          </a:p>
        </p:txBody>
      </p:sp>
      <p:sp>
        <p:nvSpPr>
          <p:cNvPr id="5" name="Footer Placeholder 4">
            <a:extLst>
              <a:ext uri="{FF2B5EF4-FFF2-40B4-BE49-F238E27FC236}">
                <a16:creationId xmlns:a16="http://schemas.microsoft.com/office/drawing/2014/main" id="{F23B1366-8670-40C6-9556-C3B8DA71B7F3}"/>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7C7469EF-592D-437E-BA15-C6E5C6530ABE}"/>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126748887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626EF9F-6DE0-4392-B5D6-822005F488C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9" name="Object 8" hidden="1">
                        <a:extLst>
                          <a:ext uri="{FF2B5EF4-FFF2-40B4-BE49-F238E27FC236}">
                            <a16:creationId xmlns:a16="http://schemas.microsoft.com/office/drawing/2014/main" id="{B626EF9F-6DE0-4392-B5D6-822005F488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5E654F2-7653-48AA-A132-E143D36CCFB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AC0139F3-BD05-4A74-875B-54EC9FEC8F23}"/>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9A5E10A5-0D80-4BD9-B991-3C9313F1213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0BA9FD12-366A-42A8-AFA4-979C82DF286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4">
            <a:extLst>
              <a:ext uri="{FF2B5EF4-FFF2-40B4-BE49-F238E27FC236}">
                <a16:creationId xmlns:a16="http://schemas.microsoft.com/office/drawing/2014/main" id="{40C9DB27-FBA1-4D3D-9984-89B36A025744}"/>
              </a:ext>
            </a:extLst>
          </p:cNvPr>
          <p:cNvSpPr>
            <a:spLocks noGrp="1"/>
          </p:cNvSpPr>
          <p:nvPr>
            <p:ph type="dt" sz="half" idx="10"/>
          </p:nvPr>
        </p:nvSpPr>
        <p:spPr/>
        <p:txBody>
          <a:bodyPr/>
          <a:lstStyle/>
          <a:p>
            <a:fld id="{AC427EFE-020E-4662-B68A-EB3CD7C19C13}" type="datetimeFigureOut">
              <a:rPr lang="en-ID" smtClean="0"/>
              <a:t>12/12/2023</a:t>
            </a:fld>
            <a:endParaRPr lang="en-ID"/>
          </a:p>
        </p:txBody>
      </p:sp>
      <p:sp>
        <p:nvSpPr>
          <p:cNvPr id="6" name="Footer Placeholder 5">
            <a:extLst>
              <a:ext uri="{FF2B5EF4-FFF2-40B4-BE49-F238E27FC236}">
                <a16:creationId xmlns:a16="http://schemas.microsoft.com/office/drawing/2014/main" id="{8E55434F-B91B-42BC-B5B6-BD3BF6F02ECF}"/>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D98B3053-38A7-412B-8277-8563B47D5456}"/>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121406473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9587DF5-3A40-47AE-BF9F-6EF659282A5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11" name="Object 10" hidden="1">
                        <a:extLst>
                          <a:ext uri="{FF2B5EF4-FFF2-40B4-BE49-F238E27FC236}">
                            <a16:creationId xmlns:a16="http://schemas.microsoft.com/office/drawing/2014/main" id="{79587DF5-3A40-47AE-BF9F-6EF659282A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B9B79F29-5D2D-4E95-8C5B-DE9F5FF5660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4AD917A2-8764-4DD8-8BE9-E35FDE2390D2}"/>
              </a:ext>
            </a:extLst>
          </p:cNvPr>
          <p:cNvSpPr>
            <a:spLocks noGrp="1"/>
          </p:cNvSpPr>
          <p:nvPr>
            <p:ph type="title"/>
          </p:nvPr>
        </p:nvSpPr>
        <p:spPr>
          <a:xfrm>
            <a:off x="839788" y="365125"/>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id="{D804E9E9-ED16-46D0-A60F-BE60AC7E9DF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0A9BE62-4058-4DEC-BBC4-D42F5349ED5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id="{66149CD0-0E68-4EF5-9B61-C07060BDE6B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FB4448D-7CDA-4478-B093-3AC43166536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id="{CE1A0D2F-1761-4226-BCDD-75008D2ED936}"/>
              </a:ext>
            </a:extLst>
          </p:cNvPr>
          <p:cNvSpPr>
            <a:spLocks noGrp="1"/>
          </p:cNvSpPr>
          <p:nvPr>
            <p:ph type="dt" sz="half" idx="10"/>
          </p:nvPr>
        </p:nvSpPr>
        <p:spPr/>
        <p:txBody>
          <a:bodyPr/>
          <a:lstStyle/>
          <a:p>
            <a:fld id="{AC427EFE-020E-4662-B68A-EB3CD7C19C13}" type="datetimeFigureOut">
              <a:rPr lang="en-ID" smtClean="0"/>
              <a:t>12/12/2023</a:t>
            </a:fld>
            <a:endParaRPr lang="en-ID"/>
          </a:p>
        </p:txBody>
      </p:sp>
      <p:sp>
        <p:nvSpPr>
          <p:cNvPr id="8" name="Footer Placeholder 7">
            <a:extLst>
              <a:ext uri="{FF2B5EF4-FFF2-40B4-BE49-F238E27FC236}">
                <a16:creationId xmlns:a16="http://schemas.microsoft.com/office/drawing/2014/main" id="{9D2997EA-07A2-44EA-92CA-0E6CD46C1276}"/>
              </a:ext>
            </a:extLst>
          </p:cNvPr>
          <p:cNvSpPr>
            <a:spLocks noGrp="1"/>
          </p:cNvSpPr>
          <p:nvPr>
            <p:ph type="ftr" sz="quarter" idx="11"/>
          </p:nvPr>
        </p:nvSpPr>
        <p:spPr/>
        <p:txBody>
          <a:bodyPr/>
          <a:lstStyle/>
          <a:p>
            <a:endParaRPr lang="en-ID"/>
          </a:p>
        </p:txBody>
      </p:sp>
      <p:sp>
        <p:nvSpPr>
          <p:cNvPr id="9" name="Slide Number Placeholder 8">
            <a:extLst>
              <a:ext uri="{FF2B5EF4-FFF2-40B4-BE49-F238E27FC236}">
                <a16:creationId xmlns:a16="http://schemas.microsoft.com/office/drawing/2014/main" id="{FCA1CB98-4ABA-413C-8A1D-FFA3165932C8}"/>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284515407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CA16087-473D-4FE0-867F-80FC27E5081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7" name="Object 6" hidden="1">
                        <a:extLst>
                          <a:ext uri="{FF2B5EF4-FFF2-40B4-BE49-F238E27FC236}">
                            <a16:creationId xmlns:a16="http://schemas.microsoft.com/office/drawing/2014/main" id="{BCA16087-473D-4FE0-867F-80FC27E508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060E62E-D850-491E-B38F-5BC9377263C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13D187D1-3487-47A8-AC42-1716EC81B380}"/>
              </a:ext>
            </a:extLst>
          </p:cNvPr>
          <p:cNvSpPr>
            <a:spLocks noGrp="1"/>
          </p:cNvSpPr>
          <p:nvPr>
            <p:ph type="title"/>
          </p:nvPr>
        </p:nvSpPr>
        <p:spPr/>
        <p:txBody>
          <a:bodyPr/>
          <a:lstStyle/>
          <a:p>
            <a:r>
              <a:rPr lang="en-US"/>
              <a:t>Click to edit Master title style</a:t>
            </a:r>
            <a:endParaRPr lang="en-ID"/>
          </a:p>
        </p:txBody>
      </p:sp>
      <p:sp>
        <p:nvSpPr>
          <p:cNvPr id="3" name="Date Placeholder 2">
            <a:extLst>
              <a:ext uri="{FF2B5EF4-FFF2-40B4-BE49-F238E27FC236}">
                <a16:creationId xmlns:a16="http://schemas.microsoft.com/office/drawing/2014/main" id="{DDCC578A-0525-4E61-9129-31B667CB3C32}"/>
              </a:ext>
            </a:extLst>
          </p:cNvPr>
          <p:cNvSpPr>
            <a:spLocks noGrp="1"/>
          </p:cNvSpPr>
          <p:nvPr>
            <p:ph type="dt" sz="half" idx="10"/>
          </p:nvPr>
        </p:nvSpPr>
        <p:spPr/>
        <p:txBody>
          <a:bodyPr/>
          <a:lstStyle/>
          <a:p>
            <a:fld id="{AC427EFE-020E-4662-B68A-EB3CD7C19C13}" type="datetimeFigureOut">
              <a:rPr lang="en-ID" smtClean="0"/>
              <a:t>12/12/2023</a:t>
            </a:fld>
            <a:endParaRPr lang="en-ID"/>
          </a:p>
        </p:txBody>
      </p:sp>
      <p:sp>
        <p:nvSpPr>
          <p:cNvPr id="4" name="Footer Placeholder 3">
            <a:extLst>
              <a:ext uri="{FF2B5EF4-FFF2-40B4-BE49-F238E27FC236}">
                <a16:creationId xmlns:a16="http://schemas.microsoft.com/office/drawing/2014/main" id="{25D16E53-1F8F-4082-AB38-8EB35943F011}"/>
              </a:ext>
            </a:extLst>
          </p:cNvPr>
          <p:cNvSpPr>
            <a:spLocks noGrp="1"/>
          </p:cNvSpPr>
          <p:nvPr>
            <p:ph type="ftr" sz="quarter" idx="11"/>
          </p:nvPr>
        </p:nvSpPr>
        <p:spPr/>
        <p:txBody>
          <a:bodyPr/>
          <a:lstStyle/>
          <a:p>
            <a:endParaRPr lang="en-ID"/>
          </a:p>
        </p:txBody>
      </p:sp>
      <p:sp>
        <p:nvSpPr>
          <p:cNvPr id="5" name="Slide Number Placeholder 4">
            <a:extLst>
              <a:ext uri="{FF2B5EF4-FFF2-40B4-BE49-F238E27FC236}">
                <a16:creationId xmlns:a16="http://schemas.microsoft.com/office/drawing/2014/main" id="{D79E71C4-E006-48A4-9C15-77C1A5DE1479}"/>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42564348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BBB0BE-EE2A-E537-C414-739C1E0A8028}"/>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5A03AE25-7539-DF66-B843-2B8870A11E7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C4A5930B-EE2F-AEAB-9F59-D855D9F0D7BB}"/>
              </a:ext>
            </a:extLst>
          </p:cNvPr>
          <p:cNvSpPr>
            <a:spLocks noGrp="1"/>
          </p:cNvSpPr>
          <p:nvPr>
            <p:ph type="dt" sz="half" idx="10"/>
          </p:nvPr>
        </p:nvSpPr>
        <p:spPr/>
        <p:txBody>
          <a:bodyPr/>
          <a:lstStyle/>
          <a:p>
            <a:fld id="{62FB3A63-0457-4056-959C-681C51DC124A}" type="datetimeFigureOut">
              <a:rPr lang="en-ID" smtClean="0"/>
              <a:t>12/12/2023</a:t>
            </a:fld>
            <a:endParaRPr lang="en-ID"/>
          </a:p>
        </p:txBody>
      </p:sp>
      <p:sp>
        <p:nvSpPr>
          <p:cNvPr id="5" name="Footer Placeholder 4">
            <a:extLst>
              <a:ext uri="{FF2B5EF4-FFF2-40B4-BE49-F238E27FC236}">
                <a16:creationId xmlns:a16="http://schemas.microsoft.com/office/drawing/2014/main" id="{109DC1E6-0C7B-03F5-7AF9-AB8FD1AD3CDA}"/>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F32EE278-88FC-8E1C-FC46-A2B53FE13E21}"/>
              </a:ext>
            </a:extLst>
          </p:cNvPr>
          <p:cNvSpPr>
            <a:spLocks noGrp="1"/>
          </p:cNvSpPr>
          <p:nvPr>
            <p:ph type="sldNum" sz="quarter" idx="12"/>
          </p:nvPr>
        </p:nvSpPr>
        <p:spPr/>
        <p:txBody>
          <a:bodyPr/>
          <a:lstStyle/>
          <a:p>
            <a:fld id="{BC5A0E4C-AEED-4EAC-B96D-5DCBA748C5AA}" type="slidenum">
              <a:rPr lang="en-ID" smtClean="0"/>
              <a:t>‹#›</a:t>
            </a:fld>
            <a:endParaRPr lang="en-ID"/>
          </a:p>
        </p:txBody>
      </p:sp>
    </p:spTree>
    <p:extLst>
      <p:ext uri="{BB962C8B-B14F-4D97-AF65-F5344CB8AC3E}">
        <p14:creationId xmlns:p14="http://schemas.microsoft.com/office/powerpoint/2010/main" val="29360888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48FE85-3DDB-4F8A-A5E8-F7DD1166EF38}"/>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A153B74F-F8AD-4151-BDF9-AE900613D6E4}"/>
              </a:ext>
            </a:extLst>
          </p:cNvPr>
          <p:cNvSpPr>
            <a:spLocks noGrp="1"/>
          </p:cNvSpPr>
          <p:nvPr>
            <p:ph type="pic" idx="1"/>
          </p:nvPr>
        </p:nvSpPr>
        <p:spPr>
          <a:xfrm>
            <a:off x="5183188" y="987426"/>
            <a:ext cx="6172200" cy="4873625"/>
          </a:xfrm>
        </p:spPr>
        <p:txBody>
          <a:bodyPr/>
          <a:lstStyle>
            <a:lvl1pPr marL="0" indent="0">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endParaRPr lang="en-ID"/>
          </a:p>
        </p:txBody>
      </p:sp>
      <p:sp>
        <p:nvSpPr>
          <p:cNvPr id="4" name="Text Placeholder 3">
            <a:extLst>
              <a:ext uri="{FF2B5EF4-FFF2-40B4-BE49-F238E27FC236}">
                <a16:creationId xmlns:a16="http://schemas.microsoft.com/office/drawing/2014/main" id="{C19D8EB4-FC40-432A-93FF-C7DD68ABD0F8}"/>
              </a:ext>
            </a:extLst>
          </p:cNvPr>
          <p:cNvSpPr>
            <a:spLocks noGrp="1"/>
          </p:cNvSpPr>
          <p:nvPr>
            <p:ph type="body" sz="half" idx="2"/>
          </p:nvPr>
        </p:nvSpPr>
        <p:spPr>
          <a:xfrm>
            <a:off x="839789" y="2057400"/>
            <a:ext cx="3932237" cy="3811588"/>
          </a:xfrm>
        </p:spPr>
        <p:txBody>
          <a:bodyPr/>
          <a:lstStyle>
            <a:lvl1pPr marL="0" indent="0">
              <a:buNone/>
              <a:defRPr sz="1600"/>
            </a:lvl1pPr>
            <a:lvl2pPr marL="457223" indent="0">
              <a:buNone/>
              <a:defRPr sz="1400"/>
            </a:lvl2pPr>
            <a:lvl3pPr marL="914446" indent="0">
              <a:buNone/>
              <a:defRPr sz="1200"/>
            </a:lvl3pPr>
            <a:lvl4pPr marL="1371669" indent="0">
              <a:buNone/>
              <a:defRPr sz="1000"/>
            </a:lvl4pPr>
            <a:lvl5pPr marL="1828891" indent="0">
              <a:buNone/>
              <a:defRPr sz="1000"/>
            </a:lvl5pPr>
            <a:lvl6pPr marL="2286114" indent="0">
              <a:buNone/>
              <a:defRPr sz="1000"/>
            </a:lvl6pPr>
            <a:lvl7pPr marL="2743337" indent="0">
              <a:buNone/>
              <a:defRPr sz="1000"/>
            </a:lvl7pPr>
            <a:lvl8pPr marL="3200560" indent="0">
              <a:buNone/>
              <a:defRPr sz="1000"/>
            </a:lvl8pPr>
            <a:lvl9pPr marL="3657783"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A1FE4BF-3A93-4639-8A9D-B01A41B2698F}"/>
              </a:ext>
            </a:extLst>
          </p:cNvPr>
          <p:cNvSpPr>
            <a:spLocks noGrp="1"/>
          </p:cNvSpPr>
          <p:nvPr>
            <p:ph type="dt" sz="half" idx="10"/>
          </p:nvPr>
        </p:nvSpPr>
        <p:spPr/>
        <p:txBody>
          <a:bodyPr/>
          <a:lstStyle/>
          <a:p>
            <a:fld id="{C67F9B67-2119-4870-B423-950E2B02F070}" type="datetimeFigureOut">
              <a:rPr lang="en-ID" smtClean="0">
                <a:solidFill>
                  <a:prstClr val="black">
                    <a:tint val="75000"/>
                  </a:prstClr>
                </a:solidFill>
              </a:rPr>
              <a:pPr/>
              <a:t>12/12/2023</a:t>
            </a:fld>
            <a:endParaRPr lang="en-ID">
              <a:solidFill>
                <a:prstClr val="black">
                  <a:tint val="75000"/>
                </a:prstClr>
              </a:solidFill>
            </a:endParaRPr>
          </a:p>
        </p:txBody>
      </p:sp>
      <p:sp>
        <p:nvSpPr>
          <p:cNvPr id="6" name="Footer Placeholder 5">
            <a:extLst>
              <a:ext uri="{FF2B5EF4-FFF2-40B4-BE49-F238E27FC236}">
                <a16:creationId xmlns:a16="http://schemas.microsoft.com/office/drawing/2014/main" id="{F9957FD0-A08A-47DA-9BF7-909D38FD3577}"/>
              </a:ext>
            </a:extLst>
          </p:cNvPr>
          <p:cNvSpPr>
            <a:spLocks noGrp="1"/>
          </p:cNvSpPr>
          <p:nvPr>
            <p:ph type="ftr" sz="quarter" idx="11"/>
          </p:nvPr>
        </p:nvSpPr>
        <p:spPr/>
        <p:txBody>
          <a:bodyPr/>
          <a:lstStyle/>
          <a:p>
            <a:endParaRPr lang="en-ID">
              <a:solidFill>
                <a:prstClr val="black">
                  <a:tint val="75000"/>
                </a:prstClr>
              </a:solidFill>
            </a:endParaRPr>
          </a:p>
        </p:txBody>
      </p:sp>
      <p:sp>
        <p:nvSpPr>
          <p:cNvPr id="7" name="Slide Number Placeholder 6">
            <a:extLst>
              <a:ext uri="{FF2B5EF4-FFF2-40B4-BE49-F238E27FC236}">
                <a16:creationId xmlns:a16="http://schemas.microsoft.com/office/drawing/2014/main" id="{B27BD275-C3F2-4B54-8D3C-DBFF509A076E}"/>
              </a:ext>
            </a:extLst>
          </p:cNvPr>
          <p:cNvSpPr>
            <a:spLocks noGrp="1"/>
          </p:cNvSpPr>
          <p:nvPr>
            <p:ph type="sldNum" sz="quarter" idx="12"/>
          </p:nvPr>
        </p:nvSpPr>
        <p:spPr/>
        <p:txBody>
          <a:bodyPr/>
          <a:lstStyle/>
          <a:p>
            <a:fld id="{5D8928EB-67EA-4DF5-8889-76A19408D29A}" type="slidenum">
              <a:rPr lang="en-ID" smtClean="0">
                <a:solidFill>
                  <a:prstClr val="black">
                    <a:tint val="75000"/>
                  </a:prstClr>
                </a:solidFill>
              </a:rPr>
              <a:pPr/>
              <a:t>‹#›</a:t>
            </a:fld>
            <a:endParaRPr lang="en-ID">
              <a:solidFill>
                <a:prstClr val="black">
                  <a:tint val="75000"/>
                </a:prstClr>
              </a:solidFill>
            </a:endParaRPr>
          </a:p>
        </p:txBody>
      </p:sp>
    </p:spTree>
    <p:extLst>
      <p:ext uri="{BB962C8B-B14F-4D97-AF65-F5344CB8AC3E}">
        <p14:creationId xmlns:p14="http://schemas.microsoft.com/office/powerpoint/2010/main" val="227746145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BAA7BDF-0AF1-43DD-B25E-4180C4A3C32A}"/>
              </a:ext>
            </a:extLst>
          </p:cNvPr>
          <p:cNvSpPr>
            <a:spLocks noGrp="1"/>
          </p:cNvSpPr>
          <p:nvPr>
            <p:ph type="dt" sz="half" idx="10"/>
          </p:nvPr>
        </p:nvSpPr>
        <p:spPr/>
        <p:txBody>
          <a:bodyPr/>
          <a:lstStyle/>
          <a:p>
            <a:fld id="{AC427EFE-020E-4662-B68A-EB3CD7C19C13}" type="datetimeFigureOut">
              <a:rPr lang="en-ID" smtClean="0"/>
              <a:t>12/12/2023</a:t>
            </a:fld>
            <a:endParaRPr lang="en-ID"/>
          </a:p>
        </p:txBody>
      </p:sp>
      <p:sp>
        <p:nvSpPr>
          <p:cNvPr id="3" name="Footer Placeholder 2">
            <a:extLst>
              <a:ext uri="{FF2B5EF4-FFF2-40B4-BE49-F238E27FC236}">
                <a16:creationId xmlns:a16="http://schemas.microsoft.com/office/drawing/2014/main" id="{E1527088-8B53-411E-982B-9B7B7377E5C7}"/>
              </a:ext>
            </a:extLst>
          </p:cNvPr>
          <p:cNvSpPr>
            <a:spLocks noGrp="1"/>
          </p:cNvSpPr>
          <p:nvPr>
            <p:ph type="ftr" sz="quarter" idx="11"/>
          </p:nvPr>
        </p:nvSpPr>
        <p:spPr/>
        <p:txBody>
          <a:bodyPr/>
          <a:lstStyle/>
          <a:p>
            <a:endParaRPr lang="en-ID"/>
          </a:p>
        </p:txBody>
      </p:sp>
      <p:sp>
        <p:nvSpPr>
          <p:cNvPr id="4" name="Slide Number Placeholder 3">
            <a:extLst>
              <a:ext uri="{FF2B5EF4-FFF2-40B4-BE49-F238E27FC236}">
                <a16:creationId xmlns:a16="http://schemas.microsoft.com/office/drawing/2014/main" id="{D9F41C51-6A03-4D8D-A703-731ECDF8AD9E}"/>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264873610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1D26734-4938-45E5-AE8F-80DD3A1B111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9" name="Object 8" hidden="1">
                        <a:extLst>
                          <a:ext uri="{FF2B5EF4-FFF2-40B4-BE49-F238E27FC236}">
                            <a16:creationId xmlns:a16="http://schemas.microsoft.com/office/drawing/2014/main" id="{D1D26734-4938-45E5-AE8F-80DD3A1B11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36A9F74-7577-4B7D-8966-C35BEA2F29B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274AD4C8-811D-488B-B799-5EDF23BD1A3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E7F5DE0A-DE58-4017-8F7D-4CBFA2F8D9F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7AC687DB-7944-431E-A760-02241370AE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AD22CD9-8282-4D54-9FB8-BC138F602D1F}"/>
              </a:ext>
            </a:extLst>
          </p:cNvPr>
          <p:cNvSpPr>
            <a:spLocks noGrp="1"/>
          </p:cNvSpPr>
          <p:nvPr>
            <p:ph type="dt" sz="half" idx="10"/>
          </p:nvPr>
        </p:nvSpPr>
        <p:spPr/>
        <p:txBody>
          <a:bodyPr/>
          <a:lstStyle/>
          <a:p>
            <a:fld id="{AC427EFE-020E-4662-B68A-EB3CD7C19C13}" type="datetimeFigureOut">
              <a:rPr lang="en-ID" smtClean="0"/>
              <a:t>12/12/2023</a:t>
            </a:fld>
            <a:endParaRPr lang="en-ID"/>
          </a:p>
        </p:txBody>
      </p:sp>
      <p:sp>
        <p:nvSpPr>
          <p:cNvPr id="6" name="Footer Placeholder 5">
            <a:extLst>
              <a:ext uri="{FF2B5EF4-FFF2-40B4-BE49-F238E27FC236}">
                <a16:creationId xmlns:a16="http://schemas.microsoft.com/office/drawing/2014/main" id="{EF0F81F6-7C5E-4934-B80A-AC7FF3F5C7F8}"/>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E54D0637-6259-4056-896C-934687F481BD}"/>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107166872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39ABD71-175B-45C9-807F-6C98F9899F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9" name="Object 8" hidden="1">
                        <a:extLst>
                          <a:ext uri="{FF2B5EF4-FFF2-40B4-BE49-F238E27FC236}">
                            <a16:creationId xmlns:a16="http://schemas.microsoft.com/office/drawing/2014/main" id="{139ABD71-175B-45C9-807F-6C98F9899F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99DA5152-5367-4080-91A8-B213C80A1E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7BE13762-D356-44CA-8098-71F88A2EE2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0B555D56-7867-4A5C-88C1-E4DD1270137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226A39D7-E3A6-430D-9A3B-C46FFE3D785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F64E50F-ED9F-4751-8C55-0A05A424B88E}"/>
              </a:ext>
            </a:extLst>
          </p:cNvPr>
          <p:cNvSpPr>
            <a:spLocks noGrp="1"/>
          </p:cNvSpPr>
          <p:nvPr>
            <p:ph type="dt" sz="half" idx="10"/>
          </p:nvPr>
        </p:nvSpPr>
        <p:spPr/>
        <p:txBody>
          <a:bodyPr/>
          <a:lstStyle/>
          <a:p>
            <a:fld id="{AC427EFE-020E-4662-B68A-EB3CD7C19C13}" type="datetimeFigureOut">
              <a:rPr lang="en-ID" smtClean="0"/>
              <a:t>12/12/2023</a:t>
            </a:fld>
            <a:endParaRPr lang="en-ID"/>
          </a:p>
        </p:txBody>
      </p:sp>
      <p:sp>
        <p:nvSpPr>
          <p:cNvPr id="6" name="Footer Placeholder 5">
            <a:extLst>
              <a:ext uri="{FF2B5EF4-FFF2-40B4-BE49-F238E27FC236}">
                <a16:creationId xmlns:a16="http://schemas.microsoft.com/office/drawing/2014/main" id="{FDE1825A-E49B-4D7D-B311-5F1C9FF40083}"/>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D2645C58-B9EE-496F-A972-1B227FD1007F}"/>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376928260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C4CF938-191F-4536-929B-310FAA32354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8" name="Object 7" hidden="1">
                        <a:extLst>
                          <a:ext uri="{FF2B5EF4-FFF2-40B4-BE49-F238E27FC236}">
                            <a16:creationId xmlns:a16="http://schemas.microsoft.com/office/drawing/2014/main" id="{AC4CF938-191F-4536-929B-310FAA3235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57765DF-DCDA-488D-976A-B4A14470F0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672BDF97-FFFD-4D85-92EA-936B35FC407D}"/>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CBFADDC0-CEE8-47AA-8812-6BE87AC3C49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19E5E4BF-1EA0-41F9-98B5-D25636F0F67E}"/>
              </a:ext>
            </a:extLst>
          </p:cNvPr>
          <p:cNvSpPr>
            <a:spLocks noGrp="1"/>
          </p:cNvSpPr>
          <p:nvPr>
            <p:ph type="dt" sz="half" idx="10"/>
          </p:nvPr>
        </p:nvSpPr>
        <p:spPr/>
        <p:txBody>
          <a:bodyPr/>
          <a:lstStyle/>
          <a:p>
            <a:fld id="{AC427EFE-020E-4662-B68A-EB3CD7C19C13}" type="datetimeFigureOut">
              <a:rPr lang="en-ID" smtClean="0"/>
              <a:t>12/12/2023</a:t>
            </a:fld>
            <a:endParaRPr lang="en-ID"/>
          </a:p>
        </p:txBody>
      </p:sp>
      <p:sp>
        <p:nvSpPr>
          <p:cNvPr id="5" name="Footer Placeholder 4">
            <a:extLst>
              <a:ext uri="{FF2B5EF4-FFF2-40B4-BE49-F238E27FC236}">
                <a16:creationId xmlns:a16="http://schemas.microsoft.com/office/drawing/2014/main" id="{8F5C6054-F058-4B3B-9A8C-DB41F94CDE8C}"/>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5ABDBF92-D396-4CD2-BDF2-16378AB8E55B}"/>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76113954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06B0378-93DF-48F5-A59C-5D55A416A8A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8" name="Object 7" hidden="1">
                        <a:extLst>
                          <a:ext uri="{FF2B5EF4-FFF2-40B4-BE49-F238E27FC236}">
                            <a16:creationId xmlns:a16="http://schemas.microsoft.com/office/drawing/2014/main" id="{E06B0378-93DF-48F5-A59C-5D55A416A8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707BDF6-DC68-4490-9CD9-BFE1538764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Vertical Title 1">
            <a:extLst>
              <a:ext uri="{FF2B5EF4-FFF2-40B4-BE49-F238E27FC236}">
                <a16:creationId xmlns:a16="http://schemas.microsoft.com/office/drawing/2014/main" id="{F6AE5386-C5A2-4F31-A5C5-57313C4E153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C43B18F4-2655-407A-8F02-B992A2B2882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3B21AD07-201D-41B7-AFBD-0E10BF5BB34C}"/>
              </a:ext>
            </a:extLst>
          </p:cNvPr>
          <p:cNvSpPr>
            <a:spLocks noGrp="1"/>
          </p:cNvSpPr>
          <p:nvPr>
            <p:ph type="dt" sz="half" idx="10"/>
          </p:nvPr>
        </p:nvSpPr>
        <p:spPr/>
        <p:txBody>
          <a:bodyPr/>
          <a:lstStyle/>
          <a:p>
            <a:fld id="{AC427EFE-020E-4662-B68A-EB3CD7C19C13}" type="datetimeFigureOut">
              <a:rPr lang="en-ID" smtClean="0"/>
              <a:t>12/12/2023</a:t>
            </a:fld>
            <a:endParaRPr lang="en-ID"/>
          </a:p>
        </p:txBody>
      </p:sp>
      <p:sp>
        <p:nvSpPr>
          <p:cNvPr id="5" name="Footer Placeholder 4">
            <a:extLst>
              <a:ext uri="{FF2B5EF4-FFF2-40B4-BE49-F238E27FC236}">
                <a16:creationId xmlns:a16="http://schemas.microsoft.com/office/drawing/2014/main" id="{D0BD80B1-8B71-4D53-9C10-5032371B231C}"/>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D423EB62-7DE9-4A6F-AB8C-52951BCE561B}"/>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149812345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pSp>
        <p:nvGrpSpPr>
          <p:cNvPr id="5" name="Group 4"/>
          <p:cNvGrpSpPr/>
          <p:nvPr userDrawn="1"/>
        </p:nvGrpSpPr>
        <p:grpSpPr>
          <a:xfrm>
            <a:off x="1905004" y="1"/>
            <a:ext cx="10286996" cy="6857999"/>
            <a:chOff x="1905004" y="1"/>
            <a:chExt cx="10286996" cy="6857999"/>
          </a:xfrm>
        </p:grpSpPr>
        <p:pic>
          <p:nvPicPr>
            <p:cNvPr id="6" name="Picture 6" descr="Image result for construction bridge indonesia"/>
            <p:cNvPicPr>
              <a:picLocks noChangeAspect="1" noChangeArrowheads="1"/>
            </p:cNvPicPr>
            <p:nvPr/>
          </p:nvPicPr>
          <p:blipFill>
            <a:blip r:embed="rId2">
              <a:lum bright="70000" contrast="-70000"/>
              <a:extLst>
                <a:ext uri="{28A0092B-C50C-407E-A947-70E740481C1C}">
                  <a14:useLocalDpi xmlns:a14="http://schemas.microsoft.com/office/drawing/2010/main"/>
                </a:ext>
              </a:extLst>
            </a:blip>
            <a:srcRect/>
            <a:stretch>
              <a:fillRect/>
            </a:stretch>
          </p:blipFill>
          <p:spPr bwMode="auto">
            <a:xfrm>
              <a:off x="1905004" y="1"/>
              <a:ext cx="10286996" cy="685799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7" name="Right Triangle 6"/>
            <p:cNvSpPr/>
            <p:nvPr/>
          </p:nvSpPr>
          <p:spPr>
            <a:xfrm rot="5400000">
              <a:off x="3042561" y="-1137553"/>
              <a:ext cx="5805715" cy="8080827"/>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 name="Rectangle 1"/>
          <p:cNvSpPr/>
          <p:nvPr userDrawn="1"/>
        </p:nvSpPr>
        <p:spPr>
          <a:xfrm>
            <a:off x="2049517" y="1"/>
            <a:ext cx="10142483" cy="6857999"/>
          </a:xfrm>
          <a:prstGeom prst="rect">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Slide Number Placeholder 5"/>
          <p:cNvSpPr>
            <a:spLocks noGrp="1"/>
          </p:cNvSpPr>
          <p:nvPr>
            <p:ph type="sldNum" sz="quarter" idx="12"/>
          </p:nvPr>
        </p:nvSpPr>
        <p:spPr>
          <a:xfrm>
            <a:off x="299449" y="6237310"/>
            <a:ext cx="439241" cy="390437"/>
          </a:xfrm>
          <a:prstGeom prst="rect">
            <a:avLst/>
          </a:prstGeom>
          <a:solidFill>
            <a:schemeClr val="accent4"/>
          </a:solidFill>
        </p:spPr>
        <p:txBody>
          <a:bodyPr anchor="ctr"/>
          <a:lstStyle>
            <a:lvl1pPr algn="ctr">
              <a:defRPr sz="1400">
                <a:solidFill>
                  <a:srgbClr val="2F3A46"/>
                </a:solidFill>
              </a:defRPr>
            </a:lvl1pPr>
          </a:lstStyle>
          <a:p>
            <a:pPr marL="0" marR="0" lvl="0" indent="0" algn="ctr" defTabSz="914354" rtl="0" eaLnBrk="1" fontAlgn="auto" latinLnBrk="0" hangingPunct="1">
              <a:lnSpc>
                <a:spcPct val="100000"/>
              </a:lnSpc>
              <a:spcBef>
                <a:spcPts val="0"/>
              </a:spcBef>
              <a:spcAft>
                <a:spcPts val="0"/>
              </a:spcAft>
              <a:buClrTx/>
              <a:buSzTx/>
              <a:buFontTx/>
              <a:buNone/>
              <a:tabLst/>
              <a:defRPr/>
            </a:pPr>
            <a:fld id="{F68327C5-B821-4FE9-A59A-A60D9EB59A9A}" type="slidenum">
              <a:rPr kumimoji="0" lang="en-US" sz="1400" b="0" i="0" u="none" strike="noStrike" kern="1200" cap="none" spc="0" normalizeH="0" baseline="0" noProof="0" smtClean="0">
                <a:ln>
                  <a:noFill/>
                </a:ln>
                <a:solidFill>
                  <a:srgbClr val="2F3A46"/>
                </a:solidFill>
                <a:effectLst/>
                <a:uLnTx/>
                <a:uFillTx/>
                <a:latin typeface="Calibri" panose="020F0502020204030204"/>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dirty="0">
              <a:ln>
                <a:noFill/>
              </a:ln>
              <a:solidFill>
                <a:srgbClr val="2F3A46"/>
              </a:solidFill>
              <a:effectLst/>
              <a:uLnTx/>
              <a:uFillTx/>
              <a:latin typeface="Calibri" panose="020F0502020204030204"/>
              <a:ea typeface="+mn-ea"/>
              <a:cs typeface="+mn-cs"/>
            </a:endParaRPr>
          </a:p>
        </p:txBody>
      </p:sp>
      <p:cxnSp>
        <p:nvCxnSpPr>
          <p:cNvPr id="13" name="Straight Connector 12">
            <a:extLst>
              <a:ext uri="{FF2B5EF4-FFF2-40B4-BE49-F238E27FC236}">
                <a16:creationId xmlns:a16="http://schemas.microsoft.com/office/drawing/2014/main" id="{5F1A9D71-5BA3-4EE0-8ED7-150943366783}"/>
              </a:ext>
            </a:extLst>
          </p:cNvPr>
          <p:cNvCxnSpPr/>
          <p:nvPr userDrawn="1"/>
        </p:nvCxnSpPr>
        <p:spPr>
          <a:xfrm>
            <a:off x="958312" y="6127675"/>
            <a:ext cx="0" cy="540000"/>
          </a:xfrm>
          <a:prstGeom prst="line">
            <a:avLst/>
          </a:prstGeom>
          <a:ln w="38100">
            <a:solidFill>
              <a:srgbClr val="EEB70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0" y="1005673"/>
            <a:ext cx="523904"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F1A9D71-5BA3-4EE0-8ED7-150943366783}"/>
              </a:ext>
            </a:extLst>
          </p:cNvPr>
          <p:cNvCxnSpPr/>
          <p:nvPr userDrawn="1"/>
        </p:nvCxnSpPr>
        <p:spPr>
          <a:xfrm>
            <a:off x="12034064" y="6127675"/>
            <a:ext cx="0" cy="540000"/>
          </a:xfrm>
          <a:prstGeom prst="line">
            <a:avLst/>
          </a:prstGeom>
          <a:ln w="38100">
            <a:solidFill>
              <a:srgbClr val="EEB702"/>
            </a:solidFill>
          </a:ln>
        </p:spPr>
        <p:style>
          <a:lnRef idx="1">
            <a:schemeClr val="accent1"/>
          </a:lnRef>
          <a:fillRef idx="0">
            <a:schemeClr val="accent1"/>
          </a:fillRef>
          <a:effectRef idx="0">
            <a:schemeClr val="accent1"/>
          </a:effectRef>
          <a:fontRef idx="minor">
            <a:schemeClr val="tx1"/>
          </a:fontRef>
        </p:style>
      </p:cxnSp>
      <p:sp>
        <p:nvSpPr>
          <p:cNvPr id="14" name="Content Placeholder 2"/>
          <p:cNvSpPr>
            <a:spLocks noGrp="1"/>
          </p:cNvSpPr>
          <p:nvPr>
            <p:ph idx="1"/>
          </p:nvPr>
        </p:nvSpPr>
        <p:spPr>
          <a:xfrm>
            <a:off x="363070" y="1279174"/>
            <a:ext cx="11647502" cy="4596620"/>
          </a:xfrm>
        </p:spPr>
        <p:txBody>
          <a:bodyPr/>
          <a:lstStyle/>
          <a:p>
            <a:endParaRPr lang="en-US" dirty="0"/>
          </a:p>
        </p:txBody>
      </p:sp>
      <p:sp>
        <p:nvSpPr>
          <p:cNvPr id="19" name="Title 1"/>
          <p:cNvSpPr>
            <a:spLocks noGrp="1"/>
          </p:cNvSpPr>
          <p:nvPr>
            <p:ph type="title"/>
          </p:nvPr>
        </p:nvSpPr>
        <p:spPr>
          <a:xfrm>
            <a:off x="363070" y="81234"/>
            <a:ext cx="9312843" cy="782036"/>
          </a:xfrm>
        </p:spPr>
        <p:txBody>
          <a:bodyPr>
            <a:normAutofit/>
          </a:bodyPr>
          <a:lstStyle>
            <a:lvl1pPr>
              <a:defRPr lang="en-US" sz="3600" b="1" kern="1200" cap="all" normalizeH="0" baseline="0">
                <a:solidFill>
                  <a:srgbClr val="2F3A46"/>
                </a:solidFill>
                <a:latin typeface="Open Sans" panose="020B0606030504020204"/>
                <a:ea typeface="Open Sans" panose="020B0606030504020204" pitchFamily="34" charset="0"/>
                <a:cs typeface="Open Sans" panose="020B0606030504020204" pitchFamily="34" charset="0"/>
              </a:defRPr>
            </a:lvl1pPr>
          </a:lstStyle>
          <a:p>
            <a:pPr marL="0" marR="0" lvl="0" indent="0" algn="l" defTabSz="914354" rtl="0" eaLnBrk="1" fontAlgn="auto" latinLnBrk="0" hangingPunct="1">
              <a:lnSpc>
                <a:spcPct val="100000"/>
              </a:lnSpc>
              <a:spcBef>
                <a:spcPct val="0"/>
              </a:spcBef>
              <a:spcAft>
                <a:spcPts val="0"/>
              </a:spcAft>
              <a:buClrTx/>
              <a:buSzTx/>
              <a:buFontTx/>
              <a:buNone/>
              <a:tabLst/>
              <a:defRPr/>
            </a:pPr>
            <a:endParaRPr lang="en-US" dirty="0"/>
          </a:p>
        </p:txBody>
      </p:sp>
      <p:pic>
        <p:nvPicPr>
          <p:cNvPr id="23" name="Picture 2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784159" y="96968"/>
            <a:ext cx="2220938" cy="828053"/>
          </a:xfrm>
          <a:prstGeom prst="rect">
            <a:avLst/>
          </a:prstGeom>
        </p:spPr>
      </p:pic>
    </p:spTree>
    <p:extLst>
      <p:ext uri="{BB962C8B-B14F-4D97-AF65-F5344CB8AC3E}">
        <p14:creationId xmlns:p14="http://schemas.microsoft.com/office/powerpoint/2010/main" val="1091588666"/>
      </p:ext>
    </p:extLst>
  </p:cSld>
  <p:clrMapOvr>
    <a:masterClrMapping/>
  </p:clrMapOvr>
  <mc:AlternateContent xmlns:mc="http://schemas.openxmlformats.org/markup-compatibility/2006" xmlns:p14="http://schemas.microsoft.com/office/powerpoint/2010/main">
    <mc:Choice Requires="p14">
      <p:transition spd="slow">
        <p14:pan dir="u"/>
      </p:transition>
    </mc:Choice>
    <mc:Fallback xmlns="">
      <p:transition spd="slow">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pic>
        <p:nvPicPr>
          <p:cNvPr id="2" name="Picture 8" descr="Abstract Architectural Background. Linear 3D Illustration. Concept Sketch  Stock Illustration - Illustration of construction, house: 173743442">
            <a:extLst>
              <a:ext uri="{FF2B5EF4-FFF2-40B4-BE49-F238E27FC236}">
                <a16:creationId xmlns:a16="http://schemas.microsoft.com/office/drawing/2014/main" id="{F0081776-D9D1-4EF7-B097-ED97C265BAD8}"/>
              </a:ext>
            </a:extLst>
          </p:cNvPr>
          <p:cNvPicPr>
            <a:picLocks noChangeAspect="1" noChangeArrowheads="1"/>
          </p:cNvPicPr>
          <p:nvPr userDrawn="1"/>
        </p:nvPicPr>
        <p:blipFill>
          <a:blip r:embed="rId2">
            <a:duotone>
              <a:schemeClr val="bg2">
                <a:shade val="45000"/>
                <a:satMod val="135000"/>
              </a:schemeClr>
              <a:prstClr val="white"/>
            </a:duotone>
            <a:extLst>
              <a:ext uri="{BEBA8EAE-BF5A-486C-A8C5-ECC9F3942E4B}">
                <a14:imgProps xmlns:a14="http://schemas.microsoft.com/office/drawing/2010/main">
                  <a14:imgLayer r:embed="rId3">
                    <a14:imgEffect>
                      <a14:colorTemperature colorTemp="5900"/>
                    </a14:imgEffect>
                    <a14:imgEffect>
                      <a14:brightnessContrast contrast="40000"/>
                    </a14:imgEffect>
                  </a14:imgLayer>
                </a14:imgProps>
              </a:ext>
              <a:ext uri="{28A0092B-C50C-407E-A947-70E740481C1C}">
                <a14:useLocalDpi xmlns:a14="http://schemas.microsoft.com/office/drawing/2010/main"/>
              </a:ext>
            </a:extLst>
          </a:blip>
          <a:srcRect/>
          <a:stretch>
            <a:fillRect/>
          </a:stretch>
        </p:blipFill>
        <p:spPr bwMode="auto">
          <a:xfrm>
            <a:off x="0" y="-11248"/>
            <a:ext cx="12192000" cy="68537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308607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1_Blank">
    <p:spTree>
      <p:nvGrpSpPr>
        <p:cNvPr id="1" name=""/>
        <p:cNvGrpSpPr/>
        <p:nvPr/>
      </p:nvGrpSpPr>
      <p:grpSpPr>
        <a:xfrm>
          <a:off x="0" y="0"/>
          <a:ext cx="0" cy="0"/>
          <a:chOff x="0" y="0"/>
          <a:chExt cx="0" cy="0"/>
        </a:xfrm>
      </p:grpSpPr>
      <p:sp>
        <p:nvSpPr>
          <p:cNvPr id="15" name="PpHolder11"/>
          <p:cNvSpPr>
            <a:spLocks noGrp="1"/>
          </p:cNvSpPr>
          <p:nvPr>
            <p:ph type="pic" sz="quarter" idx="16"/>
          </p:nvPr>
        </p:nvSpPr>
        <p:spPr>
          <a:xfrm>
            <a:off x="4876806" y="2209800"/>
            <a:ext cx="2438399" cy="1371600"/>
          </a:xfrm>
          <a:custGeom>
            <a:avLst/>
            <a:gdLst>
              <a:gd name="connsiteX0" fmla="*/ 65727 w 1828799"/>
              <a:gd name="connsiteY0" fmla="*/ 0 h 1371600"/>
              <a:gd name="connsiteX1" fmla="*/ 1763072 w 1828799"/>
              <a:gd name="connsiteY1" fmla="*/ 0 h 1371600"/>
              <a:gd name="connsiteX2" fmla="*/ 1828799 w 1828799"/>
              <a:gd name="connsiteY2" fmla="*/ 65727 h 1371600"/>
              <a:gd name="connsiteX3" fmla="*/ 1828799 w 1828799"/>
              <a:gd name="connsiteY3" fmla="*/ 1305873 h 1371600"/>
              <a:gd name="connsiteX4" fmla="*/ 1763072 w 1828799"/>
              <a:gd name="connsiteY4" fmla="*/ 1371600 h 1371600"/>
              <a:gd name="connsiteX5" fmla="*/ 65727 w 1828799"/>
              <a:gd name="connsiteY5" fmla="*/ 1371600 h 1371600"/>
              <a:gd name="connsiteX6" fmla="*/ 0 w 1828799"/>
              <a:gd name="connsiteY6" fmla="*/ 1305873 h 1371600"/>
              <a:gd name="connsiteX7" fmla="*/ 0 w 1828799"/>
              <a:gd name="connsiteY7" fmla="*/ 65727 h 1371600"/>
              <a:gd name="connsiteX8" fmla="*/ 65727 w 1828799"/>
              <a:gd name="connsiteY8"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8799" h="1371600">
                <a:moveTo>
                  <a:pt x="65727" y="0"/>
                </a:moveTo>
                <a:lnTo>
                  <a:pt x="1763072" y="0"/>
                </a:lnTo>
                <a:cubicBezTo>
                  <a:pt x="1799372" y="0"/>
                  <a:pt x="1828799" y="29428"/>
                  <a:pt x="1828799" y="65727"/>
                </a:cubicBezTo>
                <a:lnTo>
                  <a:pt x="1828799" y="1305873"/>
                </a:lnTo>
                <a:cubicBezTo>
                  <a:pt x="1828799" y="1342173"/>
                  <a:pt x="1799372" y="1371600"/>
                  <a:pt x="1763072" y="1371600"/>
                </a:cubicBezTo>
                <a:lnTo>
                  <a:pt x="65727" y="1371600"/>
                </a:lnTo>
                <a:cubicBezTo>
                  <a:pt x="29427" y="1371600"/>
                  <a:pt x="0" y="1342173"/>
                  <a:pt x="0" y="1305873"/>
                </a:cubicBezTo>
                <a:lnTo>
                  <a:pt x="0" y="65727"/>
                </a:lnTo>
                <a:cubicBezTo>
                  <a:pt x="0" y="29428"/>
                  <a:pt x="29427" y="0"/>
                  <a:pt x="65727" y="0"/>
                </a:cubicBezTo>
                <a:close/>
              </a:path>
            </a:pathLst>
          </a:custGeom>
          <a:blipFill dpi="0" rotWithShape="1">
            <a:blip r:embed="rId2"/>
            <a:srcRect/>
            <a:tile tx="0" ty="0" sx="100000" sy="100000" flip="none" algn="tl"/>
          </a:blipFill>
        </p:spPr>
        <p:txBody>
          <a:bodyPr rtlCol="0" anchor="ctr" anchorCtr="1">
            <a:normAutofit/>
          </a:bodyPr>
          <a:lstStyle>
            <a:lvl1pPr>
              <a:defRPr lang="en-US" sz="600">
                <a:solidFill>
                  <a:schemeClr val="tx1">
                    <a:alpha val="0"/>
                  </a:schemeClr>
                </a:solidFill>
              </a:defRPr>
            </a:lvl1pPr>
          </a:lstStyle>
          <a:p>
            <a:pPr lvl="0"/>
            <a:endParaRPr lang="en-US" noProof="0"/>
          </a:p>
        </p:txBody>
      </p:sp>
      <p:sp>
        <p:nvSpPr>
          <p:cNvPr id="2" name="Text Placeholder 16"/>
          <p:cNvSpPr>
            <a:spLocks noGrp="1"/>
          </p:cNvSpPr>
          <p:nvPr>
            <p:ph type="body" sz="quarter" idx="14"/>
          </p:nvPr>
        </p:nvSpPr>
        <p:spPr>
          <a:xfrm>
            <a:off x="3352800" y="990600"/>
            <a:ext cx="5486400" cy="719138"/>
          </a:xfrm>
        </p:spPr>
        <p:txBody>
          <a:bodyPr/>
          <a:lstStyle>
            <a:lvl1pPr marL="0" indent="0" algn="ctr">
              <a:lnSpc>
                <a:spcPct val="100000"/>
              </a:lnSpc>
              <a:spcBef>
                <a:spcPts val="0"/>
              </a:spcBef>
              <a:buNone/>
              <a:defRPr sz="3000" b="1">
                <a:solidFill>
                  <a:schemeClr val="accent1"/>
                </a:solidFill>
                <a:latin typeface="+mj-lt"/>
              </a:defRPr>
            </a:lvl1pPr>
          </a:lstStyle>
          <a:p>
            <a:pPr lvl="0"/>
            <a:r>
              <a:rPr lang="en-US"/>
              <a:t>Click to edit Master text styles</a:t>
            </a:r>
          </a:p>
        </p:txBody>
      </p:sp>
      <p:sp>
        <p:nvSpPr>
          <p:cNvPr id="17" name="PpHolder10"/>
          <p:cNvSpPr>
            <a:spLocks noGrp="1"/>
          </p:cNvSpPr>
          <p:nvPr>
            <p:ph type="pic" sz="quarter" idx="17"/>
          </p:nvPr>
        </p:nvSpPr>
        <p:spPr>
          <a:xfrm>
            <a:off x="1828012" y="2209800"/>
            <a:ext cx="2438401" cy="1371600"/>
          </a:xfrm>
          <a:custGeom>
            <a:avLst/>
            <a:gdLst>
              <a:gd name="connsiteX0" fmla="*/ 65727 w 1828801"/>
              <a:gd name="connsiteY0" fmla="*/ 0 h 1371600"/>
              <a:gd name="connsiteX1" fmla="*/ 1763074 w 1828801"/>
              <a:gd name="connsiteY1" fmla="*/ 0 h 1371600"/>
              <a:gd name="connsiteX2" fmla="*/ 1828801 w 1828801"/>
              <a:gd name="connsiteY2" fmla="*/ 65727 h 1371600"/>
              <a:gd name="connsiteX3" fmla="*/ 1828801 w 1828801"/>
              <a:gd name="connsiteY3" fmla="*/ 1305873 h 1371600"/>
              <a:gd name="connsiteX4" fmla="*/ 1763074 w 1828801"/>
              <a:gd name="connsiteY4" fmla="*/ 1371600 h 1371600"/>
              <a:gd name="connsiteX5" fmla="*/ 65727 w 1828801"/>
              <a:gd name="connsiteY5" fmla="*/ 1371600 h 1371600"/>
              <a:gd name="connsiteX6" fmla="*/ 0 w 1828801"/>
              <a:gd name="connsiteY6" fmla="*/ 1305873 h 1371600"/>
              <a:gd name="connsiteX7" fmla="*/ 0 w 1828801"/>
              <a:gd name="connsiteY7" fmla="*/ 65727 h 1371600"/>
              <a:gd name="connsiteX8" fmla="*/ 65727 w 1828801"/>
              <a:gd name="connsiteY8"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8801" h="1371600">
                <a:moveTo>
                  <a:pt x="65727" y="0"/>
                </a:moveTo>
                <a:lnTo>
                  <a:pt x="1763074" y="0"/>
                </a:lnTo>
                <a:cubicBezTo>
                  <a:pt x="1799374" y="0"/>
                  <a:pt x="1828801" y="29428"/>
                  <a:pt x="1828801" y="65727"/>
                </a:cubicBezTo>
                <a:lnTo>
                  <a:pt x="1828801" y="1305873"/>
                </a:lnTo>
                <a:cubicBezTo>
                  <a:pt x="1828801" y="1342173"/>
                  <a:pt x="1799374" y="1371600"/>
                  <a:pt x="1763074" y="1371600"/>
                </a:cubicBezTo>
                <a:lnTo>
                  <a:pt x="65727" y="1371600"/>
                </a:lnTo>
                <a:cubicBezTo>
                  <a:pt x="29428" y="1371600"/>
                  <a:pt x="0" y="1342173"/>
                  <a:pt x="0" y="1305873"/>
                </a:cubicBezTo>
                <a:lnTo>
                  <a:pt x="0" y="65727"/>
                </a:lnTo>
                <a:cubicBezTo>
                  <a:pt x="0" y="29428"/>
                  <a:pt x="29428" y="0"/>
                  <a:pt x="65727" y="0"/>
                </a:cubicBezTo>
                <a:close/>
              </a:path>
            </a:pathLst>
          </a:custGeom>
          <a:blipFill dpi="0" rotWithShape="1">
            <a:blip r:embed="rId2"/>
            <a:srcRect/>
            <a:tile tx="0" ty="0" sx="100000" sy="100000" flip="none" algn="tl"/>
          </a:blipFill>
        </p:spPr>
        <p:txBody>
          <a:bodyPr rtlCol="0" anchor="ctr" anchorCtr="1">
            <a:normAutofit/>
          </a:bodyPr>
          <a:lstStyle>
            <a:lvl1pPr>
              <a:defRPr lang="en-US" sz="600">
                <a:solidFill>
                  <a:schemeClr val="tx1">
                    <a:alpha val="0"/>
                  </a:schemeClr>
                </a:solidFill>
              </a:defRPr>
            </a:lvl1pPr>
          </a:lstStyle>
          <a:p>
            <a:pPr lvl="0"/>
            <a:endParaRPr lang="en-US" noProof="0"/>
          </a:p>
        </p:txBody>
      </p:sp>
      <p:sp>
        <p:nvSpPr>
          <p:cNvPr id="13" name="PpHolder12"/>
          <p:cNvSpPr>
            <a:spLocks noGrp="1"/>
          </p:cNvSpPr>
          <p:nvPr>
            <p:ph type="pic" sz="quarter" idx="15"/>
          </p:nvPr>
        </p:nvSpPr>
        <p:spPr>
          <a:xfrm>
            <a:off x="7925595" y="2209800"/>
            <a:ext cx="2438400" cy="1371600"/>
          </a:xfrm>
          <a:custGeom>
            <a:avLst/>
            <a:gdLst>
              <a:gd name="connsiteX0" fmla="*/ 65727 w 1828800"/>
              <a:gd name="connsiteY0" fmla="*/ 0 h 1371600"/>
              <a:gd name="connsiteX1" fmla="*/ 1763073 w 1828800"/>
              <a:gd name="connsiteY1" fmla="*/ 0 h 1371600"/>
              <a:gd name="connsiteX2" fmla="*/ 1828800 w 1828800"/>
              <a:gd name="connsiteY2" fmla="*/ 65727 h 1371600"/>
              <a:gd name="connsiteX3" fmla="*/ 1828800 w 1828800"/>
              <a:gd name="connsiteY3" fmla="*/ 1305873 h 1371600"/>
              <a:gd name="connsiteX4" fmla="*/ 1763073 w 1828800"/>
              <a:gd name="connsiteY4" fmla="*/ 1371600 h 1371600"/>
              <a:gd name="connsiteX5" fmla="*/ 65727 w 1828800"/>
              <a:gd name="connsiteY5" fmla="*/ 1371600 h 1371600"/>
              <a:gd name="connsiteX6" fmla="*/ 0 w 1828800"/>
              <a:gd name="connsiteY6" fmla="*/ 1305873 h 1371600"/>
              <a:gd name="connsiteX7" fmla="*/ 0 w 1828800"/>
              <a:gd name="connsiteY7" fmla="*/ 65727 h 1371600"/>
              <a:gd name="connsiteX8" fmla="*/ 65727 w 1828800"/>
              <a:gd name="connsiteY8"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8800" h="1371600">
                <a:moveTo>
                  <a:pt x="65727" y="0"/>
                </a:moveTo>
                <a:lnTo>
                  <a:pt x="1763073" y="0"/>
                </a:lnTo>
                <a:cubicBezTo>
                  <a:pt x="1799373" y="0"/>
                  <a:pt x="1828800" y="29428"/>
                  <a:pt x="1828800" y="65727"/>
                </a:cubicBezTo>
                <a:lnTo>
                  <a:pt x="1828800" y="1305873"/>
                </a:lnTo>
                <a:cubicBezTo>
                  <a:pt x="1828800" y="1342173"/>
                  <a:pt x="1799373" y="1371600"/>
                  <a:pt x="1763073" y="1371600"/>
                </a:cubicBezTo>
                <a:lnTo>
                  <a:pt x="65727" y="1371600"/>
                </a:lnTo>
                <a:cubicBezTo>
                  <a:pt x="29427" y="1371600"/>
                  <a:pt x="0" y="1342173"/>
                  <a:pt x="0" y="1305873"/>
                </a:cubicBezTo>
                <a:lnTo>
                  <a:pt x="0" y="65727"/>
                </a:lnTo>
                <a:cubicBezTo>
                  <a:pt x="0" y="29428"/>
                  <a:pt x="29427" y="0"/>
                  <a:pt x="65727" y="0"/>
                </a:cubicBezTo>
                <a:close/>
              </a:path>
            </a:pathLst>
          </a:custGeom>
          <a:blipFill dpi="0" rotWithShape="1">
            <a:blip r:embed="rId2"/>
            <a:srcRect/>
            <a:tile tx="0" ty="0" sx="100000" sy="100000" flip="none" algn="tl"/>
          </a:blipFill>
        </p:spPr>
        <p:txBody>
          <a:bodyPr rtlCol="0" anchor="ctr" anchorCtr="1">
            <a:normAutofit/>
          </a:bodyPr>
          <a:lstStyle>
            <a:lvl1pPr>
              <a:defRPr lang="en-US" sz="600">
                <a:solidFill>
                  <a:schemeClr val="tx1">
                    <a:alpha val="0"/>
                  </a:schemeClr>
                </a:solidFill>
              </a:defRPr>
            </a:lvl1pPr>
          </a:lstStyle>
          <a:p>
            <a:pPr lvl="0"/>
            <a:endParaRPr lang="en-US" noProof="0"/>
          </a:p>
        </p:txBody>
      </p:sp>
    </p:spTree>
    <p:extLst>
      <p:ext uri="{BB962C8B-B14F-4D97-AF65-F5344CB8AC3E}">
        <p14:creationId xmlns:p14="http://schemas.microsoft.com/office/powerpoint/2010/main" val="2869108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E876F5-5F6E-4E5D-99CD-07AFF8F363CA}"/>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658E35E9-178D-4535-82AD-79D590FA676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ED948511-E580-4809-9D10-3C6816363B94}"/>
              </a:ext>
            </a:extLst>
          </p:cNvPr>
          <p:cNvSpPr>
            <a:spLocks noGrp="1"/>
          </p:cNvSpPr>
          <p:nvPr>
            <p:ph type="dt" sz="half" idx="10"/>
          </p:nvPr>
        </p:nvSpPr>
        <p:spPr/>
        <p:txBody>
          <a:bodyPr/>
          <a:lstStyle/>
          <a:p>
            <a:fld id="{C67F9B67-2119-4870-B423-950E2B02F070}" type="datetimeFigureOut">
              <a:rPr lang="en-ID" smtClean="0">
                <a:solidFill>
                  <a:prstClr val="black">
                    <a:tint val="75000"/>
                  </a:prstClr>
                </a:solidFill>
              </a:rPr>
              <a:pPr/>
              <a:t>12/12/2023</a:t>
            </a:fld>
            <a:endParaRPr lang="en-ID">
              <a:solidFill>
                <a:prstClr val="black">
                  <a:tint val="75000"/>
                </a:prstClr>
              </a:solidFill>
            </a:endParaRPr>
          </a:p>
        </p:txBody>
      </p:sp>
      <p:sp>
        <p:nvSpPr>
          <p:cNvPr id="5" name="Footer Placeholder 4">
            <a:extLst>
              <a:ext uri="{FF2B5EF4-FFF2-40B4-BE49-F238E27FC236}">
                <a16:creationId xmlns:a16="http://schemas.microsoft.com/office/drawing/2014/main" id="{5996DD41-189D-4A2C-95A9-8DF66B560E54}"/>
              </a:ext>
            </a:extLst>
          </p:cNvPr>
          <p:cNvSpPr>
            <a:spLocks noGrp="1"/>
          </p:cNvSpPr>
          <p:nvPr>
            <p:ph type="ftr" sz="quarter" idx="11"/>
          </p:nvPr>
        </p:nvSpPr>
        <p:spPr/>
        <p:txBody>
          <a:bodyPr/>
          <a:lstStyle/>
          <a:p>
            <a:endParaRPr lang="en-ID">
              <a:solidFill>
                <a:prstClr val="black">
                  <a:tint val="75000"/>
                </a:prstClr>
              </a:solidFill>
            </a:endParaRPr>
          </a:p>
        </p:txBody>
      </p:sp>
      <p:sp>
        <p:nvSpPr>
          <p:cNvPr id="6" name="Slide Number Placeholder 5">
            <a:extLst>
              <a:ext uri="{FF2B5EF4-FFF2-40B4-BE49-F238E27FC236}">
                <a16:creationId xmlns:a16="http://schemas.microsoft.com/office/drawing/2014/main" id="{CE2EF165-5824-4A1D-91EF-032FB840432E}"/>
              </a:ext>
            </a:extLst>
          </p:cNvPr>
          <p:cNvSpPr>
            <a:spLocks noGrp="1"/>
          </p:cNvSpPr>
          <p:nvPr>
            <p:ph type="sldNum" sz="quarter" idx="12"/>
          </p:nvPr>
        </p:nvSpPr>
        <p:spPr/>
        <p:txBody>
          <a:bodyPr/>
          <a:lstStyle/>
          <a:p>
            <a:fld id="{5D8928EB-67EA-4DF5-8889-76A19408D29A}" type="slidenum">
              <a:rPr lang="en-ID" smtClean="0">
                <a:solidFill>
                  <a:prstClr val="black">
                    <a:tint val="75000"/>
                  </a:prstClr>
                </a:solidFill>
              </a:rPr>
              <a:pPr/>
              <a:t>‹#›</a:t>
            </a:fld>
            <a:endParaRPr lang="en-ID">
              <a:solidFill>
                <a:prstClr val="black">
                  <a:tint val="75000"/>
                </a:prstClr>
              </a:solidFill>
            </a:endParaRPr>
          </a:p>
        </p:txBody>
      </p:sp>
    </p:spTree>
    <p:extLst>
      <p:ext uri="{BB962C8B-B14F-4D97-AF65-F5344CB8AC3E}">
        <p14:creationId xmlns:p14="http://schemas.microsoft.com/office/powerpoint/2010/main" val="40477388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D429D0A-64F4-4377-984F-DCFBEE519D8B}"/>
              </a:ext>
            </a:extLst>
          </p:cNvPr>
          <p:cNvSpPr>
            <a:spLocks noGrp="1"/>
          </p:cNvSpPr>
          <p:nvPr>
            <p:ph type="title" orient="vert"/>
          </p:nvPr>
        </p:nvSpPr>
        <p:spPr>
          <a:xfrm>
            <a:off x="8724900" y="365126"/>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7627A50F-3476-4F76-933D-40764B111198}"/>
              </a:ext>
            </a:extLst>
          </p:cNvPr>
          <p:cNvSpPr>
            <a:spLocks noGrp="1"/>
          </p:cNvSpPr>
          <p:nvPr>
            <p:ph type="body" orient="vert" idx="1"/>
          </p:nvPr>
        </p:nvSpPr>
        <p:spPr>
          <a:xfrm>
            <a:off x="838200"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2AFBFFE3-3F5B-4D58-8785-5E56AB0AA79C}"/>
              </a:ext>
            </a:extLst>
          </p:cNvPr>
          <p:cNvSpPr>
            <a:spLocks noGrp="1"/>
          </p:cNvSpPr>
          <p:nvPr>
            <p:ph type="dt" sz="half" idx="10"/>
          </p:nvPr>
        </p:nvSpPr>
        <p:spPr/>
        <p:txBody>
          <a:bodyPr/>
          <a:lstStyle/>
          <a:p>
            <a:fld id="{C67F9B67-2119-4870-B423-950E2B02F070}" type="datetimeFigureOut">
              <a:rPr lang="en-ID" smtClean="0">
                <a:solidFill>
                  <a:prstClr val="black">
                    <a:tint val="75000"/>
                  </a:prstClr>
                </a:solidFill>
              </a:rPr>
              <a:pPr/>
              <a:t>12/12/2023</a:t>
            </a:fld>
            <a:endParaRPr lang="en-ID">
              <a:solidFill>
                <a:prstClr val="black">
                  <a:tint val="75000"/>
                </a:prstClr>
              </a:solidFill>
            </a:endParaRPr>
          </a:p>
        </p:txBody>
      </p:sp>
      <p:sp>
        <p:nvSpPr>
          <p:cNvPr id="5" name="Footer Placeholder 4">
            <a:extLst>
              <a:ext uri="{FF2B5EF4-FFF2-40B4-BE49-F238E27FC236}">
                <a16:creationId xmlns:a16="http://schemas.microsoft.com/office/drawing/2014/main" id="{A364668D-2DB2-4998-893B-F106ACC320A5}"/>
              </a:ext>
            </a:extLst>
          </p:cNvPr>
          <p:cNvSpPr>
            <a:spLocks noGrp="1"/>
          </p:cNvSpPr>
          <p:nvPr>
            <p:ph type="ftr" sz="quarter" idx="11"/>
          </p:nvPr>
        </p:nvSpPr>
        <p:spPr/>
        <p:txBody>
          <a:bodyPr/>
          <a:lstStyle/>
          <a:p>
            <a:endParaRPr lang="en-ID">
              <a:solidFill>
                <a:prstClr val="black">
                  <a:tint val="75000"/>
                </a:prstClr>
              </a:solidFill>
            </a:endParaRPr>
          </a:p>
        </p:txBody>
      </p:sp>
      <p:sp>
        <p:nvSpPr>
          <p:cNvPr id="6" name="Slide Number Placeholder 5">
            <a:extLst>
              <a:ext uri="{FF2B5EF4-FFF2-40B4-BE49-F238E27FC236}">
                <a16:creationId xmlns:a16="http://schemas.microsoft.com/office/drawing/2014/main" id="{7CE243C1-0689-4D6F-85A9-6D562933E101}"/>
              </a:ext>
            </a:extLst>
          </p:cNvPr>
          <p:cNvSpPr>
            <a:spLocks noGrp="1"/>
          </p:cNvSpPr>
          <p:nvPr>
            <p:ph type="sldNum" sz="quarter" idx="12"/>
          </p:nvPr>
        </p:nvSpPr>
        <p:spPr/>
        <p:txBody>
          <a:bodyPr/>
          <a:lstStyle/>
          <a:p>
            <a:fld id="{5D8928EB-67EA-4DF5-8889-76A19408D29A}" type="slidenum">
              <a:rPr lang="en-ID" smtClean="0">
                <a:solidFill>
                  <a:prstClr val="black">
                    <a:tint val="75000"/>
                  </a:prstClr>
                </a:solidFill>
              </a:rPr>
              <a:pPr/>
              <a:t>‹#›</a:t>
            </a:fld>
            <a:endParaRPr lang="en-ID">
              <a:solidFill>
                <a:prstClr val="black">
                  <a:tint val="75000"/>
                </a:prstClr>
              </a:solidFill>
            </a:endParaRPr>
          </a:p>
        </p:txBody>
      </p:sp>
    </p:spTree>
    <p:extLst>
      <p:ext uri="{BB962C8B-B14F-4D97-AF65-F5344CB8AC3E}">
        <p14:creationId xmlns:p14="http://schemas.microsoft.com/office/powerpoint/2010/main" val="25706875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2BFC978-B996-459D-BCF0-F22C2E413C01}"/>
              </a:ext>
            </a:extLst>
          </p:cNvPr>
          <p:cNvGrpSpPr/>
          <p:nvPr userDrawn="1"/>
        </p:nvGrpSpPr>
        <p:grpSpPr>
          <a:xfrm>
            <a:off x="-593721" y="3690908"/>
            <a:ext cx="3604881" cy="4440403"/>
            <a:chOff x="-593721" y="3690907"/>
            <a:chExt cx="3604881" cy="4440403"/>
          </a:xfrm>
        </p:grpSpPr>
        <p:sp>
          <p:nvSpPr>
            <p:cNvPr id="8" name="Rectangle: Rounded Corners 7">
              <a:extLst>
                <a:ext uri="{FF2B5EF4-FFF2-40B4-BE49-F238E27FC236}">
                  <a16:creationId xmlns:a16="http://schemas.microsoft.com/office/drawing/2014/main" id="{A553C576-F934-4166-AB17-344413522F1F}"/>
                </a:ext>
              </a:extLst>
            </p:cNvPr>
            <p:cNvSpPr/>
            <p:nvPr/>
          </p:nvSpPr>
          <p:spPr>
            <a:xfrm rot="18900000">
              <a:off x="-593721" y="4583741"/>
              <a:ext cx="1354347" cy="1354347"/>
            </a:xfrm>
            <a:prstGeom prst="round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9" name="Rectangle: Rounded Corners 8">
              <a:extLst>
                <a:ext uri="{FF2B5EF4-FFF2-40B4-BE49-F238E27FC236}">
                  <a16:creationId xmlns:a16="http://schemas.microsoft.com/office/drawing/2014/main" id="{C5B5652C-1DC8-4D78-B762-3A80D5B57344}"/>
                </a:ext>
              </a:extLst>
            </p:cNvPr>
            <p:cNvSpPr/>
            <p:nvPr/>
          </p:nvSpPr>
          <p:spPr>
            <a:xfrm rot="18900000">
              <a:off x="-593720" y="6369410"/>
              <a:ext cx="1354347" cy="1354347"/>
            </a:xfrm>
            <a:prstGeom prst="round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0" name="Rectangle: Rounded Corners 9">
              <a:extLst>
                <a:ext uri="{FF2B5EF4-FFF2-40B4-BE49-F238E27FC236}">
                  <a16:creationId xmlns:a16="http://schemas.microsoft.com/office/drawing/2014/main" id="{EDA7A6C2-4EEE-4AC8-9A1B-741C1DE2E446}"/>
                </a:ext>
              </a:extLst>
            </p:cNvPr>
            <p:cNvSpPr/>
            <p:nvPr/>
          </p:nvSpPr>
          <p:spPr>
            <a:xfrm rot="18900000">
              <a:off x="531546" y="3690907"/>
              <a:ext cx="1354347" cy="1354347"/>
            </a:xfrm>
            <a:prstGeom prst="round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1" name="Rectangle: Rounded Corners 10">
              <a:extLst>
                <a:ext uri="{FF2B5EF4-FFF2-40B4-BE49-F238E27FC236}">
                  <a16:creationId xmlns:a16="http://schemas.microsoft.com/office/drawing/2014/main" id="{0BE8859B-D620-4D3F-88BD-169E8E728135}"/>
                </a:ext>
              </a:extLst>
            </p:cNvPr>
            <p:cNvSpPr/>
            <p:nvPr/>
          </p:nvSpPr>
          <p:spPr>
            <a:xfrm rot="18900000">
              <a:off x="531547" y="5476576"/>
              <a:ext cx="1354347" cy="1354347"/>
            </a:xfrm>
            <a:prstGeom prst="roundRect">
              <a:avLst/>
            </a:prstGeom>
            <a:noFill/>
            <a:ln>
              <a:solidFill>
                <a:srgbClr val="1AA39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solidFill>
                  <a:prstClr val="white"/>
                </a:solidFill>
              </a:endParaRPr>
            </a:p>
          </p:txBody>
        </p:sp>
        <p:sp>
          <p:nvSpPr>
            <p:cNvPr id="12" name="Rectangle: Rounded Corners 11">
              <a:extLst>
                <a:ext uri="{FF2B5EF4-FFF2-40B4-BE49-F238E27FC236}">
                  <a16:creationId xmlns:a16="http://schemas.microsoft.com/office/drawing/2014/main" id="{A08C0260-EDCE-41B7-A5E8-932C42F5D4ED}"/>
                </a:ext>
              </a:extLst>
            </p:cNvPr>
            <p:cNvSpPr/>
            <p:nvPr/>
          </p:nvSpPr>
          <p:spPr>
            <a:xfrm rot="18900000">
              <a:off x="1656812" y="4583741"/>
              <a:ext cx="1354347" cy="1354347"/>
            </a:xfrm>
            <a:prstGeom prst="round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3" name="Rectangle: Rounded Corners 12">
              <a:extLst>
                <a:ext uri="{FF2B5EF4-FFF2-40B4-BE49-F238E27FC236}">
                  <a16:creationId xmlns:a16="http://schemas.microsoft.com/office/drawing/2014/main" id="{E6FAD573-7540-407E-A530-DB6CA6A80BDC}"/>
                </a:ext>
              </a:extLst>
            </p:cNvPr>
            <p:cNvSpPr/>
            <p:nvPr/>
          </p:nvSpPr>
          <p:spPr>
            <a:xfrm rot="18900000">
              <a:off x="1656813" y="6369410"/>
              <a:ext cx="1354347" cy="1354347"/>
            </a:xfrm>
            <a:prstGeom prst="round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4" name="Rectangle: Rounded Corners 13">
              <a:extLst>
                <a:ext uri="{FF2B5EF4-FFF2-40B4-BE49-F238E27FC236}">
                  <a16:creationId xmlns:a16="http://schemas.microsoft.com/office/drawing/2014/main" id="{BC9E3436-BF30-4145-A538-A38F2EF9D385}"/>
                </a:ext>
              </a:extLst>
            </p:cNvPr>
            <p:cNvSpPr/>
            <p:nvPr/>
          </p:nvSpPr>
          <p:spPr>
            <a:xfrm rot="18900000">
              <a:off x="123991" y="5961858"/>
              <a:ext cx="2169452" cy="2169452"/>
            </a:xfrm>
            <a:prstGeom prst="round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grpSp>
      <p:sp>
        <p:nvSpPr>
          <p:cNvPr id="16" name="Rectangle 15">
            <a:extLst>
              <a:ext uri="{FF2B5EF4-FFF2-40B4-BE49-F238E27FC236}">
                <a16:creationId xmlns:a16="http://schemas.microsoft.com/office/drawing/2014/main" id="{EF9B11AE-6FB6-4B87-8E89-E1D065DB0E34}"/>
              </a:ext>
            </a:extLst>
          </p:cNvPr>
          <p:cNvSpPr/>
          <p:nvPr userDrawn="1"/>
        </p:nvSpPr>
        <p:spPr>
          <a:xfrm>
            <a:off x="0" y="3429000"/>
            <a:ext cx="4432300" cy="3429000"/>
          </a:xfrm>
          <a:prstGeom prst="rect">
            <a:avLst/>
          </a:prstGeom>
          <a:solidFill>
            <a:schemeClr val="bg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4" name="Date Placeholder 3">
            <a:extLst>
              <a:ext uri="{FF2B5EF4-FFF2-40B4-BE49-F238E27FC236}">
                <a16:creationId xmlns:a16="http://schemas.microsoft.com/office/drawing/2014/main" id="{B6437C02-0FE9-4694-A7B5-DAA2E7F92826}"/>
              </a:ext>
            </a:extLst>
          </p:cNvPr>
          <p:cNvSpPr>
            <a:spLocks noGrp="1"/>
          </p:cNvSpPr>
          <p:nvPr>
            <p:ph type="dt" sz="half" idx="10"/>
          </p:nvPr>
        </p:nvSpPr>
        <p:spPr/>
        <p:txBody>
          <a:bodyPr/>
          <a:lstStyle/>
          <a:p>
            <a:fld id="{7D1D4DD3-678E-4AFD-A40F-E4DACEA77179}" type="datetime1">
              <a:rPr lang="en-US" smtClean="0">
                <a:solidFill>
                  <a:prstClr val="black">
                    <a:tint val="75000"/>
                  </a:prstClr>
                </a:solidFill>
              </a:rPr>
              <a:pPr/>
              <a:t>12/12/2023</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B6259E44-CD78-4CC7-8AA4-C4FF8D3688F1}"/>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1953EE96-960C-45FC-BB52-209ED2441814}"/>
              </a:ext>
            </a:extLst>
          </p:cNvPr>
          <p:cNvSpPr>
            <a:spLocks noGrp="1"/>
          </p:cNvSpPr>
          <p:nvPr>
            <p:ph type="sldNum" sz="quarter" idx="12"/>
          </p:nvPr>
        </p:nvSpPr>
        <p:spPr/>
        <p:txBody>
          <a:bodyPr/>
          <a:lstStyle/>
          <a:p>
            <a:fld id="{313DEBBE-1EFA-4D2E-88F5-083B206EF4A4}" type="slidenum">
              <a:rPr lang="en-US" smtClean="0">
                <a:solidFill>
                  <a:prstClr val="black">
                    <a:tint val="75000"/>
                  </a:prstClr>
                </a:solidFill>
              </a:rPr>
              <a:pPr/>
              <a:t>‹#›</a:t>
            </a:fld>
            <a:endParaRPr lang="en-US">
              <a:solidFill>
                <a:prstClr val="black">
                  <a:tint val="75000"/>
                </a:prstClr>
              </a:solidFill>
            </a:endParaRPr>
          </a:p>
        </p:txBody>
      </p:sp>
      <p:sp>
        <p:nvSpPr>
          <p:cNvPr id="15" name="Rectangle 14">
            <a:extLst>
              <a:ext uri="{FF2B5EF4-FFF2-40B4-BE49-F238E27FC236}">
                <a16:creationId xmlns:a16="http://schemas.microsoft.com/office/drawing/2014/main" id="{7D2EF540-DE6E-4F6A-A782-50F96103DA3E}"/>
              </a:ext>
            </a:extLst>
          </p:cNvPr>
          <p:cNvSpPr/>
          <p:nvPr userDrawn="1"/>
        </p:nvSpPr>
        <p:spPr>
          <a:xfrm>
            <a:off x="11747500" y="366740"/>
            <a:ext cx="444500" cy="444500"/>
          </a:xfrm>
          <a:prstGeom prst="rect">
            <a:avLst/>
          </a:prstGeom>
          <a:solidFill>
            <a:srgbClr val="F6AF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Tree>
    <p:extLst>
      <p:ext uri="{BB962C8B-B14F-4D97-AF65-F5344CB8AC3E}">
        <p14:creationId xmlns:p14="http://schemas.microsoft.com/office/powerpoint/2010/main" val="36936598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 SLIDE">
  <p:cSld name="BLANK SLIDE">
    <p:bg>
      <p:bgPr>
        <a:noFill/>
        <a:effectLst/>
      </p:bgPr>
    </p:bg>
    <p:spTree>
      <p:nvGrpSpPr>
        <p:cNvPr id="1" name="Shape 113"/>
        <p:cNvGrpSpPr/>
        <p:nvPr/>
      </p:nvGrpSpPr>
      <p:grpSpPr>
        <a:xfrm>
          <a:off x="0" y="0"/>
          <a:ext cx="0" cy="0"/>
          <a:chOff x="0" y="0"/>
          <a:chExt cx="0" cy="0"/>
        </a:xfrm>
      </p:grpSpPr>
    </p:spTree>
    <p:extLst>
      <p:ext uri="{BB962C8B-B14F-4D97-AF65-F5344CB8AC3E}">
        <p14:creationId xmlns:p14="http://schemas.microsoft.com/office/powerpoint/2010/main" val="10890245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ver slide layout">
    <p:bg>
      <p:bgPr>
        <a:solidFill>
          <a:schemeClr val="accent6"/>
        </a:solidFill>
        <a:effectLst/>
      </p:bgPr>
    </p:bg>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9AAB0D72-EF64-4427-BF41-BE766B3F0590}"/>
              </a:ext>
            </a:extLst>
          </p:cNvPr>
          <p:cNvSpPr>
            <a:spLocks/>
          </p:cNvSpPr>
          <p:nvPr userDrawn="1"/>
        </p:nvSpPr>
        <p:spPr bwMode="auto">
          <a:xfrm>
            <a:off x="-8316" y="1423107"/>
            <a:ext cx="12208633" cy="5434893"/>
          </a:xfrm>
          <a:custGeom>
            <a:avLst/>
            <a:gdLst>
              <a:gd name="connsiteX0" fmla="*/ 7143321 w 12208633"/>
              <a:gd name="connsiteY0" fmla="*/ 892474 h 5434893"/>
              <a:gd name="connsiteX1" fmla="*/ 7143335 w 12208633"/>
              <a:gd name="connsiteY1" fmla="*/ 895416 h 5434893"/>
              <a:gd name="connsiteX2" fmla="*/ 7147277 w 12208633"/>
              <a:gd name="connsiteY2" fmla="*/ 895507 h 5434893"/>
              <a:gd name="connsiteX3" fmla="*/ 7147099 w 12208633"/>
              <a:gd name="connsiteY3" fmla="*/ 892474 h 5434893"/>
              <a:gd name="connsiteX4" fmla="*/ 6355163 w 12208633"/>
              <a:gd name="connsiteY4" fmla="*/ 727493 h 5434893"/>
              <a:gd name="connsiteX5" fmla="*/ 6355358 w 12208633"/>
              <a:gd name="connsiteY5" fmla="*/ 727687 h 5434893"/>
              <a:gd name="connsiteX6" fmla="*/ 6354969 w 12208633"/>
              <a:gd name="connsiteY6" fmla="*/ 727687 h 5434893"/>
              <a:gd name="connsiteX7" fmla="*/ 6354969 w 12208633"/>
              <a:gd name="connsiteY7" fmla="*/ 728075 h 5434893"/>
              <a:gd name="connsiteX8" fmla="*/ 6355358 w 12208633"/>
              <a:gd name="connsiteY8" fmla="*/ 727687 h 5434893"/>
              <a:gd name="connsiteX9" fmla="*/ 6355552 w 12208633"/>
              <a:gd name="connsiteY9" fmla="*/ 727493 h 5434893"/>
              <a:gd name="connsiteX10" fmla="*/ 6355163 w 12208633"/>
              <a:gd name="connsiteY10" fmla="*/ 727493 h 5434893"/>
              <a:gd name="connsiteX11" fmla="*/ 8604691 w 12208633"/>
              <a:gd name="connsiteY11" fmla="*/ 725788 h 5434893"/>
              <a:gd name="connsiteX12" fmla="*/ 8591193 w 12208633"/>
              <a:gd name="connsiteY12" fmla="*/ 738248 h 5434893"/>
              <a:gd name="connsiteX13" fmla="*/ 8590674 w 12208633"/>
              <a:gd name="connsiteY13" fmla="*/ 889843 h 5434893"/>
              <a:gd name="connsiteX14" fmla="*/ 8603653 w 12208633"/>
              <a:gd name="connsiteY14" fmla="*/ 903341 h 5434893"/>
              <a:gd name="connsiteX15" fmla="*/ 8616632 w 12208633"/>
              <a:gd name="connsiteY15" fmla="*/ 889843 h 5434893"/>
              <a:gd name="connsiteX16" fmla="*/ 8616632 w 12208633"/>
              <a:gd name="connsiteY16" fmla="*/ 815603 h 5434893"/>
              <a:gd name="connsiteX17" fmla="*/ 8616632 w 12208633"/>
              <a:gd name="connsiteY17" fmla="*/ 738767 h 5434893"/>
              <a:gd name="connsiteX18" fmla="*/ 8604691 w 12208633"/>
              <a:gd name="connsiteY18" fmla="*/ 725788 h 5434893"/>
              <a:gd name="connsiteX19" fmla="*/ 8744865 w 12208633"/>
              <a:gd name="connsiteY19" fmla="*/ 683217 h 5434893"/>
              <a:gd name="connsiteX20" fmla="*/ 8735001 w 12208633"/>
              <a:gd name="connsiteY20" fmla="*/ 694119 h 5434893"/>
              <a:gd name="connsiteX21" fmla="*/ 8735520 w 12208633"/>
              <a:gd name="connsiteY21" fmla="*/ 892439 h 5434893"/>
              <a:gd name="connsiteX22" fmla="*/ 8746422 w 12208633"/>
              <a:gd name="connsiteY22" fmla="*/ 903341 h 5434893"/>
              <a:gd name="connsiteX23" fmla="*/ 8787436 w 12208633"/>
              <a:gd name="connsiteY23" fmla="*/ 903341 h 5434893"/>
              <a:gd name="connsiteX24" fmla="*/ 8801454 w 12208633"/>
              <a:gd name="connsiteY24" fmla="*/ 889324 h 5434893"/>
              <a:gd name="connsiteX25" fmla="*/ 8801454 w 12208633"/>
              <a:gd name="connsiteY25" fmla="*/ 818718 h 5434893"/>
              <a:gd name="connsiteX26" fmla="*/ 8807164 w 12208633"/>
              <a:gd name="connsiteY26" fmla="*/ 805739 h 5434893"/>
              <a:gd name="connsiteX27" fmla="*/ 8822739 w 12208633"/>
              <a:gd name="connsiteY27" fmla="*/ 781857 h 5434893"/>
              <a:gd name="connsiteX28" fmla="*/ 8811317 w 12208633"/>
              <a:gd name="connsiteY28" fmla="*/ 771474 h 5434893"/>
              <a:gd name="connsiteX29" fmla="*/ 8773938 w 12208633"/>
              <a:gd name="connsiteY29" fmla="*/ 771474 h 5434893"/>
              <a:gd name="connsiteX30" fmla="*/ 8756286 w 12208633"/>
              <a:gd name="connsiteY30" fmla="*/ 754342 h 5434893"/>
              <a:gd name="connsiteX31" fmla="*/ 8756286 w 12208633"/>
              <a:gd name="connsiteY31" fmla="*/ 725269 h 5434893"/>
              <a:gd name="connsiteX32" fmla="*/ 8755767 w 12208633"/>
              <a:gd name="connsiteY32" fmla="*/ 725269 h 5434893"/>
              <a:gd name="connsiteX33" fmla="*/ 8755767 w 12208633"/>
              <a:gd name="connsiteY33" fmla="*/ 694638 h 5434893"/>
              <a:gd name="connsiteX34" fmla="*/ 8744865 w 12208633"/>
              <a:gd name="connsiteY34" fmla="*/ 683217 h 5434893"/>
              <a:gd name="connsiteX35" fmla="*/ 5999516 w 12208633"/>
              <a:gd name="connsiteY35" fmla="*/ 672943 h 5434893"/>
              <a:gd name="connsiteX36" fmla="*/ 5999516 w 12208633"/>
              <a:gd name="connsiteY36" fmla="*/ 672950 h 5434893"/>
              <a:gd name="connsiteX37" fmla="*/ 6106191 w 12208633"/>
              <a:gd name="connsiteY37" fmla="*/ 672950 h 5434893"/>
              <a:gd name="connsiteX38" fmla="*/ 6106226 w 12208633"/>
              <a:gd name="connsiteY38" fmla="*/ 672943 h 5434893"/>
              <a:gd name="connsiteX39" fmla="*/ 6103287 w 12208633"/>
              <a:gd name="connsiteY39" fmla="*/ 672943 h 5434893"/>
              <a:gd name="connsiteX40" fmla="*/ 6095614 w 12208633"/>
              <a:gd name="connsiteY40" fmla="*/ 672943 h 5434893"/>
              <a:gd name="connsiteX41" fmla="*/ 5844017 w 12208633"/>
              <a:gd name="connsiteY41" fmla="*/ 672943 h 5434893"/>
              <a:gd name="connsiteX42" fmla="*/ 5844017 w 12208633"/>
              <a:gd name="connsiteY42" fmla="*/ 672950 h 5434893"/>
              <a:gd name="connsiteX43" fmla="*/ 5950885 w 12208633"/>
              <a:gd name="connsiteY43" fmla="*/ 672950 h 5434893"/>
              <a:gd name="connsiteX44" fmla="*/ 5950920 w 12208633"/>
              <a:gd name="connsiteY44" fmla="*/ 672943 h 5434893"/>
              <a:gd name="connsiteX45" fmla="*/ 5947738 w 12208633"/>
              <a:gd name="connsiteY45" fmla="*/ 672943 h 5434893"/>
              <a:gd name="connsiteX46" fmla="*/ 5940066 w 12208633"/>
              <a:gd name="connsiteY46" fmla="*/ 672943 h 5434893"/>
              <a:gd name="connsiteX47" fmla="*/ 2661207 w 12208633"/>
              <a:gd name="connsiteY47" fmla="*/ 578320 h 5434893"/>
              <a:gd name="connsiteX48" fmla="*/ 2649387 w 12208633"/>
              <a:gd name="connsiteY48" fmla="*/ 591167 h 5434893"/>
              <a:gd name="connsiteX49" fmla="*/ 2649387 w 12208633"/>
              <a:gd name="connsiteY49" fmla="*/ 660718 h 5434893"/>
              <a:gd name="connsiteX50" fmla="*/ 2661207 w 12208633"/>
              <a:gd name="connsiteY50" fmla="*/ 660966 h 5434893"/>
              <a:gd name="connsiteX51" fmla="*/ 2661207 w 12208633"/>
              <a:gd name="connsiteY51" fmla="*/ 612643 h 5434893"/>
              <a:gd name="connsiteX52" fmla="*/ 2521154 w 12208633"/>
              <a:gd name="connsiteY52" fmla="*/ 535617 h 5434893"/>
              <a:gd name="connsiteX53" fmla="*/ 2510252 w 12208633"/>
              <a:gd name="connsiteY53" fmla="*/ 547038 h 5434893"/>
              <a:gd name="connsiteX54" fmla="*/ 2510252 w 12208633"/>
              <a:gd name="connsiteY54" fmla="*/ 577669 h 5434893"/>
              <a:gd name="connsiteX55" fmla="*/ 2509733 w 12208633"/>
              <a:gd name="connsiteY55" fmla="*/ 577669 h 5434893"/>
              <a:gd name="connsiteX56" fmla="*/ 2509733 w 12208633"/>
              <a:gd name="connsiteY56" fmla="*/ 606742 h 5434893"/>
              <a:gd name="connsiteX57" fmla="*/ 2492081 w 12208633"/>
              <a:gd name="connsiteY57" fmla="*/ 623874 h 5434893"/>
              <a:gd name="connsiteX58" fmla="*/ 2454702 w 12208633"/>
              <a:gd name="connsiteY58" fmla="*/ 623874 h 5434893"/>
              <a:gd name="connsiteX59" fmla="*/ 2443280 w 12208633"/>
              <a:gd name="connsiteY59" fmla="*/ 634257 h 5434893"/>
              <a:gd name="connsiteX60" fmla="*/ 2458855 w 12208633"/>
              <a:gd name="connsiteY60" fmla="*/ 658139 h 5434893"/>
              <a:gd name="connsiteX61" fmla="*/ 2464565 w 12208633"/>
              <a:gd name="connsiteY61" fmla="*/ 671118 h 5434893"/>
              <a:gd name="connsiteX62" fmla="*/ 2464565 w 12208633"/>
              <a:gd name="connsiteY62" fmla="*/ 735104 h 5434893"/>
              <a:gd name="connsiteX63" fmla="*/ 2530525 w 12208633"/>
              <a:gd name="connsiteY63" fmla="*/ 735104 h 5434893"/>
              <a:gd name="connsiteX64" fmla="*/ 2531018 w 12208633"/>
              <a:gd name="connsiteY64" fmla="*/ 546519 h 5434893"/>
              <a:gd name="connsiteX65" fmla="*/ 2521154 w 12208633"/>
              <a:gd name="connsiteY65" fmla="*/ 535617 h 5434893"/>
              <a:gd name="connsiteX66" fmla="*/ 8701774 w 12208633"/>
              <a:gd name="connsiteY66" fmla="*/ 534218 h 5434893"/>
              <a:gd name="connsiteX67" fmla="*/ 8688276 w 12208633"/>
              <a:gd name="connsiteY67" fmla="*/ 540967 h 5434893"/>
              <a:gd name="connsiteX68" fmla="*/ 8695025 w 12208633"/>
              <a:gd name="connsiteY68" fmla="*/ 567963 h 5434893"/>
              <a:gd name="connsiteX69" fmla="*/ 8735520 w 12208633"/>
              <a:gd name="connsiteY69" fmla="*/ 637012 h 5434893"/>
              <a:gd name="connsiteX70" fmla="*/ 8760440 w 12208633"/>
              <a:gd name="connsiteY70" fmla="*/ 664008 h 5434893"/>
              <a:gd name="connsiteX71" fmla="*/ 8767189 w 12208633"/>
              <a:gd name="connsiteY71" fmla="*/ 664527 h 5434893"/>
              <a:gd name="connsiteX72" fmla="*/ 8776534 w 12208633"/>
              <a:gd name="connsiteY72" fmla="*/ 675429 h 5434893"/>
              <a:gd name="connsiteX73" fmla="*/ 8776014 w 12208633"/>
              <a:gd name="connsiteY73" fmla="*/ 724750 h 5434893"/>
              <a:gd name="connsiteX74" fmla="*/ 8799896 w 12208633"/>
              <a:gd name="connsiteY74" fmla="*/ 750708 h 5434893"/>
              <a:gd name="connsiteX75" fmla="*/ 8804049 w 12208633"/>
              <a:gd name="connsiteY75" fmla="*/ 751227 h 5434893"/>
              <a:gd name="connsiteX76" fmla="*/ 8822739 w 12208633"/>
              <a:gd name="connsiteY76" fmla="*/ 740324 h 5434893"/>
              <a:gd name="connsiteX77" fmla="*/ 8806645 w 12208633"/>
              <a:gd name="connsiteY77" fmla="*/ 712809 h 5434893"/>
              <a:gd name="connsiteX78" fmla="*/ 8785359 w 12208633"/>
              <a:gd name="connsiteY78" fmla="*/ 691004 h 5434893"/>
              <a:gd name="connsiteX79" fmla="*/ 8785359 w 12208633"/>
              <a:gd name="connsiteY79" fmla="*/ 620399 h 5434893"/>
              <a:gd name="connsiteX80" fmla="*/ 8784840 w 12208633"/>
              <a:gd name="connsiteY80" fmla="*/ 620399 h 5434893"/>
              <a:gd name="connsiteX81" fmla="*/ 8784840 w 12208633"/>
              <a:gd name="connsiteY81" fmla="*/ 548755 h 5434893"/>
              <a:gd name="connsiteX82" fmla="*/ 8770823 w 12208633"/>
              <a:gd name="connsiteY82" fmla="*/ 534218 h 5434893"/>
              <a:gd name="connsiteX83" fmla="*/ 8701774 w 12208633"/>
              <a:gd name="connsiteY83" fmla="*/ 534218 h 5434893"/>
              <a:gd name="connsiteX84" fmla="*/ 7932693 w 12208633"/>
              <a:gd name="connsiteY84" fmla="*/ 518578 h 5434893"/>
              <a:gd name="connsiteX85" fmla="*/ 7932378 w 12208633"/>
              <a:gd name="connsiteY85" fmla="*/ 519208 h 5434893"/>
              <a:gd name="connsiteX86" fmla="*/ 7932693 w 12208633"/>
              <a:gd name="connsiteY86" fmla="*/ 519208 h 5434893"/>
              <a:gd name="connsiteX87" fmla="*/ 7932693 w 12208633"/>
              <a:gd name="connsiteY87" fmla="*/ 518578 h 5434893"/>
              <a:gd name="connsiteX88" fmla="*/ 7991282 w 12208633"/>
              <a:gd name="connsiteY88" fmla="*/ 518263 h 5434893"/>
              <a:gd name="connsiteX89" fmla="*/ 7991282 w 12208633"/>
              <a:gd name="connsiteY89" fmla="*/ 518892 h 5434893"/>
              <a:gd name="connsiteX90" fmla="*/ 7991597 w 12208633"/>
              <a:gd name="connsiteY90" fmla="*/ 518892 h 5434893"/>
              <a:gd name="connsiteX91" fmla="*/ 7991282 w 12208633"/>
              <a:gd name="connsiteY91" fmla="*/ 518263 h 5434893"/>
              <a:gd name="connsiteX92" fmla="*/ 7933323 w 12208633"/>
              <a:gd name="connsiteY92" fmla="*/ 517633 h 5434893"/>
              <a:gd name="connsiteX93" fmla="*/ 7933008 w 12208633"/>
              <a:gd name="connsiteY93" fmla="*/ 518263 h 5434893"/>
              <a:gd name="connsiteX94" fmla="*/ 7933323 w 12208633"/>
              <a:gd name="connsiteY94" fmla="*/ 518263 h 5434893"/>
              <a:gd name="connsiteX95" fmla="*/ 7933323 w 12208633"/>
              <a:gd name="connsiteY95" fmla="*/ 517633 h 5434893"/>
              <a:gd name="connsiteX96" fmla="*/ 9995853 w 12208633"/>
              <a:gd name="connsiteY96" fmla="*/ 483450 h 5434893"/>
              <a:gd name="connsiteX97" fmla="*/ 9995853 w 12208633"/>
              <a:gd name="connsiteY97" fmla="*/ 547260 h 5434893"/>
              <a:gd name="connsiteX98" fmla="*/ 10005688 w 12208633"/>
              <a:gd name="connsiteY98" fmla="*/ 548252 h 5434893"/>
              <a:gd name="connsiteX99" fmla="*/ 10070193 w 12208633"/>
              <a:gd name="connsiteY99" fmla="*/ 627396 h 5434893"/>
              <a:gd name="connsiteX100" fmla="*/ 10070193 w 12208633"/>
              <a:gd name="connsiteY100" fmla="*/ 839288 h 5434893"/>
              <a:gd name="connsiteX101" fmla="*/ 10098404 w 12208633"/>
              <a:gd name="connsiteY101" fmla="*/ 839288 h 5434893"/>
              <a:gd name="connsiteX102" fmla="*/ 10098404 w 12208633"/>
              <a:gd name="connsiteY102" fmla="*/ 483450 h 5434893"/>
              <a:gd name="connsiteX103" fmla="*/ 9781381 w 12208633"/>
              <a:gd name="connsiteY103" fmla="*/ 483450 h 5434893"/>
              <a:gd name="connsiteX104" fmla="*/ 9781381 w 12208633"/>
              <a:gd name="connsiteY104" fmla="*/ 547123 h 5434893"/>
              <a:gd name="connsiteX105" fmla="*/ 9792075 w 12208633"/>
              <a:gd name="connsiteY105" fmla="*/ 548201 h 5434893"/>
              <a:gd name="connsiteX106" fmla="*/ 9856579 w 12208633"/>
              <a:gd name="connsiteY106" fmla="*/ 627345 h 5434893"/>
              <a:gd name="connsiteX107" fmla="*/ 9856579 w 12208633"/>
              <a:gd name="connsiteY107" fmla="*/ 839288 h 5434893"/>
              <a:gd name="connsiteX108" fmla="*/ 9908622 w 12208633"/>
              <a:gd name="connsiteY108" fmla="*/ 839288 h 5434893"/>
              <a:gd name="connsiteX109" fmla="*/ 9908621 w 12208633"/>
              <a:gd name="connsiteY109" fmla="*/ 627396 h 5434893"/>
              <a:gd name="connsiteX110" fmla="*/ 9908622 w 12208633"/>
              <a:gd name="connsiteY110" fmla="*/ 627394 h 5434893"/>
              <a:gd name="connsiteX111" fmla="*/ 9908622 w 12208633"/>
              <a:gd name="connsiteY111" fmla="*/ 620889 h 5434893"/>
              <a:gd name="connsiteX112" fmla="*/ 9909277 w 12208633"/>
              <a:gd name="connsiteY112" fmla="*/ 620889 h 5434893"/>
              <a:gd name="connsiteX113" fmla="*/ 9910263 w 12208633"/>
              <a:gd name="connsiteY113" fmla="*/ 611115 h 5434893"/>
              <a:gd name="connsiteX114" fmla="*/ 9975107 w 12208633"/>
              <a:gd name="connsiteY114" fmla="*/ 547872 h 5434893"/>
              <a:gd name="connsiteX115" fmla="*/ 9975644 w 12208633"/>
              <a:gd name="connsiteY115" fmla="*/ 547825 h 5434893"/>
              <a:gd name="connsiteX116" fmla="*/ 9975644 w 12208633"/>
              <a:gd name="connsiteY116" fmla="*/ 483450 h 5434893"/>
              <a:gd name="connsiteX117" fmla="*/ 4460613 w 12208633"/>
              <a:gd name="connsiteY117" fmla="*/ 410313 h 5434893"/>
              <a:gd name="connsiteX118" fmla="*/ 4460613 w 12208633"/>
              <a:gd name="connsiteY118" fmla="*/ 474688 h 5434893"/>
              <a:gd name="connsiteX119" fmla="*/ 4461150 w 12208633"/>
              <a:gd name="connsiteY119" fmla="*/ 474735 h 5434893"/>
              <a:gd name="connsiteX120" fmla="*/ 4525994 w 12208633"/>
              <a:gd name="connsiteY120" fmla="*/ 537978 h 5434893"/>
              <a:gd name="connsiteX121" fmla="*/ 4526979 w 12208633"/>
              <a:gd name="connsiteY121" fmla="*/ 547752 h 5434893"/>
              <a:gd name="connsiteX122" fmla="*/ 4527635 w 12208633"/>
              <a:gd name="connsiteY122" fmla="*/ 547752 h 5434893"/>
              <a:gd name="connsiteX123" fmla="*/ 4527635 w 12208633"/>
              <a:gd name="connsiteY123" fmla="*/ 554257 h 5434893"/>
              <a:gd name="connsiteX124" fmla="*/ 4527635 w 12208633"/>
              <a:gd name="connsiteY124" fmla="*/ 554259 h 5434893"/>
              <a:gd name="connsiteX125" fmla="*/ 4527635 w 12208633"/>
              <a:gd name="connsiteY125" fmla="*/ 766151 h 5434893"/>
              <a:gd name="connsiteX126" fmla="*/ 4579677 w 12208633"/>
              <a:gd name="connsiteY126" fmla="*/ 766151 h 5434893"/>
              <a:gd name="connsiteX127" fmla="*/ 4579677 w 12208633"/>
              <a:gd name="connsiteY127" fmla="*/ 554208 h 5434893"/>
              <a:gd name="connsiteX128" fmla="*/ 4644181 w 12208633"/>
              <a:gd name="connsiteY128" fmla="*/ 475064 h 5434893"/>
              <a:gd name="connsiteX129" fmla="*/ 4654875 w 12208633"/>
              <a:gd name="connsiteY129" fmla="*/ 473986 h 5434893"/>
              <a:gd name="connsiteX130" fmla="*/ 4654875 w 12208633"/>
              <a:gd name="connsiteY130" fmla="*/ 410313 h 5434893"/>
              <a:gd name="connsiteX131" fmla="*/ 4337854 w 12208633"/>
              <a:gd name="connsiteY131" fmla="*/ 410313 h 5434893"/>
              <a:gd name="connsiteX132" fmla="*/ 4337854 w 12208633"/>
              <a:gd name="connsiteY132" fmla="*/ 645080 h 5434893"/>
              <a:gd name="connsiteX133" fmla="*/ 4354002 w 12208633"/>
              <a:gd name="connsiteY133" fmla="*/ 645080 h 5434893"/>
              <a:gd name="connsiteX134" fmla="*/ 4366063 w 12208633"/>
              <a:gd name="connsiteY134" fmla="*/ 645080 h 5434893"/>
              <a:gd name="connsiteX135" fmla="*/ 4366063 w 12208633"/>
              <a:gd name="connsiteY135" fmla="*/ 554259 h 5434893"/>
              <a:gd name="connsiteX136" fmla="*/ 4430568 w 12208633"/>
              <a:gd name="connsiteY136" fmla="*/ 475115 h 5434893"/>
              <a:gd name="connsiteX137" fmla="*/ 4440404 w 12208633"/>
              <a:gd name="connsiteY137" fmla="*/ 474123 h 5434893"/>
              <a:gd name="connsiteX138" fmla="*/ 4440404 w 12208633"/>
              <a:gd name="connsiteY138" fmla="*/ 410313 h 5434893"/>
              <a:gd name="connsiteX139" fmla="*/ 2495196 w 12208633"/>
              <a:gd name="connsiteY139" fmla="*/ 386617 h 5434893"/>
              <a:gd name="connsiteX140" fmla="*/ 2481179 w 12208633"/>
              <a:gd name="connsiteY140" fmla="*/ 401154 h 5434893"/>
              <a:gd name="connsiteX141" fmla="*/ 2481179 w 12208633"/>
              <a:gd name="connsiteY141" fmla="*/ 472798 h 5434893"/>
              <a:gd name="connsiteX142" fmla="*/ 2480660 w 12208633"/>
              <a:gd name="connsiteY142" fmla="*/ 472798 h 5434893"/>
              <a:gd name="connsiteX143" fmla="*/ 2480660 w 12208633"/>
              <a:gd name="connsiteY143" fmla="*/ 543404 h 5434893"/>
              <a:gd name="connsiteX144" fmla="*/ 2459374 w 12208633"/>
              <a:gd name="connsiteY144" fmla="*/ 565209 h 5434893"/>
              <a:gd name="connsiteX145" fmla="*/ 2443280 w 12208633"/>
              <a:gd name="connsiteY145" fmla="*/ 592724 h 5434893"/>
              <a:gd name="connsiteX146" fmla="*/ 2461970 w 12208633"/>
              <a:gd name="connsiteY146" fmla="*/ 603627 h 5434893"/>
              <a:gd name="connsiteX147" fmla="*/ 2466123 w 12208633"/>
              <a:gd name="connsiteY147" fmla="*/ 603108 h 5434893"/>
              <a:gd name="connsiteX148" fmla="*/ 2490005 w 12208633"/>
              <a:gd name="connsiteY148" fmla="*/ 577150 h 5434893"/>
              <a:gd name="connsiteX149" fmla="*/ 2489485 w 12208633"/>
              <a:gd name="connsiteY149" fmla="*/ 527829 h 5434893"/>
              <a:gd name="connsiteX150" fmla="*/ 2498830 w 12208633"/>
              <a:gd name="connsiteY150" fmla="*/ 516927 h 5434893"/>
              <a:gd name="connsiteX151" fmla="*/ 2505579 w 12208633"/>
              <a:gd name="connsiteY151" fmla="*/ 516408 h 5434893"/>
              <a:gd name="connsiteX152" fmla="*/ 2530499 w 12208633"/>
              <a:gd name="connsiteY152" fmla="*/ 489411 h 5434893"/>
              <a:gd name="connsiteX153" fmla="*/ 2570994 w 12208633"/>
              <a:gd name="connsiteY153" fmla="*/ 420363 h 5434893"/>
              <a:gd name="connsiteX154" fmla="*/ 2577743 w 12208633"/>
              <a:gd name="connsiteY154" fmla="*/ 393366 h 5434893"/>
              <a:gd name="connsiteX155" fmla="*/ 2564244 w 12208633"/>
              <a:gd name="connsiteY155" fmla="*/ 386617 h 5434893"/>
              <a:gd name="connsiteX156" fmla="*/ 2495196 w 12208633"/>
              <a:gd name="connsiteY156" fmla="*/ 386617 h 5434893"/>
              <a:gd name="connsiteX157" fmla="*/ 9258835 w 12208633"/>
              <a:gd name="connsiteY157" fmla="*/ 0 h 5434893"/>
              <a:gd name="connsiteX158" fmla="*/ 9334633 w 12208633"/>
              <a:gd name="connsiteY158" fmla="*/ 0 h 5434893"/>
              <a:gd name="connsiteX159" fmla="*/ 9369417 w 12208633"/>
              <a:gd name="connsiteY159" fmla="*/ 714886 h 5434893"/>
              <a:gd name="connsiteX160" fmla="*/ 9451963 w 12208633"/>
              <a:gd name="connsiteY160" fmla="*/ 716443 h 5434893"/>
              <a:gd name="connsiteX161" fmla="*/ 9451511 w 12208633"/>
              <a:gd name="connsiteY161" fmla="*/ 839288 h 5434893"/>
              <a:gd name="connsiteX162" fmla="*/ 9695008 w 12208633"/>
              <a:gd name="connsiteY162" fmla="*/ 839288 h 5434893"/>
              <a:gd name="connsiteX163" fmla="*/ 9695008 w 12208633"/>
              <a:gd name="connsiteY163" fmla="*/ 627345 h 5434893"/>
              <a:gd name="connsiteX164" fmla="*/ 9695008 w 12208633"/>
              <a:gd name="connsiteY164" fmla="*/ 627342 h 5434893"/>
              <a:gd name="connsiteX165" fmla="*/ 9695008 w 12208633"/>
              <a:gd name="connsiteY165" fmla="*/ 620838 h 5434893"/>
              <a:gd name="connsiteX166" fmla="*/ 9695582 w 12208633"/>
              <a:gd name="connsiteY166" fmla="*/ 620838 h 5434893"/>
              <a:gd name="connsiteX167" fmla="*/ 9696270 w 12208633"/>
              <a:gd name="connsiteY167" fmla="*/ 613044 h 5434893"/>
              <a:gd name="connsiteX168" fmla="*/ 9759513 w 12208633"/>
              <a:gd name="connsiteY168" fmla="*/ 548201 h 5434893"/>
              <a:gd name="connsiteX169" fmla="*/ 9761172 w 12208633"/>
              <a:gd name="connsiteY169" fmla="*/ 548033 h 5434893"/>
              <a:gd name="connsiteX170" fmla="*/ 9761172 w 12208633"/>
              <a:gd name="connsiteY170" fmla="*/ 452927 h 5434893"/>
              <a:gd name="connsiteX171" fmla="*/ 9781381 w 12208633"/>
              <a:gd name="connsiteY171" fmla="*/ 452927 h 5434893"/>
              <a:gd name="connsiteX172" fmla="*/ 9781381 w 12208633"/>
              <a:gd name="connsiteY172" fmla="*/ 453137 h 5434893"/>
              <a:gd name="connsiteX173" fmla="*/ 10098404 w 12208633"/>
              <a:gd name="connsiteY173" fmla="*/ 453137 h 5434893"/>
              <a:gd name="connsiteX174" fmla="*/ 10098404 w 12208633"/>
              <a:gd name="connsiteY174" fmla="*/ 395857 h 5434893"/>
              <a:gd name="connsiteX175" fmla="*/ 10098404 w 12208633"/>
              <a:gd name="connsiteY175" fmla="*/ 395855 h 5434893"/>
              <a:gd name="connsiteX176" fmla="*/ 10098404 w 12208633"/>
              <a:gd name="connsiteY176" fmla="*/ 322646 h 5434893"/>
              <a:gd name="connsiteX177" fmla="*/ 10147724 w 12208633"/>
              <a:gd name="connsiteY177" fmla="*/ 322646 h 5434893"/>
              <a:gd name="connsiteX178" fmla="*/ 10192315 w 12208633"/>
              <a:gd name="connsiteY178" fmla="*/ 322646 h 5434893"/>
              <a:gd name="connsiteX179" fmla="*/ 10192315 w 12208633"/>
              <a:gd name="connsiteY179" fmla="*/ 412796 h 5434893"/>
              <a:gd name="connsiteX180" fmla="*/ 10192315 w 12208633"/>
              <a:gd name="connsiteY180" fmla="*/ 839288 h 5434893"/>
              <a:gd name="connsiteX181" fmla="*/ 10237382 w 12208633"/>
              <a:gd name="connsiteY181" fmla="*/ 839288 h 5434893"/>
              <a:gd name="connsiteX182" fmla="*/ 10237382 w 12208633"/>
              <a:gd name="connsiteY182" fmla="*/ 787976 h 5434893"/>
              <a:gd name="connsiteX183" fmla="*/ 10237382 w 12208633"/>
              <a:gd name="connsiteY183" fmla="*/ 787525 h 5434893"/>
              <a:gd name="connsiteX184" fmla="*/ 10237382 w 12208633"/>
              <a:gd name="connsiteY184" fmla="*/ 786823 h 5434893"/>
              <a:gd name="connsiteX185" fmla="*/ 10293811 w 12208633"/>
              <a:gd name="connsiteY185" fmla="*/ 786823 h 5434893"/>
              <a:gd name="connsiteX186" fmla="*/ 10293811 w 12208633"/>
              <a:gd name="connsiteY186" fmla="*/ 486617 h 5434893"/>
              <a:gd name="connsiteX187" fmla="*/ 10293811 w 12208633"/>
              <a:gd name="connsiteY187" fmla="*/ 486615 h 5434893"/>
              <a:gd name="connsiteX188" fmla="*/ 10293811 w 12208633"/>
              <a:gd name="connsiteY188" fmla="*/ 412796 h 5434893"/>
              <a:gd name="connsiteX189" fmla="*/ 10293812 w 12208633"/>
              <a:gd name="connsiteY189" fmla="*/ 412796 h 5434893"/>
              <a:gd name="connsiteX190" fmla="*/ 10364543 w 12208633"/>
              <a:gd name="connsiteY190" fmla="*/ 412796 h 5434893"/>
              <a:gd name="connsiteX191" fmla="*/ 10435273 w 12208633"/>
              <a:gd name="connsiteY191" fmla="*/ 412796 h 5434893"/>
              <a:gd name="connsiteX192" fmla="*/ 10435273 w 12208633"/>
              <a:gd name="connsiteY192" fmla="*/ 493478 h 5434893"/>
              <a:gd name="connsiteX193" fmla="*/ 10435272 w 12208633"/>
              <a:gd name="connsiteY193" fmla="*/ 493478 h 5434893"/>
              <a:gd name="connsiteX194" fmla="*/ 10435272 w 12208633"/>
              <a:gd name="connsiteY194" fmla="*/ 787653 h 5434893"/>
              <a:gd name="connsiteX195" fmla="*/ 10479889 w 12208633"/>
              <a:gd name="connsiteY195" fmla="*/ 787653 h 5434893"/>
              <a:gd name="connsiteX196" fmla="*/ 10479889 w 12208633"/>
              <a:gd name="connsiteY196" fmla="*/ 834346 h 5434893"/>
              <a:gd name="connsiteX197" fmla="*/ 10479889 w 12208633"/>
              <a:gd name="connsiteY197" fmla="*/ 883894 h 5434893"/>
              <a:gd name="connsiteX198" fmla="*/ 10634153 w 12208633"/>
              <a:gd name="connsiteY198" fmla="*/ 798062 h 5434893"/>
              <a:gd name="connsiteX199" fmla="*/ 10634153 w 12208633"/>
              <a:gd name="connsiteY199" fmla="*/ 890261 h 5434893"/>
              <a:gd name="connsiteX200" fmla="*/ 10799859 w 12208633"/>
              <a:gd name="connsiteY200" fmla="*/ 798062 h 5434893"/>
              <a:gd name="connsiteX201" fmla="*/ 10799859 w 12208633"/>
              <a:gd name="connsiteY201" fmla="*/ 890261 h 5434893"/>
              <a:gd name="connsiteX202" fmla="*/ 10965565 w 12208633"/>
              <a:gd name="connsiteY202" fmla="*/ 798062 h 5434893"/>
              <a:gd name="connsiteX203" fmla="*/ 10965565 w 12208633"/>
              <a:gd name="connsiteY203" fmla="*/ 890261 h 5434893"/>
              <a:gd name="connsiteX204" fmla="*/ 11131272 w 12208633"/>
              <a:gd name="connsiteY204" fmla="*/ 798062 h 5434893"/>
              <a:gd name="connsiteX205" fmla="*/ 11131272 w 12208633"/>
              <a:gd name="connsiteY205" fmla="*/ 894809 h 5434893"/>
              <a:gd name="connsiteX206" fmla="*/ 10965565 w 12208633"/>
              <a:gd name="connsiteY206" fmla="*/ 894809 h 5434893"/>
              <a:gd name="connsiteX207" fmla="*/ 10957391 w 12208633"/>
              <a:gd name="connsiteY207" fmla="*/ 894809 h 5434893"/>
              <a:gd name="connsiteX208" fmla="*/ 10799859 w 12208633"/>
              <a:gd name="connsiteY208" fmla="*/ 894809 h 5434893"/>
              <a:gd name="connsiteX209" fmla="*/ 10791685 w 12208633"/>
              <a:gd name="connsiteY209" fmla="*/ 894809 h 5434893"/>
              <a:gd name="connsiteX210" fmla="*/ 10634153 w 12208633"/>
              <a:gd name="connsiteY210" fmla="*/ 894809 h 5434893"/>
              <a:gd name="connsiteX211" fmla="*/ 10625978 w 12208633"/>
              <a:gd name="connsiteY211" fmla="*/ 894809 h 5434893"/>
              <a:gd name="connsiteX212" fmla="*/ 10479889 w 12208633"/>
              <a:gd name="connsiteY212" fmla="*/ 894809 h 5434893"/>
              <a:gd name="connsiteX213" fmla="*/ 10479889 w 12208633"/>
              <a:gd name="connsiteY213" fmla="*/ 894815 h 5434893"/>
              <a:gd name="connsiteX214" fmla="*/ 11131272 w 12208633"/>
              <a:gd name="connsiteY214" fmla="*/ 894815 h 5434893"/>
              <a:gd name="connsiteX215" fmla="*/ 11131272 w 12208633"/>
              <a:gd name="connsiteY215" fmla="*/ 930426 h 5434893"/>
              <a:gd name="connsiteX216" fmla="*/ 11131272 w 12208633"/>
              <a:gd name="connsiteY216" fmla="*/ 1058032 h 5434893"/>
              <a:gd name="connsiteX217" fmla="*/ 11135416 w 12208633"/>
              <a:gd name="connsiteY217" fmla="*/ 1058032 h 5434893"/>
              <a:gd name="connsiteX218" fmla="*/ 11135416 w 12208633"/>
              <a:gd name="connsiteY218" fmla="*/ 475513 h 5434893"/>
              <a:gd name="connsiteX219" fmla="*/ 11317073 w 12208633"/>
              <a:gd name="connsiteY219" fmla="*/ 475513 h 5434893"/>
              <a:gd name="connsiteX220" fmla="*/ 11317073 w 12208633"/>
              <a:gd name="connsiteY220" fmla="*/ 957415 h 5434893"/>
              <a:gd name="connsiteX221" fmla="*/ 11385524 w 12208633"/>
              <a:gd name="connsiteY221" fmla="*/ 864742 h 5434893"/>
              <a:gd name="connsiteX222" fmla="*/ 11467139 w 12208633"/>
              <a:gd name="connsiteY222" fmla="*/ 970654 h 5434893"/>
              <a:gd name="connsiteX223" fmla="*/ 11540855 w 12208633"/>
              <a:gd name="connsiteY223" fmla="*/ 864742 h 5434893"/>
              <a:gd name="connsiteX224" fmla="*/ 11622470 w 12208633"/>
              <a:gd name="connsiteY224" fmla="*/ 970654 h 5434893"/>
              <a:gd name="connsiteX225" fmla="*/ 11696186 w 12208633"/>
              <a:gd name="connsiteY225" fmla="*/ 864742 h 5434893"/>
              <a:gd name="connsiteX226" fmla="*/ 11777800 w 12208633"/>
              <a:gd name="connsiteY226" fmla="*/ 970654 h 5434893"/>
              <a:gd name="connsiteX227" fmla="*/ 11777800 w 12208633"/>
              <a:gd name="connsiteY227" fmla="*/ 994485 h 5434893"/>
              <a:gd name="connsiteX228" fmla="*/ 11851517 w 12208633"/>
              <a:gd name="connsiteY228" fmla="*/ 994485 h 5434893"/>
              <a:gd name="connsiteX229" fmla="*/ 11851517 w 12208633"/>
              <a:gd name="connsiteY229" fmla="*/ 920346 h 5434893"/>
              <a:gd name="connsiteX230" fmla="*/ 11759371 w 12208633"/>
              <a:gd name="connsiteY230" fmla="*/ 806490 h 5434893"/>
              <a:gd name="connsiteX231" fmla="*/ 11851517 w 12208633"/>
              <a:gd name="connsiteY231" fmla="*/ 692634 h 5434893"/>
              <a:gd name="connsiteX232" fmla="*/ 11851517 w 12208633"/>
              <a:gd name="connsiteY232" fmla="*/ 562891 h 5434893"/>
              <a:gd name="connsiteX233" fmla="*/ 11898906 w 12208633"/>
              <a:gd name="connsiteY233" fmla="*/ 562891 h 5434893"/>
              <a:gd name="connsiteX234" fmla="*/ 11898906 w 12208633"/>
              <a:gd name="connsiteY234" fmla="*/ 692634 h 5434893"/>
              <a:gd name="connsiteX235" fmla="*/ 11991051 w 12208633"/>
              <a:gd name="connsiteY235" fmla="*/ 806490 h 5434893"/>
              <a:gd name="connsiteX236" fmla="*/ 11898906 w 12208633"/>
              <a:gd name="connsiteY236" fmla="*/ 920346 h 5434893"/>
              <a:gd name="connsiteX237" fmla="*/ 11898906 w 12208633"/>
              <a:gd name="connsiteY237" fmla="*/ 994485 h 5434893"/>
              <a:gd name="connsiteX238" fmla="*/ 11962091 w 12208633"/>
              <a:gd name="connsiteY238" fmla="*/ 994485 h 5434893"/>
              <a:gd name="connsiteX239" fmla="*/ 11962091 w 12208633"/>
              <a:gd name="connsiteY239" fmla="*/ 917698 h 5434893"/>
              <a:gd name="connsiteX240" fmla="*/ 12041073 w 12208633"/>
              <a:gd name="connsiteY240" fmla="*/ 917698 h 5434893"/>
              <a:gd name="connsiteX241" fmla="*/ 12041073 w 12208633"/>
              <a:gd name="connsiteY241" fmla="*/ 817081 h 5434893"/>
              <a:gd name="connsiteX242" fmla="*/ 12155715 w 12208633"/>
              <a:gd name="connsiteY242" fmla="*/ 817081 h 5434893"/>
              <a:gd name="connsiteX243" fmla="*/ 12200316 w 12208633"/>
              <a:gd name="connsiteY243" fmla="*/ 817081 h 5434893"/>
              <a:gd name="connsiteX244" fmla="*/ 12200316 w 12208633"/>
              <a:gd name="connsiteY244" fmla="*/ 1105184 h 5434893"/>
              <a:gd name="connsiteX245" fmla="*/ 12208559 w 12208633"/>
              <a:gd name="connsiteY245" fmla="*/ 1105184 h 5434893"/>
              <a:gd name="connsiteX246" fmla="*/ 12208559 w 12208633"/>
              <a:gd name="connsiteY246" fmla="*/ 1153840 h 5434893"/>
              <a:gd name="connsiteX247" fmla="*/ 12208559 w 12208633"/>
              <a:gd name="connsiteY247" fmla="*/ 1225322 h 5434893"/>
              <a:gd name="connsiteX248" fmla="*/ 12208633 w 12208633"/>
              <a:gd name="connsiteY248" fmla="*/ 1225322 h 5434893"/>
              <a:gd name="connsiteX249" fmla="*/ 12208633 w 12208633"/>
              <a:gd name="connsiteY249" fmla="*/ 1247932 h 5434893"/>
              <a:gd name="connsiteX250" fmla="*/ 12200316 w 12208633"/>
              <a:gd name="connsiteY250" fmla="*/ 1247932 h 5434893"/>
              <a:gd name="connsiteX251" fmla="*/ 12200316 w 12208633"/>
              <a:gd name="connsiteY251" fmla="*/ 5434893 h 5434893"/>
              <a:gd name="connsiteX252" fmla="*/ 8318 w 12208633"/>
              <a:gd name="connsiteY252" fmla="*/ 5434893 h 5434893"/>
              <a:gd name="connsiteX253" fmla="*/ 8318 w 12208633"/>
              <a:gd name="connsiteY253" fmla="*/ 1247932 h 5434893"/>
              <a:gd name="connsiteX254" fmla="*/ 0 w 12208633"/>
              <a:gd name="connsiteY254" fmla="*/ 1247932 h 5434893"/>
              <a:gd name="connsiteX255" fmla="*/ 0 w 12208633"/>
              <a:gd name="connsiteY255" fmla="*/ 1225322 h 5434893"/>
              <a:gd name="connsiteX256" fmla="*/ 0 w 12208633"/>
              <a:gd name="connsiteY256" fmla="*/ 1063433 h 5434893"/>
              <a:gd name="connsiteX257" fmla="*/ 56578 w 12208633"/>
              <a:gd name="connsiteY257" fmla="*/ 1063433 h 5434893"/>
              <a:gd name="connsiteX258" fmla="*/ 146955 w 12208633"/>
              <a:gd name="connsiteY258" fmla="*/ 1063433 h 5434893"/>
              <a:gd name="connsiteX259" fmla="*/ 146955 w 12208633"/>
              <a:gd name="connsiteY259" fmla="*/ 480915 h 5434893"/>
              <a:gd name="connsiteX260" fmla="*/ 328613 w 12208633"/>
              <a:gd name="connsiteY260" fmla="*/ 480915 h 5434893"/>
              <a:gd name="connsiteX261" fmla="*/ 328613 w 12208633"/>
              <a:gd name="connsiteY261" fmla="*/ 962816 h 5434893"/>
              <a:gd name="connsiteX262" fmla="*/ 397064 w 12208633"/>
              <a:gd name="connsiteY262" fmla="*/ 870143 h 5434893"/>
              <a:gd name="connsiteX263" fmla="*/ 478678 w 12208633"/>
              <a:gd name="connsiteY263" fmla="*/ 976055 h 5434893"/>
              <a:gd name="connsiteX264" fmla="*/ 552394 w 12208633"/>
              <a:gd name="connsiteY264" fmla="*/ 870143 h 5434893"/>
              <a:gd name="connsiteX265" fmla="*/ 634009 w 12208633"/>
              <a:gd name="connsiteY265" fmla="*/ 976055 h 5434893"/>
              <a:gd name="connsiteX266" fmla="*/ 707725 w 12208633"/>
              <a:gd name="connsiteY266" fmla="*/ 870143 h 5434893"/>
              <a:gd name="connsiteX267" fmla="*/ 789340 w 12208633"/>
              <a:gd name="connsiteY267" fmla="*/ 976055 h 5434893"/>
              <a:gd name="connsiteX268" fmla="*/ 789340 w 12208633"/>
              <a:gd name="connsiteY268" fmla="*/ 999886 h 5434893"/>
              <a:gd name="connsiteX269" fmla="*/ 863056 w 12208633"/>
              <a:gd name="connsiteY269" fmla="*/ 999886 h 5434893"/>
              <a:gd name="connsiteX270" fmla="*/ 863056 w 12208633"/>
              <a:gd name="connsiteY270" fmla="*/ 925747 h 5434893"/>
              <a:gd name="connsiteX271" fmla="*/ 770911 w 12208633"/>
              <a:gd name="connsiteY271" fmla="*/ 811891 h 5434893"/>
              <a:gd name="connsiteX272" fmla="*/ 863056 w 12208633"/>
              <a:gd name="connsiteY272" fmla="*/ 698035 h 5434893"/>
              <a:gd name="connsiteX273" fmla="*/ 863056 w 12208633"/>
              <a:gd name="connsiteY273" fmla="*/ 568293 h 5434893"/>
              <a:gd name="connsiteX274" fmla="*/ 910445 w 12208633"/>
              <a:gd name="connsiteY274" fmla="*/ 568293 h 5434893"/>
              <a:gd name="connsiteX275" fmla="*/ 910445 w 12208633"/>
              <a:gd name="connsiteY275" fmla="*/ 698035 h 5434893"/>
              <a:gd name="connsiteX276" fmla="*/ 1002590 w 12208633"/>
              <a:gd name="connsiteY276" fmla="*/ 811891 h 5434893"/>
              <a:gd name="connsiteX277" fmla="*/ 910445 w 12208633"/>
              <a:gd name="connsiteY277" fmla="*/ 925747 h 5434893"/>
              <a:gd name="connsiteX278" fmla="*/ 910445 w 12208633"/>
              <a:gd name="connsiteY278" fmla="*/ 999886 h 5434893"/>
              <a:gd name="connsiteX279" fmla="*/ 973630 w 12208633"/>
              <a:gd name="connsiteY279" fmla="*/ 999886 h 5434893"/>
              <a:gd name="connsiteX280" fmla="*/ 973630 w 12208633"/>
              <a:gd name="connsiteY280" fmla="*/ 923099 h 5434893"/>
              <a:gd name="connsiteX281" fmla="*/ 1052612 w 12208633"/>
              <a:gd name="connsiteY281" fmla="*/ 923099 h 5434893"/>
              <a:gd name="connsiteX282" fmla="*/ 1052612 w 12208633"/>
              <a:gd name="connsiteY282" fmla="*/ 822482 h 5434893"/>
              <a:gd name="connsiteX283" fmla="*/ 1223739 w 12208633"/>
              <a:gd name="connsiteY283" fmla="*/ 822482 h 5434893"/>
              <a:gd name="connsiteX284" fmla="*/ 1223739 w 12208633"/>
              <a:gd name="connsiteY284" fmla="*/ 533871 h 5434893"/>
              <a:gd name="connsiteX285" fmla="*/ 1452786 w 12208633"/>
              <a:gd name="connsiteY285" fmla="*/ 533871 h 5434893"/>
              <a:gd name="connsiteX286" fmla="*/ 1452786 w 12208633"/>
              <a:gd name="connsiteY286" fmla="*/ 827778 h 5434893"/>
              <a:gd name="connsiteX287" fmla="*/ 1687099 w 12208633"/>
              <a:gd name="connsiteY287" fmla="*/ 827778 h 5434893"/>
              <a:gd name="connsiteX288" fmla="*/ 1687099 w 12208633"/>
              <a:gd name="connsiteY288" fmla="*/ 645080 h 5434893"/>
              <a:gd name="connsiteX289" fmla="*/ 1795945 w 12208633"/>
              <a:gd name="connsiteY289" fmla="*/ 645080 h 5434893"/>
              <a:gd name="connsiteX290" fmla="*/ 1814336 w 12208633"/>
              <a:gd name="connsiteY290" fmla="*/ 645080 h 5434893"/>
              <a:gd name="connsiteX291" fmla="*/ 1814055 w 12208633"/>
              <a:gd name="connsiteY291" fmla="*/ 568843 h 5434893"/>
              <a:gd name="connsiteX292" fmla="*/ 1896602 w 12208633"/>
              <a:gd name="connsiteY292" fmla="*/ 567286 h 5434893"/>
              <a:gd name="connsiteX293" fmla="*/ 1917630 w 12208633"/>
              <a:gd name="connsiteY293" fmla="*/ 135119 h 5434893"/>
              <a:gd name="connsiteX294" fmla="*/ 2020520 w 12208633"/>
              <a:gd name="connsiteY294" fmla="*/ 135119 h 5434893"/>
              <a:gd name="connsiteX295" fmla="*/ 2040929 w 12208633"/>
              <a:gd name="connsiteY295" fmla="*/ 567805 h 5434893"/>
              <a:gd name="connsiteX296" fmla="*/ 2085058 w 12208633"/>
              <a:gd name="connsiteY296" fmla="*/ 569362 h 5434893"/>
              <a:gd name="connsiteX297" fmla="*/ 2104692 w 12208633"/>
              <a:gd name="connsiteY297" fmla="*/ 247596 h 5434893"/>
              <a:gd name="connsiteX298" fmla="*/ 2211603 w 12208633"/>
              <a:gd name="connsiteY298" fmla="*/ 247596 h 5434893"/>
              <a:gd name="connsiteX299" fmla="*/ 2230423 w 12208633"/>
              <a:gd name="connsiteY299" fmla="*/ 571958 h 5434893"/>
              <a:gd name="connsiteX300" fmla="*/ 2293761 w 12208633"/>
              <a:gd name="connsiteY300" fmla="*/ 575073 h 5434893"/>
              <a:gd name="connsiteX301" fmla="*/ 2293761 w 12208633"/>
              <a:gd name="connsiteY301" fmla="*/ 481105 h 5434893"/>
              <a:gd name="connsiteX302" fmla="*/ 2325430 w 12208633"/>
              <a:gd name="connsiteY302" fmla="*/ 425035 h 5434893"/>
              <a:gd name="connsiteX303" fmla="*/ 2333736 w 12208633"/>
              <a:gd name="connsiteY303" fmla="*/ 417248 h 5434893"/>
              <a:gd name="connsiteX304" fmla="*/ 2370078 w 12208633"/>
              <a:gd name="connsiteY304" fmla="*/ 413614 h 5434893"/>
              <a:gd name="connsiteX305" fmla="*/ 2388249 w 12208633"/>
              <a:gd name="connsiteY305" fmla="*/ 430227 h 5434893"/>
              <a:gd name="connsiteX306" fmla="*/ 2411611 w 12208633"/>
              <a:gd name="connsiteY306" fmla="*/ 474355 h 5434893"/>
              <a:gd name="connsiteX307" fmla="*/ 2428224 w 12208633"/>
              <a:gd name="connsiteY307" fmla="*/ 489411 h 5434893"/>
              <a:gd name="connsiteX308" fmla="*/ 2443799 w 12208633"/>
              <a:gd name="connsiteY308" fmla="*/ 504986 h 5434893"/>
              <a:gd name="connsiteX309" fmla="*/ 2443799 w 12208633"/>
              <a:gd name="connsiteY309" fmla="*/ 530425 h 5434893"/>
              <a:gd name="connsiteX310" fmla="*/ 2448472 w 12208633"/>
              <a:gd name="connsiteY310" fmla="*/ 538732 h 5434893"/>
              <a:gd name="connsiteX311" fmla="*/ 2454182 w 12208633"/>
              <a:gd name="connsiteY311" fmla="*/ 529906 h 5434893"/>
              <a:gd name="connsiteX312" fmla="*/ 2455740 w 12208633"/>
              <a:gd name="connsiteY312" fmla="*/ 488892 h 5434893"/>
              <a:gd name="connsiteX313" fmla="*/ 2455740 w 12208633"/>
              <a:gd name="connsiteY313" fmla="*/ 379868 h 5434893"/>
              <a:gd name="connsiteX314" fmla="*/ 2471834 w 12208633"/>
              <a:gd name="connsiteY314" fmla="*/ 361697 h 5434893"/>
              <a:gd name="connsiteX315" fmla="*/ 2590203 w 12208633"/>
              <a:gd name="connsiteY315" fmla="*/ 361697 h 5434893"/>
              <a:gd name="connsiteX316" fmla="*/ 2604220 w 12208633"/>
              <a:gd name="connsiteY316" fmla="*/ 376753 h 5434893"/>
              <a:gd name="connsiteX317" fmla="*/ 2603701 w 12208633"/>
              <a:gd name="connsiteY317" fmla="*/ 404788 h 5434893"/>
              <a:gd name="connsiteX318" fmla="*/ 2616161 w 12208633"/>
              <a:gd name="connsiteY318" fmla="*/ 425035 h 5434893"/>
              <a:gd name="connsiteX319" fmla="*/ 2648868 w 12208633"/>
              <a:gd name="connsiteY319" fmla="*/ 476951 h 5434893"/>
              <a:gd name="connsiteX320" fmla="*/ 2648868 w 12208633"/>
              <a:gd name="connsiteY320" fmla="*/ 527310 h 5434893"/>
              <a:gd name="connsiteX321" fmla="*/ 2651010 w 12208633"/>
              <a:gd name="connsiteY321" fmla="*/ 551386 h 5434893"/>
              <a:gd name="connsiteX322" fmla="*/ 2661207 w 12208633"/>
              <a:gd name="connsiteY322" fmla="*/ 552175 h 5434893"/>
              <a:gd name="connsiteX323" fmla="*/ 2661207 w 12208633"/>
              <a:gd name="connsiteY323" fmla="*/ 497877 h 5434893"/>
              <a:gd name="connsiteX324" fmla="*/ 2661207 w 12208633"/>
              <a:gd name="connsiteY324" fmla="*/ 274385 h 5434893"/>
              <a:gd name="connsiteX325" fmla="*/ 2916581 w 12208633"/>
              <a:gd name="connsiteY325" fmla="*/ 274385 h 5434893"/>
              <a:gd name="connsiteX326" fmla="*/ 2916581 w 12208633"/>
              <a:gd name="connsiteY326" fmla="*/ 623897 h 5434893"/>
              <a:gd name="connsiteX327" fmla="*/ 3103505 w 12208633"/>
              <a:gd name="connsiteY327" fmla="*/ 623897 h 5434893"/>
              <a:gd name="connsiteX328" fmla="*/ 3103505 w 12208633"/>
              <a:gd name="connsiteY328" fmla="*/ 938986 h 5434893"/>
              <a:gd name="connsiteX329" fmla="*/ 3253570 w 12208633"/>
              <a:gd name="connsiteY329" fmla="*/ 938986 h 5434893"/>
              <a:gd name="connsiteX330" fmla="*/ 3253570 w 12208633"/>
              <a:gd name="connsiteY330" fmla="*/ 833074 h 5434893"/>
              <a:gd name="connsiteX331" fmla="*/ 3458923 w 12208633"/>
              <a:gd name="connsiteY331" fmla="*/ 833074 h 5434893"/>
              <a:gd name="connsiteX332" fmla="*/ 3458923 w 12208633"/>
              <a:gd name="connsiteY332" fmla="*/ 449141 h 5434893"/>
              <a:gd name="connsiteX333" fmla="*/ 3619519 w 12208633"/>
              <a:gd name="connsiteY333" fmla="*/ 449141 h 5434893"/>
              <a:gd name="connsiteX334" fmla="*/ 3619519 w 12208633"/>
              <a:gd name="connsiteY334" fmla="*/ 822482 h 5434893"/>
              <a:gd name="connsiteX335" fmla="*/ 3716929 w 12208633"/>
              <a:gd name="connsiteY335" fmla="*/ 822482 h 5434893"/>
              <a:gd name="connsiteX336" fmla="*/ 3716929 w 12208633"/>
              <a:gd name="connsiteY336" fmla="*/ 533871 h 5434893"/>
              <a:gd name="connsiteX337" fmla="*/ 3948609 w 12208633"/>
              <a:gd name="connsiteY337" fmla="*/ 533871 h 5434893"/>
              <a:gd name="connsiteX338" fmla="*/ 3948609 w 12208633"/>
              <a:gd name="connsiteY338" fmla="*/ 827778 h 5434893"/>
              <a:gd name="connsiteX339" fmla="*/ 3952270 w 12208633"/>
              <a:gd name="connsiteY339" fmla="*/ 827778 h 5434893"/>
              <a:gd name="connsiteX340" fmla="*/ 3956368 w 12208633"/>
              <a:gd name="connsiteY340" fmla="*/ 827778 h 5434893"/>
              <a:gd name="connsiteX341" fmla="*/ 3956368 w 12208633"/>
              <a:gd name="connsiteY341" fmla="*/ 761209 h 5434893"/>
              <a:gd name="connsiteX342" fmla="*/ 3956368 w 12208633"/>
              <a:gd name="connsiteY342" fmla="*/ 714516 h 5434893"/>
              <a:gd name="connsiteX343" fmla="*/ 4000985 w 12208633"/>
              <a:gd name="connsiteY343" fmla="*/ 714516 h 5434893"/>
              <a:gd name="connsiteX344" fmla="*/ 4000985 w 12208633"/>
              <a:gd name="connsiteY344" fmla="*/ 420341 h 5434893"/>
              <a:gd name="connsiteX345" fmla="*/ 4000984 w 12208633"/>
              <a:gd name="connsiteY345" fmla="*/ 420341 h 5434893"/>
              <a:gd name="connsiteX346" fmla="*/ 4000984 w 12208633"/>
              <a:gd name="connsiteY346" fmla="*/ 339659 h 5434893"/>
              <a:gd name="connsiteX347" fmla="*/ 4071715 w 12208633"/>
              <a:gd name="connsiteY347" fmla="*/ 339659 h 5434893"/>
              <a:gd name="connsiteX348" fmla="*/ 4142446 w 12208633"/>
              <a:gd name="connsiteY348" fmla="*/ 339659 h 5434893"/>
              <a:gd name="connsiteX349" fmla="*/ 4142446 w 12208633"/>
              <a:gd name="connsiteY349" fmla="*/ 413478 h 5434893"/>
              <a:gd name="connsiteX350" fmla="*/ 4142446 w 12208633"/>
              <a:gd name="connsiteY350" fmla="*/ 413480 h 5434893"/>
              <a:gd name="connsiteX351" fmla="*/ 4142446 w 12208633"/>
              <a:gd name="connsiteY351" fmla="*/ 713686 h 5434893"/>
              <a:gd name="connsiteX352" fmla="*/ 4182921 w 12208633"/>
              <a:gd name="connsiteY352" fmla="*/ 713686 h 5434893"/>
              <a:gd name="connsiteX353" fmla="*/ 4182921 w 12208633"/>
              <a:gd name="connsiteY353" fmla="*/ 705384 h 5434893"/>
              <a:gd name="connsiteX354" fmla="*/ 4182921 w 12208633"/>
              <a:gd name="connsiteY354" fmla="*/ 645080 h 5434893"/>
              <a:gd name="connsiteX355" fmla="*/ 4214842 w 12208633"/>
              <a:gd name="connsiteY355" fmla="*/ 645080 h 5434893"/>
              <a:gd name="connsiteX356" fmla="*/ 4243942 w 12208633"/>
              <a:gd name="connsiteY356" fmla="*/ 645080 h 5434893"/>
              <a:gd name="connsiteX357" fmla="*/ 4243942 w 12208633"/>
              <a:gd name="connsiteY357" fmla="*/ 339659 h 5434893"/>
              <a:gd name="connsiteX358" fmla="*/ 4243942 w 12208633"/>
              <a:gd name="connsiteY358" fmla="*/ 249509 h 5434893"/>
              <a:gd name="connsiteX359" fmla="*/ 4288534 w 12208633"/>
              <a:gd name="connsiteY359" fmla="*/ 249509 h 5434893"/>
              <a:gd name="connsiteX360" fmla="*/ 4337854 w 12208633"/>
              <a:gd name="connsiteY360" fmla="*/ 249509 h 5434893"/>
              <a:gd name="connsiteX361" fmla="*/ 4337854 w 12208633"/>
              <a:gd name="connsiteY361" fmla="*/ 322718 h 5434893"/>
              <a:gd name="connsiteX362" fmla="*/ 4337854 w 12208633"/>
              <a:gd name="connsiteY362" fmla="*/ 322720 h 5434893"/>
              <a:gd name="connsiteX363" fmla="*/ 4337854 w 12208633"/>
              <a:gd name="connsiteY363" fmla="*/ 380000 h 5434893"/>
              <a:gd name="connsiteX364" fmla="*/ 4654875 w 12208633"/>
              <a:gd name="connsiteY364" fmla="*/ 380000 h 5434893"/>
              <a:gd name="connsiteX365" fmla="*/ 4654875 w 12208633"/>
              <a:gd name="connsiteY365" fmla="*/ 379790 h 5434893"/>
              <a:gd name="connsiteX366" fmla="*/ 4675084 w 12208633"/>
              <a:gd name="connsiteY366" fmla="*/ 379790 h 5434893"/>
              <a:gd name="connsiteX367" fmla="*/ 4675084 w 12208633"/>
              <a:gd name="connsiteY367" fmla="*/ 474896 h 5434893"/>
              <a:gd name="connsiteX368" fmla="*/ 4676745 w 12208633"/>
              <a:gd name="connsiteY368" fmla="*/ 475064 h 5434893"/>
              <a:gd name="connsiteX369" fmla="*/ 4739988 w 12208633"/>
              <a:gd name="connsiteY369" fmla="*/ 539907 h 5434893"/>
              <a:gd name="connsiteX370" fmla="*/ 4740674 w 12208633"/>
              <a:gd name="connsiteY370" fmla="*/ 547701 h 5434893"/>
              <a:gd name="connsiteX371" fmla="*/ 4741248 w 12208633"/>
              <a:gd name="connsiteY371" fmla="*/ 547701 h 5434893"/>
              <a:gd name="connsiteX372" fmla="*/ 4741248 w 12208633"/>
              <a:gd name="connsiteY372" fmla="*/ 554205 h 5434893"/>
              <a:gd name="connsiteX373" fmla="*/ 4741248 w 12208633"/>
              <a:gd name="connsiteY373" fmla="*/ 554208 h 5434893"/>
              <a:gd name="connsiteX374" fmla="*/ 4741248 w 12208633"/>
              <a:gd name="connsiteY374" fmla="*/ 739927 h 5434893"/>
              <a:gd name="connsiteX375" fmla="*/ 4764753 w 12208633"/>
              <a:gd name="connsiteY375" fmla="*/ 740400 h 5434893"/>
              <a:gd name="connsiteX376" fmla="*/ 4764753 w 12208633"/>
              <a:gd name="connsiteY376" fmla="*/ 666262 h 5434893"/>
              <a:gd name="connsiteX377" fmla="*/ 4899024 w 12208633"/>
              <a:gd name="connsiteY377" fmla="*/ 666262 h 5434893"/>
              <a:gd name="connsiteX378" fmla="*/ 4899024 w 12208633"/>
              <a:gd name="connsiteY378" fmla="*/ 735104 h 5434893"/>
              <a:gd name="connsiteX379" fmla="*/ 5028026 w 12208633"/>
              <a:gd name="connsiteY379" fmla="*/ 735104 h 5434893"/>
              <a:gd name="connsiteX380" fmla="*/ 5028026 w 12208633"/>
              <a:gd name="connsiteY380" fmla="*/ 658319 h 5434893"/>
              <a:gd name="connsiteX381" fmla="*/ 5154397 w 12208633"/>
              <a:gd name="connsiteY381" fmla="*/ 660966 h 5434893"/>
              <a:gd name="connsiteX382" fmla="*/ 5154397 w 12208633"/>
              <a:gd name="connsiteY382" fmla="*/ 369707 h 5434893"/>
              <a:gd name="connsiteX383" fmla="*/ 5409771 w 12208633"/>
              <a:gd name="connsiteY383" fmla="*/ 369707 h 5434893"/>
              <a:gd name="connsiteX384" fmla="*/ 5409771 w 12208633"/>
              <a:gd name="connsiteY384" fmla="*/ 623897 h 5434893"/>
              <a:gd name="connsiteX385" fmla="*/ 5599327 w 12208633"/>
              <a:gd name="connsiteY385" fmla="*/ 623897 h 5434893"/>
              <a:gd name="connsiteX386" fmla="*/ 5599327 w 12208633"/>
              <a:gd name="connsiteY386" fmla="*/ 681817 h 5434893"/>
              <a:gd name="connsiteX387" fmla="*/ 5599327 w 12208633"/>
              <a:gd name="connsiteY387" fmla="*/ 692743 h 5434893"/>
              <a:gd name="connsiteX388" fmla="*/ 5628967 w 12208633"/>
              <a:gd name="connsiteY388" fmla="*/ 692743 h 5434893"/>
              <a:gd name="connsiteX389" fmla="*/ 5628967 w 12208633"/>
              <a:gd name="connsiteY389" fmla="*/ 672950 h 5434893"/>
              <a:gd name="connsiteX390" fmla="*/ 5794767 w 12208633"/>
              <a:gd name="connsiteY390" fmla="*/ 672950 h 5434893"/>
              <a:gd name="connsiteX391" fmla="*/ 5794803 w 12208633"/>
              <a:gd name="connsiteY391" fmla="*/ 672943 h 5434893"/>
              <a:gd name="connsiteX392" fmla="*/ 5792189 w 12208633"/>
              <a:gd name="connsiteY392" fmla="*/ 672943 h 5434893"/>
              <a:gd name="connsiteX393" fmla="*/ 5784518 w 12208633"/>
              <a:gd name="connsiteY393" fmla="*/ 672943 h 5434893"/>
              <a:gd name="connsiteX394" fmla="*/ 5628967 w 12208633"/>
              <a:gd name="connsiteY394" fmla="*/ 672943 h 5434893"/>
              <a:gd name="connsiteX395" fmla="*/ 5792189 w 12208633"/>
              <a:gd name="connsiteY395" fmla="*/ 576196 h 5434893"/>
              <a:gd name="connsiteX396" fmla="*/ 5792189 w 12208633"/>
              <a:gd name="connsiteY396" fmla="*/ 668395 h 5434893"/>
              <a:gd name="connsiteX397" fmla="*/ 5947738 w 12208633"/>
              <a:gd name="connsiteY397" fmla="*/ 576196 h 5434893"/>
              <a:gd name="connsiteX398" fmla="*/ 5947738 w 12208633"/>
              <a:gd name="connsiteY398" fmla="*/ 668395 h 5434893"/>
              <a:gd name="connsiteX399" fmla="*/ 6103287 w 12208633"/>
              <a:gd name="connsiteY399" fmla="*/ 576196 h 5434893"/>
              <a:gd name="connsiteX400" fmla="*/ 6103287 w 12208633"/>
              <a:gd name="connsiteY400" fmla="*/ 668395 h 5434893"/>
              <a:gd name="connsiteX401" fmla="*/ 6258836 w 12208633"/>
              <a:gd name="connsiteY401" fmla="*/ 576196 h 5434893"/>
              <a:gd name="connsiteX402" fmla="*/ 6258836 w 12208633"/>
              <a:gd name="connsiteY402" fmla="*/ 672943 h 5434893"/>
              <a:gd name="connsiteX403" fmla="*/ 6154820 w 12208633"/>
              <a:gd name="connsiteY403" fmla="*/ 672943 h 5434893"/>
              <a:gd name="connsiteX404" fmla="*/ 6154820 w 12208633"/>
              <a:gd name="connsiteY404" fmla="*/ 672950 h 5434893"/>
              <a:gd name="connsiteX405" fmla="*/ 6258836 w 12208633"/>
              <a:gd name="connsiteY405" fmla="*/ 672950 h 5434893"/>
              <a:gd name="connsiteX406" fmla="*/ 6258836 w 12208633"/>
              <a:gd name="connsiteY406" fmla="*/ 708560 h 5434893"/>
              <a:gd name="connsiteX407" fmla="*/ 6258836 w 12208633"/>
              <a:gd name="connsiteY407" fmla="*/ 726328 h 5434893"/>
              <a:gd name="connsiteX408" fmla="*/ 6349534 w 12208633"/>
              <a:gd name="connsiteY408" fmla="*/ 726328 h 5434893"/>
              <a:gd name="connsiteX409" fmla="*/ 6354387 w 12208633"/>
              <a:gd name="connsiteY409" fmla="*/ 721669 h 5434893"/>
              <a:gd name="connsiteX410" fmla="*/ 6354387 w 12208633"/>
              <a:gd name="connsiteY410" fmla="*/ 653142 h 5434893"/>
              <a:gd name="connsiteX411" fmla="*/ 6351863 w 12208633"/>
              <a:gd name="connsiteY411" fmla="*/ 648482 h 5434893"/>
              <a:gd name="connsiteX412" fmla="*/ 6352251 w 12208633"/>
              <a:gd name="connsiteY412" fmla="*/ 641882 h 5434893"/>
              <a:gd name="connsiteX413" fmla="*/ 6354581 w 12208633"/>
              <a:gd name="connsiteY413" fmla="*/ 638194 h 5434893"/>
              <a:gd name="connsiteX414" fmla="*/ 6354581 w 12208633"/>
              <a:gd name="connsiteY414" fmla="*/ 589854 h 5434893"/>
              <a:gd name="connsiteX415" fmla="*/ 6351863 w 12208633"/>
              <a:gd name="connsiteY415" fmla="*/ 585584 h 5434893"/>
              <a:gd name="connsiteX416" fmla="*/ 6351863 w 12208633"/>
              <a:gd name="connsiteY416" fmla="*/ 579954 h 5434893"/>
              <a:gd name="connsiteX417" fmla="*/ 6354581 w 12208633"/>
              <a:gd name="connsiteY417" fmla="*/ 574712 h 5434893"/>
              <a:gd name="connsiteX418" fmla="*/ 6354581 w 12208633"/>
              <a:gd name="connsiteY418" fmla="*/ 528121 h 5434893"/>
              <a:gd name="connsiteX419" fmla="*/ 6351669 w 12208633"/>
              <a:gd name="connsiteY419" fmla="*/ 522879 h 5434893"/>
              <a:gd name="connsiteX420" fmla="*/ 6351863 w 12208633"/>
              <a:gd name="connsiteY420" fmla="*/ 516473 h 5434893"/>
              <a:gd name="connsiteX421" fmla="*/ 6354387 w 12208633"/>
              <a:gd name="connsiteY421" fmla="*/ 511814 h 5434893"/>
              <a:gd name="connsiteX422" fmla="*/ 6354387 w 12208633"/>
              <a:gd name="connsiteY422" fmla="*/ 465999 h 5434893"/>
              <a:gd name="connsiteX423" fmla="*/ 6351475 w 12208633"/>
              <a:gd name="connsiteY423" fmla="*/ 460952 h 5434893"/>
              <a:gd name="connsiteX424" fmla="*/ 6351863 w 12208633"/>
              <a:gd name="connsiteY424" fmla="*/ 454545 h 5434893"/>
              <a:gd name="connsiteX425" fmla="*/ 6354387 w 12208633"/>
              <a:gd name="connsiteY425" fmla="*/ 450469 h 5434893"/>
              <a:gd name="connsiteX426" fmla="*/ 6354387 w 12208633"/>
              <a:gd name="connsiteY426" fmla="*/ 402130 h 5434893"/>
              <a:gd name="connsiteX427" fmla="*/ 6351863 w 12208633"/>
              <a:gd name="connsiteY427" fmla="*/ 398054 h 5434893"/>
              <a:gd name="connsiteX428" fmla="*/ 6352057 w 12208633"/>
              <a:gd name="connsiteY428" fmla="*/ 391453 h 5434893"/>
              <a:gd name="connsiteX429" fmla="*/ 6354387 w 12208633"/>
              <a:gd name="connsiteY429" fmla="*/ 387182 h 5434893"/>
              <a:gd name="connsiteX430" fmla="*/ 6354387 w 12208633"/>
              <a:gd name="connsiteY430" fmla="*/ 340591 h 5434893"/>
              <a:gd name="connsiteX431" fmla="*/ 6351863 w 12208633"/>
              <a:gd name="connsiteY431" fmla="*/ 335932 h 5434893"/>
              <a:gd name="connsiteX432" fmla="*/ 6352251 w 12208633"/>
              <a:gd name="connsiteY432" fmla="*/ 329331 h 5434893"/>
              <a:gd name="connsiteX433" fmla="*/ 6354581 w 12208633"/>
              <a:gd name="connsiteY433" fmla="*/ 325643 h 5434893"/>
              <a:gd name="connsiteX434" fmla="*/ 6354581 w 12208633"/>
              <a:gd name="connsiteY434" fmla="*/ 277304 h 5434893"/>
              <a:gd name="connsiteX435" fmla="*/ 6351863 w 12208633"/>
              <a:gd name="connsiteY435" fmla="*/ 273227 h 5434893"/>
              <a:gd name="connsiteX436" fmla="*/ 6349922 w 12208633"/>
              <a:gd name="connsiteY436" fmla="*/ 269539 h 5434893"/>
              <a:gd name="connsiteX437" fmla="*/ 6353610 w 12208633"/>
              <a:gd name="connsiteY437" fmla="*/ 267209 h 5434893"/>
              <a:gd name="connsiteX438" fmla="*/ 6357299 w 12208633"/>
              <a:gd name="connsiteY438" fmla="*/ 267209 h 5434893"/>
              <a:gd name="connsiteX439" fmla="*/ 6426409 w 12208633"/>
              <a:gd name="connsiteY439" fmla="*/ 267209 h 5434893"/>
              <a:gd name="connsiteX440" fmla="*/ 6430680 w 12208633"/>
              <a:gd name="connsiteY440" fmla="*/ 267209 h 5434893"/>
              <a:gd name="connsiteX441" fmla="*/ 6433980 w 12208633"/>
              <a:gd name="connsiteY441" fmla="*/ 270704 h 5434893"/>
              <a:gd name="connsiteX442" fmla="*/ 6430486 w 12208633"/>
              <a:gd name="connsiteY442" fmla="*/ 273033 h 5434893"/>
              <a:gd name="connsiteX443" fmla="*/ 6427962 w 12208633"/>
              <a:gd name="connsiteY443" fmla="*/ 273033 h 5434893"/>
              <a:gd name="connsiteX444" fmla="*/ 6427768 w 12208633"/>
              <a:gd name="connsiteY444" fmla="*/ 274198 h 5434893"/>
              <a:gd name="connsiteX445" fmla="*/ 6427768 w 12208633"/>
              <a:gd name="connsiteY445" fmla="*/ 329137 h 5434893"/>
              <a:gd name="connsiteX446" fmla="*/ 6430874 w 12208633"/>
              <a:gd name="connsiteY446" fmla="*/ 329331 h 5434893"/>
              <a:gd name="connsiteX447" fmla="*/ 6433786 w 12208633"/>
              <a:gd name="connsiteY447" fmla="*/ 332438 h 5434893"/>
              <a:gd name="connsiteX448" fmla="*/ 6430874 w 12208633"/>
              <a:gd name="connsiteY448" fmla="*/ 336126 h 5434893"/>
              <a:gd name="connsiteX449" fmla="*/ 6427768 w 12208633"/>
              <a:gd name="connsiteY449" fmla="*/ 336320 h 5434893"/>
              <a:gd name="connsiteX450" fmla="*/ 6427768 w 12208633"/>
              <a:gd name="connsiteY450" fmla="*/ 391259 h 5434893"/>
              <a:gd name="connsiteX451" fmla="*/ 6430874 w 12208633"/>
              <a:gd name="connsiteY451" fmla="*/ 391453 h 5434893"/>
              <a:gd name="connsiteX452" fmla="*/ 6433786 w 12208633"/>
              <a:gd name="connsiteY452" fmla="*/ 395142 h 5434893"/>
              <a:gd name="connsiteX453" fmla="*/ 6430874 w 12208633"/>
              <a:gd name="connsiteY453" fmla="*/ 398248 h 5434893"/>
              <a:gd name="connsiteX454" fmla="*/ 6427768 w 12208633"/>
              <a:gd name="connsiteY454" fmla="*/ 398248 h 5434893"/>
              <a:gd name="connsiteX455" fmla="*/ 6427768 w 12208633"/>
              <a:gd name="connsiteY455" fmla="*/ 454351 h 5434893"/>
              <a:gd name="connsiteX456" fmla="*/ 6430874 w 12208633"/>
              <a:gd name="connsiteY456" fmla="*/ 454545 h 5434893"/>
              <a:gd name="connsiteX457" fmla="*/ 6433786 w 12208633"/>
              <a:gd name="connsiteY457" fmla="*/ 457652 h 5434893"/>
              <a:gd name="connsiteX458" fmla="*/ 6430874 w 12208633"/>
              <a:gd name="connsiteY458" fmla="*/ 461340 h 5434893"/>
              <a:gd name="connsiteX459" fmla="*/ 6427768 w 12208633"/>
              <a:gd name="connsiteY459" fmla="*/ 461534 h 5434893"/>
              <a:gd name="connsiteX460" fmla="*/ 6427574 w 12208633"/>
              <a:gd name="connsiteY460" fmla="*/ 461534 h 5434893"/>
              <a:gd name="connsiteX461" fmla="*/ 6427574 w 12208633"/>
              <a:gd name="connsiteY461" fmla="*/ 461728 h 5434893"/>
              <a:gd name="connsiteX462" fmla="*/ 6427768 w 12208633"/>
              <a:gd name="connsiteY462" fmla="*/ 461728 h 5434893"/>
              <a:gd name="connsiteX463" fmla="*/ 6427768 w 12208633"/>
              <a:gd name="connsiteY463" fmla="*/ 516667 h 5434893"/>
              <a:gd name="connsiteX464" fmla="*/ 6430874 w 12208633"/>
              <a:gd name="connsiteY464" fmla="*/ 516861 h 5434893"/>
              <a:gd name="connsiteX465" fmla="*/ 6433786 w 12208633"/>
              <a:gd name="connsiteY465" fmla="*/ 520550 h 5434893"/>
              <a:gd name="connsiteX466" fmla="*/ 6430874 w 12208633"/>
              <a:gd name="connsiteY466" fmla="*/ 523656 h 5434893"/>
              <a:gd name="connsiteX467" fmla="*/ 6427768 w 12208633"/>
              <a:gd name="connsiteY467" fmla="*/ 523850 h 5434893"/>
              <a:gd name="connsiteX468" fmla="*/ 6427768 w 12208633"/>
              <a:gd name="connsiteY468" fmla="*/ 579954 h 5434893"/>
              <a:gd name="connsiteX469" fmla="*/ 6431457 w 12208633"/>
              <a:gd name="connsiteY469" fmla="*/ 580148 h 5434893"/>
              <a:gd name="connsiteX470" fmla="*/ 6433786 w 12208633"/>
              <a:gd name="connsiteY470" fmla="*/ 583254 h 5434893"/>
              <a:gd name="connsiteX471" fmla="*/ 6431263 w 12208633"/>
              <a:gd name="connsiteY471" fmla="*/ 585972 h 5434893"/>
              <a:gd name="connsiteX472" fmla="*/ 6427768 w 12208633"/>
              <a:gd name="connsiteY472" fmla="*/ 587137 h 5434893"/>
              <a:gd name="connsiteX473" fmla="*/ 6427768 w 12208633"/>
              <a:gd name="connsiteY473" fmla="*/ 642076 h 5434893"/>
              <a:gd name="connsiteX474" fmla="*/ 6430874 w 12208633"/>
              <a:gd name="connsiteY474" fmla="*/ 642270 h 5434893"/>
              <a:gd name="connsiteX475" fmla="*/ 6433786 w 12208633"/>
              <a:gd name="connsiteY475" fmla="*/ 645959 h 5434893"/>
              <a:gd name="connsiteX476" fmla="*/ 6430874 w 12208633"/>
              <a:gd name="connsiteY476" fmla="*/ 649065 h 5434893"/>
              <a:gd name="connsiteX477" fmla="*/ 6427768 w 12208633"/>
              <a:gd name="connsiteY477" fmla="*/ 649259 h 5434893"/>
              <a:gd name="connsiteX478" fmla="*/ 6427768 w 12208633"/>
              <a:gd name="connsiteY478" fmla="*/ 727687 h 5434893"/>
              <a:gd name="connsiteX479" fmla="*/ 6450870 w 12208633"/>
              <a:gd name="connsiteY479" fmla="*/ 727881 h 5434893"/>
              <a:gd name="connsiteX480" fmla="*/ 6519204 w 12208633"/>
              <a:gd name="connsiteY480" fmla="*/ 727687 h 5434893"/>
              <a:gd name="connsiteX481" fmla="*/ 6519398 w 12208633"/>
              <a:gd name="connsiteY481" fmla="*/ 688473 h 5434893"/>
              <a:gd name="connsiteX482" fmla="*/ 6519398 w 12208633"/>
              <a:gd name="connsiteY482" fmla="*/ 649259 h 5434893"/>
              <a:gd name="connsiteX483" fmla="*/ 6516874 w 12208633"/>
              <a:gd name="connsiteY483" fmla="*/ 649259 h 5434893"/>
              <a:gd name="connsiteX484" fmla="*/ 6513186 w 12208633"/>
              <a:gd name="connsiteY484" fmla="*/ 645570 h 5434893"/>
              <a:gd name="connsiteX485" fmla="*/ 6516680 w 12208633"/>
              <a:gd name="connsiteY485" fmla="*/ 642270 h 5434893"/>
              <a:gd name="connsiteX486" fmla="*/ 6519204 w 12208633"/>
              <a:gd name="connsiteY486" fmla="*/ 642270 h 5434893"/>
              <a:gd name="connsiteX487" fmla="*/ 6519204 w 12208633"/>
              <a:gd name="connsiteY487" fmla="*/ 586166 h 5434893"/>
              <a:gd name="connsiteX488" fmla="*/ 6518039 w 12208633"/>
              <a:gd name="connsiteY488" fmla="*/ 586166 h 5434893"/>
              <a:gd name="connsiteX489" fmla="*/ 6513574 w 12208633"/>
              <a:gd name="connsiteY489" fmla="*/ 583448 h 5434893"/>
              <a:gd name="connsiteX490" fmla="*/ 6518039 w 12208633"/>
              <a:gd name="connsiteY490" fmla="*/ 580148 h 5434893"/>
              <a:gd name="connsiteX491" fmla="*/ 6519204 w 12208633"/>
              <a:gd name="connsiteY491" fmla="*/ 580148 h 5434893"/>
              <a:gd name="connsiteX492" fmla="*/ 6519204 w 12208633"/>
              <a:gd name="connsiteY492" fmla="*/ 524044 h 5434893"/>
              <a:gd name="connsiteX493" fmla="*/ 6516098 w 12208633"/>
              <a:gd name="connsiteY493" fmla="*/ 523850 h 5434893"/>
              <a:gd name="connsiteX494" fmla="*/ 6513186 w 12208633"/>
              <a:gd name="connsiteY494" fmla="*/ 520550 h 5434893"/>
              <a:gd name="connsiteX495" fmla="*/ 6516292 w 12208633"/>
              <a:gd name="connsiteY495" fmla="*/ 516861 h 5434893"/>
              <a:gd name="connsiteX496" fmla="*/ 6519398 w 12208633"/>
              <a:gd name="connsiteY496" fmla="*/ 516667 h 5434893"/>
              <a:gd name="connsiteX497" fmla="*/ 6519398 w 12208633"/>
              <a:gd name="connsiteY497" fmla="*/ 461728 h 5434893"/>
              <a:gd name="connsiteX498" fmla="*/ 6518815 w 12208633"/>
              <a:gd name="connsiteY498" fmla="*/ 461728 h 5434893"/>
              <a:gd name="connsiteX499" fmla="*/ 6513574 w 12208633"/>
              <a:gd name="connsiteY499" fmla="*/ 457263 h 5434893"/>
              <a:gd name="connsiteX500" fmla="*/ 6519398 w 12208633"/>
              <a:gd name="connsiteY500" fmla="*/ 454545 h 5434893"/>
              <a:gd name="connsiteX501" fmla="*/ 6519398 w 12208633"/>
              <a:gd name="connsiteY501" fmla="*/ 398442 h 5434893"/>
              <a:gd name="connsiteX502" fmla="*/ 6513574 w 12208633"/>
              <a:gd name="connsiteY502" fmla="*/ 395724 h 5434893"/>
              <a:gd name="connsiteX503" fmla="*/ 6519592 w 12208633"/>
              <a:gd name="connsiteY503" fmla="*/ 391259 h 5434893"/>
              <a:gd name="connsiteX504" fmla="*/ 6519592 w 12208633"/>
              <a:gd name="connsiteY504" fmla="*/ 336320 h 5434893"/>
              <a:gd name="connsiteX505" fmla="*/ 6517845 w 12208633"/>
              <a:gd name="connsiteY505" fmla="*/ 336320 h 5434893"/>
              <a:gd name="connsiteX506" fmla="*/ 6513574 w 12208633"/>
              <a:gd name="connsiteY506" fmla="*/ 332826 h 5434893"/>
              <a:gd name="connsiteX507" fmla="*/ 6517845 w 12208633"/>
              <a:gd name="connsiteY507" fmla="*/ 329331 h 5434893"/>
              <a:gd name="connsiteX508" fmla="*/ 6519592 w 12208633"/>
              <a:gd name="connsiteY508" fmla="*/ 329331 h 5434893"/>
              <a:gd name="connsiteX509" fmla="*/ 6519592 w 12208633"/>
              <a:gd name="connsiteY509" fmla="*/ 274586 h 5434893"/>
              <a:gd name="connsiteX510" fmla="*/ 6515709 w 12208633"/>
              <a:gd name="connsiteY510" fmla="*/ 273033 h 5434893"/>
              <a:gd name="connsiteX511" fmla="*/ 6513574 w 12208633"/>
              <a:gd name="connsiteY511" fmla="*/ 269927 h 5434893"/>
              <a:gd name="connsiteX512" fmla="*/ 6516486 w 12208633"/>
              <a:gd name="connsiteY512" fmla="*/ 267404 h 5434893"/>
              <a:gd name="connsiteX513" fmla="*/ 6520174 w 12208633"/>
              <a:gd name="connsiteY513" fmla="*/ 267209 h 5434893"/>
              <a:gd name="connsiteX514" fmla="*/ 6591809 w 12208633"/>
              <a:gd name="connsiteY514" fmla="*/ 267209 h 5434893"/>
              <a:gd name="connsiteX515" fmla="*/ 6594332 w 12208633"/>
              <a:gd name="connsiteY515" fmla="*/ 267209 h 5434893"/>
              <a:gd name="connsiteX516" fmla="*/ 6598409 w 12208633"/>
              <a:gd name="connsiteY516" fmla="*/ 269733 h 5434893"/>
              <a:gd name="connsiteX517" fmla="*/ 6596274 w 12208633"/>
              <a:gd name="connsiteY517" fmla="*/ 273227 h 5434893"/>
              <a:gd name="connsiteX518" fmla="*/ 6593556 w 12208633"/>
              <a:gd name="connsiteY518" fmla="*/ 277110 h 5434893"/>
              <a:gd name="connsiteX519" fmla="*/ 6593556 w 12208633"/>
              <a:gd name="connsiteY519" fmla="*/ 325449 h 5434893"/>
              <a:gd name="connsiteX520" fmla="*/ 6596079 w 12208633"/>
              <a:gd name="connsiteY520" fmla="*/ 329525 h 5434893"/>
              <a:gd name="connsiteX521" fmla="*/ 6595885 w 12208633"/>
              <a:gd name="connsiteY521" fmla="*/ 336126 h 5434893"/>
              <a:gd name="connsiteX522" fmla="*/ 6593556 w 12208633"/>
              <a:gd name="connsiteY522" fmla="*/ 340397 h 5434893"/>
              <a:gd name="connsiteX523" fmla="*/ 6593556 w 12208633"/>
              <a:gd name="connsiteY523" fmla="*/ 386988 h 5434893"/>
              <a:gd name="connsiteX524" fmla="*/ 6596079 w 12208633"/>
              <a:gd name="connsiteY524" fmla="*/ 391647 h 5434893"/>
              <a:gd name="connsiteX525" fmla="*/ 6595691 w 12208633"/>
              <a:gd name="connsiteY525" fmla="*/ 398442 h 5434893"/>
              <a:gd name="connsiteX526" fmla="*/ 6593556 w 12208633"/>
              <a:gd name="connsiteY526" fmla="*/ 402324 h 5434893"/>
              <a:gd name="connsiteX527" fmla="*/ 6593556 w 12208633"/>
              <a:gd name="connsiteY527" fmla="*/ 419020 h 5434893"/>
              <a:gd name="connsiteX528" fmla="*/ 6593556 w 12208633"/>
              <a:gd name="connsiteY528" fmla="*/ 449498 h 5434893"/>
              <a:gd name="connsiteX529" fmla="*/ 6596662 w 12208633"/>
              <a:gd name="connsiteY529" fmla="*/ 454934 h 5434893"/>
              <a:gd name="connsiteX530" fmla="*/ 6596662 w 12208633"/>
              <a:gd name="connsiteY530" fmla="*/ 460952 h 5434893"/>
              <a:gd name="connsiteX531" fmla="*/ 6593362 w 12208633"/>
              <a:gd name="connsiteY531" fmla="*/ 467746 h 5434893"/>
              <a:gd name="connsiteX532" fmla="*/ 6593362 w 12208633"/>
              <a:gd name="connsiteY532" fmla="*/ 510649 h 5434893"/>
              <a:gd name="connsiteX533" fmla="*/ 6596662 w 12208633"/>
              <a:gd name="connsiteY533" fmla="*/ 517444 h 5434893"/>
              <a:gd name="connsiteX534" fmla="*/ 6596468 w 12208633"/>
              <a:gd name="connsiteY534" fmla="*/ 523462 h 5434893"/>
              <a:gd name="connsiteX535" fmla="*/ 6593362 w 12208633"/>
              <a:gd name="connsiteY535" fmla="*/ 528315 h 5434893"/>
              <a:gd name="connsiteX536" fmla="*/ 6593362 w 12208633"/>
              <a:gd name="connsiteY536" fmla="*/ 561706 h 5434893"/>
              <a:gd name="connsiteX537" fmla="*/ 6593362 w 12208633"/>
              <a:gd name="connsiteY537" fmla="*/ 575489 h 5434893"/>
              <a:gd name="connsiteX538" fmla="*/ 6596079 w 12208633"/>
              <a:gd name="connsiteY538" fmla="*/ 579954 h 5434893"/>
              <a:gd name="connsiteX539" fmla="*/ 6596274 w 12208633"/>
              <a:gd name="connsiteY539" fmla="*/ 585584 h 5434893"/>
              <a:gd name="connsiteX540" fmla="*/ 6593167 w 12208633"/>
              <a:gd name="connsiteY540" fmla="*/ 590437 h 5434893"/>
              <a:gd name="connsiteX541" fmla="*/ 6593167 w 12208633"/>
              <a:gd name="connsiteY541" fmla="*/ 621498 h 5434893"/>
              <a:gd name="connsiteX542" fmla="*/ 6593167 w 12208633"/>
              <a:gd name="connsiteY542" fmla="*/ 637611 h 5434893"/>
              <a:gd name="connsiteX543" fmla="*/ 6595885 w 12208633"/>
              <a:gd name="connsiteY543" fmla="*/ 642270 h 5434893"/>
              <a:gd name="connsiteX544" fmla="*/ 6595885 w 12208633"/>
              <a:gd name="connsiteY544" fmla="*/ 648676 h 5434893"/>
              <a:gd name="connsiteX545" fmla="*/ 6593167 w 12208633"/>
              <a:gd name="connsiteY545" fmla="*/ 653918 h 5434893"/>
              <a:gd name="connsiteX546" fmla="*/ 6593167 w 12208633"/>
              <a:gd name="connsiteY546" fmla="*/ 721863 h 5434893"/>
              <a:gd name="connsiteX547" fmla="*/ 6598021 w 12208633"/>
              <a:gd name="connsiteY547" fmla="*/ 726716 h 5434893"/>
              <a:gd name="connsiteX548" fmla="*/ 6698387 w 12208633"/>
              <a:gd name="connsiteY548" fmla="*/ 726716 h 5434893"/>
              <a:gd name="connsiteX549" fmla="*/ 6703434 w 12208633"/>
              <a:gd name="connsiteY549" fmla="*/ 720892 h 5434893"/>
              <a:gd name="connsiteX550" fmla="*/ 6703434 w 12208633"/>
              <a:gd name="connsiteY550" fmla="*/ 606356 h 5434893"/>
              <a:gd name="connsiteX551" fmla="*/ 6703434 w 12208633"/>
              <a:gd name="connsiteY551" fmla="*/ 538992 h 5434893"/>
              <a:gd name="connsiteX552" fmla="*/ 6704405 w 12208633"/>
              <a:gd name="connsiteY552" fmla="*/ 532004 h 5434893"/>
              <a:gd name="connsiteX553" fmla="*/ 6704599 w 12208633"/>
              <a:gd name="connsiteY553" fmla="*/ 540351 h 5434893"/>
              <a:gd name="connsiteX554" fmla="*/ 6704599 w 12208633"/>
              <a:gd name="connsiteY554" fmla="*/ 719145 h 5434893"/>
              <a:gd name="connsiteX555" fmla="*/ 6704405 w 12208633"/>
              <a:gd name="connsiteY555" fmla="*/ 727493 h 5434893"/>
              <a:gd name="connsiteX556" fmla="*/ 6705181 w 12208633"/>
              <a:gd name="connsiteY556" fmla="*/ 727493 h 5434893"/>
              <a:gd name="connsiteX557" fmla="*/ 6704987 w 12208633"/>
              <a:gd name="connsiteY557" fmla="*/ 727299 h 5434893"/>
              <a:gd name="connsiteX558" fmla="*/ 6704987 w 12208633"/>
              <a:gd name="connsiteY558" fmla="*/ 535498 h 5434893"/>
              <a:gd name="connsiteX559" fmla="*/ 6705375 w 12208633"/>
              <a:gd name="connsiteY559" fmla="*/ 532004 h 5434893"/>
              <a:gd name="connsiteX560" fmla="*/ 6753132 w 12208633"/>
              <a:gd name="connsiteY560" fmla="*/ 490460 h 5434893"/>
              <a:gd name="connsiteX561" fmla="*/ 6799917 w 12208633"/>
              <a:gd name="connsiteY561" fmla="*/ 535304 h 5434893"/>
              <a:gd name="connsiteX562" fmla="*/ 6799917 w 12208633"/>
              <a:gd name="connsiteY562" fmla="*/ 681290 h 5434893"/>
              <a:gd name="connsiteX563" fmla="*/ 6799917 w 12208633"/>
              <a:gd name="connsiteY563" fmla="*/ 817181 h 5434893"/>
              <a:gd name="connsiteX564" fmla="*/ 6801858 w 12208633"/>
              <a:gd name="connsiteY564" fmla="*/ 823976 h 5434893"/>
              <a:gd name="connsiteX565" fmla="*/ 6814283 w 12208633"/>
              <a:gd name="connsiteY565" fmla="*/ 798933 h 5434893"/>
              <a:gd name="connsiteX566" fmla="*/ 6817389 w 12208633"/>
              <a:gd name="connsiteY566" fmla="*/ 787673 h 5434893"/>
              <a:gd name="connsiteX567" fmla="*/ 6817389 w 12208633"/>
              <a:gd name="connsiteY567" fmla="*/ 586749 h 5434893"/>
              <a:gd name="connsiteX568" fmla="*/ 6817389 w 12208633"/>
              <a:gd name="connsiteY568" fmla="*/ 537245 h 5434893"/>
              <a:gd name="connsiteX569" fmla="*/ 6856991 w 12208633"/>
              <a:gd name="connsiteY569" fmla="*/ 490460 h 5434893"/>
              <a:gd name="connsiteX570" fmla="*/ 6865339 w 12208633"/>
              <a:gd name="connsiteY570" fmla="*/ 490265 h 5434893"/>
              <a:gd name="connsiteX571" fmla="*/ 6912125 w 12208633"/>
              <a:gd name="connsiteY571" fmla="*/ 535110 h 5434893"/>
              <a:gd name="connsiteX572" fmla="*/ 6912125 w 12208633"/>
              <a:gd name="connsiteY572" fmla="*/ 713904 h 5434893"/>
              <a:gd name="connsiteX573" fmla="*/ 6912125 w 12208633"/>
              <a:gd name="connsiteY573" fmla="*/ 719339 h 5434893"/>
              <a:gd name="connsiteX574" fmla="*/ 6915425 w 12208633"/>
              <a:gd name="connsiteY574" fmla="*/ 721669 h 5434893"/>
              <a:gd name="connsiteX575" fmla="*/ 6980847 w 12208633"/>
              <a:gd name="connsiteY575" fmla="*/ 716039 h 5434893"/>
              <a:gd name="connsiteX576" fmla="*/ 7121398 w 12208633"/>
              <a:gd name="connsiteY576" fmla="*/ 816793 h 5434893"/>
              <a:gd name="connsiteX577" fmla="*/ 7130134 w 12208633"/>
              <a:gd name="connsiteY577" fmla="*/ 840865 h 5434893"/>
              <a:gd name="connsiteX578" fmla="*/ 7133434 w 12208633"/>
              <a:gd name="connsiteY578" fmla="*/ 842224 h 5434893"/>
              <a:gd name="connsiteX579" fmla="*/ 7143140 w 12208633"/>
              <a:gd name="connsiteY579" fmla="*/ 854066 h 5434893"/>
              <a:gd name="connsiteX580" fmla="*/ 7143162 w 12208633"/>
              <a:gd name="connsiteY580" fmla="*/ 858635 h 5434893"/>
              <a:gd name="connsiteX581" fmla="*/ 7363499 w 12208633"/>
              <a:gd name="connsiteY581" fmla="*/ 801441 h 5434893"/>
              <a:gd name="connsiteX582" fmla="*/ 7367909 w 12208633"/>
              <a:gd name="connsiteY582" fmla="*/ 799551 h 5434893"/>
              <a:gd name="connsiteX583" fmla="*/ 7367909 w 12208633"/>
              <a:gd name="connsiteY583" fmla="*/ 792936 h 5434893"/>
              <a:gd name="connsiteX584" fmla="*/ 7362239 w 12208633"/>
              <a:gd name="connsiteY584" fmla="*/ 782541 h 5434893"/>
              <a:gd name="connsiteX585" fmla="*/ 7360349 w 12208633"/>
              <a:gd name="connsiteY585" fmla="*/ 769312 h 5434893"/>
              <a:gd name="connsiteX586" fmla="*/ 7365389 w 12208633"/>
              <a:gd name="connsiteY586" fmla="*/ 769627 h 5434893"/>
              <a:gd name="connsiteX587" fmla="*/ 7368854 w 12208633"/>
              <a:gd name="connsiteY587" fmla="*/ 770257 h 5434893"/>
              <a:gd name="connsiteX588" fmla="*/ 7374839 w 12208633"/>
              <a:gd name="connsiteY588" fmla="*/ 772777 h 5434893"/>
              <a:gd name="connsiteX589" fmla="*/ 7378304 w 12208633"/>
              <a:gd name="connsiteY589" fmla="*/ 768682 h 5434893"/>
              <a:gd name="connsiteX590" fmla="*/ 7381769 w 12208633"/>
              <a:gd name="connsiteY590" fmla="*/ 768367 h 5434893"/>
              <a:gd name="connsiteX591" fmla="*/ 7387439 w 12208633"/>
              <a:gd name="connsiteY591" fmla="*/ 768682 h 5434893"/>
              <a:gd name="connsiteX592" fmla="*/ 7392164 w 12208633"/>
              <a:gd name="connsiteY592" fmla="*/ 772462 h 5434893"/>
              <a:gd name="connsiteX593" fmla="*/ 7401299 w 12208633"/>
              <a:gd name="connsiteY593" fmla="*/ 770257 h 5434893"/>
              <a:gd name="connsiteX594" fmla="*/ 7403819 w 12208633"/>
              <a:gd name="connsiteY594" fmla="*/ 768997 h 5434893"/>
              <a:gd name="connsiteX595" fmla="*/ 7409488 w 12208633"/>
              <a:gd name="connsiteY595" fmla="*/ 772462 h 5434893"/>
              <a:gd name="connsiteX596" fmla="*/ 7416103 w 12208633"/>
              <a:gd name="connsiteY596" fmla="*/ 767737 h 5434893"/>
              <a:gd name="connsiteX597" fmla="*/ 7417993 w 12208633"/>
              <a:gd name="connsiteY597" fmla="*/ 769627 h 5434893"/>
              <a:gd name="connsiteX598" fmla="*/ 7413268 w 12208633"/>
              <a:gd name="connsiteY598" fmla="*/ 784116 h 5434893"/>
              <a:gd name="connsiteX599" fmla="*/ 7413268 w 12208633"/>
              <a:gd name="connsiteY599" fmla="*/ 788211 h 5434893"/>
              <a:gd name="connsiteX600" fmla="*/ 7501152 w 12208633"/>
              <a:gd name="connsiteY600" fmla="*/ 765847 h 5434893"/>
              <a:gd name="connsiteX601" fmla="*/ 7648884 w 12208633"/>
              <a:gd name="connsiteY601" fmla="*/ 727417 h 5434893"/>
              <a:gd name="connsiteX602" fmla="*/ 7662113 w 12208633"/>
              <a:gd name="connsiteY602" fmla="*/ 727417 h 5434893"/>
              <a:gd name="connsiteX603" fmla="*/ 7687313 w 12208633"/>
              <a:gd name="connsiteY603" fmla="*/ 733402 h 5434893"/>
              <a:gd name="connsiteX604" fmla="*/ 7687313 w 12208633"/>
              <a:gd name="connsiteY604" fmla="*/ 535272 h 5434893"/>
              <a:gd name="connsiteX605" fmla="*/ 7687313 w 12208633"/>
              <a:gd name="connsiteY605" fmla="*/ 411795 h 5434893"/>
              <a:gd name="connsiteX606" fmla="*/ 7696133 w 12208633"/>
              <a:gd name="connsiteY606" fmla="*/ 402660 h 5434893"/>
              <a:gd name="connsiteX607" fmla="*/ 7710622 w 12208633"/>
              <a:gd name="connsiteY607" fmla="*/ 402975 h 5434893"/>
              <a:gd name="connsiteX608" fmla="*/ 7727002 w 12208633"/>
              <a:gd name="connsiteY608" fmla="*/ 402660 h 5434893"/>
              <a:gd name="connsiteX609" fmla="*/ 7732042 w 12208633"/>
              <a:gd name="connsiteY609" fmla="*/ 408015 h 5434893"/>
              <a:gd name="connsiteX610" fmla="*/ 7732042 w 12208633"/>
              <a:gd name="connsiteY610" fmla="*/ 411795 h 5434893"/>
              <a:gd name="connsiteX611" fmla="*/ 7732042 w 12208633"/>
              <a:gd name="connsiteY611" fmla="*/ 745057 h 5434893"/>
              <a:gd name="connsiteX612" fmla="*/ 7769211 w 12208633"/>
              <a:gd name="connsiteY612" fmla="*/ 755137 h 5434893"/>
              <a:gd name="connsiteX613" fmla="*/ 7783701 w 12208633"/>
              <a:gd name="connsiteY613" fmla="*/ 758602 h 5434893"/>
              <a:gd name="connsiteX614" fmla="*/ 7783701 w 12208633"/>
              <a:gd name="connsiteY614" fmla="*/ 415575 h 5434893"/>
              <a:gd name="connsiteX615" fmla="*/ 7796616 w 12208633"/>
              <a:gd name="connsiteY615" fmla="*/ 402660 h 5434893"/>
              <a:gd name="connsiteX616" fmla="*/ 7807325 w 12208633"/>
              <a:gd name="connsiteY616" fmla="*/ 402975 h 5434893"/>
              <a:gd name="connsiteX617" fmla="*/ 7822760 w 12208633"/>
              <a:gd name="connsiteY617" fmla="*/ 402660 h 5434893"/>
              <a:gd name="connsiteX618" fmla="*/ 7828745 w 12208633"/>
              <a:gd name="connsiteY618" fmla="*/ 408960 h 5434893"/>
              <a:gd name="connsiteX619" fmla="*/ 7828745 w 12208633"/>
              <a:gd name="connsiteY619" fmla="*/ 416835 h 5434893"/>
              <a:gd name="connsiteX620" fmla="*/ 7828745 w 12208633"/>
              <a:gd name="connsiteY620" fmla="*/ 770572 h 5434893"/>
              <a:gd name="connsiteX621" fmla="*/ 7867174 w 12208633"/>
              <a:gd name="connsiteY621" fmla="*/ 780652 h 5434893"/>
              <a:gd name="connsiteX622" fmla="*/ 7870954 w 12208633"/>
              <a:gd name="connsiteY622" fmla="*/ 777186 h 5434893"/>
              <a:gd name="connsiteX623" fmla="*/ 7870954 w 12208633"/>
              <a:gd name="connsiteY623" fmla="*/ 768367 h 5434893"/>
              <a:gd name="connsiteX624" fmla="*/ 7870954 w 12208633"/>
              <a:gd name="connsiteY624" fmla="*/ 553542 h 5434893"/>
              <a:gd name="connsiteX625" fmla="*/ 7871269 w 12208633"/>
              <a:gd name="connsiteY625" fmla="*/ 541887 h 5434893"/>
              <a:gd name="connsiteX626" fmla="*/ 7870639 w 12208633"/>
              <a:gd name="connsiteY626" fmla="*/ 518892 h 5434893"/>
              <a:gd name="connsiteX627" fmla="*/ 7878514 w 12208633"/>
              <a:gd name="connsiteY627" fmla="*/ 511018 h 5434893"/>
              <a:gd name="connsiteX628" fmla="*/ 7929543 w 12208633"/>
              <a:gd name="connsiteY628" fmla="*/ 511018 h 5434893"/>
              <a:gd name="connsiteX629" fmla="*/ 7967972 w 12208633"/>
              <a:gd name="connsiteY629" fmla="*/ 511018 h 5434893"/>
              <a:gd name="connsiteX630" fmla="*/ 7977107 w 12208633"/>
              <a:gd name="connsiteY630" fmla="*/ 509758 h 5434893"/>
              <a:gd name="connsiteX631" fmla="*/ 7976792 w 12208633"/>
              <a:gd name="connsiteY631" fmla="*/ 481093 h 5434893"/>
              <a:gd name="connsiteX632" fmla="*/ 7979627 w 12208633"/>
              <a:gd name="connsiteY632" fmla="*/ 476368 h 5434893"/>
              <a:gd name="connsiteX633" fmla="*/ 7983407 w 12208633"/>
              <a:gd name="connsiteY633" fmla="*/ 481409 h 5434893"/>
              <a:gd name="connsiteX634" fmla="*/ 7983722 w 12208633"/>
              <a:gd name="connsiteY634" fmla="*/ 511018 h 5434893"/>
              <a:gd name="connsiteX635" fmla="*/ 7990967 w 12208633"/>
              <a:gd name="connsiteY635" fmla="*/ 511018 h 5434893"/>
              <a:gd name="connsiteX636" fmla="*/ 7991282 w 12208633"/>
              <a:gd name="connsiteY636" fmla="*/ 486133 h 5434893"/>
              <a:gd name="connsiteX637" fmla="*/ 7991282 w 12208633"/>
              <a:gd name="connsiteY637" fmla="*/ 480463 h 5434893"/>
              <a:gd name="connsiteX638" fmla="*/ 7995062 w 12208633"/>
              <a:gd name="connsiteY638" fmla="*/ 476054 h 5434893"/>
              <a:gd name="connsiteX639" fmla="*/ 7998842 w 12208633"/>
              <a:gd name="connsiteY639" fmla="*/ 480149 h 5434893"/>
              <a:gd name="connsiteX640" fmla="*/ 7998842 w 12208633"/>
              <a:gd name="connsiteY640" fmla="*/ 504088 h 5434893"/>
              <a:gd name="connsiteX641" fmla="*/ 7999157 w 12208633"/>
              <a:gd name="connsiteY641" fmla="*/ 510703 h 5434893"/>
              <a:gd name="connsiteX642" fmla="*/ 8006401 w 12208633"/>
              <a:gd name="connsiteY642" fmla="*/ 510703 h 5434893"/>
              <a:gd name="connsiteX643" fmla="*/ 8006716 w 12208633"/>
              <a:gd name="connsiteY643" fmla="*/ 485818 h 5434893"/>
              <a:gd name="connsiteX644" fmla="*/ 8006716 w 12208633"/>
              <a:gd name="connsiteY644" fmla="*/ 480149 h 5434893"/>
              <a:gd name="connsiteX645" fmla="*/ 8010497 w 12208633"/>
              <a:gd name="connsiteY645" fmla="*/ 475739 h 5434893"/>
              <a:gd name="connsiteX646" fmla="*/ 8014276 w 12208633"/>
              <a:gd name="connsiteY646" fmla="*/ 479833 h 5434893"/>
              <a:gd name="connsiteX647" fmla="*/ 8014276 w 12208633"/>
              <a:gd name="connsiteY647" fmla="*/ 503773 h 5434893"/>
              <a:gd name="connsiteX648" fmla="*/ 8014591 w 12208633"/>
              <a:gd name="connsiteY648" fmla="*/ 510388 h 5434893"/>
              <a:gd name="connsiteX649" fmla="*/ 8104995 w 12208633"/>
              <a:gd name="connsiteY649" fmla="*/ 510388 h 5434893"/>
              <a:gd name="connsiteX650" fmla="*/ 8113184 w 12208633"/>
              <a:gd name="connsiteY650" fmla="*/ 503143 h 5434893"/>
              <a:gd name="connsiteX651" fmla="*/ 8189098 w 12208633"/>
              <a:gd name="connsiteY651" fmla="*/ 503143 h 5434893"/>
              <a:gd name="connsiteX652" fmla="*/ 8199807 w 12208633"/>
              <a:gd name="connsiteY652" fmla="*/ 510703 h 5434893"/>
              <a:gd name="connsiteX653" fmla="*/ 8213037 w 12208633"/>
              <a:gd name="connsiteY653" fmla="*/ 525192 h 5434893"/>
              <a:gd name="connsiteX654" fmla="*/ 8212722 w 12208633"/>
              <a:gd name="connsiteY654" fmla="*/ 542202 h 5434893"/>
              <a:gd name="connsiteX655" fmla="*/ 8213037 w 12208633"/>
              <a:gd name="connsiteY655" fmla="*/ 552912 h 5434893"/>
              <a:gd name="connsiteX656" fmla="*/ 8213037 w 12208633"/>
              <a:gd name="connsiteY656" fmla="*/ 899839 h 5434893"/>
              <a:gd name="connsiteX657" fmla="*/ 8222585 w 12208633"/>
              <a:gd name="connsiteY657" fmla="*/ 899839 h 5434893"/>
              <a:gd name="connsiteX658" fmla="*/ 8222588 w 12208633"/>
              <a:gd name="connsiteY658" fmla="*/ 899188 h 5434893"/>
              <a:gd name="connsiteX659" fmla="*/ 8361723 w 12208633"/>
              <a:gd name="connsiteY659" fmla="*/ 819757 h 5434893"/>
              <a:gd name="connsiteX660" fmla="*/ 8400660 w 12208633"/>
              <a:gd name="connsiteY660" fmla="*/ 891401 h 5434893"/>
              <a:gd name="connsiteX661" fmla="*/ 8528374 w 12208633"/>
              <a:gd name="connsiteY661" fmla="*/ 819237 h 5434893"/>
              <a:gd name="connsiteX662" fmla="*/ 8564716 w 12208633"/>
              <a:gd name="connsiteY662" fmla="*/ 886728 h 5434893"/>
              <a:gd name="connsiteX663" fmla="*/ 8566273 w 12208633"/>
              <a:gd name="connsiteY663" fmla="*/ 724750 h 5434893"/>
              <a:gd name="connsiteX664" fmla="*/ 8590674 w 12208633"/>
              <a:gd name="connsiteY664" fmla="*/ 700868 h 5434893"/>
              <a:gd name="connsiteX665" fmla="*/ 8617151 w 12208633"/>
              <a:gd name="connsiteY665" fmla="*/ 674910 h 5434893"/>
              <a:gd name="connsiteX666" fmla="*/ 8617151 w 12208633"/>
              <a:gd name="connsiteY666" fmla="*/ 624552 h 5434893"/>
              <a:gd name="connsiteX667" fmla="*/ 8649858 w 12208633"/>
              <a:gd name="connsiteY667" fmla="*/ 572636 h 5434893"/>
              <a:gd name="connsiteX668" fmla="*/ 8662318 w 12208633"/>
              <a:gd name="connsiteY668" fmla="*/ 552388 h 5434893"/>
              <a:gd name="connsiteX669" fmla="*/ 8661799 w 12208633"/>
              <a:gd name="connsiteY669" fmla="*/ 524353 h 5434893"/>
              <a:gd name="connsiteX670" fmla="*/ 8675816 w 12208633"/>
              <a:gd name="connsiteY670" fmla="*/ 509298 h 5434893"/>
              <a:gd name="connsiteX671" fmla="*/ 8794185 w 12208633"/>
              <a:gd name="connsiteY671" fmla="*/ 509298 h 5434893"/>
              <a:gd name="connsiteX672" fmla="*/ 8810279 w 12208633"/>
              <a:gd name="connsiteY672" fmla="*/ 527469 h 5434893"/>
              <a:gd name="connsiteX673" fmla="*/ 8810279 w 12208633"/>
              <a:gd name="connsiteY673" fmla="*/ 636493 h 5434893"/>
              <a:gd name="connsiteX674" fmla="*/ 8811837 w 12208633"/>
              <a:gd name="connsiteY674" fmla="*/ 677506 h 5434893"/>
              <a:gd name="connsiteX675" fmla="*/ 8817547 w 12208633"/>
              <a:gd name="connsiteY675" fmla="*/ 686332 h 5434893"/>
              <a:gd name="connsiteX676" fmla="*/ 8822220 w 12208633"/>
              <a:gd name="connsiteY676" fmla="*/ 678025 h 5434893"/>
              <a:gd name="connsiteX677" fmla="*/ 8822220 w 12208633"/>
              <a:gd name="connsiteY677" fmla="*/ 652587 h 5434893"/>
              <a:gd name="connsiteX678" fmla="*/ 8837795 w 12208633"/>
              <a:gd name="connsiteY678" fmla="*/ 637012 h 5434893"/>
              <a:gd name="connsiteX679" fmla="*/ 8854408 w 12208633"/>
              <a:gd name="connsiteY679" fmla="*/ 621956 h 5434893"/>
              <a:gd name="connsiteX680" fmla="*/ 8877770 w 12208633"/>
              <a:gd name="connsiteY680" fmla="*/ 577828 h 5434893"/>
              <a:gd name="connsiteX681" fmla="*/ 8895941 w 12208633"/>
              <a:gd name="connsiteY681" fmla="*/ 561214 h 5434893"/>
              <a:gd name="connsiteX682" fmla="*/ 8932282 w 12208633"/>
              <a:gd name="connsiteY682" fmla="*/ 564848 h 5434893"/>
              <a:gd name="connsiteX683" fmla="*/ 8940589 w 12208633"/>
              <a:gd name="connsiteY683" fmla="*/ 572636 h 5434893"/>
              <a:gd name="connsiteX684" fmla="*/ 8972258 w 12208633"/>
              <a:gd name="connsiteY684" fmla="*/ 628706 h 5434893"/>
              <a:gd name="connsiteX685" fmla="*/ 8972258 w 12208633"/>
              <a:gd name="connsiteY685" fmla="*/ 722673 h 5434893"/>
              <a:gd name="connsiteX686" fmla="*/ 9035595 w 12208633"/>
              <a:gd name="connsiteY686" fmla="*/ 719558 h 5434893"/>
              <a:gd name="connsiteX687" fmla="*/ 9068822 w 12208633"/>
              <a:gd name="connsiteY687" fmla="*/ 146923 h 5434893"/>
              <a:gd name="connsiteX688" fmla="*/ 9146177 w 12208633"/>
              <a:gd name="connsiteY688" fmla="*/ 146923 h 5434893"/>
              <a:gd name="connsiteX689" fmla="*/ 9180961 w 12208633"/>
              <a:gd name="connsiteY689" fmla="*/ 716962 h 5434893"/>
              <a:gd name="connsiteX690" fmla="*/ 9225090 w 12208633"/>
              <a:gd name="connsiteY690" fmla="*/ 715405 h 5434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Lst>
            <a:rect l="l" t="t" r="r" b="b"/>
            <a:pathLst>
              <a:path w="12208633" h="5434893">
                <a:moveTo>
                  <a:pt x="7143321" y="892474"/>
                </a:moveTo>
                <a:lnTo>
                  <a:pt x="7143335" y="895416"/>
                </a:lnTo>
                <a:lnTo>
                  <a:pt x="7147277" y="895507"/>
                </a:lnTo>
                <a:lnTo>
                  <a:pt x="7147099" y="892474"/>
                </a:lnTo>
                <a:close/>
                <a:moveTo>
                  <a:pt x="6355163" y="727493"/>
                </a:moveTo>
                <a:lnTo>
                  <a:pt x="6355358" y="727687"/>
                </a:lnTo>
                <a:cubicBezTo>
                  <a:pt x="6355163" y="727687"/>
                  <a:pt x="6355163" y="727687"/>
                  <a:pt x="6354969" y="727687"/>
                </a:cubicBezTo>
                <a:cubicBezTo>
                  <a:pt x="6354969" y="727881"/>
                  <a:pt x="6354775" y="728075"/>
                  <a:pt x="6354969" y="728075"/>
                </a:cubicBezTo>
                <a:cubicBezTo>
                  <a:pt x="6354969" y="727881"/>
                  <a:pt x="6355163" y="727881"/>
                  <a:pt x="6355358" y="727687"/>
                </a:cubicBezTo>
                <a:cubicBezTo>
                  <a:pt x="6355358" y="727687"/>
                  <a:pt x="6355552" y="727493"/>
                  <a:pt x="6355552" y="727493"/>
                </a:cubicBezTo>
                <a:cubicBezTo>
                  <a:pt x="6355358" y="727493"/>
                  <a:pt x="6355358" y="727493"/>
                  <a:pt x="6355163" y="727493"/>
                </a:cubicBezTo>
                <a:close/>
                <a:moveTo>
                  <a:pt x="8604691" y="725788"/>
                </a:moveTo>
                <a:cubicBezTo>
                  <a:pt x="8595865" y="725788"/>
                  <a:pt x="8591193" y="727865"/>
                  <a:pt x="8591193" y="738248"/>
                </a:cubicBezTo>
                <a:cubicBezTo>
                  <a:pt x="8591712" y="788607"/>
                  <a:pt x="8591712" y="839485"/>
                  <a:pt x="8590674" y="889843"/>
                </a:cubicBezTo>
                <a:cubicBezTo>
                  <a:pt x="8590674" y="899188"/>
                  <a:pt x="8593789" y="903341"/>
                  <a:pt x="8603653" y="903341"/>
                </a:cubicBezTo>
                <a:cubicBezTo>
                  <a:pt x="8613517" y="903341"/>
                  <a:pt x="8616632" y="899708"/>
                  <a:pt x="8616632" y="889843"/>
                </a:cubicBezTo>
                <a:cubicBezTo>
                  <a:pt x="8616112" y="864923"/>
                  <a:pt x="8616632" y="840523"/>
                  <a:pt x="8616632" y="815603"/>
                </a:cubicBezTo>
                <a:cubicBezTo>
                  <a:pt x="8616632" y="790164"/>
                  <a:pt x="8616112" y="764206"/>
                  <a:pt x="8616632" y="738767"/>
                </a:cubicBezTo>
                <a:cubicBezTo>
                  <a:pt x="8616632" y="729941"/>
                  <a:pt x="8614555" y="725788"/>
                  <a:pt x="8604691" y="725788"/>
                </a:cubicBezTo>
                <a:close/>
                <a:moveTo>
                  <a:pt x="8744865" y="683217"/>
                </a:moveTo>
                <a:cubicBezTo>
                  <a:pt x="8737078" y="683217"/>
                  <a:pt x="8735001" y="687370"/>
                  <a:pt x="8735001" y="694119"/>
                </a:cubicBezTo>
                <a:cubicBezTo>
                  <a:pt x="8735001" y="760053"/>
                  <a:pt x="8735001" y="825986"/>
                  <a:pt x="8735520" y="892439"/>
                </a:cubicBezTo>
                <a:cubicBezTo>
                  <a:pt x="8735001" y="900226"/>
                  <a:pt x="8738635" y="903341"/>
                  <a:pt x="8746422" y="903341"/>
                </a:cubicBezTo>
                <a:cubicBezTo>
                  <a:pt x="8759921" y="902822"/>
                  <a:pt x="8773938" y="902822"/>
                  <a:pt x="8787436" y="903341"/>
                </a:cubicBezTo>
                <a:cubicBezTo>
                  <a:pt x="8797819" y="903861"/>
                  <a:pt x="8801454" y="899708"/>
                  <a:pt x="8801454" y="889324"/>
                </a:cubicBezTo>
                <a:cubicBezTo>
                  <a:pt x="8800934" y="865443"/>
                  <a:pt x="8801454" y="842080"/>
                  <a:pt x="8801454" y="818718"/>
                </a:cubicBezTo>
                <a:cubicBezTo>
                  <a:pt x="8801454" y="813527"/>
                  <a:pt x="8800415" y="805739"/>
                  <a:pt x="8807164" y="805739"/>
                </a:cubicBezTo>
                <a:cubicBezTo>
                  <a:pt x="8825854" y="805739"/>
                  <a:pt x="8822220" y="792760"/>
                  <a:pt x="8822739" y="781857"/>
                </a:cubicBezTo>
                <a:cubicBezTo>
                  <a:pt x="8822739" y="773551"/>
                  <a:pt x="8819105" y="771474"/>
                  <a:pt x="8811317" y="771474"/>
                </a:cubicBezTo>
                <a:cubicBezTo>
                  <a:pt x="8798858" y="771474"/>
                  <a:pt x="8786398" y="770955"/>
                  <a:pt x="8773938" y="771474"/>
                </a:cubicBezTo>
                <a:cubicBezTo>
                  <a:pt x="8761478" y="771994"/>
                  <a:pt x="8756286" y="766283"/>
                  <a:pt x="8756286" y="754342"/>
                </a:cubicBezTo>
                <a:cubicBezTo>
                  <a:pt x="8756286" y="744997"/>
                  <a:pt x="8756286" y="735133"/>
                  <a:pt x="8756286" y="725269"/>
                </a:cubicBezTo>
                <a:cubicBezTo>
                  <a:pt x="8755767" y="725269"/>
                  <a:pt x="8755767" y="725269"/>
                  <a:pt x="8755767" y="725269"/>
                </a:cubicBezTo>
                <a:cubicBezTo>
                  <a:pt x="8755767" y="714886"/>
                  <a:pt x="8755767" y="705021"/>
                  <a:pt x="8755767" y="694638"/>
                </a:cubicBezTo>
                <a:cubicBezTo>
                  <a:pt x="8755767" y="686851"/>
                  <a:pt x="8753171" y="683217"/>
                  <a:pt x="8744865" y="683217"/>
                </a:cubicBezTo>
                <a:close/>
                <a:moveTo>
                  <a:pt x="5999516" y="672943"/>
                </a:moveTo>
                <a:lnTo>
                  <a:pt x="5999516" y="672950"/>
                </a:lnTo>
                <a:lnTo>
                  <a:pt x="6106191" y="672950"/>
                </a:lnTo>
                <a:lnTo>
                  <a:pt x="6106226" y="672943"/>
                </a:lnTo>
                <a:lnTo>
                  <a:pt x="6103287" y="672943"/>
                </a:lnTo>
                <a:lnTo>
                  <a:pt x="6095614" y="672943"/>
                </a:lnTo>
                <a:close/>
                <a:moveTo>
                  <a:pt x="5844017" y="672943"/>
                </a:moveTo>
                <a:lnTo>
                  <a:pt x="5844017" y="672950"/>
                </a:lnTo>
                <a:lnTo>
                  <a:pt x="5950885" y="672950"/>
                </a:lnTo>
                <a:lnTo>
                  <a:pt x="5950920" y="672943"/>
                </a:lnTo>
                <a:lnTo>
                  <a:pt x="5947738" y="672943"/>
                </a:lnTo>
                <a:lnTo>
                  <a:pt x="5940066" y="672943"/>
                </a:lnTo>
                <a:close/>
                <a:moveTo>
                  <a:pt x="2661207" y="578320"/>
                </a:moveTo>
                <a:lnTo>
                  <a:pt x="2649387" y="591167"/>
                </a:lnTo>
                <a:lnTo>
                  <a:pt x="2649387" y="660718"/>
                </a:lnTo>
                <a:lnTo>
                  <a:pt x="2661207" y="660966"/>
                </a:lnTo>
                <a:cubicBezTo>
                  <a:pt x="2661207" y="660966"/>
                  <a:pt x="2661207" y="660966"/>
                  <a:pt x="2661207" y="612643"/>
                </a:cubicBezTo>
                <a:close/>
                <a:moveTo>
                  <a:pt x="2521154" y="535617"/>
                </a:moveTo>
                <a:cubicBezTo>
                  <a:pt x="2512848" y="535617"/>
                  <a:pt x="2510252" y="539251"/>
                  <a:pt x="2510252" y="547038"/>
                </a:cubicBezTo>
                <a:cubicBezTo>
                  <a:pt x="2510252" y="557421"/>
                  <a:pt x="2510252" y="567286"/>
                  <a:pt x="2510252" y="577669"/>
                </a:cubicBezTo>
                <a:cubicBezTo>
                  <a:pt x="2510252" y="577669"/>
                  <a:pt x="2510252" y="577669"/>
                  <a:pt x="2509733" y="577669"/>
                </a:cubicBezTo>
                <a:cubicBezTo>
                  <a:pt x="2509733" y="587533"/>
                  <a:pt x="2509733" y="597397"/>
                  <a:pt x="2509733" y="606742"/>
                </a:cubicBezTo>
                <a:cubicBezTo>
                  <a:pt x="2509733" y="618683"/>
                  <a:pt x="2504541" y="624394"/>
                  <a:pt x="2492081" y="623874"/>
                </a:cubicBezTo>
                <a:cubicBezTo>
                  <a:pt x="2479621" y="623355"/>
                  <a:pt x="2467161" y="623874"/>
                  <a:pt x="2454702" y="623874"/>
                </a:cubicBezTo>
                <a:cubicBezTo>
                  <a:pt x="2446914" y="623874"/>
                  <a:pt x="2443280" y="625951"/>
                  <a:pt x="2443280" y="634257"/>
                </a:cubicBezTo>
                <a:cubicBezTo>
                  <a:pt x="2443799" y="645160"/>
                  <a:pt x="2440165" y="658139"/>
                  <a:pt x="2458855" y="658139"/>
                </a:cubicBezTo>
                <a:cubicBezTo>
                  <a:pt x="2465604" y="658139"/>
                  <a:pt x="2464565" y="665927"/>
                  <a:pt x="2464565" y="671118"/>
                </a:cubicBezTo>
                <a:lnTo>
                  <a:pt x="2464565" y="735104"/>
                </a:lnTo>
                <a:lnTo>
                  <a:pt x="2530525" y="735104"/>
                </a:lnTo>
                <a:lnTo>
                  <a:pt x="2531018" y="546519"/>
                </a:lnTo>
                <a:cubicBezTo>
                  <a:pt x="2531018" y="539770"/>
                  <a:pt x="2528941" y="535617"/>
                  <a:pt x="2521154" y="535617"/>
                </a:cubicBezTo>
                <a:close/>
                <a:moveTo>
                  <a:pt x="8701774" y="534218"/>
                </a:moveTo>
                <a:cubicBezTo>
                  <a:pt x="8696063" y="534218"/>
                  <a:pt x="8688276" y="532660"/>
                  <a:pt x="8688276" y="540967"/>
                </a:cubicBezTo>
                <a:cubicBezTo>
                  <a:pt x="8688276" y="550312"/>
                  <a:pt x="8681527" y="562253"/>
                  <a:pt x="8695025" y="567963"/>
                </a:cubicBezTo>
                <a:cubicBezTo>
                  <a:pt x="8725656" y="580943"/>
                  <a:pt x="8736558" y="605343"/>
                  <a:pt x="8735520" y="637012"/>
                </a:cubicBezTo>
                <a:cubicBezTo>
                  <a:pt x="8735001" y="666604"/>
                  <a:pt x="8733443" y="664008"/>
                  <a:pt x="8760440" y="664008"/>
                </a:cubicBezTo>
                <a:cubicBezTo>
                  <a:pt x="8763036" y="664008"/>
                  <a:pt x="8765112" y="664008"/>
                  <a:pt x="8767189" y="664527"/>
                </a:cubicBezTo>
                <a:cubicBezTo>
                  <a:pt x="8772899" y="665566"/>
                  <a:pt x="8777053" y="667124"/>
                  <a:pt x="8776534" y="675429"/>
                </a:cubicBezTo>
                <a:cubicBezTo>
                  <a:pt x="8774976" y="692043"/>
                  <a:pt x="8776014" y="708136"/>
                  <a:pt x="8776014" y="724750"/>
                </a:cubicBezTo>
                <a:cubicBezTo>
                  <a:pt x="8776014" y="749669"/>
                  <a:pt x="8776014" y="749669"/>
                  <a:pt x="8799896" y="750708"/>
                </a:cubicBezTo>
                <a:cubicBezTo>
                  <a:pt x="8801454" y="750708"/>
                  <a:pt x="8802492" y="751227"/>
                  <a:pt x="8804049" y="751227"/>
                </a:cubicBezTo>
                <a:cubicBezTo>
                  <a:pt x="8812875" y="751746"/>
                  <a:pt x="8822220" y="754861"/>
                  <a:pt x="8822739" y="740324"/>
                </a:cubicBezTo>
                <a:cubicBezTo>
                  <a:pt x="8823777" y="714886"/>
                  <a:pt x="8823777" y="713328"/>
                  <a:pt x="8806645" y="712809"/>
                </a:cubicBezTo>
                <a:cubicBezTo>
                  <a:pt x="8789513" y="711771"/>
                  <a:pt x="8785359" y="708136"/>
                  <a:pt x="8785359" y="691004"/>
                </a:cubicBezTo>
                <a:cubicBezTo>
                  <a:pt x="8785359" y="667124"/>
                  <a:pt x="8785359" y="643761"/>
                  <a:pt x="8785359" y="620399"/>
                </a:cubicBezTo>
                <a:cubicBezTo>
                  <a:pt x="8784840" y="620399"/>
                  <a:pt x="8784840" y="620399"/>
                  <a:pt x="8784840" y="620399"/>
                </a:cubicBezTo>
                <a:cubicBezTo>
                  <a:pt x="8784840" y="596517"/>
                  <a:pt x="8784321" y="572636"/>
                  <a:pt x="8784840" y="548755"/>
                </a:cubicBezTo>
                <a:cubicBezTo>
                  <a:pt x="8785359" y="538371"/>
                  <a:pt x="8782244" y="533698"/>
                  <a:pt x="8770823" y="534218"/>
                </a:cubicBezTo>
                <a:cubicBezTo>
                  <a:pt x="8747980" y="534737"/>
                  <a:pt x="8724618" y="534218"/>
                  <a:pt x="8701774" y="534218"/>
                </a:cubicBezTo>
                <a:close/>
                <a:moveTo>
                  <a:pt x="7932693" y="518578"/>
                </a:moveTo>
                <a:cubicBezTo>
                  <a:pt x="7932693" y="518892"/>
                  <a:pt x="7932378" y="519208"/>
                  <a:pt x="7932378" y="519208"/>
                </a:cubicBezTo>
                <a:cubicBezTo>
                  <a:pt x="7932378" y="519208"/>
                  <a:pt x="7932693" y="519208"/>
                  <a:pt x="7932693" y="519208"/>
                </a:cubicBezTo>
                <a:cubicBezTo>
                  <a:pt x="7932693" y="519208"/>
                  <a:pt x="7932693" y="518892"/>
                  <a:pt x="7932693" y="518578"/>
                </a:cubicBezTo>
                <a:close/>
                <a:moveTo>
                  <a:pt x="7991282" y="518263"/>
                </a:moveTo>
                <a:cubicBezTo>
                  <a:pt x="7991282" y="518578"/>
                  <a:pt x="7991282" y="518578"/>
                  <a:pt x="7991282" y="518892"/>
                </a:cubicBezTo>
                <a:cubicBezTo>
                  <a:pt x="7991282" y="518892"/>
                  <a:pt x="7991597" y="518892"/>
                  <a:pt x="7991597" y="518892"/>
                </a:cubicBezTo>
                <a:cubicBezTo>
                  <a:pt x="7991597" y="518578"/>
                  <a:pt x="7991282" y="518578"/>
                  <a:pt x="7991282" y="518263"/>
                </a:cubicBezTo>
                <a:close/>
                <a:moveTo>
                  <a:pt x="7933323" y="517633"/>
                </a:moveTo>
                <a:cubicBezTo>
                  <a:pt x="7933008" y="517948"/>
                  <a:pt x="7933008" y="517948"/>
                  <a:pt x="7933008" y="518263"/>
                </a:cubicBezTo>
                <a:cubicBezTo>
                  <a:pt x="7933008" y="518263"/>
                  <a:pt x="7933323" y="518263"/>
                  <a:pt x="7933323" y="518263"/>
                </a:cubicBezTo>
                <a:cubicBezTo>
                  <a:pt x="7933323" y="517948"/>
                  <a:pt x="7933323" y="517948"/>
                  <a:pt x="7933323" y="517633"/>
                </a:cubicBezTo>
                <a:close/>
                <a:moveTo>
                  <a:pt x="9995853" y="483450"/>
                </a:moveTo>
                <a:lnTo>
                  <a:pt x="9995853" y="547260"/>
                </a:lnTo>
                <a:lnTo>
                  <a:pt x="10005688" y="548252"/>
                </a:lnTo>
                <a:cubicBezTo>
                  <a:pt x="10042501" y="555784"/>
                  <a:pt x="10070193" y="588356"/>
                  <a:pt x="10070193" y="627396"/>
                </a:cubicBezTo>
                <a:lnTo>
                  <a:pt x="10070193" y="839288"/>
                </a:lnTo>
                <a:lnTo>
                  <a:pt x="10098404" y="839288"/>
                </a:lnTo>
                <a:lnTo>
                  <a:pt x="10098404" y="483450"/>
                </a:lnTo>
                <a:close/>
                <a:moveTo>
                  <a:pt x="9781381" y="483450"/>
                </a:moveTo>
                <a:lnTo>
                  <a:pt x="9781381" y="547123"/>
                </a:lnTo>
                <a:lnTo>
                  <a:pt x="9792075" y="548201"/>
                </a:lnTo>
                <a:cubicBezTo>
                  <a:pt x="9828888" y="555733"/>
                  <a:pt x="9856579" y="588305"/>
                  <a:pt x="9856579" y="627345"/>
                </a:cubicBezTo>
                <a:lnTo>
                  <a:pt x="9856579" y="839288"/>
                </a:lnTo>
                <a:lnTo>
                  <a:pt x="9908622" y="839288"/>
                </a:lnTo>
                <a:lnTo>
                  <a:pt x="9908621" y="627396"/>
                </a:lnTo>
                <a:lnTo>
                  <a:pt x="9908622" y="627394"/>
                </a:lnTo>
                <a:lnTo>
                  <a:pt x="9908622" y="620889"/>
                </a:lnTo>
                <a:lnTo>
                  <a:pt x="9909277" y="620889"/>
                </a:lnTo>
                <a:lnTo>
                  <a:pt x="9910263" y="611115"/>
                </a:lnTo>
                <a:cubicBezTo>
                  <a:pt x="9916854" y="578904"/>
                  <a:pt x="9942616" y="553676"/>
                  <a:pt x="9975107" y="547872"/>
                </a:cubicBezTo>
                <a:lnTo>
                  <a:pt x="9975644" y="547825"/>
                </a:lnTo>
                <a:lnTo>
                  <a:pt x="9975644" y="483450"/>
                </a:lnTo>
                <a:close/>
                <a:moveTo>
                  <a:pt x="4460613" y="410313"/>
                </a:moveTo>
                <a:lnTo>
                  <a:pt x="4460613" y="474688"/>
                </a:lnTo>
                <a:lnTo>
                  <a:pt x="4461150" y="474735"/>
                </a:lnTo>
                <a:cubicBezTo>
                  <a:pt x="4493641" y="480539"/>
                  <a:pt x="4519403" y="505767"/>
                  <a:pt x="4525994" y="537978"/>
                </a:cubicBezTo>
                <a:lnTo>
                  <a:pt x="4526979" y="547752"/>
                </a:lnTo>
                <a:lnTo>
                  <a:pt x="4527635" y="547752"/>
                </a:lnTo>
                <a:lnTo>
                  <a:pt x="4527635" y="554257"/>
                </a:lnTo>
                <a:lnTo>
                  <a:pt x="4527635" y="554259"/>
                </a:lnTo>
                <a:lnTo>
                  <a:pt x="4527635" y="766151"/>
                </a:lnTo>
                <a:lnTo>
                  <a:pt x="4579677" y="766151"/>
                </a:lnTo>
                <a:lnTo>
                  <a:pt x="4579677" y="554208"/>
                </a:lnTo>
                <a:cubicBezTo>
                  <a:pt x="4579677" y="515168"/>
                  <a:pt x="4607369" y="482596"/>
                  <a:pt x="4644181" y="475064"/>
                </a:cubicBezTo>
                <a:lnTo>
                  <a:pt x="4654875" y="473986"/>
                </a:lnTo>
                <a:lnTo>
                  <a:pt x="4654875" y="410313"/>
                </a:lnTo>
                <a:close/>
                <a:moveTo>
                  <a:pt x="4337854" y="410313"/>
                </a:moveTo>
                <a:lnTo>
                  <a:pt x="4337854" y="645080"/>
                </a:lnTo>
                <a:lnTo>
                  <a:pt x="4354002" y="645080"/>
                </a:lnTo>
                <a:lnTo>
                  <a:pt x="4366063" y="645080"/>
                </a:lnTo>
                <a:lnTo>
                  <a:pt x="4366063" y="554259"/>
                </a:lnTo>
                <a:cubicBezTo>
                  <a:pt x="4366063" y="515219"/>
                  <a:pt x="4393756" y="482648"/>
                  <a:pt x="4430568" y="475115"/>
                </a:cubicBezTo>
                <a:lnTo>
                  <a:pt x="4440404" y="474123"/>
                </a:lnTo>
                <a:lnTo>
                  <a:pt x="4440404" y="410313"/>
                </a:lnTo>
                <a:close/>
                <a:moveTo>
                  <a:pt x="2495196" y="386617"/>
                </a:moveTo>
                <a:cubicBezTo>
                  <a:pt x="2483775" y="386098"/>
                  <a:pt x="2480660" y="390771"/>
                  <a:pt x="2481179" y="401154"/>
                </a:cubicBezTo>
                <a:cubicBezTo>
                  <a:pt x="2481698" y="425035"/>
                  <a:pt x="2481179" y="448917"/>
                  <a:pt x="2481179" y="472798"/>
                </a:cubicBezTo>
                <a:cubicBezTo>
                  <a:pt x="2481179" y="472798"/>
                  <a:pt x="2481179" y="472798"/>
                  <a:pt x="2480660" y="472798"/>
                </a:cubicBezTo>
                <a:cubicBezTo>
                  <a:pt x="2480660" y="496160"/>
                  <a:pt x="2480660" y="519523"/>
                  <a:pt x="2480660" y="543404"/>
                </a:cubicBezTo>
                <a:cubicBezTo>
                  <a:pt x="2480660" y="560536"/>
                  <a:pt x="2476506" y="564171"/>
                  <a:pt x="2459374" y="565209"/>
                </a:cubicBezTo>
                <a:cubicBezTo>
                  <a:pt x="2442242" y="565728"/>
                  <a:pt x="2442242" y="567286"/>
                  <a:pt x="2443280" y="592724"/>
                </a:cubicBezTo>
                <a:cubicBezTo>
                  <a:pt x="2443799" y="607261"/>
                  <a:pt x="2453144" y="604146"/>
                  <a:pt x="2461970" y="603627"/>
                </a:cubicBezTo>
                <a:cubicBezTo>
                  <a:pt x="2463527" y="603627"/>
                  <a:pt x="2464565" y="603108"/>
                  <a:pt x="2466123" y="603108"/>
                </a:cubicBezTo>
                <a:cubicBezTo>
                  <a:pt x="2490005" y="602069"/>
                  <a:pt x="2490005" y="602069"/>
                  <a:pt x="2490005" y="577150"/>
                </a:cubicBezTo>
                <a:cubicBezTo>
                  <a:pt x="2490005" y="560536"/>
                  <a:pt x="2491043" y="544443"/>
                  <a:pt x="2489485" y="527829"/>
                </a:cubicBezTo>
                <a:cubicBezTo>
                  <a:pt x="2488966" y="519523"/>
                  <a:pt x="2493120" y="517965"/>
                  <a:pt x="2498830" y="516927"/>
                </a:cubicBezTo>
                <a:cubicBezTo>
                  <a:pt x="2500907" y="516408"/>
                  <a:pt x="2502983" y="516408"/>
                  <a:pt x="2505579" y="516408"/>
                </a:cubicBezTo>
                <a:cubicBezTo>
                  <a:pt x="2532576" y="516408"/>
                  <a:pt x="2531018" y="519003"/>
                  <a:pt x="2530499" y="489411"/>
                </a:cubicBezTo>
                <a:cubicBezTo>
                  <a:pt x="2529461" y="457742"/>
                  <a:pt x="2540363" y="433342"/>
                  <a:pt x="2570994" y="420363"/>
                </a:cubicBezTo>
                <a:cubicBezTo>
                  <a:pt x="2584492" y="414652"/>
                  <a:pt x="2577743" y="402711"/>
                  <a:pt x="2577743" y="393366"/>
                </a:cubicBezTo>
                <a:cubicBezTo>
                  <a:pt x="2577743" y="385060"/>
                  <a:pt x="2569956" y="386617"/>
                  <a:pt x="2564244" y="386617"/>
                </a:cubicBezTo>
                <a:cubicBezTo>
                  <a:pt x="2541401" y="386617"/>
                  <a:pt x="2518039" y="387136"/>
                  <a:pt x="2495196" y="386617"/>
                </a:cubicBezTo>
                <a:close/>
                <a:moveTo>
                  <a:pt x="9258835" y="0"/>
                </a:moveTo>
                <a:lnTo>
                  <a:pt x="9334633" y="0"/>
                </a:lnTo>
                <a:lnTo>
                  <a:pt x="9369417" y="714886"/>
                </a:lnTo>
                <a:lnTo>
                  <a:pt x="9451963" y="716443"/>
                </a:lnTo>
                <a:lnTo>
                  <a:pt x="9451511" y="839288"/>
                </a:lnTo>
                <a:lnTo>
                  <a:pt x="9695008" y="839288"/>
                </a:lnTo>
                <a:lnTo>
                  <a:pt x="9695008" y="627345"/>
                </a:lnTo>
                <a:lnTo>
                  <a:pt x="9695008" y="627342"/>
                </a:lnTo>
                <a:lnTo>
                  <a:pt x="9695008" y="620838"/>
                </a:lnTo>
                <a:lnTo>
                  <a:pt x="9695582" y="620838"/>
                </a:lnTo>
                <a:lnTo>
                  <a:pt x="9696270" y="613044"/>
                </a:lnTo>
                <a:cubicBezTo>
                  <a:pt x="9702073" y="580553"/>
                  <a:pt x="9727301" y="554792"/>
                  <a:pt x="9759513" y="548201"/>
                </a:cubicBezTo>
                <a:lnTo>
                  <a:pt x="9761172" y="548033"/>
                </a:lnTo>
                <a:lnTo>
                  <a:pt x="9761172" y="452927"/>
                </a:lnTo>
                <a:lnTo>
                  <a:pt x="9781381" y="452927"/>
                </a:lnTo>
                <a:lnTo>
                  <a:pt x="9781381" y="453137"/>
                </a:lnTo>
                <a:lnTo>
                  <a:pt x="10098404" y="453137"/>
                </a:lnTo>
                <a:lnTo>
                  <a:pt x="10098404" y="395857"/>
                </a:lnTo>
                <a:lnTo>
                  <a:pt x="10098404" y="395855"/>
                </a:lnTo>
                <a:lnTo>
                  <a:pt x="10098404" y="322646"/>
                </a:lnTo>
                <a:lnTo>
                  <a:pt x="10147724" y="322646"/>
                </a:lnTo>
                <a:lnTo>
                  <a:pt x="10192315" y="322646"/>
                </a:lnTo>
                <a:lnTo>
                  <a:pt x="10192315" y="412796"/>
                </a:lnTo>
                <a:lnTo>
                  <a:pt x="10192315" y="839288"/>
                </a:lnTo>
                <a:lnTo>
                  <a:pt x="10237382" y="839288"/>
                </a:lnTo>
                <a:lnTo>
                  <a:pt x="10237382" y="787976"/>
                </a:lnTo>
                <a:lnTo>
                  <a:pt x="10237382" y="787525"/>
                </a:lnTo>
                <a:lnTo>
                  <a:pt x="10237382" y="786823"/>
                </a:lnTo>
                <a:lnTo>
                  <a:pt x="10293811" y="786823"/>
                </a:lnTo>
                <a:lnTo>
                  <a:pt x="10293811" y="486617"/>
                </a:lnTo>
                <a:lnTo>
                  <a:pt x="10293811" y="486615"/>
                </a:lnTo>
                <a:lnTo>
                  <a:pt x="10293811" y="412796"/>
                </a:lnTo>
                <a:lnTo>
                  <a:pt x="10293812" y="412796"/>
                </a:lnTo>
                <a:lnTo>
                  <a:pt x="10364543" y="412796"/>
                </a:lnTo>
                <a:lnTo>
                  <a:pt x="10435273" y="412796"/>
                </a:lnTo>
                <a:lnTo>
                  <a:pt x="10435273" y="493478"/>
                </a:lnTo>
                <a:lnTo>
                  <a:pt x="10435272" y="493478"/>
                </a:lnTo>
                <a:lnTo>
                  <a:pt x="10435272" y="787653"/>
                </a:lnTo>
                <a:lnTo>
                  <a:pt x="10479889" y="787653"/>
                </a:lnTo>
                <a:lnTo>
                  <a:pt x="10479889" y="834346"/>
                </a:lnTo>
                <a:lnTo>
                  <a:pt x="10479889" y="883894"/>
                </a:lnTo>
                <a:lnTo>
                  <a:pt x="10634153" y="798062"/>
                </a:lnTo>
                <a:lnTo>
                  <a:pt x="10634153" y="890261"/>
                </a:lnTo>
                <a:lnTo>
                  <a:pt x="10799859" y="798062"/>
                </a:lnTo>
                <a:lnTo>
                  <a:pt x="10799859" y="890261"/>
                </a:lnTo>
                <a:lnTo>
                  <a:pt x="10965565" y="798062"/>
                </a:lnTo>
                <a:lnTo>
                  <a:pt x="10965565" y="890261"/>
                </a:lnTo>
                <a:lnTo>
                  <a:pt x="11131272" y="798062"/>
                </a:lnTo>
                <a:lnTo>
                  <a:pt x="11131272" y="894809"/>
                </a:lnTo>
                <a:lnTo>
                  <a:pt x="10965565" y="894809"/>
                </a:lnTo>
                <a:lnTo>
                  <a:pt x="10957391" y="894809"/>
                </a:lnTo>
                <a:lnTo>
                  <a:pt x="10799859" y="894809"/>
                </a:lnTo>
                <a:lnTo>
                  <a:pt x="10791685" y="894809"/>
                </a:lnTo>
                <a:lnTo>
                  <a:pt x="10634153" y="894809"/>
                </a:lnTo>
                <a:lnTo>
                  <a:pt x="10625978" y="894809"/>
                </a:lnTo>
                <a:lnTo>
                  <a:pt x="10479889" y="894809"/>
                </a:lnTo>
                <a:lnTo>
                  <a:pt x="10479889" y="894815"/>
                </a:lnTo>
                <a:lnTo>
                  <a:pt x="11131272" y="894815"/>
                </a:lnTo>
                <a:lnTo>
                  <a:pt x="11131272" y="930426"/>
                </a:lnTo>
                <a:lnTo>
                  <a:pt x="11131272" y="1058032"/>
                </a:lnTo>
                <a:lnTo>
                  <a:pt x="11135416" y="1058032"/>
                </a:lnTo>
                <a:cubicBezTo>
                  <a:pt x="11135416" y="1058032"/>
                  <a:pt x="11135416" y="1058032"/>
                  <a:pt x="11135416" y="475513"/>
                </a:cubicBezTo>
                <a:cubicBezTo>
                  <a:pt x="11135416" y="475513"/>
                  <a:pt x="11135416" y="475513"/>
                  <a:pt x="11317073" y="475513"/>
                </a:cubicBezTo>
                <a:cubicBezTo>
                  <a:pt x="11317073" y="475513"/>
                  <a:pt x="11317073" y="475513"/>
                  <a:pt x="11317073" y="957415"/>
                </a:cubicBezTo>
                <a:cubicBezTo>
                  <a:pt x="11327605" y="928290"/>
                  <a:pt x="11356564" y="864742"/>
                  <a:pt x="11385524" y="864742"/>
                </a:cubicBezTo>
                <a:cubicBezTo>
                  <a:pt x="11427648" y="864742"/>
                  <a:pt x="11467139" y="970654"/>
                  <a:pt x="11467139" y="970654"/>
                </a:cubicBezTo>
                <a:cubicBezTo>
                  <a:pt x="11467139" y="970654"/>
                  <a:pt x="11501364" y="864742"/>
                  <a:pt x="11540855" y="864742"/>
                </a:cubicBezTo>
                <a:cubicBezTo>
                  <a:pt x="11580346" y="864742"/>
                  <a:pt x="11622470" y="970654"/>
                  <a:pt x="11622470" y="970654"/>
                </a:cubicBezTo>
                <a:cubicBezTo>
                  <a:pt x="11622470" y="970654"/>
                  <a:pt x="11656695" y="864742"/>
                  <a:pt x="11696186" y="864742"/>
                </a:cubicBezTo>
                <a:cubicBezTo>
                  <a:pt x="11735677" y="864742"/>
                  <a:pt x="11777800" y="970654"/>
                  <a:pt x="11777800" y="970654"/>
                </a:cubicBezTo>
                <a:cubicBezTo>
                  <a:pt x="11777800" y="970654"/>
                  <a:pt x="11777800" y="970654"/>
                  <a:pt x="11777800" y="994485"/>
                </a:cubicBezTo>
                <a:cubicBezTo>
                  <a:pt x="11777800" y="994485"/>
                  <a:pt x="11777800" y="994485"/>
                  <a:pt x="11851517" y="994485"/>
                </a:cubicBezTo>
                <a:cubicBezTo>
                  <a:pt x="11851517" y="994485"/>
                  <a:pt x="11851517" y="994485"/>
                  <a:pt x="11851517" y="920346"/>
                </a:cubicBezTo>
                <a:cubicBezTo>
                  <a:pt x="11798862" y="909755"/>
                  <a:pt x="11759371" y="862094"/>
                  <a:pt x="11759371" y="806490"/>
                </a:cubicBezTo>
                <a:cubicBezTo>
                  <a:pt x="11759371" y="750886"/>
                  <a:pt x="11798862" y="703225"/>
                  <a:pt x="11851517" y="692634"/>
                </a:cubicBezTo>
                <a:cubicBezTo>
                  <a:pt x="11851517" y="692634"/>
                  <a:pt x="11851517" y="692634"/>
                  <a:pt x="11851517" y="562891"/>
                </a:cubicBezTo>
                <a:cubicBezTo>
                  <a:pt x="11851517" y="562891"/>
                  <a:pt x="11851517" y="562891"/>
                  <a:pt x="11898906" y="562891"/>
                </a:cubicBezTo>
                <a:cubicBezTo>
                  <a:pt x="11898906" y="562891"/>
                  <a:pt x="11898906" y="562891"/>
                  <a:pt x="11898906" y="692634"/>
                </a:cubicBezTo>
                <a:cubicBezTo>
                  <a:pt x="11951560" y="703225"/>
                  <a:pt x="11991051" y="750886"/>
                  <a:pt x="11991051" y="806490"/>
                </a:cubicBezTo>
                <a:cubicBezTo>
                  <a:pt x="11991051" y="864742"/>
                  <a:pt x="11951560" y="909755"/>
                  <a:pt x="11898906" y="920346"/>
                </a:cubicBezTo>
                <a:cubicBezTo>
                  <a:pt x="11898906" y="920346"/>
                  <a:pt x="11898906" y="920346"/>
                  <a:pt x="11898906" y="994485"/>
                </a:cubicBezTo>
                <a:cubicBezTo>
                  <a:pt x="11898906" y="994485"/>
                  <a:pt x="11898906" y="994485"/>
                  <a:pt x="11962091" y="994485"/>
                </a:cubicBezTo>
                <a:cubicBezTo>
                  <a:pt x="11962091" y="994485"/>
                  <a:pt x="11962091" y="994485"/>
                  <a:pt x="11962091" y="917698"/>
                </a:cubicBezTo>
                <a:cubicBezTo>
                  <a:pt x="11962091" y="917698"/>
                  <a:pt x="11962091" y="917698"/>
                  <a:pt x="12041073" y="917698"/>
                </a:cubicBezTo>
                <a:cubicBezTo>
                  <a:pt x="12041073" y="917698"/>
                  <a:pt x="12041073" y="917698"/>
                  <a:pt x="12041073" y="817081"/>
                </a:cubicBezTo>
                <a:cubicBezTo>
                  <a:pt x="12041073" y="817081"/>
                  <a:pt x="12041073" y="817081"/>
                  <a:pt x="12155715" y="817081"/>
                </a:cubicBezTo>
                <a:lnTo>
                  <a:pt x="12200316" y="817081"/>
                </a:lnTo>
                <a:lnTo>
                  <a:pt x="12200316" y="1105184"/>
                </a:lnTo>
                <a:lnTo>
                  <a:pt x="12208559" y="1105184"/>
                </a:lnTo>
                <a:lnTo>
                  <a:pt x="12208559" y="1153840"/>
                </a:lnTo>
                <a:lnTo>
                  <a:pt x="12208559" y="1225322"/>
                </a:lnTo>
                <a:lnTo>
                  <a:pt x="12208633" y="1225322"/>
                </a:lnTo>
                <a:lnTo>
                  <a:pt x="12208633" y="1247932"/>
                </a:lnTo>
                <a:lnTo>
                  <a:pt x="12200316" y="1247932"/>
                </a:lnTo>
                <a:lnTo>
                  <a:pt x="12200316" y="5434893"/>
                </a:lnTo>
                <a:lnTo>
                  <a:pt x="8318" y="5434893"/>
                </a:lnTo>
                <a:lnTo>
                  <a:pt x="8318" y="1247932"/>
                </a:lnTo>
                <a:lnTo>
                  <a:pt x="0" y="1247932"/>
                </a:lnTo>
                <a:lnTo>
                  <a:pt x="0" y="1225322"/>
                </a:lnTo>
                <a:lnTo>
                  <a:pt x="0" y="1063433"/>
                </a:lnTo>
                <a:lnTo>
                  <a:pt x="56578" y="1063433"/>
                </a:lnTo>
                <a:cubicBezTo>
                  <a:pt x="82782" y="1063433"/>
                  <a:pt x="112730" y="1063433"/>
                  <a:pt x="146955" y="1063433"/>
                </a:cubicBezTo>
                <a:cubicBezTo>
                  <a:pt x="146955" y="1063433"/>
                  <a:pt x="146955" y="1063433"/>
                  <a:pt x="146955" y="480915"/>
                </a:cubicBezTo>
                <a:cubicBezTo>
                  <a:pt x="146955" y="480915"/>
                  <a:pt x="146955" y="480915"/>
                  <a:pt x="328613" y="480915"/>
                </a:cubicBezTo>
                <a:cubicBezTo>
                  <a:pt x="328613" y="480915"/>
                  <a:pt x="328613" y="480915"/>
                  <a:pt x="328613" y="962816"/>
                </a:cubicBezTo>
                <a:cubicBezTo>
                  <a:pt x="339144" y="933691"/>
                  <a:pt x="368104" y="870143"/>
                  <a:pt x="397064" y="870143"/>
                </a:cubicBezTo>
                <a:cubicBezTo>
                  <a:pt x="439187" y="870143"/>
                  <a:pt x="478678" y="976055"/>
                  <a:pt x="478678" y="976055"/>
                </a:cubicBezTo>
                <a:cubicBezTo>
                  <a:pt x="478678" y="976055"/>
                  <a:pt x="512903" y="870143"/>
                  <a:pt x="552394" y="870143"/>
                </a:cubicBezTo>
                <a:cubicBezTo>
                  <a:pt x="591885" y="870143"/>
                  <a:pt x="634009" y="976055"/>
                  <a:pt x="634009" y="976055"/>
                </a:cubicBezTo>
                <a:cubicBezTo>
                  <a:pt x="634009" y="976055"/>
                  <a:pt x="668234" y="870143"/>
                  <a:pt x="707725" y="870143"/>
                </a:cubicBezTo>
                <a:cubicBezTo>
                  <a:pt x="747216" y="870143"/>
                  <a:pt x="789340" y="976055"/>
                  <a:pt x="789340" y="976055"/>
                </a:cubicBezTo>
                <a:cubicBezTo>
                  <a:pt x="789340" y="976055"/>
                  <a:pt x="789340" y="976055"/>
                  <a:pt x="789340" y="999886"/>
                </a:cubicBezTo>
                <a:cubicBezTo>
                  <a:pt x="789340" y="999886"/>
                  <a:pt x="789340" y="999886"/>
                  <a:pt x="863056" y="999886"/>
                </a:cubicBezTo>
                <a:cubicBezTo>
                  <a:pt x="863056" y="999886"/>
                  <a:pt x="863056" y="999886"/>
                  <a:pt x="863056" y="925747"/>
                </a:cubicBezTo>
                <a:cubicBezTo>
                  <a:pt x="810402" y="915156"/>
                  <a:pt x="770911" y="867495"/>
                  <a:pt x="770911" y="811891"/>
                </a:cubicBezTo>
                <a:cubicBezTo>
                  <a:pt x="770911" y="756287"/>
                  <a:pt x="810402" y="708626"/>
                  <a:pt x="863056" y="698035"/>
                </a:cubicBezTo>
                <a:cubicBezTo>
                  <a:pt x="863056" y="698035"/>
                  <a:pt x="863056" y="698035"/>
                  <a:pt x="863056" y="568293"/>
                </a:cubicBezTo>
                <a:cubicBezTo>
                  <a:pt x="863056" y="568293"/>
                  <a:pt x="863056" y="568293"/>
                  <a:pt x="910445" y="568293"/>
                </a:cubicBezTo>
                <a:cubicBezTo>
                  <a:pt x="910445" y="568293"/>
                  <a:pt x="910445" y="568293"/>
                  <a:pt x="910445" y="698035"/>
                </a:cubicBezTo>
                <a:cubicBezTo>
                  <a:pt x="963099" y="708626"/>
                  <a:pt x="1002590" y="756287"/>
                  <a:pt x="1002590" y="811891"/>
                </a:cubicBezTo>
                <a:cubicBezTo>
                  <a:pt x="1002590" y="870143"/>
                  <a:pt x="963099" y="915156"/>
                  <a:pt x="910445" y="925747"/>
                </a:cubicBezTo>
                <a:cubicBezTo>
                  <a:pt x="910445" y="925747"/>
                  <a:pt x="910445" y="925747"/>
                  <a:pt x="910445" y="999886"/>
                </a:cubicBezTo>
                <a:cubicBezTo>
                  <a:pt x="910445" y="999886"/>
                  <a:pt x="910445" y="999886"/>
                  <a:pt x="973630" y="999886"/>
                </a:cubicBezTo>
                <a:cubicBezTo>
                  <a:pt x="973630" y="999886"/>
                  <a:pt x="973630" y="999886"/>
                  <a:pt x="973630" y="923099"/>
                </a:cubicBezTo>
                <a:cubicBezTo>
                  <a:pt x="973630" y="923099"/>
                  <a:pt x="973630" y="923099"/>
                  <a:pt x="1052612" y="923099"/>
                </a:cubicBezTo>
                <a:cubicBezTo>
                  <a:pt x="1052612" y="923099"/>
                  <a:pt x="1052612" y="923099"/>
                  <a:pt x="1052612" y="822482"/>
                </a:cubicBezTo>
                <a:cubicBezTo>
                  <a:pt x="1052612" y="822482"/>
                  <a:pt x="1052612" y="822482"/>
                  <a:pt x="1223739" y="822482"/>
                </a:cubicBezTo>
                <a:cubicBezTo>
                  <a:pt x="1223739" y="822482"/>
                  <a:pt x="1223739" y="822482"/>
                  <a:pt x="1223739" y="533871"/>
                </a:cubicBezTo>
                <a:cubicBezTo>
                  <a:pt x="1223739" y="533871"/>
                  <a:pt x="1223739" y="533871"/>
                  <a:pt x="1452786" y="533871"/>
                </a:cubicBezTo>
                <a:cubicBezTo>
                  <a:pt x="1452786" y="533871"/>
                  <a:pt x="1452786" y="533871"/>
                  <a:pt x="1452786" y="827778"/>
                </a:cubicBezTo>
                <a:cubicBezTo>
                  <a:pt x="1452786" y="827778"/>
                  <a:pt x="1452786" y="827778"/>
                  <a:pt x="1687099" y="827778"/>
                </a:cubicBezTo>
                <a:cubicBezTo>
                  <a:pt x="1687099" y="827778"/>
                  <a:pt x="1687099" y="827778"/>
                  <a:pt x="1687099" y="645080"/>
                </a:cubicBezTo>
                <a:cubicBezTo>
                  <a:pt x="1687099" y="645080"/>
                  <a:pt x="1687099" y="645080"/>
                  <a:pt x="1795945" y="645080"/>
                </a:cubicBezTo>
                <a:lnTo>
                  <a:pt x="1814336" y="645080"/>
                </a:lnTo>
                <a:lnTo>
                  <a:pt x="1814055" y="568843"/>
                </a:lnTo>
                <a:lnTo>
                  <a:pt x="1896602" y="567286"/>
                </a:lnTo>
                <a:lnTo>
                  <a:pt x="1917630" y="135119"/>
                </a:lnTo>
                <a:lnTo>
                  <a:pt x="2020520" y="135119"/>
                </a:lnTo>
                <a:lnTo>
                  <a:pt x="2040929" y="567805"/>
                </a:lnTo>
                <a:lnTo>
                  <a:pt x="2085058" y="569362"/>
                </a:lnTo>
                <a:lnTo>
                  <a:pt x="2104692" y="247596"/>
                </a:lnTo>
                <a:lnTo>
                  <a:pt x="2211603" y="247596"/>
                </a:lnTo>
                <a:lnTo>
                  <a:pt x="2230423" y="571958"/>
                </a:lnTo>
                <a:lnTo>
                  <a:pt x="2293761" y="575073"/>
                </a:lnTo>
                <a:cubicBezTo>
                  <a:pt x="2293761" y="543923"/>
                  <a:pt x="2293761" y="512255"/>
                  <a:pt x="2293761" y="481105"/>
                </a:cubicBezTo>
                <a:cubicBezTo>
                  <a:pt x="2293761" y="456704"/>
                  <a:pt x="2303625" y="437495"/>
                  <a:pt x="2325430" y="425035"/>
                </a:cubicBezTo>
                <a:cubicBezTo>
                  <a:pt x="2329064" y="422959"/>
                  <a:pt x="2331660" y="420882"/>
                  <a:pt x="2333736" y="417248"/>
                </a:cubicBezTo>
                <a:cubicBezTo>
                  <a:pt x="2338409" y="408422"/>
                  <a:pt x="2365406" y="405307"/>
                  <a:pt x="2370078" y="413614"/>
                </a:cubicBezTo>
                <a:cubicBezTo>
                  <a:pt x="2374751" y="421920"/>
                  <a:pt x="2382019" y="425035"/>
                  <a:pt x="2388249" y="430227"/>
                </a:cubicBezTo>
                <a:cubicBezTo>
                  <a:pt x="2402785" y="441648"/>
                  <a:pt x="2411611" y="456185"/>
                  <a:pt x="2411611" y="474355"/>
                </a:cubicBezTo>
                <a:cubicBezTo>
                  <a:pt x="2411611" y="487335"/>
                  <a:pt x="2416802" y="490969"/>
                  <a:pt x="2428224" y="489411"/>
                </a:cubicBezTo>
                <a:cubicBezTo>
                  <a:pt x="2439646" y="487854"/>
                  <a:pt x="2444318" y="494084"/>
                  <a:pt x="2443799" y="504986"/>
                </a:cubicBezTo>
                <a:cubicBezTo>
                  <a:pt x="2443280" y="513293"/>
                  <a:pt x="2443799" y="521599"/>
                  <a:pt x="2443799" y="530425"/>
                </a:cubicBezTo>
                <a:cubicBezTo>
                  <a:pt x="2443799" y="534059"/>
                  <a:pt x="2443280" y="538213"/>
                  <a:pt x="2448472" y="538732"/>
                </a:cubicBezTo>
                <a:cubicBezTo>
                  <a:pt x="2454182" y="539251"/>
                  <a:pt x="2454182" y="534059"/>
                  <a:pt x="2454182" y="529906"/>
                </a:cubicBezTo>
                <a:cubicBezTo>
                  <a:pt x="2454702" y="516408"/>
                  <a:pt x="2455740" y="502390"/>
                  <a:pt x="2455740" y="488892"/>
                </a:cubicBezTo>
                <a:cubicBezTo>
                  <a:pt x="2456259" y="452551"/>
                  <a:pt x="2456259" y="416209"/>
                  <a:pt x="2455740" y="379868"/>
                </a:cubicBezTo>
                <a:cubicBezTo>
                  <a:pt x="2455740" y="368966"/>
                  <a:pt x="2459374" y="361697"/>
                  <a:pt x="2471834" y="361697"/>
                </a:cubicBezTo>
                <a:cubicBezTo>
                  <a:pt x="2511290" y="361697"/>
                  <a:pt x="2550746" y="361697"/>
                  <a:pt x="2590203" y="361697"/>
                </a:cubicBezTo>
                <a:cubicBezTo>
                  <a:pt x="2600067" y="361697"/>
                  <a:pt x="2604739" y="366889"/>
                  <a:pt x="2604220" y="376753"/>
                </a:cubicBezTo>
                <a:cubicBezTo>
                  <a:pt x="2604220" y="386098"/>
                  <a:pt x="2604739" y="395443"/>
                  <a:pt x="2603701" y="404788"/>
                </a:cubicBezTo>
                <a:cubicBezTo>
                  <a:pt x="2602662" y="415171"/>
                  <a:pt x="2606297" y="420882"/>
                  <a:pt x="2616161" y="425035"/>
                </a:cubicBezTo>
                <a:cubicBezTo>
                  <a:pt x="2637965" y="434899"/>
                  <a:pt x="2648349" y="453070"/>
                  <a:pt x="2648868" y="476951"/>
                </a:cubicBezTo>
                <a:cubicBezTo>
                  <a:pt x="2648868" y="493565"/>
                  <a:pt x="2648868" y="510697"/>
                  <a:pt x="2648868" y="527310"/>
                </a:cubicBezTo>
                <a:cubicBezTo>
                  <a:pt x="2648868" y="542106"/>
                  <a:pt x="2648090" y="548596"/>
                  <a:pt x="2651010" y="551386"/>
                </a:cubicBezTo>
                <a:lnTo>
                  <a:pt x="2661207" y="552175"/>
                </a:lnTo>
                <a:lnTo>
                  <a:pt x="2661207" y="497877"/>
                </a:lnTo>
                <a:cubicBezTo>
                  <a:pt x="2661207" y="443514"/>
                  <a:pt x="2661207" y="371030"/>
                  <a:pt x="2661207" y="274385"/>
                </a:cubicBezTo>
                <a:cubicBezTo>
                  <a:pt x="2661207" y="274385"/>
                  <a:pt x="2661207" y="274385"/>
                  <a:pt x="2916581" y="274385"/>
                </a:cubicBezTo>
                <a:cubicBezTo>
                  <a:pt x="2916581" y="274385"/>
                  <a:pt x="2916581" y="274385"/>
                  <a:pt x="2916581" y="623897"/>
                </a:cubicBezTo>
                <a:cubicBezTo>
                  <a:pt x="2916581" y="623897"/>
                  <a:pt x="2916581" y="623897"/>
                  <a:pt x="3103505" y="623897"/>
                </a:cubicBezTo>
                <a:cubicBezTo>
                  <a:pt x="3103505" y="623897"/>
                  <a:pt x="3103505" y="623897"/>
                  <a:pt x="3103505" y="938986"/>
                </a:cubicBezTo>
                <a:cubicBezTo>
                  <a:pt x="3103505" y="938986"/>
                  <a:pt x="3103505" y="938986"/>
                  <a:pt x="3253570" y="938986"/>
                </a:cubicBezTo>
                <a:cubicBezTo>
                  <a:pt x="3253570" y="938986"/>
                  <a:pt x="3253570" y="938986"/>
                  <a:pt x="3253570" y="833074"/>
                </a:cubicBezTo>
                <a:cubicBezTo>
                  <a:pt x="3253570" y="833074"/>
                  <a:pt x="3253570" y="833074"/>
                  <a:pt x="3458923" y="833074"/>
                </a:cubicBezTo>
                <a:cubicBezTo>
                  <a:pt x="3458923" y="833074"/>
                  <a:pt x="3458923" y="833074"/>
                  <a:pt x="3458923" y="449141"/>
                </a:cubicBezTo>
                <a:cubicBezTo>
                  <a:pt x="3458923" y="449141"/>
                  <a:pt x="3458923" y="449141"/>
                  <a:pt x="3619519" y="449141"/>
                </a:cubicBezTo>
                <a:cubicBezTo>
                  <a:pt x="3619519" y="449141"/>
                  <a:pt x="3619519" y="449141"/>
                  <a:pt x="3619519" y="822482"/>
                </a:cubicBezTo>
                <a:cubicBezTo>
                  <a:pt x="3619519" y="822482"/>
                  <a:pt x="3619519" y="822482"/>
                  <a:pt x="3716929" y="822482"/>
                </a:cubicBezTo>
                <a:cubicBezTo>
                  <a:pt x="3716929" y="822482"/>
                  <a:pt x="3716929" y="822482"/>
                  <a:pt x="3716929" y="533871"/>
                </a:cubicBezTo>
                <a:cubicBezTo>
                  <a:pt x="3716929" y="533871"/>
                  <a:pt x="3716929" y="533871"/>
                  <a:pt x="3948609" y="533871"/>
                </a:cubicBezTo>
                <a:cubicBezTo>
                  <a:pt x="3948609" y="533871"/>
                  <a:pt x="3948609" y="533871"/>
                  <a:pt x="3948609" y="827778"/>
                </a:cubicBezTo>
                <a:cubicBezTo>
                  <a:pt x="3948609" y="827778"/>
                  <a:pt x="3948609" y="827778"/>
                  <a:pt x="3952270" y="827778"/>
                </a:cubicBezTo>
                <a:lnTo>
                  <a:pt x="3956368" y="827778"/>
                </a:lnTo>
                <a:lnTo>
                  <a:pt x="3956368" y="761209"/>
                </a:lnTo>
                <a:lnTo>
                  <a:pt x="3956368" y="714516"/>
                </a:lnTo>
                <a:lnTo>
                  <a:pt x="4000985" y="714516"/>
                </a:lnTo>
                <a:lnTo>
                  <a:pt x="4000985" y="420341"/>
                </a:lnTo>
                <a:lnTo>
                  <a:pt x="4000984" y="420341"/>
                </a:lnTo>
                <a:lnTo>
                  <a:pt x="4000984" y="339659"/>
                </a:lnTo>
                <a:lnTo>
                  <a:pt x="4071715" y="339659"/>
                </a:lnTo>
                <a:lnTo>
                  <a:pt x="4142446" y="339659"/>
                </a:lnTo>
                <a:lnTo>
                  <a:pt x="4142446" y="413478"/>
                </a:lnTo>
                <a:lnTo>
                  <a:pt x="4142446" y="413480"/>
                </a:lnTo>
                <a:lnTo>
                  <a:pt x="4142446" y="713686"/>
                </a:lnTo>
                <a:lnTo>
                  <a:pt x="4182921" y="713686"/>
                </a:lnTo>
                <a:lnTo>
                  <a:pt x="4182921" y="705384"/>
                </a:lnTo>
                <a:cubicBezTo>
                  <a:pt x="4182921" y="687899"/>
                  <a:pt x="4182921" y="667917"/>
                  <a:pt x="4182921" y="645080"/>
                </a:cubicBezTo>
                <a:cubicBezTo>
                  <a:pt x="4182921" y="645080"/>
                  <a:pt x="4182921" y="645080"/>
                  <a:pt x="4214842" y="645080"/>
                </a:cubicBezTo>
                <a:lnTo>
                  <a:pt x="4243942" y="645080"/>
                </a:lnTo>
                <a:lnTo>
                  <a:pt x="4243942" y="339659"/>
                </a:lnTo>
                <a:lnTo>
                  <a:pt x="4243942" y="249509"/>
                </a:lnTo>
                <a:lnTo>
                  <a:pt x="4288534" y="249509"/>
                </a:lnTo>
                <a:lnTo>
                  <a:pt x="4337854" y="249509"/>
                </a:lnTo>
                <a:lnTo>
                  <a:pt x="4337854" y="322718"/>
                </a:lnTo>
                <a:lnTo>
                  <a:pt x="4337854" y="322720"/>
                </a:lnTo>
                <a:lnTo>
                  <a:pt x="4337854" y="380000"/>
                </a:lnTo>
                <a:lnTo>
                  <a:pt x="4654875" y="380000"/>
                </a:lnTo>
                <a:lnTo>
                  <a:pt x="4654875" y="379790"/>
                </a:lnTo>
                <a:lnTo>
                  <a:pt x="4675084" y="379790"/>
                </a:lnTo>
                <a:lnTo>
                  <a:pt x="4675084" y="474896"/>
                </a:lnTo>
                <a:lnTo>
                  <a:pt x="4676745" y="475064"/>
                </a:lnTo>
                <a:cubicBezTo>
                  <a:pt x="4708955" y="481655"/>
                  <a:pt x="4734183" y="507417"/>
                  <a:pt x="4739988" y="539907"/>
                </a:cubicBezTo>
                <a:lnTo>
                  <a:pt x="4740674" y="547701"/>
                </a:lnTo>
                <a:lnTo>
                  <a:pt x="4741248" y="547701"/>
                </a:lnTo>
                <a:lnTo>
                  <a:pt x="4741248" y="554205"/>
                </a:lnTo>
                <a:lnTo>
                  <a:pt x="4741248" y="554208"/>
                </a:lnTo>
                <a:lnTo>
                  <a:pt x="4741248" y="739927"/>
                </a:lnTo>
                <a:lnTo>
                  <a:pt x="4764753" y="740400"/>
                </a:lnTo>
                <a:cubicBezTo>
                  <a:pt x="4764753" y="740400"/>
                  <a:pt x="4764753" y="740400"/>
                  <a:pt x="4764753" y="666262"/>
                </a:cubicBezTo>
                <a:cubicBezTo>
                  <a:pt x="4764753" y="666262"/>
                  <a:pt x="4764753" y="666262"/>
                  <a:pt x="4899024" y="666262"/>
                </a:cubicBezTo>
                <a:cubicBezTo>
                  <a:pt x="4899024" y="666262"/>
                  <a:pt x="4899024" y="666262"/>
                  <a:pt x="4899024" y="735104"/>
                </a:cubicBezTo>
                <a:cubicBezTo>
                  <a:pt x="4899024" y="735104"/>
                  <a:pt x="4899024" y="735104"/>
                  <a:pt x="5028026" y="735104"/>
                </a:cubicBezTo>
                <a:cubicBezTo>
                  <a:pt x="5028026" y="735104"/>
                  <a:pt x="5028026" y="735104"/>
                  <a:pt x="5028026" y="658319"/>
                </a:cubicBezTo>
                <a:cubicBezTo>
                  <a:pt x="5028026" y="658319"/>
                  <a:pt x="5028026" y="658319"/>
                  <a:pt x="5154397" y="660966"/>
                </a:cubicBezTo>
                <a:cubicBezTo>
                  <a:pt x="5154397" y="660966"/>
                  <a:pt x="5154397" y="660966"/>
                  <a:pt x="5154397" y="369707"/>
                </a:cubicBezTo>
                <a:cubicBezTo>
                  <a:pt x="5154397" y="369707"/>
                  <a:pt x="5154397" y="369707"/>
                  <a:pt x="5409771" y="369707"/>
                </a:cubicBezTo>
                <a:cubicBezTo>
                  <a:pt x="5409771" y="369707"/>
                  <a:pt x="5409771" y="369707"/>
                  <a:pt x="5409771" y="623897"/>
                </a:cubicBezTo>
                <a:cubicBezTo>
                  <a:pt x="5409771" y="623897"/>
                  <a:pt x="5409771" y="623897"/>
                  <a:pt x="5599327" y="623897"/>
                </a:cubicBezTo>
                <a:cubicBezTo>
                  <a:pt x="5599327" y="623897"/>
                  <a:pt x="5599327" y="623897"/>
                  <a:pt x="5599327" y="681817"/>
                </a:cubicBezTo>
                <a:lnTo>
                  <a:pt x="5599327" y="692743"/>
                </a:lnTo>
                <a:lnTo>
                  <a:pt x="5628967" y="692743"/>
                </a:lnTo>
                <a:lnTo>
                  <a:pt x="5628967" y="672950"/>
                </a:lnTo>
                <a:lnTo>
                  <a:pt x="5794767" y="672950"/>
                </a:lnTo>
                <a:lnTo>
                  <a:pt x="5794803" y="672943"/>
                </a:lnTo>
                <a:lnTo>
                  <a:pt x="5792189" y="672943"/>
                </a:lnTo>
                <a:lnTo>
                  <a:pt x="5784518" y="672943"/>
                </a:lnTo>
                <a:lnTo>
                  <a:pt x="5628967" y="672943"/>
                </a:lnTo>
                <a:lnTo>
                  <a:pt x="5792189" y="576196"/>
                </a:lnTo>
                <a:lnTo>
                  <a:pt x="5792189" y="668395"/>
                </a:lnTo>
                <a:lnTo>
                  <a:pt x="5947738" y="576196"/>
                </a:lnTo>
                <a:lnTo>
                  <a:pt x="5947738" y="668395"/>
                </a:lnTo>
                <a:lnTo>
                  <a:pt x="6103287" y="576196"/>
                </a:lnTo>
                <a:lnTo>
                  <a:pt x="6103287" y="668395"/>
                </a:lnTo>
                <a:lnTo>
                  <a:pt x="6258836" y="576196"/>
                </a:lnTo>
                <a:lnTo>
                  <a:pt x="6258836" y="672943"/>
                </a:lnTo>
                <a:lnTo>
                  <a:pt x="6154820" y="672943"/>
                </a:lnTo>
                <a:lnTo>
                  <a:pt x="6154820" y="672950"/>
                </a:lnTo>
                <a:lnTo>
                  <a:pt x="6258836" y="672950"/>
                </a:lnTo>
                <a:lnTo>
                  <a:pt x="6258836" y="708560"/>
                </a:lnTo>
                <a:lnTo>
                  <a:pt x="6258836" y="726328"/>
                </a:lnTo>
                <a:lnTo>
                  <a:pt x="6349534" y="726328"/>
                </a:lnTo>
                <a:cubicBezTo>
                  <a:pt x="6354193" y="726328"/>
                  <a:pt x="6354387" y="726134"/>
                  <a:pt x="6354387" y="721669"/>
                </a:cubicBezTo>
                <a:cubicBezTo>
                  <a:pt x="6354387" y="698761"/>
                  <a:pt x="6354387" y="676048"/>
                  <a:pt x="6354387" y="653142"/>
                </a:cubicBezTo>
                <a:cubicBezTo>
                  <a:pt x="6354387" y="651200"/>
                  <a:pt x="6354193" y="649647"/>
                  <a:pt x="6351863" y="648482"/>
                </a:cubicBezTo>
                <a:cubicBezTo>
                  <a:pt x="6348369" y="646735"/>
                  <a:pt x="6348563" y="644018"/>
                  <a:pt x="6352251" y="641882"/>
                </a:cubicBezTo>
                <a:cubicBezTo>
                  <a:pt x="6353999" y="640911"/>
                  <a:pt x="6354581" y="639941"/>
                  <a:pt x="6354581" y="638194"/>
                </a:cubicBezTo>
                <a:cubicBezTo>
                  <a:pt x="6354581" y="622081"/>
                  <a:pt x="6354581" y="605967"/>
                  <a:pt x="6354581" y="589854"/>
                </a:cubicBezTo>
                <a:cubicBezTo>
                  <a:pt x="6354581" y="587719"/>
                  <a:pt x="6353610" y="586554"/>
                  <a:pt x="6351863" y="585584"/>
                </a:cubicBezTo>
                <a:cubicBezTo>
                  <a:pt x="6348757" y="583836"/>
                  <a:pt x="6348757" y="581507"/>
                  <a:pt x="6351863" y="579954"/>
                </a:cubicBezTo>
                <a:cubicBezTo>
                  <a:pt x="6354581" y="578595"/>
                  <a:pt x="6354581" y="576848"/>
                  <a:pt x="6354581" y="574712"/>
                </a:cubicBezTo>
                <a:cubicBezTo>
                  <a:pt x="6354581" y="559182"/>
                  <a:pt x="6354581" y="543651"/>
                  <a:pt x="6354581" y="528121"/>
                </a:cubicBezTo>
                <a:cubicBezTo>
                  <a:pt x="6354581" y="525792"/>
                  <a:pt x="6354387" y="524238"/>
                  <a:pt x="6351669" y="522879"/>
                </a:cubicBezTo>
                <a:cubicBezTo>
                  <a:pt x="6348369" y="521326"/>
                  <a:pt x="6348563" y="518026"/>
                  <a:pt x="6351863" y="516473"/>
                </a:cubicBezTo>
                <a:cubicBezTo>
                  <a:pt x="6354193" y="515308"/>
                  <a:pt x="6354387" y="513755"/>
                  <a:pt x="6354387" y="511814"/>
                </a:cubicBezTo>
                <a:cubicBezTo>
                  <a:pt x="6354387" y="496672"/>
                  <a:pt x="6354387" y="481335"/>
                  <a:pt x="6354387" y="465999"/>
                </a:cubicBezTo>
                <a:cubicBezTo>
                  <a:pt x="6354387" y="463864"/>
                  <a:pt x="6353999" y="462311"/>
                  <a:pt x="6351475" y="460952"/>
                </a:cubicBezTo>
                <a:cubicBezTo>
                  <a:pt x="6348369" y="459399"/>
                  <a:pt x="6348563" y="456293"/>
                  <a:pt x="6351863" y="454545"/>
                </a:cubicBezTo>
                <a:cubicBezTo>
                  <a:pt x="6353999" y="453575"/>
                  <a:pt x="6354387" y="452410"/>
                  <a:pt x="6354387" y="450469"/>
                </a:cubicBezTo>
                <a:cubicBezTo>
                  <a:pt x="6354387" y="434356"/>
                  <a:pt x="6354387" y="418243"/>
                  <a:pt x="6354387" y="402130"/>
                </a:cubicBezTo>
                <a:cubicBezTo>
                  <a:pt x="6354387" y="400189"/>
                  <a:pt x="6353805" y="399218"/>
                  <a:pt x="6351863" y="398054"/>
                </a:cubicBezTo>
                <a:cubicBezTo>
                  <a:pt x="6348369" y="396112"/>
                  <a:pt x="6348369" y="393394"/>
                  <a:pt x="6352057" y="391453"/>
                </a:cubicBezTo>
                <a:cubicBezTo>
                  <a:pt x="6354193" y="390288"/>
                  <a:pt x="6354387" y="388929"/>
                  <a:pt x="6354387" y="387182"/>
                </a:cubicBezTo>
                <a:cubicBezTo>
                  <a:pt x="6354387" y="371652"/>
                  <a:pt x="6354387" y="356121"/>
                  <a:pt x="6354387" y="340591"/>
                </a:cubicBezTo>
                <a:cubicBezTo>
                  <a:pt x="6354387" y="338650"/>
                  <a:pt x="6354193" y="337096"/>
                  <a:pt x="6351863" y="335932"/>
                </a:cubicBezTo>
                <a:cubicBezTo>
                  <a:pt x="6348369" y="334185"/>
                  <a:pt x="6348563" y="331467"/>
                  <a:pt x="6352251" y="329331"/>
                </a:cubicBezTo>
                <a:cubicBezTo>
                  <a:pt x="6353999" y="328361"/>
                  <a:pt x="6354581" y="327390"/>
                  <a:pt x="6354581" y="325643"/>
                </a:cubicBezTo>
                <a:cubicBezTo>
                  <a:pt x="6354581" y="309530"/>
                  <a:pt x="6354581" y="293417"/>
                  <a:pt x="6354581" y="277304"/>
                </a:cubicBezTo>
                <a:cubicBezTo>
                  <a:pt x="6354581" y="275363"/>
                  <a:pt x="6353999" y="273810"/>
                  <a:pt x="6351863" y="273227"/>
                </a:cubicBezTo>
                <a:cubicBezTo>
                  <a:pt x="6349922" y="272645"/>
                  <a:pt x="6349534" y="271286"/>
                  <a:pt x="6349922" y="269539"/>
                </a:cubicBezTo>
                <a:cubicBezTo>
                  <a:pt x="6350310" y="267792"/>
                  <a:pt x="6351863" y="267209"/>
                  <a:pt x="6353610" y="267209"/>
                </a:cubicBezTo>
                <a:cubicBezTo>
                  <a:pt x="6354775" y="267209"/>
                  <a:pt x="6356134" y="267209"/>
                  <a:pt x="6357299" y="267209"/>
                </a:cubicBezTo>
                <a:cubicBezTo>
                  <a:pt x="6380206" y="267209"/>
                  <a:pt x="6403308" y="267209"/>
                  <a:pt x="6426409" y="267209"/>
                </a:cubicBezTo>
                <a:cubicBezTo>
                  <a:pt x="6427768" y="267209"/>
                  <a:pt x="6429321" y="267015"/>
                  <a:pt x="6430680" y="267209"/>
                </a:cubicBezTo>
                <a:cubicBezTo>
                  <a:pt x="6433010" y="267404"/>
                  <a:pt x="6433980" y="268568"/>
                  <a:pt x="6433980" y="270704"/>
                </a:cubicBezTo>
                <a:cubicBezTo>
                  <a:pt x="6433786" y="272839"/>
                  <a:pt x="6432233" y="273033"/>
                  <a:pt x="6430486" y="273033"/>
                </a:cubicBezTo>
                <a:cubicBezTo>
                  <a:pt x="6429515" y="273033"/>
                  <a:pt x="6428739" y="273033"/>
                  <a:pt x="6427962" y="273033"/>
                </a:cubicBezTo>
                <a:cubicBezTo>
                  <a:pt x="6427962" y="273422"/>
                  <a:pt x="6427768" y="273810"/>
                  <a:pt x="6427768" y="274198"/>
                </a:cubicBezTo>
                <a:cubicBezTo>
                  <a:pt x="6427768" y="292641"/>
                  <a:pt x="6427768" y="310889"/>
                  <a:pt x="6427768" y="329137"/>
                </a:cubicBezTo>
                <a:cubicBezTo>
                  <a:pt x="6428933" y="329331"/>
                  <a:pt x="6429904" y="329137"/>
                  <a:pt x="6430874" y="329331"/>
                </a:cubicBezTo>
                <a:cubicBezTo>
                  <a:pt x="6432622" y="329525"/>
                  <a:pt x="6433786" y="330690"/>
                  <a:pt x="6433786" y="332438"/>
                </a:cubicBezTo>
                <a:cubicBezTo>
                  <a:pt x="6433980" y="334379"/>
                  <a:pt x="6433010" y="335737"/>
                  <a:pt x="6430874" y="336126"/>
                </a:cubicBezTo>
                <a:cubicBezTo>
                  <a:pt x="6429710" y="336320"/>
                  <a:pt x="6428739" y="336320"/>
                  <a:pt x="6427768" y="336320"/>
                </a:cubicBezTo>
                <a:cubicBezTo>
                  <a:pt x="6427768" y="354763"/>
                  <a:pt x="6427768" y="373011"/>
                  <a:pt x="6427768" y="391259"/>
                </a:cubicBezTo>
                <a:cubicBezTo>
                  <a:pt x="6428933" y="391259"/>
                  <a:pt x="6429904" y="391259"/>
                  <a:pt x="6430874" y="391453"/>
                </a:cubicBezTo>
                <a:cubicBezTo>
                  <a:pt x="6433010" y="391647"/>
                  <a:pt x="6433786" y="393006"/>
                  <a:pt x="6433786" y="395142"/>
                </a:cubicBezTo>
                <a:cubicBezTo>
                  <a:pt x="6433786" y="396889"/>
                  <a:pt x="6432816" y="398054"/>
                  <a:pt x="6430874" y="398248"/>
                </a:cubicBezTo>
                <a:cubicBezTo>
                  <a:pt x="6429710" y="398248"/>
                  <a:pt x="6428739" y="398248"/>
                  <a:pt x="6427768" y="398248"/>
                </a:cubicBezTo>
                <a:cubicBezTo>
                  <a:pt x="6427768" y="417078"/>
                  <a:pt x="6427768" y="435715"/>
                  <a:pt x="6427768" y="454351"/>
                </a:cubicBezTo>
                <a:cubicBezTo>
                  <a:pt x="6428933" y="454545"/>
                  <a:pt x="6429904" y="454351"/>
                  <a:pt x="6430874" y="454545"/>
                </a:cubicBezTo>
                <a:cubicBezTo>
                  <a:pt x="6432622" y="454740"/>
                  <a:pt x="6433786" y="455904"/>
                  <a:pt x="6433786" y="457652"/>
                </a:cubicBezTo>
                <a:cubicBezTo>
                  <a:pt x="6433980" y="459593"/>
                  <a:pt x="6433010" y="460952"/>
                  <a:pt x="6430874" y="461340"/>
                </a:cubicBezTo>
                <a:cubicBezTo>
                  <a:pt x="6429710" y="461534"/>
                  <a:pt x="6428739" y="461534"/>
                  <a:pt x="6427768" y="461534"/>
                </a:cubicBezTo>
                <a:cubicBezTo>
                  <a:pt x="6427574" y="461534"/>
                  <a:pt x="6427574" y="461534"/>
                  <a:pt x="6427574" y="461534"/>
                </a:cubicBezTo>
                <a:cubicBezTo>
                  <a:pt x="6427574" y="461728"/>
                  <a:pt x="6427574" y="461728"/>
                  <a:pt x="6427574" y="461728"/>
                </a:cubicBezTo>
                <a:lnTo>
                  <a:pt x="6427768" y="461728"/>
                </a:lnTo>
                <a:cubicBezTo>
                  <a:pt x="6427768" y="480171"/>
                  <a:pt x="6427768" y="498419"/>
                  <a:pt x="6427768" y="516667"/>
                </a:cubicBezTo>
                <a:cubicBezTo>
                  <a:pt x="6428933" y="516861"/>
                  <a:pt x="6429904" y="516667"/>
                  <a:pt x="6430874" y="516861"/>
                </a:cubicBezTo>
                <a:cubicBezTo>
                  <a:pt x="6433010" y="517055"/>
                  <a:pt x="6433980" y="518608"/>
                  <a:pt x="6433786" y="520550"/>
                </a:cubicBezTo>
                <a:cubicBezTo>
                  <a:pt x="6433786" y="522297"/>
                  <a:pt x="6432816" y="523462"/>
                  <a:pt x="6430874" y="523656"/>
                </a:cubicBezTo>
                <a:cubicBezTo>
                  <a:pt x="6429710" y="523850"/>
                  <a:pt x="6428739" y="523850"/>
                  <a:pt x="6427768" y="523850"/>
                </a:cubicBezTo>
                <a:cubicBezTo>
                  <a:pt x="6427768" y="542681"/>
                  <a:pt x="6427768" y="561317"/>
                  <a:pt x="6427768" y="579954"/>
                </a:cubicBezTo>
                <a:cubicBezTo>
                  <a:pt x="6429127" y="579954"/>
                  <a:pt x="6430292" y="579954"/>
                  <a:pt x="6431457" y="580148"/>
                </a:cubicBezTo>
                <a:cubicBezTo>
                  <a:pt x="6433010" y="580536"/>
                  <a:pt x="6433786" y="581701"/>
                  <a:pt x="6433786" y="583254"/>
                </a:cubicBezTo>
                <a:cubicBezTo>
                  <a:pt x="6433786" y="585001"/>
                  <a:pt x="6433010" y="585778"/>
                  <a:pt x="6431263" y="585972"/>
                </a:cubicBezTo>
                <a:cubicBezTo>
                  <a:pt x="6430098" y="586166"/>
                  <a:pt x="6428933" y="586749"/>
                  <a:pt x="6427768" y="587137"/>
                </a:cubicBezTo>
                <a:cubicBezTo>
                  <a:pt x="6427768" y="605580"/>
                  <a:pt x="6427768" y="623828"/>
                  <a:pt x="6427768" y="642076"/>
                </a:cubicBezTo>
                <a:cubicBezTo>
                  <a:pt x="6428933" y="642270"/>
                  <a:pt x="6429904" y="642076"/>
                  <a:pt x="6430874" y="642270"/>
                </a:cubicBezTo>
                <a:cubicBezTo>
                  <a:pt x="6433010" y="642465"/>
                  <a:pt x="6433980" y="643823"/>
                  <a:pt x="6433786" y="645959"/>
                </a:cubicBezTo>
                <a:cubicBezTo>
                  <a:pt x="6433786" y="647706"/>
                  <a:pt x="6432816" y="648871"/>
                  <a:pt x="6430874" y="649065"/>
                </a:cubicBezTo>
                <a:cubicBezTo>
                  <a:pt x="6429710" y="649259"/>
                  <a:pt x="6428739" y="649259"/>
                  <a:pt x="6427768" y="649259"/>
                </a:cubicBezTo>
                <a:cubicBezTo>
                  <a:pt x="6427768" y="675272"/>
                  <a:pt x="6427768" y="701479"/>
                  <a:pt x="6427768" y="727687"/>
                </a:cubicBezTo>
                <a:cubicBezTo>
                  <a:pt x="6435339" y="727687"/>
                  <a:pt x="6443105" y="727881"/>
                  <a:pt x="6450870" y="727881"/>
                </a:cubicBezTo>
                <a:cubicBezTo>
                  <a:pt x="6473583" y="727881"/>
                  <a:pt x="6496490" y="727687"/>
                  <a:pt x="6519204" y="727687"/>
                </a:cubicBezTo>
                <a:cubicBezTo>
                  <a:pt x="6519204" y="714680"/>
                  <a:pt x="6519398" y="701479"/>
                  <a:pt x="6519398" y="688473"/>
                </a:cubicBezTo>
                <a:cubicBezTo>
                  <a:pt x="6519398" y="675466"/>
                  <a:pt x="6519398" y="662266"/>
                  <a:pt x="6519398" y="649259"/>
                </a:cubicBezTo>
                <a:cubicBezTo>
                  <a:pt x="6518427" y="649259"/>
                  <a:pt x="6517651" y="649259"/>
                  <a:pt x="6516874" y="649259"/>
                </a:cubicBezTo>
                <a:cubicBezTo>
                  <a:pt x="6514545" y="649259"/>
                  <a:pt x="6513186" y="647900"/>
                  <a:pt x="6513186" y="645570"/>
                </a:cubicBezTo>
                <a:cubicBezTo>
                  <a:pt x="6513186" y="643435"/>
                  <a:pt x="6514545" y="642465"/>
                  <a:pt x="6516680" y="642270"/>
                </a:cubicBezTo>
                <a:cubicBezTo>
                  <a:pt x="6517651" y="642270"/>
                  <a:pt x="6518427" y="642270"/>
                  <a:pt x="6519204" y="642270"/>
                </a:cubicBezTo>
                <a:cubicBezTo>
                  <a:pt x="6519204" y="623440"/>
                  <a:pt x="6519204" y="604803"/>
                  <a:pt x="6519204" y="586166"/>
                </a:cubicBezTo>
                <a:cubicBezTo>
                  <a:pt x="6518815" y="586166"/>
                  <a:pt x="6518427" y="586166"/>
                  <a:pt x="6518039" y="586166"/>
                </a:cubicBezTo>
                <a:cubicBezTo>
                  <a:pt x="6515904" y="586166"/>
                  <a:pt x="6513768" y="585972"/>
                  <a:pt x="6513574" y="583448"/>
                </a:cubicBezTo>
                <a:cubicBezTo>
                  <a:pt x="6513186" y="580342"/>
                  <a:pt x="6515709" y="580148"/>
                  <a:pt x="6518039" y="580148"/>
                </a:cubicBezTo>
                <a:cubicBezTo>
                  <a:pt x="6518427" y="580148"/>
                  <a:pt x="6518815" y="580148"/>
                  <a:pt x="6519204" y="580148"/>
                </a:cubicBezTo>
                <a:cubicBezTo>
                  <a:pt x="6519204" y="561317"/>
                  <a:pt x="6519204" y="542681"/>
                  <a:pt x="6519204" y="524044"/>
                </a:cubicBezTo>
                <a:cubicBezTo>
                  <a:pt x="6518039" y="523850"/>
                  <a:pt x="6517068" y="524044"/>
                  <a:pt x="6516098" y="523850"/>
                </a:cubicBezTo>
                <a:cubicBezTo>
                  <a:pt x="6514156" y="523462"/>
                  <a:pt x="6513186" y="522297"/>
                  <a:pt x="6513186" y="520550"/>
                </a:cubicBezTo>
                <a:cubicBezTo>
                  <a:pt x="6513186" y="518415"/>
                  <a:pt x="6514156" y="517250"/>
                  <a:pt x="6516292" y="516861"/>
                </a:cubicBezTo>
                <a:cubicBezTo>
                  <a:pt x="6517457" y="516667"/>
                  <a:pt x="6518427" y="516667"/>
                  <a:pt x="6519398" y="516667"/>
                </a:cubicBezTo>
                <a:cubicBezTo>
                  <a:pt x="6519398" y="498225"/>
                  <a:pt x="6519398" y="479977"/>
                  <a:pt x="6519398" y="461728"/>
                </a:cubicBezTo>
                <a:cubicBezTo>
                  <a:pt x="6519204" y="461728"/>
                  <a:pt x="6519010" y="461728"/>
                  <a:pt x="6518815" y="461728"/>
                </a:cubicBezTo>
                <a:cubicBezTo>
                  <a:pt x="6515904" y="461534"/>
                  <a:pt x="6513380" y="460369"/>
                  <a:pt x="6513574" y="457263"/>
                </a:cubicBezTo>
                <a:cubicBezTo>
                  <a:pt x="6513768" y="453963"/>
                  <a:pt x="6517068" y="454740"/>
                  <a:pt x="6519398" y="454545"/>
                </a:cubicBezTo>
                <a:cubicBezTo>
                  <a:pt x="6519398" y="435715"/>
                  <a:pt x="6519398" y="417078"/>
                  <a:pt x="6519398" y="398442"/>
                </a:cubicBezTo>
                <a:cubicBezTo>
                  <a:pt x="6517068" y="398442"/>
                  <a:pt x="6514156" y="399024"/>
                  <a:pt x="6513574" y="395724"/>
                </a:cubicBezTo>
                <a:cubicBezTo>
                  <a:pt x="6513186" y="393589"/>
                  <a:pt x="6515321" y="392036"/>
                  <a:pt x="6519592" y="391259"/>
                </a:cubicBezTo>
                <a:cubicBezTo>
                  <a:pt x="6519592" y="372817"/>
                  <a:pt x="6519592" y="354568"/>
                  <a:pt x="6519592" y="336320"/>
                </a:cubicBezTo>
                <a:cubicBezTo>
                  <a:pt x="6519010" y="336320"/>
                  <a:pt x="6518427" y="336320"/>
                  <a:pt x="6517845" y="336320"/>
                </a:cubicBezTo>
                <a:cubicBezTo>
                  <a:pt x="6515515" y="336320"/>
                  <a:pt x="6513574" y="335543"/>
                  <a:pt x="6513574" y="332826"/>
                </a:cubicBezTo>
                <a:cubicBezTo>
                  <a:pt x="6513574" y="330108"/>
                  <a:pt x="6515321" y="329331"/>
                  <a:pt x="6517845" y="329331"/>
                </a:cubicBezTo>
                <a:cubicBezTo>
                  <a:pt x="6518427" y="329331"/>
                  <a:pt x="6519010" y="329331"/>
                  <a:pt x="6519592" y="329331"/>
                </a:cubicBezTo>
                <a:cubicBezTo>
                  <a:pt x="6519592" y="311083"/>
                  <a:pt x="6519592" y="292835"/>
                  <a:pt x="6519592" y="274586"/>
                </a:cubicBezTo>
                <a:cubicBezTo>
                  <a:pt x="6518621" y="273227"/>
                  <a:pt x="6517068" y="273422"/>
                  <a:pt x="6515709" y="273033"/>
                </a:cubicBezTo>
                <a:cubicBezTo>
                  <a:pt x="6514156" y="272645"/>
                  <a:pt x="6513380" y="271480"/>
                  <a:pt x="6513574" y="269927"/>
                </a:cubicBezTo>
                <a:cubicBezTo>
                  <a:pt x="6513768" y="268374"/>
                  <a:pt x="6514933" y="267598"/>
                  <a:pt x="6516486" y="267404"/>
                </a:cubicBezTo>
                <a:cubicBezTo>
                  <a:pt x="6517651" y="267209"/>
                  <a:pt x="6519010" y="267209"/>
                  <a:pt x="6520174" y="267209"/>
                </a:cubicBezTo>
                <a:cubicBezTo>
                  <a:pt x="6544052" y="267209"/>
                  <a:pt x="6567930" y="267209"/>
                  <a:pt x="6591809" y="267209"/>
                </a:cubicBezTo>
                <a:cubicBezTo>
                  <a:pt x="6592779" y="267209"/>
                  <a:pt x="6593556" y="267209"/>
                  <a:pt x="6594332" y="267209"/>
                </a:cubicBezTo>
                <a:cubicBezTo>
                  <a:pt x="6595885" y="267209"/>
                  <a:pt x="6597632" y="267404"/>
                  <a:pt x="6598409" y="269733"/>
                </a:cubicBezTo>
                <a:cubicBezTo>
                  <a:pt x="6598603" y="271286"/>
                  <a:pt x="6598409" y="273033"/>
                  <a:pt x="6596274" y="273227"/>
                </a:cubicBezTo>
                <a:cubicBezTo>
                  <a:pt x="6593750" y="273616"/>
                  <a:pt x="6593556" y="275169"/>
                  <a:pt x="6593556" y="277110"/>
                </a:cubicBezTo>
                <a:cubicBezTo>
                  <a:pt x="6593556" y="293223"/>
                  <a:pt x="6593556" y="309336"/>
                  <a:pt x="6593556" y="325449"/>
                </a:cubicBezTo>
                <a:cubicBezTo>
                  <a:pt x="6593556" y="327390"/>
                  <a:pt x="6594138" y="328361"/>
                  <a:pt x="6596079" y="329525"/>
                </a:cubicBezTo>
                <a:cubicBezTo>
                  <a:pt x="6599574" y="331467"/>
                  <a:pt x="6599574" y="334185"/>
                  <a:pt x="6595885" y="336126"/>
                </a:cubicBezTo>
                <a:cubicBezTo>
                  <a:pt x="6593750" y="337291"/>
                  <a:pt x="6593556" y="338650"/>
                  <a:pt x="6593556" y="340397"/>
                </a:cubicBezTo>
                <a:cubicBezTo>
                  <a:pt x="6593556" y="355927"/>
                  <a:pt x="6593556" y="371458"/>
                  <a:pt x="6593556" y="386988"/>
                </a:cubicBezTo>
                <a:cubicBezTo>
                  <a:pt x="6593556" y="388929"/>
                  <a:pt x="6593750" y="390482"/>
                  <a:pt x="6596079" y="391647"/>
                </a:cubicBezTo>
                <a:cubicBezTo>
                  <a:pt x="6599768" y="393589"/>
                  <a:pt x="6599574" y="396501"/>
                  <a:pt x="6595691" y="398442"/>
                </a:cubicBezTo>
                <a:cubicBezTo>
                  <a:pt x="6593750" y="399412"/>
                  <a:pt x="6593556" y="400771"/>
                  <a:pt x="6593556" y="402324"/>
                </a:cubicBezTo>
                <a:cubicBezTo>
                  <a:pt x="6593556" y="407954"/>
                  <a:pt x="6593556" y="413390"/>
                  <a:pt x="6593556" y="419020"/>
                </a:cubicBezTo>
                <a:cubicBezTo>
                  <a:pt x="6593556" y="429309"/>
                  <a:pt x="6593556" y="439403"/>
                  <a:pt x="6593556" y="449498"/>
                </a:cubicBezTo>
                <a:cubicBezTo>
                  <a:pt x="6593556" y="451828"/>
                  <a:pt x="6593167" y="453963"/>
                  <a:pt x="6596662" y="454934"/>
                </a:cubicBezTo>
                <a:cubicBezTo>
                  <a:pt x="6599186" y="455516"/>
                  <a:pt x="6599380" y="459981"/>
                  <a:pt x="6596662" y="460952"/>
                </a:cubicBezTo>
                <a:cubicBezTo>
                  <a:pt x="6592779" y="462505"/>
                  <a:pt x="6593362" y="465029"/>
                  <a:pt x="6593362" y="467746"/>
                </a:cubicBezTo>
                <a:cubicBezTo>
                  <a:pt x="6593362" y="482112"/>
                  <a:pt x="6593362" y="496283"/>
                  <a:pt x="6593362" y="510649"/>
                </a:cubicBezTo>
                <a:cubicBezTo>
                  <a:pt x="6593362" y="513367"/>
                  <a:pt x="6592973" y="515891"/>
                  <a:pt x="6596662" y="517444"/>
                </a:cubicBezTo>
                <a:cubicBezTo>
                  <a:pt x="6599380" y="518415"/>
                  <a:pt x="6599186" y="522685"/>
                  <a:pt x="6596468" y="523462"/>
                </a:cubicBezTo>
                <a:cubicBezTo>
                  <a:pt x="6593362" y="524238"/>
                  <a:pt x="6593362" y="525986"/>
                  <a:pt x="6593362" y="528315"/>
                </a:cubicBezTo>
                <a:cubicBezTo>
                  <a:pt x="6593362" y="539381"/>
                  <a:pt x="6593362" y="550640"/>
                  <a:pt x="6593362" y="561706"/>
                </a:cubicBezTo>
                <a:cubicBezTo>
                  <a:pt x="6593362" y="566365"/>
                  <a:pt x="6593362" y="570830"/>
                  <a:pt x="6593362" y="575489"/>
                </a:cubicBezTo>
                <a:cubicBezTo>
                  <a:pt x="6593362" y="577430"/>
                  <a:pt x="6593362" y="578983"/>
                  <a:pt x="6596079" y="579954"/>
                </a:cubicBezTo>
                <a:cubicBezTo>
                  <a:pt x="6598991" y="581119"/>
                  <a:pt x="6599186" y="584613"/>
                  <a:pt x="6596274" y="585584"/>
                </a:cubicBezTo>
                <a:cubicBezTo>
                  <a:pt x="6593167" y="586360"/>
                  <a:pt x="6593167" y="588107"/>
                  <a:pt x="6593167" y="590437"/>
                </a:cubicBezTo>
                <a:cubicBezTo>
                  <a:pt x="6593167" y="600920"/>
                  <a:pt x="6593167" y="611209"/>
                  <a:pt x="6593167" y="621498"/>
                </a:cubicBezTo>
                <a:cubicBezTo>
                  <a:pt x="6593167" y="626934"/>
                  <a:pt x="6593167" y="632175"/>
                  <a:pt x="6593167" y="637611"/>
                </a:cubicBezTo>
                <a:cubicBezTo>
                  <a:pt x="6593167" y="639747"/>
                  <a:pt x="6593556" y="641105"/>
                  <a:pt x="6595885" y="642270"/>
                </a:cubicBezTo>
                <a:cubicBezTo>
                  <a:pt x="6598991" y="644018"/>
                  <a:pt x="6599186" y="647124"/>
                  <a:pt x="6595885" y="648676"/>
                </a:cubicBezTo>
                <a:cubicBezTo>
                  <a:pt x="6593167" y="650036"/>
                  <a:pt x="6593167" y="651783"/>
                  <a:pt x="6593167" y="653918"/>
                </a:cubicBezTo>
                <a:cubicBezTo>
                  <a:pt x="6593167" y="676631"/>
                  <a:pt x="6593167" y="699150"/>
                  <a:pt x="6593167" y="721863"/>
                </a:cubicBezTo>
                <a:cubicBezTo>
                  <a:pt x="6593167" y="726522"/>
                  <a:pt x="6593362" y="726716"/>
                  <a:pt x="6598021" y="726716"/>
                </a:cubicBezTo>
                <a:cubicBezTo>
                  <a:pt x="6631412" y="726716"/>
                  <a:pt x="6664996" y="726716"/>
                  <a:pt x="6698387" y="726716"/>
                </a:cubicBezTo>
                <a:cubicBezTo>
                  <a:pt x="6703434" y="726716"/>
                  <a:pt x="6703434" y="726522"/>
                  <a:pt x="6703434" y="720892"/>
                </a:cubicBezTo>
                <a:cubicBezTo>
                  <a:pt x="6703434" y="682649"/>
                  <a:pt x="6703434" y="644600"/>
                  <a:pt x="6703434" y="606356"/>
                </a:cubicBezTo>
                <a:cubicBezTo>
                  <a:pt x="6703434" y="583836"/>
                  <a:pt x="6703434" y="561511"/>
                  <a:pt x="6703434" y="538992"/>
                </a:cubicBezTo>
                <a:cubicBezTo>
                  <a:pt x="6703434" y="536663"/>
                  <a:pt x="6702658" y="534139"/>
                  <a:pt x="6704405" y="532004"/>
                </a:cubicBezTo>
                <a:cubicBezTo>
                  <a:pt x="6704599" y="534721"/>
                  <a:pt x="6704599" y="537633"/>
                  <a:pt x="6704599" y="540351"/>
                </a:cubicBezTo>
                <a:cubicBezTo>
                  <a:pt x="6704599" y="599949"/>
                  <a:pt x="6704599" y="659548"/>
                  <a:pt x="6704599" y="719145"/>
                </a:cubicBezTo>
                <a:cubicBezTo>
                  <a:pt x="6704599" y="721863"/>
                  <a:pt x="6704405" y="724775"/>
                  <a:pt x="6704405" y="727493"/>
                </a:cubicBezTo>
                <a:cubicBezTo>
                  <a:pt x="6704599" y="727493"/>
                  <a:pt x="6704987" y="727493"/>
                  <a:pt x="6705181" y="727493"/>
                </a:cubicBezTo>
                <a:cubicBezTo>
                  <a:pt x="6705181" y="727493"/>
                  <a:pt x="6704987" y="727299"/>
                  <a:pt x="6704987" y="727299"/>
                </a:cubicBezTo>
                <a:cubicBezTo>
                  <a:pt x="6704987" y="663430"/>
                  <a:pt x="6704987" y="599367"/>
                  <a:pt x="6704987" y="535498"/>
                </a:cubicBezTo>
                <a:cubicBezTo>
                  <a:pt x="6704987" y="534333"/>
                  <a:pt x="6704793" y="533169"/>
                  <a:pt x="6705375" y="532004"/>
                </a:cubicBezTo>
                <a:cubicBezTo>
                  <a:pt x="6708482" y="504049"/>
                  <a:pt x="6734301" y="488518"/>
                  <a:pt x="6753132" y="490460"/>
                </a:cubicBezTo>
                <a:cubicBezTo>
                  <a:pt x="6777592" y="488907"/>
                  <a:pt x="6800111" y="511814"/>
                  <a:pt x="6799917" y="535304"/>
                </a:cubicBezTo>
                <a:cubicBezTo>
                  <a:pt x="6799723" y="583836"/>
                  <a:pt x="6799917" y="632564"/>
                  <a:pt x="6799917" y="681290"/>
                </a:cubicBezTo>
                <a:cubicBezTo>
                  <a:pt x="6799917" y="726522"/>
                  <a:pt x="6799917" y="771949"/>
                  <a:pt x="6799917" y="817181"/>
                </a:cubicBezTo>
                <a:cubicBezTo>
                  <a:pt x="6799917" y="819511"/>
                  <a:pt x="6798558" y="822423"/>
                  <a:pt x="6801858" y="823976"/>
                </a:cubicBezTo>
                <a:cubicBezTo>
                  <a:pt x="6804964" y="815046"/>
                  <a:pt x="6809429" y="806892"/>
                  <a:pt x="6814283" y="798933"/>
                </a:cubicBezTo>
                <a:cubicBezTo>
                  <a:pt x="6816612" y="795244"/>
                  <a:pt x="6817389" y="791750"/>
                  <a:pt x="6817389" y="787673"/>
                </a:cubicBezTo>
                <a:cubicBezTo>
                  <a:pt x="6817389" y="720698"/>
                  <a:pt x="6817389" y="653724"/>
                  <a:pt x="6817389" y="586749"/>
                </a:cubicBezTo>
                <a:cubicBezTo>
                  <a:pt x="6817389" y="570247"/>
                  <a:pt x="6817777" y="553746"/>
                  <a:pt x="6817389" y="537245"/>
                </a:cubicBezTo>
                <a:cubicBezTo>
                  <a:pt x="6816806" y="517055"/>
                  <a:pt x="6831366" y="495313"/>
                  <a:pt x="6856991" y="490460"/>
                </a:cubicBezTo>
                <a:cubicBezTo>
                  <a:pt x="6859709" y="489877"/>
                  <a:pt x="6862621" y="489877"/>
                  <a:pt x="6865339" y="490265"/>
                </a:cubicBezTo>
                <a:cubicBezTo>
                  <a:pt x="6890770" y="489101"/>
                  <a:pt x="6912125" y="512202"/>
                  <a:pt x="6912125" y="535110"/>
                </a:cubicBezTo>
                <a:cubicBezTo>
                  <a:pt x="6911930" y="594708"/>
                  <a:pt x="6912125" y="654306"/>
                  <a:pt x="6912125" y="713904"/>
                </a:cubicBezTo>
                <a:cubicBezTo>
                  <a:pt x="6912125" y="715845"/>
                  <a:pt x="6912125" y="717592"/>
                  <a:pt x="6912125" y="719339"/>
                </a:cubicBezTo>
                <a:cubicBezTo>
                  <a:pt x="6912125" y="721475"/>
                  <a:pt x="6913872" y="721669"/>
                  <a:pt x="6915425" y="721669"/>
                </a:cubicBezTo>
                <a:cubicBezTo>
                  <a:pt x="6936780" y="715068"/>
                  <a:pt x="6958910" y="713321"/>
                  <a:pt x="6980847" y="716039"/>
                </a:cubicBezTo>
                <a:cubicBezTo>
                  <a:pt x="7045687" y="724193"/>
                  <a:pt x="7092666" y="757971"/>
                  <a:pt x="7121398" y="816793"/>
                </a:cubicBezTo>
                <a:cubicBezTo>
                  <a:pt x="7125086" y="824558"/>
                  <a:pt x="7128386" y="832517"/>
                  <a:pt x="7130134" y="840865"/>
                </a:cubicBezTo>
                <a:cubicBezTo>
                  <a:pt x="7131298" y="841447"/>
                  <a:pt x="7132269" y="842030"/>
                  <a:pt x="7133434" y="842224"/>
                </a:cubicBezTo>
                <a:cubicBezTo>
                  <a:pt x="7140423" y="843777"/>
                  <a:pt x="7143140" y="846883"/>
                  <a:pt x="7143140" y="854066"/>
                </a:cubicBezTo>
                <a:lnTo>
                  <a:pt x="7143162" y="858635"/>
                </a:lnTo>
                <a:lnTo>
                  <a:pt x="7363499" y="801441"/>
                </a:lnTo>
                <a:cubicBezTo>
                  <a:pt x="7365074" y="800811"/>
                  <a:pt x="7366334" y="800181"/>
                  <a:pt x="7367909" y="799551"/>
                </a:cubicBezTo>
                <a:cubicBezTo>
                  <a:pt x="7367909" y="797346"/>
                  <a:pt x="7367909" y="795141"/>
                  <a:pt x="7367909" y="792936"/>
                </a:cubicBezTo>
                <a:cubicBezTo>
                  <a:pt x="7368224" y="788211"/>
                  <a:pt x="7367594" y="785061"/>
                  <a:pt x="7362239" y="782541"/>
                </a:cubicBezTo>
                <a:cubicBezTo>
                  <a:pt x="7355625" y="779392"/>
                  <a:pt x="7355625" y="775296"/>
                  <a:pt x="7360349" y="769312"/>
                </a:cubicBezTo>
                <a:cubicBezTo>
                  <a:pt x="7362239" y="767107"/>
                  <a:pt x="7364129" y="766792"/>
                  <a:pt x="7365389" y="769627"/>
                </a:cubicBezTo>
                <a:cubicBezTo>
                  <a:pt x="7366334" y="772462"/>
                  <a:pt x="7366649" y="772777"/>
                  <a:pt x="7368854" y="770257"/>
                </a:cubicBezTo>
                <a:cubicBezTo>
                  <a:pt x="7372319" y="766162"/>
                  <a:pt x="7372634" y="766477"/>
                  <a:pt x="7374839" y="772777"/>
                </a:cubicBezTo>
                <a:cubicBezTo>
                  <a:pt x="7377044" y="772462"/>
                  <a:pt x="7376729" y="769942"/>
                  <a:pt x="7378304" y="768682"/>
                </a:cubicBezTo>
                <a:cubicBezTo>
                  <a:pt x="7379564" y="768052"/>
                  <a:pt x="7381139" y="767107"/>
                  <a:pt x="7381769" y="768367"/>
                </a:cubicBezTo>
                <a:cubicBezTo>
                  <a:pt x="7383659" y="772462"/>
                  <a:pt x="7384289" y="771517"/>
                  <a:pt x="7387439" y="768682"/>
                </a:cubicBezTo>
                <a:cubicBezTo>
                  <a:pt x="7391534" y="764902"/>
                  <a:pt x="7391219" y="770257"/>
                  <a:pt x="7392164" y="772462"/>
                </a:cubicBezTo>
                <a:cubicBezTo>
                  <a:pt x="7395314" y="772147"/>
                  <a:pt x="7396259" y="763327"/>
                  <a:pt x="7401299" y="770257"/>
                </a:cubicBezTo>
                <a:cubicBezTo>
                  <a:pt x="7402244" y="771832"/>
                  <a:pt x="7402874" y="769627"/>
                  <a:pt x="7403819" y="768997"/>
                </a:cubicBezTo>
                <a:cubicBezTo>
                  <a:pt x="7408858" y="764587"/>
                  <a:pt x="7408544" y="769312"/>
                  <a:pt x="7409488" y="772462"/>
                </a:cubicBezTo>
                <a:cubicBezTo>
                  <a:pt x="7412008" y="771517"/>
                  <a:pt x="7412638" y="767737"/>
                  <a:pt x="7416103" y="767737"/>
                </a:cubicBezTo>
                <a:cubicBezTo>
                  <a:pt x="7416733" y="768367"/>
                  <a:pt x="7417678" y="768997"/>
                  <a:pt x="7417993" y="769627"/>
                </a:cubicBezTo>
                <a:cubicBezTo>
                  <a:pt x="7423978" y="780336"/>
                  <a:pt x="7422403" y="778762"/>
                  <a:pt x="7413268" y="784116"/>
                </a:cubicBezTo>
                <a:cubicBezTo>
                  <a:pt x="7410434" y="785691"/>
                  <a:pt x="7411694" y="786636"/>
                  <a:pt x="7413268" y="788211"/>
                </a:cubicBezTo>
                <a:cubicBezTo>
                  <a:pt x="7442563" y="780966"/>
                  <a:pt x="7471857" y="773406"/>
                  <a:pt x="7501152" y="765847"/>
                </a:cubicBezTo>
                <a:cubicBezTo>
                  <a:pt x="7550291" y="753247"/>
                  <a:pt x="7599745" y="740332"/>
                  <a:pt x="7648884" y="727417"/>
                </a:cubicBezTo>
                <a:cubicBezTo>
                  <a:pt x="7653609" y="726157"/>
                  <a:pt x="7657703" y="726157"/>
                  <a:pt x="7662113" y="727417"/>
                </a:cubicBezTo>
                <a:cubicBezTo>
                  <a:pt x="7670303" y="729307"/>
                  <a:pt x="7678493" y="732457"/>
                  <a:pt x="7687313" y="733402"/>
                </a:cubicBezTo>
                <a:cubicBezTo>
                  <a:pt x="7687313" y="667255"/>
                  <a:pt x="7687313" y="601421"/>
                  <a:pt x="7687313" y="535272"/>
                </a:cubicBezTo>
                <a:cubicBezTo>
                  <a:pt x="7687313" y="494323"/>
                  <a:pt x="7687313" y="453059"/>
                  <a:pt x="7687313" y="411795"/>
                </a:cubicBezTo>
                <a:cubicBezTo>
                  <a:pt x="7687313" y="402660"/>
                  <a:pt x="7687313" y="402660"/>
                  <a:pt x="7696133" y="402660"/>
                </a:cubicBezTo>
                <a:cubicBezTo>
                  <a:pt x="7700858" y="402660"/>
                  <a:pt x="7705898" y="402975"/>
                  <a:pt x="7710622" y="402975"/>
                </a:cubicBezTo>
                <a:cubicBezTo>
                  <a:pt x="7715977" y="402975"/>
                  <a:pt x="7721647" y="402660"/>
                  <a:pt x="7727002" y="402660"/>
                </a:cubicBezTo>
                <a:cubicBezTo>
                  <a:pt x="7730467" y="402660"/>
                  <a:pt x="7732042" y="404550"/>
                  <a:pt x="7732042" y="408015"/>
                </a:cubicBezTo>
                <a:cubicBezTo>
                  <a:pt x="7732042" y="409275"/>
                  <a:pt x="7732042" y="410535"/>
                  <a:pt x="7732042" y="411795"/>
                </a:cubicBezTo>
                <a:cubicBezTo>
                  <a:pt x="7732042" y="522673"/>
                  <a:pt x="7732042" y="633865"/>
                  <a:pt x="7732042" y="745057"/>
                </a:cubicBezTo>
                <a:cubicBezTo>
                  <a:pt x="7744012" y="749467"/>
                  <a:pt x="7756926" y="751987"/>
                  <a:pt x="7769211" y="755137"/>
                </a:cubicBezTo>
                <a:cubicBezTo>
                  <a:pt x="7773936" y="756397"/>
                  <a:pt x="7778346" y="760177"/>
                  <a:pt x="7783701" y="758602"/>
                </a:cubicBezTo>
                <a:cubicBezTo>
                  <a:pt x="7783701" y="644260"/>
                  <a:pt x="7783701" y="529917"/>
                  <a:pt x="7783701" y="415575"/>
                </a:cubicBezTo>
                <a:cubicBezTo>
                  <a:pt x="7783701" y="401085"/>
                  <a:pt x="7782126" y="402660"/>
                  <a:pt x="7796616" y="402660"/>
                </a:cubicBezTo>
                <a:cubicBezTo>
                  <a:pt x="7800396" y="402660"/>
                  <a:pt x="7803860" y="402975"/>
                  <a:pt x="7807325" y="402975"/>
                </a:cubicBezTo>
                <a:cubicBezTo>
                  <a:pt x="7812365" y="402975"/>
                  <a:pt x="7817720" y="402975"/>
                  <a:pt x="7822760" y="402660"/>
                </a:cubicBezTo>
                <a:cubicBezTo>
                  <a:pt x="7827485" y="402345"/>
                  <a:pt x="7829060" y="404550"/>
                  <a:pt x="7828745" y="408960"/>
                </a:cubicBezTo>
                <a:cubicBezTo>
                  <a:pt x="7828745" y="411795"/>
                  <a:pt x="7828745" y="414315"/>
                  <a:pt x="7828745" y="416835"/>
                </a:cubicBezTo>
                <a:cubicBezTo>
                  <a:pt x="7828745" y="534642"/>
                  <a:pt x="7828745" y="652765"/>
                  <a:pt x="7828745" y="770572"/>
                </a:cubicBezTo>
                <a:cubicBezTo>
                  <a:pt x="7841660" y="774036"/>
                  <a:pt x="7854260" y="777186"/>
                  <a:pt x="7867174" y="780652"/>
                </a:cubicBezTo>
                <a:cubicBezTo>
                  <a:pt x="7869064" y="780022"/>
                  <a:pt x="7870954" y="779706"/>
                  <a:pt x="7870954" y="777186"/>
                </a:cubicBezTo>
                <a:cubicBezTo>
                  <a:pt x="7870954" y="774036"/>
                  <a:pt x="7870954" y="771202"/>
                  <a:pt x="7870954" y="768367"/>
                </a:cubicBezTo>
                <a:cubicBezTo>
                  <a:pt x="7870954" y="696548"/>
                  <a:pt x="7870954" y="625046"/>
                  <a:pt x="7870954" y="553542"/>
                </a:cubicBezTo>
                <a:cubicBezTo>
                  <a:pt x="7870954" y="549762"/>
                  <a:pt x="7871269" y="545667"/>
                  <a:pt x="7871269" y="541887"/>
                </a:cubicBezTo>
                <a:cubicBezTo>
                  <a:pt x="7870954" y="534327"/>
                  <a:pt x="7870639" y="526452"/>
                  <a:pt x="7870639" y="518892"/>
                </a:cubicBezTo>
                <a:cubicBezTo>
                  <a:pt x="7870639" y="511018"/>
                  <a:pt x="7870954" y="511018"/>
                  <a:pt x="7878514" y="511018"/>
                </a:cubicBezTo>
                <a:cubicBezTo>
                  <a:pt x="7895524" y="511018"/>
                  <a:pt x="7912533" y="511018"/>
                  <a:pt x="7929543" y="511018"/>
                </a:cubicBezTo>
                <a:cubicBezTo>
                  <a:pt x="7942458" y="511018"/>
                  <a:pt x="7955058" y="511018"/>
                  <a:pt x="7967972" y="511018"/>
                </a:cubicBezTo>
                <a:cubicBezTo>
                  <a:pt x="7970807" y="511018"/>
                  <a:pt x="7974272" y="511963"/>
                  <a:pt x="7977107" y="509758"/>
                </a:cubicBezTo>
                <a:cubicBezTo>
                  <a:pt x="7976792" y="500308"/>
                  <a:pt x="7976792" y="490543"/>
                  <a:pt x="7976792" y="481093"/>
                </a:cubicBezTo>
                <a:cubicBezTo>
                  <a:pt x="7976792" y="479203"/>
                  <a:pt x="7976477" y="476683"/>
                  <a:pt x="7979627" y="476368"/>
                </a:cubicBezTo>
                <a:cubicBezTo>
                  <a:pt x="7983722" y="476054"/>
                  <a:pt x="7983407" y="478888"/>
                  <a:pt x="7983407" y="481409"/>
                </a:cubicBezTo>
                <a:cubicBezTo>
                  <a:pt x="7983722" y="491173"/>
                  <a:pt x="7983722" y="501253"/>
                  <a:pt x="7983722" y="511018"/>
                </a:cubicBezTo>
                <a:cubicBezTo>
                  <a:pt x="7986242" y="511018"/>
                  <a:pt x="7988447" y="511018"/>
                  <a:pt x="7990967" y="511018"/>
                </a:cubicBezTo>
                <a:cubicBezTo>
                  <a:pt x="7990967" y="502828"/>
                  <a:pt x="7991282" y="494323"/>
                  <a:pt x="7991282" y="486133"/>
                </a:cubicBezTo>
                <a:cubicBezTo>
                  <a:pt x="7991282" y="484243"/>
                  <a:pt x="7991282" y="482353"/>
                  <a:pt x="7991282" y="480463"/>
                </a:cubicBezTo>
                <a:cubicBezTo>
                  <a:pt x="7991282" y="477944"/>
                  <a:pt x="7992227" y="476054"/>
                  <a:pt x="7995062" y="476054"/>
                </a:cubicBezTo>
                <a:cubicBezTo>
                  <a:pt x="7998212" y="475739"/>
                  <a:pt x="7998842" y="477629"/>
                  <a:pt x="7998842" y="480149"/>
                </a:cubicBezTo>
                <a:cubicBezTo>
                  <a:pt x="7998842" y="488023"/>
                  <a:pt x="7998842" y="496213"/>
                  <a:pt x="7998842" y="504088"/>
                </a:cubicBezTo>
                <a:cubicBezTo>
                  <a:pt x="7998842" y="506293"/>
                  <a:pt x="7999157" y="508498"/>
                  <a:pt x="7999157" y="510703"/>
                </a:cubicBezTo>
                <a:cubicBezTo>
                  <a:pt x="8001676" y="510703"/>
                  <a:pt x="8003881" y="510703"/>
                  <a:pt x="8006401" y="510703"/>
                </a:cubicBezTo>
                <a:cubicBezTo>
                  <a:pt x="8006401" y="502513"/>
                  <a:pt x="8006716" y="494008"/>
                  <a:pt x="8006716" y="485818"/>
                </a:cubicBezTo>
                <a:cubicBezTo>
                  <a:pt x="8006716" y="483929"/>
                  <a:pt x="8006716" y="482039"/>
                  <a:pt x="8006716" y="480149"/>
                </a:cubicBezTo>
                <a:cubicBezTo>
                  <a:pt x="8006716" y="477313"/>
                  <a:pt x="8007661" y="475739"/>
                  <a:pt x="8010497" y="475739"/>
                </a:cubicBezTo>
                <a:cubicBezTo>
                  <a:pt x="8013646" y="475424"/>
                  <a:pt x="8014276" y="477313"/>
                  <a:pt x="8014276" y="479833"/>
                </a:cubicBezTo>
                <a:cubicBezTo>
                  <a:pt x="8014276" y="487709"/>
                  <a:pt x="8014276" y="495898"/>
                  <a:pt x="8014276" y="503773"/>
                </a:cubicBezTo>
                <a:cubicBezTo>
                  <a:pt x="8014276" y="505978"/>
                  <a:pt x="8014591" y="508183"/>
                  <a:pt x="8014591" y="510388"/>
                </a:cubicBezTo>
                <a:cubicBezTo>
                  <a:pt x="8044515" y="510388"/>
                  <a:pt x="8074755" y="510388"/>
                  <a:pt x="8104995" y="510388"/>
                </a:cubicBezTo>
                <a:cubicBezTo>
                  <a:pt x="8104679" y="504718"/>
                  <a:pt x="8107514" y="503143"/>
                  <a:pt x="8113184" y="503143"/>
                </a:cubicBezTo>
                <a:cubicBezTo>
                  <a:pt x="8138384" y="503458"/>
                  <a:pt x="8163898" y="503773"/>
                  <a:pt x="8189098" y="503143"/>
                </a:cubicBezTo>
                <a:cubicBezTo>
                  <a:pt x="8195398" y="502828"/>
                  <a:pt x="8198548" y="505033"/>
                  <a:pt x="8199807" y="510703"/>
                </a:cubicBezTo>
                <a:cubicBezTo>
                  <a:pt x="8213982" y="510703"/>
                  <a:pt x="8213982" y="510703"/>
                  <a:pt x="8213037" y="525192"/>
                </a:cubicBezTo>
                <a:cubicBezTo>
                  <a:pt x="8213037" y="530862"/>
                  <a:pt x="8213037" y="536532"/>
                  <a:pt x="8212722" y="542202"/>
                </a:cubicBezTo>
                <a:cubicBezTo>
                  <a:pt x="8212722" y="545982"/>
                  <a:pt x="8213037" y="549447"/>
                  <a:pt x="8213037" y="552912"/>
                </a:cubicBezTo>
                <a:lnTo>
                  <a:pt x="8213037" y="899839"/>
                </a:lnTo>
                <a:lnTo>
                  <a:pt x="8222585" y="899839"/>
                </a:lnTo>
                <a:lnTo>
                  <a:pt x="8222588" y="899188"/>
                </a:lnTo>
                <a:lnTo>
                  <a:pt x="8361723" y="819757"/>
                </a:lnTo>
                <a:lnTo>
                  <a:pt x="8400660" y="891401"/>
                </a:lnTo>
                <a:lnTo>
                  <a:pt x="8528374" y="819237"/>
                </a:lnTo>
                <a:lnTo>
                  <a:pt x="8564716" y="886728"/>
                </a:lnTo>
                <a:cubicBezTo>
                  <a:pt x="8564716" y="832735"/>
                  <a:pt x="8565754" y="778742"/>
                  <a:pt x="8566273" y="724750"/>
                </a:cubicBezTo>
                <a:cubicBezTo>
                  <a:pt x="8566273" y="702426"/>
                  <a:pt x="8567831" y="700868"/>
                  <a:pt x="8590674" y="700868"/>
                </a:cubicBezTo>
                <a:cubicBezTo>
                  <a:pt x="8620266" y="700868"/>
                  <a:pt x="8617151" y="704503"/>
                  <a:pt x="8617151" y="674910"/>
                </a:cubicBezTo>
                <a:cubicBezTo>
                  <a:pt x="8617151" y="658297"/>
                  <a:pt x="8617151" y="641165"/>
                  <a:pt x="8617151" y="624552"/>
                </a:cubicBezTo>
                <a:cubicBezTo>
                  <a:pt x="8617670" y="600671"/>
                  <a:pt x="8628053" y="582500"/>
                  <a:pt x="8649858" y="572636"/>
                </a:cubicBezTo>
                <a:cubicBezTo>
                  <a:pt x="8659722" y="568483"/>
                  <a:pt x="8663356" y="562771"/>
                  <a:pt x="8662318" y="552388"/>
                </a:cubicBezTo>
                <a:cubicBezTo>
                  <a:pt x="8661280" y="543043"/>
                  <a:pt x="8661799" y="533698"/>
                  <a:pt x="8661799" y="524353"/>
                </a:cubicBezTo>
                <a:cubicBezTo>
                  <a:pt x="8661280" y="514490"/>
                  <a:pt x="8665952" y="509298"/>
                  <a:pt x="8675816" y="509298"/>
                </a:cubicBezTo>
                <a:cubicBezTo>
                  <a:pt x="8715273" y="509298"/>
                  <a:pt x="8754729" y="509298"/>
                  <a:pt x="8794185" y="509298"/>
                </a:cubicBezTo>
                <a:cubicBezTo>
                  <a:pt x="8806645" y="509298"/>
                  <a:pt x="8810279" y="516566"/>
                  <a:pt x="8810279" y="527469"/>
                </a:cubicBezTo>
                <a:cubicBezTo>
                  <a:pt x="8809760" y="563810"/>
                  <a:pt x="8809760" y="600151"/>
                  <a:pt x="8810279" y="636493"/>
                </a:cubicBezTo>
                <a:cubicBezTo>
                  <a:pt x="8810279" y="649991"/>
                  <a:pt x="8811317" y="664008"/>
                  <a:pt x="8811837" y="677506"/>
                </a:cubicBezTo>
                <a:cubicBezTo>
                  <a:pt x="8811837" y="681659"/>
                  <a:pt x="8811837" y="686851"/>
                  <a:pt x="8817547" y="686332"/>
                </a:cubicBezTo>
                <a:cubicBezTo>
                  <a:pt x="8822739" y="685813"/>
                  <a:pt x="8822220" y="681659"/>
                  <a:pt x="8822220" y="678025"/>
                </a:cubicBezTo>
                <a:cubicBezTo>
                  <a:pt x="8822220" y="669200"/>
                  <a:pt x="8822739" y="660893"/>
                  <a:pt x="8822220" y="652587"/>
                </a:cubicBezTo>
                <a:cubicBezTo>
                  <a:pt x="8821701" y="641684"/>
                  <a:pt x="8826373" y="635454"/>
                  <a:pt x="8837795" y="637012"/>
                </a:cubicBezTo>
                <a:cubicBezTo>
                  <a:pt x="8849216" y="638569"/>
                  <a:pt x="8854408" y="634935"/>
                  <a:pt x="8854408" y="621956"/>
                </a:cubicBezTo>
                <a:cubicBezTo>
                  <a:pt x="8854408" y="603786"/>
                  <a:pt x="8863234" y="589249"/>
                  <a:pt x="8877770" y="577828"/>
                </a:cubicBezTo>
                <a:cubicBezTo>
                  <a:pt x="8884000" y="572636"/>
                  <a:pt x="8891268" y="569521"/>
                  <a:pt x="8895941" y="561214"/>
                </a:cubicBezTo>
                <a:cubicBezTo>
                  <a:pt x="8900613" y="552908"/>
                  <a:pt x="8927610" y="556023"/>
                  <a:pt x="8932282" y="564848"/>
                </a:cubicBezTo>
                <a:cubicBezTo>
                  <a:pt x="8934359" y="568483"/>
                  <a:pt x="8936955" y="570559"/>
                  <a:pt x="8940589" y="572636"/>
                </a:cubicBezTo>
                <a:cubicBezTo>
                  <a:pt x="8962394" y="585096"/>
                  <a:pt x="8972258" y="604305"/>
                  <a:pt x="8972258" y="628706"/>
                </a:cubicBezTo>
                <a:cubicBezTo>
                  <a:pt x="8972258" y="659855"/>
                  <a:pt x="8972258" y="691523"/>
                  <a:pt x="8972258" y="722673"/>
                </a:cubicBezTo>
                <a:lnTo>
                  <a:pt x="9035595" y="719558"/>
                </a:lnTo>
                <a:lnTo>
                  <a:pt x="9068822" y="146923"/>
                </a:lnTo>
                <a:lnTo>
                  <a:pt x="9146177" y="146923"/>
                </a:lnTo>
                <a:lnTo>
                  <a:pt x="9180961" y="716962"/>
                </a:lnTo>
                <a:lnTo>
                  <a:pt x="9225090" y="715405"/>
                </a:lnTo>
                <a:close/>
              </a:path>
            </a:pathLst>
          </a:custGeom>
          <a:solidFill>
            <a:schemeClr val="bg1">
              <a:alpha val="1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nvGrpSpPr>
          <p:cNvPr id="3" name="Group 2">
            <a:extLst>
              <a:ext uri="{FF2B5EF4-FFF2-40B4-BE49-F238E27FC236}">
                <a16:creationId xmlns:a16="http://schemas.microsoft.com/office/drawing/2014/main" id="{D3D5F95E-A64B-4CF3-896F-F3B321903429}"/>
              </a:ext>
            </a:extLst>
          </p:cNvPr>
          <p:cNvGrpSpPr/>
          <p:nvPr userDrawn="1"/>
        </p:nvGrpSpPr>
        <p:grpSpPr>
          <a:xfrm>
            <a:off x="218787" y="2622975"/>
            <a:ext cx="11517590" cy="3946317"/>
            <a:chOff x="218787" y="2622975"/>
            <a:chExt cx="11517590" cy="3946317"/>
          </a:xfrm>
          <a:solidFill>
            <a:schemeClr val="bg1">
              <a:alpha val="5000"/>
            </a:schemeClr>
          </a:solidFill>
        </p:grpSpPr>
        <p:grpSp>
          <p:nvGrpSpPr>
            <p:cNvPr id="4" name="Group 3">
              <a:extLst>
                <a:ext uri="{FF2B5EF4-FFF2-40B4-BE49-F238E27FC236}">
                  <a16:creationId xmlns:a16="http://schemas.microsoft.com/office/drawing/2014/main" id="{AC598B69-F9FE-4154-B147-8335AB2E2E58}"/>
                </a:ext>
              </a:extLst>
            </p:cNvPr>
            <p:cNvGrpSpPr/>
            <p:nvPr/>
          </p:nvGrpSpPr>
          <p:grpSpPr>
            <a:xfrm rot="12366785">
              <a:off x="10129411" y="5122363"/>
              <a:ext cx="1606966" cy="1446929"/>
              <a:chOff x="6486650" y="2648852"/>
              <a:chExt cx="2745260" cy="2471860"/>
            </a:xfrm>
            <a:grpFill/>
          </p:grpSpPr>
          <p:sp>
            <p:nvSpPr>
              <p:cNvPr id="39" name="Freeform: Shape 38">
                <a:extLst>
                  <a:ext uri="{FF2B5EF4-FFF2-40B4-BE49-F238E27FC236}">
                    <a16:creationId xmlns:a16="http://schemas.microsoft.com/office/drawing/2014/main" id="{B2891B34-6F88-4D11-AD5C-410F7771AEA2}"/>
                  </a:ext>
                </a:extLst>
              </p:cNvPr>
              <p:cNvSpPr/>
              <p:nvPr/>
            </p:nvSpPr>
            <p:spPr>
              <a:xfrm>
                <a:off x="6486650" y="3806165"/>
                <a:ext cx="1318090" cy="1314547"/>
              </a:xfrm>
              <a:custGeom>
                <a:avLst/>
                <a:gdLst>
                  <a:gd name="connsiteX0" fmla="*/ 0 w 1919435"/>
                  <a:gd name="connsiteY0" fmla="*/ 987194 h 1914275"/>
                  <a:gd name="connsiteX1" fmla="*/ 37667 w 1919435"/>
                  <a:gd name="connsiteY1" fmla="*/ 959846 h 1914275"/>
                  <a:gd name="connsiteX2" fmla="*/ 169757 w 1919435"/>
                  <a:gd name="connsiteY2" fmla="*/ 922696 h 1914275"/>
                  <a:gd name="connsiteX3" fmla="*/ 215163 w 1919435"/>
                  <a:gd name="connsiteY3" fmla="*/ 872130 h 1914275"/>
                  <a:gd name="connsiteX4" fmla="*/ 217743 w 1919435"/>
                  <a:gd name="connsiteY4" fmla="*/ 850459 h 1914275"/>
                  <a:gd name="connsiteX5" fmla="*/ 189364 w 1919435"/>
                  <a:gd name="connsiteY5" fmla="*/ 797830 h 1914275"/>
                  <a:gd name="connsiteX6" fmla="*/ 69657 w 1919435"/>
                  <a:gd name="connsiteY6" fmla="*/ 727657 h 1914275"/>
                  <a:gd name="connsiteX7" fmla="*/ 43858 w 1919435"/>
                  <a:gd name="connsiteY7" fmla="*/ 664708 h 1914275"/>
                  <a:gd name="connsiteX8" fmla="*/ 46438 w 1919435"/>
                  <a:gd name="connsiteY8" fmla="*/ 655936 h 1914275"/>
                  <a:gd name="connsiteX9" fmla="*/ 114547 w 1919435"/>
                  <a:gd name="connsiteY9" fmla="*/ 608982 h 1914275"/>
                  <a:gd name="connsiteX10" fmla="*/ 241478 w 1919435"/>
                  <a:gd name="connsiteY10" fmla="*/ 623429 h 1914275"/>
                  <a:gd name="connsiteX11" fmla="*/ 306491 w 1919435"/>
                  <a:gd name="connsiteY11" fmla="*/ 593503 h 1914275"/>
                  <a:gd name="connsiteX12" fmla="*/ 301331 w 1919435"/>
                  <a:gd name="connsiteY12" fmla="*/ 505271 h 1914275"/>
                  <a:gd name="connsiteX13" fmla="*/ 222386 w 1919435"/>
                  <a:gd name="connsiteY13" fmla="*/ 400527 h 1914275"/>
                  <a:gd name="connsiteX14" fmla="*/ 222386 w 1919435"/>
                  <a:gd name="connsiteY14" fmla="*/ 342222 h 1914275"/>
                  <a:gd name="connsiteX15" fmla="*/ 248185 w 1919435"/>
                  <a:gd name="connsiteY15" fmla="*/ 313327 h 1914275"/>
                  <a:gd name="connsiteX16" fmla="*/ 303395 w 1919435"/>
                  <a:gd name="connsiteY16" fmla="*/ 307135 h 1914275"/>
                  <a:gd name="connsiteX17" fmla="*/ 420522 w 1919435"/>
                  <a:gd name="connsiteY17" fmla="*/ 373180 h 1914275"/>
                  <a:gd name="connsiteX18" fmla="*/ 525265 w 1919435"/>
                  <a:gd name="connsiteY18" fmla="*/ 343770 h 1914275"/>
                  <a:gd name="connsiteX19" fmla="*/ 527845 w 1919435"/>
                  <a:gd name="connsiteY19" fmla="*/ 298364 h 1914275"/>
                  <a:gd name="connsiteX20" fmla="*/ 493791 w 1919435"/>
                  <a:gd name="connsiteY20" fmla="*/ 166789 h 1914275"/>
                  <a:gd name="connsiteX21" fmla="*/ 518557 w 1919435"/>
                  <a:gd name="connsiteY21" fmla="*/ 105904 h 1914275"/>
                  <a:gd name="connsiteX22" fmla="*/ 537649 w 1919435"/>
                  <a:gd name="connsiteY22" fmla="*/ 95585 h 1914275"/>
                  <a:gd name="connsiteX23" fmla="*/ 608853 w 1919435"/>
                  <a:gd name="connsiteY23" fmla="*/ 113128 h 1914275"/>
                  <a:gd name="connsiteX24" fmla="*/ 690894 w 1919435"/>
                  <a:gd name="connsiteY24" fmla="*/ 217355 h 1914275"/>
                  <a:gd name="connsiteX25" fmla="*/ 802861 w 1919435"/>
                  <a:gd name="connsiteY25" fmla="*/ 216839 h 1914275"/>
                  <a:gd name="connsiteX26" fmla="*/ 816277 w 1919435"/>
                  <a:gd name="connsiteY26" fmla="*/ 169369 h 1914275"/>
                  <a:gd name="connsiteX27" fmla="*/ 832788 w 1919435"/>
                  <a:gd name="connsiteY27" fmla="*/ 48631 h 1914275"/>
                  <a:gd name="connsiteX28" fmla="*/ 877677 w 1919435"/>
                  <a:gd name="connsiteY28" fmla="*/ 2193 h 1914275"/>
                  <a:gd name="connsiteX29" fmla="*/ 917924 w 1919435"/>
                  <a:gd name="connsiteY29" fmla="*/ 645 h 1914275"/>
                  <a:gd name="connsiteX30" fmla="*/ 956106 w 1919435"/>
                  <a:gd name="connsiteY30" fmla="*/ 31603 h 1914275"/>
                  <a:gd name="connsiteX31" fmla="*/ 993772 w 1919435"/>
                  <a:gd name="connsiteY31" fmla="*/ 163693 h 1914275"/>
                  <a:gd name="connsiteX32" fmla="*/ 1089745 w 1919435"/>
                  <a:gd name="connsiteY32" fmla="*/ 217871 h 1914275"/>
                  <a:gd name="connsiteX33" fmla="*/ 1120703 w 1919435"/>
                  <a:gd name="connsiteY33" fmla="*/ 191040 h 1914275"/>
                  <a:gd name="connsiteX34" fmla="*/ 1192940 w 1919435"/>
                  <a:gd name="connsiteY34" fmla="*/ 68754 h 1914275"/>
                  <a:gd name="connsiteX35" fmla="*/ 1251245 w 1919435"/>
                  <a:gd name="connsiteY35" fmla="*/ 44503 h 1914275"/>
                  <a:gd name="connsiteX36" fmla="*/ 1309035 w 1919435"/>
                  <a:gd name="connsiteY36" fmla="*/ 137895 h 1914275"/>
                  <a:gd name="connsiteX37" fmla="*/ 1294587 w 1919435"/>
                  <a:gd name="connsiteY37" fmla="*/ 255538 h 1914275"/>
                  <a:gd name="connsiteX38" fmla="*/ 1294587 w 1919435"/>
                  <a:gd name="connsiteY38" fmla="*/ 267921 h 1914275"/>
                  <a:gd name="connsiteX39" fmla="*/ 1399331 w 1919435"/>
                  <a:gd name="connsiteY39" fmla="*/ 314359 h 1914275"/>
                  <a:gd name="connsiteX40" fmla="*/ 1514394 w 1919435"/>
                  <a:gd name="connsiteY40" fmla="*/ 228191 h 1914275"/>
                  <a:gd name="connsiteX41" fmla="*/ 1584050 w 1919435"/>
                  <a:gd name="connsiteY41" fmla="*/ 229223 h 1914275"/>
                  <a:gd name="connsiteX42" fmla="*/ 1594886 w 1919435"/>
                  <a:gd name="connsiteY42" fmla="*/ 238510 h 1914275"/>
                  <a:gd name="connsiteX43" fmla="*/ 1606754 w 1919435"/>
                  <a:gd name="connsiteY43" fmla="*/ 317971 h 1914275"/>
                  <a:gd name="connsiteX44" fmla="*/ 1543288 w 1919435"/>
                  <a:gd name="connsiteY44" fmla="*/ 430970 h 1914275"/>
                  <a:gd name="connsiteX45" fmla="*/ 1552060 w 1919435"/>
                  <a:gd name="connsiteY45" fmla="*/ 504239 h 1914275"/>
                  <a:gd name="connsiteX46" fmla="*/ 1619137 w 1919435"/>
                  <a:gd name="connsiteY46" fmla="*/ 531069 h 1914275"/>
                  <a:gd name="connsiteX47" fmla="*/ 1754839 w 1919435"/>
                  <a:gd name="connsiteY47" fmla="*/ 495467 h 1914275"/>
                  <a:gd name="connsiteX48" fmla="*/ 1812629 w 1919435"/>
                  <a:gd name="connsiteY48" fmla="*/ 517654 h 1914275"/>
                  <a:gd name="connsiteX49" fmla="*/ 1830172 w 1919435"/>
                  <a:gd name="connsiteY49" fmla="*/ 552225 h 1914275"/>
                  <a:gd name="connsiteX50" fmla="*/ 1815724 w 1919435"/>
                  <a:gd name="connsiteY50" fmla="*/ 603306 h 1914275"/>
                  <a:gd name="connsiteX51" fmla="*/ 1699630 w 1919435"/>
                  <a:gd name="connsiteY51" fmla="*/ 695666 h 1914275"/>
                  <a:gd name="connsiteX52" fmla="*/ 1678990 w 1919435"/>
                  <a:gd name="connsiteY52" fmla="*/ 751908 h 1914275"/>
                  <a:gd name="connsiteX53" fmla="*/ 1685182 w 1919435"/>
                  <a:gd name="connsiteY53" fmla="*/ 774611 h 1914275"/>
                  <a:gd name="connsiteX54" fmla="*/ 1732652 w 1919435"/>
                  <a:gd name="connsiteY54" fmla="*/ 815373 h 1914275"/>
                  <a:gd name="connsiteX55" fmla="*/ 1872998 w 1919435"/>
                  <a:gd name="connsiteY55" fmla="*/ 834464 h 1914275"/>
                  <a:gd name="connsiteX56" fmla="*/ 1918404 w 1919435"/>
                  <a:gd name="connsiteY56" fmla="*/ 879354 h 1914275"/>
                  <a:gd name="connsiteX57" fmla="*/ 1919952 w 1919435"/>
                  <a:gd name="connsiteY57" fmla="*/ 919600 h 1914275"/>
                  <a:gd name="connsiteX58" fmla="*/ 1886930 w 1919435"/>
                  <a:gd name="connsiteY58" fmla="*/ 958299 h 1914275"/>
                  <a:gd name="connsiteX59" fmla="*/ 1754839 w 1919435"/>
                  <a:gd name="connsiteY59" fmla="*/ 995965 h 1914275"/>
                  <a:gd name="connsiteX60" fmla="*/ 1701178 w 1919435"/>
                  <a:gd name="connsiteY60" fmla="*/ 1085229 h 1914275"/>
                  <a:gd name="connsiteX61" fmla="*/ 1728524 w 1919435"/>
                  <a:gd name="connsiteY61" fmla="*/ 1121348 h 1914275"/>
                  <a:gd name="connsiteX62" fmla="*/ 1849779 w 1919435"/>
                  <a:gd name="connsiteY62" fmla="*/ 1192552 h 1914275"/>
                  <a:gd name="connsiteX63" fmla="*/ 1876094 w 1919435"/>
                  <a:gd name="connsiteY63" fmla="*/ 1253954 h 1914275"/>
                  <a:gd name="connsiteX64" fmla="*/ 1875062 w 1919435"/>
                  <a:gd name="connsiteY64" fmla="*/ 1260145 h 1914275"/>
                  <a:gd name="connsiteX65" fmla="*/ 1802309 w 1919435"/>
                  <a:gd name="connsiteY65" fmla="*/ 1312259 h 1914275"/>
                  <a:gd name="connsiteX66" fmla="*/ 1675379 w 1919435"/>
                  <a:gd name="connsiteY66" fmla="*/ 1296264 h 1914275"/>
                  <a:gd name="connsiteX67" fmla="*/ 1611398 w 1919435"/>
                  <a:gd name="connsiteY67" fmla="*/ 1329286 h 1914275"/>
                  <a:gd name="connsiteX68" fmla="*/ 1610365 w 1919435"/>
                  <a:gd name="connsiteY68" fmla="*/ 1405651 h 1914275"/>
                  <a:gd name="connsiteX69" fmla="*/ 1692406 w 1919435"/>
                  <a:gd name="connsiteY69" fmla="*/ 1514006 h 1914275"/>
                  <a:gd name="connsiteX70" fmla="*/ 1692406 w 1919435"/>
                  <a:gd name="connsiteY70" fmla="*/ 1584695 h 1914275"/>
                  <a:gd name="connsiteX71" fmla="*/ 1689310 w 1919435"/>
                  <a:gd name="connsiteY71" fmla="*/ 1588307 h 1914275"/>
                  <a:gd name="connsiteX72" fmla="*/ 1600562 w 1919435"/>
                  <a:gd name="connsiteY72" fmla="*/ 1605850 h 1914275"/>
                  <a:gd name="connsiteX73" fmla="*/ 1490659 w 1919435"/>
                  <a:gd name="connsiteY73" fmla="*/ 1543933 h 1914275"/>
                  <a:gd name="connsiteX74" fmla="*/ 1415326 w 1919435"/>
                  <a:gd name="connsiteY74" fmla="*/ 1554769 h 1914275"/>
                  <a:gd name="connsiteX75" fmla="*/ 1391075 w 1919435"/>
                  <a:gd name="connsiteY75" fmla="*/ 1622877 h 1914275"/>
                  <a:gd name="connsiteX76" fmla="*/ 1426677 w 1919435"/>
                  <a:gd name="connsiteY76" fmla="*/ 1760128 h 1914275"/>
                  <a:gd name="connsiteX77" fmla="*/ 1406554 w 1919435"/>
                  <a:gd name="connsiteY77" fmla="*/ 1811725 h 1914275"/>
                  <a:gd name="connsiteX78" fmla="*/ 1370436 w 1919435"/>
                  <a:gd name="connsiteY78" fmla="*/ 1830300 h 1914275"/>
                  <a:gd name="connsiteX79" fmla="*/ 1316258 w 1919435"/>
                  <a:gd name="connsiteY79" fmla="*/ 1815337 h 1914275"/>
                  <a:gd name="connsiteX80" fmla="*/ 1231122 w 1919435"/>
                  <a:gd name="connsiteY80" fmla="*/ 1707498 h 1914275"/>
                  <a:gd name="connsiteX81" fmla="*/ 1121219 w 1919435"/>
                  <a:gd name="connsiteY81" fmla="*/ 1698210 h 1914275"/>
                  <a:gd name="connsiteX82" fmla="*/ 1106771 w 1919435"/>
                  <a:gd name="connsiteY82" fmla="*/ 1727105 h 1914275"/>
                  <a:gd name="connsiteX83" fmla="*/ 1087165 w 1919435"/>
                  <a:gd name="connsiteY83" fmla="*/ 1868999 h 1914275"/>
                  <a:gd name="connsiteX84" fmla="*/ 1050014 w 1919435"/>
                  <a:gd name="connsiteY84" fmla="*/ 1919049 h 1914275"/>
                  <a:gd name="connsiteX85" fmla="*/ 987581 w 1919435"/>
                  <a:gd name="connsiteY85" fmla="*/ 1919049 h 1914275"/>
                  <a:gd name="connsiteX86" fmla="*/ 960234 w 1919435"/>
                  <a:gd name="connsiteY86" fmla="*/ 1880866 h 1914275"/>
                  <a:gd name="connsiteX87" fmla="*/ 921535 w 1919435"/>
                  <a:gd name="connsiteY87" fmla="*/ 1744132 h 1914275"/>
                  <a:gd name="connsiteX88" fmla="*/ 875614 w 1919435"/>
                  <a:gd name="connsiteY88" fmla="*/ 1703886 h 1914275"/>
                  <a:gd name="connsiteX89" fmla="*/ 847751 w 1919435"/>
                  <a:gd name="connsiteY89" fmla="*/ 1700790 h 1914275"/>
                  <a:gd name="connsiteX90" fmla="*/ 800281 w 1919435"/>
                  <a:gd name="connsiteY90" fmla="*/ 1727105 h 1914275"/>
                  <a:gd name="connsiteX91" fmla="*/ 788414 w 1919435"/>
                  <a:gd name="connsiteY91" fmla="*/ 1747228 h 1914275"/>
                  <a:gd name="connsiteX92" fmla="*/ 723401 w 1919435"/>
                  <a:gd name="connsiteY92" fmla="*/ 1857131 h 1914275"/>
                  <a:gd name="connsiteX93" fmla="*/ 674383 w 1919435"/>
                  <a:gd name="connsiteY93" fmla="*/ 1877254 h 1914275"/>
                  <a:gd name="connsiteX94" fmla="*/ 634652 w 1919435"/>
                  <a:gd name="connsiteY94" fmla="*/ 1863839 h 1914275"/>
                  <a:gd name="connsiteX95" fmla="*/ 607822 w 1919435"/>
                  <a:gd name="connsiteY95" fmla="*/ 1813789 h 1914275"/>
                  <a:gd name="connsiteX96" fmla="*/ 624848 w 1919435"/>
                  <a:gd name="connsiteY96" fmla="*/ 1672927 h 1914275"/>
                  <a:gd name="connsiteX97" fmla="*/ 586150 w 1919435"/>
                  <a:gd name="connsiteY97" fmla="*/ 1607398 h 1914275"/>
                  <a:gd name="connsiteX98" fmla="*/ 514430 w 1919435"/>
                  <a:gd name="connsiteY98" fmla="*/ 1611010 h 1914275"/>
                  <a:gd name="connsiteX99" fmla="*/ 413814 w 1919435"/>
                  <a:gd name="connsiteY99" fmla="*/ 1687375 h 1914275"/>
                  <a:gd name="connsiteX100" fmla="*/ 324550 w 1919435"/>
                  <a:gd name="connsiteY100" fmla="*/ 1682215 h 1914275"/>
                  <a:gd name="connsiteX101" fmla="*/ 316810 w 1919435"/>
                  <a:gd name="connsiteY101" fmla="*/ 1674475 h 1914275"/>
                  <a:gd name="connsiteX102" fmla="*/ 309071 w 1919435"/>
                  <a:gd name="connsiteY102" fmla="*/ 1612558 h 1914275"/>
                  <a:gd name="connsiteX103" fmla="*/ 376148 w 1919435"/>
                  <a:gd name="connsiteY103" fmla="*/ 1492851 h 1914275"/>
                  <a:gd name="connsiteX104" fmla="*/ 387499 w 1919435"/>
                  <a:gd name="connsiteY104" fmla="*/ 1456217 h 1914275"/>
                  <a:gd name="connsiteX105" fmla="*/ 297203 w 1919435"/>
                  <a:gd name="connsiteY105" fmla="*/ 1391720 h 1914275"/>
                  <a:gd name="connsiteX106" fmla="*/ 158405 w 1919435"/>
                  <a:gd name="connsiteY106" fmla="*/ 1427838 h 1914275"/>
                  <a:gd name="connsiteX107" fmla="*/ 114031 w 1919435"/>
                  <a:gd name="connsiteY107" fmla="*/ 1412875 h 1914275"/>
                  <a:gd name="connsiteX108" fmla="*/ 91844 w 1919435"/>
                  <a:gd name="connsiteY108" fmla="*/ 1373660 h 1914275"/>
                  <a:gd name="connsiteX109" fmla="*/ 106808 w 1919435"/>
                  <a:gd name="connsiteY109" fmla="*/ 1315871 h 1914275"/>
                  <a:gd name="connsiteX110" fmla="*/ 209487 w 1919435"/>
                  <a:gd name="connsiteY110" fmla="*/ 1234347 h 1914275"/>
                  <a:gd name="connsiteX111" fmla="*/ 236834 w 1919435"/>
                  <a:gd name="connsiteY111" fmla="*/ 1151274 h 1914275"/>
                  <a:gd name="connsiteX112" fmla="*/ 181624 w 1919435"/>
                  <a:gd name="connsiteY112" fmla="*/ 1104836 h 1914275"/>
                  <a:gd name="connsiteX113" fmla="*/ 52114 w 1919435"/>
                  <a:gd name="connsiteY113" fmla="*/ 1087293 h 1914275"/>
                  <a:gd name="connsiteX114" fmla="*/ 1032 w 1919435"/>
                  <a:gd name="connsiteY114" fmla="*/ 1051175 h 1914275"/>
                  <a:gd name="connsiteX115" fmla="*/ 0 w 1919435"/>
                  <a:gd name="connsiteY115" fmla="*/ 987194 h 1914275"/>
                  <a:gd name="connsiteX116" fmla="*/ 1198616 w 1919435"/>
                  <a:gd name="connsiteY116" fmla="*/ 960879 h 1914275"/>
                  <a:gd name="connsiteX117" fmla="*/ 958686 w 1919435"/>
                  <a:gd name="connsiteY117" fmla="*/ 720949 h 1914275"/>
                  <a:gd name="connsiteX118" fmla="*/ 720304 w 1919435"/>
                  <a:gd name="connsiteY118" fmla="*/ 959331 h 1914275"/>
                  <a:gd name="connsiteX119" fmla="*/ 957654 w 1919435"/>
                  <a:gd name="connsiteY119" fmla="*/ 1198744 h 1914275"/>
                  <a:gd name="connsiteX120" fmla="*/ 1198616 w 1919435"/>
                  <a:gd name="connsiteY120" fmla="*/ 960879 h 191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919435" h="1914275">
                    <a:moveTo>
                      <a:pt x="0" y="987194"/>
                    </a:moveTo>
                    <a:cubicBezTo>
                      <a:pt x="8256" y="971714"/>
                      <a:pt x="21155" y="963975"/>
                      <a:pt x="37667" y="959846"/>
                    </a:cubicBezTo>
                    <a:cubicBezTo>
                      <a:pt x="82041" y="947979"/>
                      <a:pt x="125383" y="934564"/>
                      <a:pt x="169757" y="922696"/>
                    </a:cubicBezTo>
                    <a:cubicBezTo>
                      <a:pt x="196587" y="915473"/>
                      <a:pt x="212583" y="900509"/>
                      <a:pt x="215163" y="872130"/>
                    </a:cubicBezTo>
                    <a:cubicBezTo>
                      <a:pt x="215679" y="864907"/>
                      <a:pt x="216710" y="857683"/>
                      <a:pt x="217743" y="850459"/>
                    </a:cubicBezTo>
                    <a:cubicBezTo>
                      <a:pt x="220323" y="826209"/>
                      <a:pt x="209487" y="809697"/>
                      <a:pt x="189364" y="797830"/>
                    </a:cubicBezTo>
                    <a:cubicBezTo>
                      <a:pt x="149118" y="774611"/>
                      <a:pt x="109388" y="750876"/>
                      <a:pt x="69657" y="727657"/>
                    </a:cubicBezTo>
                    <a:cubicBezTo>
                      <a:pt x="40246" y="710629"/>
                      <a:pt x="35087" y="697730"/>
                      <a:pt x="43858" y="664708"/>
                    </a:cubicBezTo>
                    <a:cubicBezTo>
                      <a:pt x="44890" y="661612"/>
                      <a:pt x="45406" y="658516"/>
                      <a:pt x="46438" y="655936"/>
                    </a:cubicBezTo>
                    <a:cubicBezTo>
                      <a:pt x="59337" y="613110"/>
                      <a:pt x="70689" y="604854"/>
                      <a:pt x="114547" y="608982"/>
                    </a:cubicBezTo>
                    <a:cubicBezTo>
                      <a:pt x="156857" y="613110"/>
                      <a:pt x="199167" y="617754"/>
                      <a:pt x="241478" y="623429"/>
                    </a:cubicBezTo>
                    <a:cubicBezTo>
                      <a:pt x="275016" y="627557"/>
                      <a:pt x="289463" y="621881"/>
                      <a:pt x="306491" y="593503"/>
                    </a:cubicBezTo>
                    <a:cubicBezTo>
                      <a:pt x="330741" y="554288"/>
                      <a:pt x="329710" y="541905"/>
                      <a:pt x="301331" y="505271"/>
                    </a:cubicBezTo>
                    <a:cubicBezTo>
                      <a:pt x="274500" y="470700"/>
                      <a:pt x="248185" y="435614"/>
                      <a:pt x="222386" y="400527"/>
                    </a:cubicBezTo>
                    <a:cubicBezTo>
                      <a:pt x="206907" y="379888"/>
                      <a:pt x="206907" y="362861"/>
                      <a:pt x="222386" y="342222"/>
                    </a:cubicBezTo>
                    <a:cubicBezTo>
                      <a:pt x="230126" y="331902"/>
                      <a:pt x="238382" y="321583"/>
                      <a:pt x="248185" y="313327"/>
                    </a:cubicBezTo>
                    <a:cubicBezTo>
                      <a:pt x="267792" y="296816"/>
                      <a:pt x="281208" y="294752"/>
                      <a:pt x="303395" y="307135"/>
                    </a:cubicBezTo>
                    <a:cubicBezTo>
                      <a:pt x="342609" y="328806"/>
                      <a:pt x="382856" y="348929"/>
                      <a:pt x="420522" y="373180"/>
                    </a:cubicBezTo>
                    <a:cubicBezTo>
                      <a:pt x="463864" y="401043"/>
                      <a:pt x="493791" y="382468"/>
                      <a:pt x="525265" y="343770"/>
                    </a:cubicBezTo>
                    <a:cubicBezTo>
                      <a:pt x="535585" y="330870"/>
                      <a:pt x="531973" y="313843"/>
                      <a:pt x="527845" y="298364"/>
                    </a:cubicBezTo>
                    <a:cubicBezTo>
                      <a:pt x="516493" y="254506"/>
                      <a:pt x="505142" y="210647"/>
                      <a:pt x="493791" y="166789"/>
                    </a:cubicBezTo>
                    <a:cubicBezTo>
                      <a:pt x="485535" y="135315"/>
                      <a:pt x="490694" y="122415"/>
                      <a:pt x="518557" y="105904"/>
                    </a:cubicBezTo>
                    <a:cubicBezTo>
                      <a:pt x="524749" y="102292"/>
                      <a:pt x="530941" y="98680"/>
                      <a:pt x="537649" y="95585"/>
                    </a:cubicBezTo>
                    <a:cubicBezTo>
                      <a:pt x="571187" y="80105"/>
                      <a:pt x="586150" y="83717"/>
                      <a:pt x="608853" y="113128"/>
                    </a:cubicBezTo>
                    <a:cubicBezTo>
                      <a:pt x="636200" y="147698"/>
                      <a:pt x="663547" y="182785"/>
                      <a:pt x="690894" y="217355"/>
                    </a:cubicBezTo>
                    <a:cubicBezTo>
                      <a:pt x="716693" y="249346"/>
                      <a:pt x="777062" y="249346"/>
                      <a:pt x="802861" y="216839"/>
                    </a:cubicBezTo>
                    <a:cubicBezTo>
                      <a:pt x="813697" y="202908"/>
                      <a:pt x="813697" y="185365"/>
                      <a:pt x="816277" y="169369"/>
                    </a:cubicBezTo>
                    <a:cubicBezTo>
                      <a:pt x="822468" y="129123"/>
                      <a:pt x="827628" y="88877"/>
                      <a:pt x="832788" y="48631"/>
                    </a:cubicBezTo>
                    <a:cubicBezTo>
                      <a:pt x="836916" y="16640"/>
                      <a:pt x="845687" y="7868"/>
                      <a:pt x="877677" y="2193"/>
                    </a:cubicBezTo>
                    <a:cubicBezTo>
                      <a:pt x="891093" y="-387"/>
                      <a:pt x="904509" y="-387"/>
                      <a:pt x="917924" y="645"/>
                    </a:cubicBezTo>
                    <a:cubicBezTo>
                      <a:pt x="937531" y="1677"/>
                      <a:pt x="950947" y="11996"/>
                      <a:pt x="956106" y="31603"/>
                    </a:cubicBezTo>
                    <a:cubicBezTo>
                      <a:pt x="968490" y="75461"/>
                      <a:pt x="981389" y="119835"/>
                      <a:pt x="993772" y="163693"/>
                    </a:cubicBezTo>
                    <a:cubicBezTo>
                      <a:pt x="1006672" y="208584"/>
                      <a:pt x="1043822" y="229739"/>
                      <a:pt x="1089745" y="217871"/>
                    </a:cubicBezTo>
                    <a:cubicBezTo>
                      <a:pt x="1104707" y="214259"/>
                      <a:pt x="1113479" y="203424"/>
                      <a:pt x="1120703" y="191040"/>
                    </a:cubicBezTo>
                    <a:cubicBezTo>
                      <a:pt x="1144438" y="150278"/>
                      <a:pt x="1168689" y="109516"/>
                      <a:pt x="1192940" y="68754"/>
                    </a:cubicBezTo>
                    <a:cubicBezTo>
                      <a:pt x="1208419" y="42439"/>
                      <a:pt x="1221835" y="36763"/>
                      <a:pt x="1251245" y="44503"/>
                    </a:cubicBezTo>
                    <a:cubicBezTo>
                      <a:pt x="1310067" y="59466"/>
                      <a:pt x="1317806" y="72366"/>
                      <a:pt x="1309035" y="137895"/>
                    </a:cubicBezTo>
                    <a:cubicBezTo>
                      <a:pt x="1303875" y="177109"/>
                      <a:pt x="1299231" y="216323"/>
                      <a:pt x="1294587" y="255538"/>
                    </a:cubicBezTo>
                    <a:cubicBezTo>
                      <a:pt x="1294071" y="259665"/>
                      <a:pt x="1294071" y="263793"/>
                      <a:pt x="1294587" y="267921"/>
                    </a:cubicBezTo>
                    <a:cubicBezTo>
                      <a:pt x="1301295" y="309715"/>
                      <a:pt x="1364760" y="338610"/>
                      <a:pt x="1399331" y="314359"/>
                    </a:cubicBezTo>
                    <a:cubicBezTo>
                      <a:pt x="1438545" y="286496"/>
                      <a:pt x="1476211" y="257085"/>
                      <a:pt x="1514394" y="228191"/>
                    </a:cubicBezTo>
                    <a:cubicBezTo>
                      <a:pt x="1542256" y="207036"/>
                      <a:pt x="1556188" y="207552"/>
                      <a:pt x="1584050" y="229223"/>
                    </a:cubicBezTo>
                    <a:cubicBezTo>
                      <a:pt x="1587663" y="232319"/>
                      <a:pt x="1591274" y="234898"/>
                      <a:pt x="1594886" y="238510"/>
                    </a:cubicBezTo>
                    <a:cubicBezTo>
                      <a:pt x="1627393" y="269469"/>
                      <a:pt x="1628941" y="278757"/>
                      <a:pt x="1606754" y="317971"/>
                    </a:cubicBezTo>
                    <a:cubicBezTo>
                      <a:pt x="1585599" y="355637"/>
                      <a:pt x="1565475" y="393819"/>
                      <a:pt x="1543288" y="430970"/>
                    </a:cubicBezTo>
                    <a:cubicBezTo>
                      <a:pt x="1527293" y="458317"/>
                      <a:pt x="1534517" y="481020"/>
                      <a:pt x="1552060" y="504239"/>
                    </a:cubicBezTo>
                    <a:cubicBezTo>
                      <a:pt x="1569604" y="527458"/>
                      <a:pt x="1589726" y="538809"/>
                      <a:pt x="1619137" y="531069"/>
                    </a:cubicBezTo>
                    <a:cubicBezTo>
                      <a:pt x="1664543" y="519202"/>
                      <a:pt x="1709949" y="507850"/>
                      <a:pt x="1754839" y="495467"/>
                    </a:cubicBezTo>
                    <a:cubicBezTo>
                      <a:pt x="1783734" y="487727"/>
                      <a:pt x="1796634" y="492371"/>
                      <a:pt x="1812629" y="517654"/>
                    </a:cubicBezTo>
                    <a:cubicBezTo>
                      <a:pt x="1819853" y="528490"/>
                      <a:pt x="1826044" y="539841"/>
                      <a:pt x="1830172" y="552225"/>
                    </a:cubicBezTo>
                    <a:cubicBezTo>
                      <a:pt x="1837912" y="574412"/>
                      <a:pt x="1834299" y="588343"/>
                      <a:pt x="1815724" y="603306"/>
                    </a:cubicBezTo>
                    <a:cubicBezTo>
                      <a:pt x="1777026" y="634265"/>
                      <a:pt x="1738844" y="665224"/>
                      <a:pt x="1699630" y="695666"/>
                    </a:cubicBezTo>
                    <a:cubicBezTo>
                      <a:pt x="1680022" y="710629"/>
                      <a:pt x="1674862" y="729205"/>
                      <a:pt x="1678990" y="751908"/>
                    </a:cubicBezTo>
                    <a:cubicBezTo>
                      <a:pt x="1680539" y="759647"/>
                      <a:pt x="1683119" y="766871"/>
                      <a:pt x="1685182" y="774611"/>
                    </a:cubicBezTo>
                    <a:cubicBezTo>
                      <a:pt x="1691890" y="798862"/>
                      <a:pt x="1707885" y="812277"/>
                      <a:pt x="1732652" y="815373"/>
                    </a:cubicBezTo>
                    <a:cubicBezTo>
                      <a:pt x="1779606" y="821565"/>
                      <a:pt x="1826560" y="828272"/>
                      <a:pt x="1872998" y="834464"/>
                    </a:cubicBezTo>
                    <a:cubicBezTo>
                      <a:pt x="1900861" y="838076"/>
                      <a:pt x="1915308" y="851491"/>
                      <a:pt x="1918404" y="879354"/>
                    </a:cubicBezTo>
                    <a:cubicBezTo>
                      <a:pt x="1919952" y="892770"/>
                      <a:pt x="1921500" y="906185"/>
                      <a:pt x="1919952" y="919600"/>
                    </a:cubicBezTo>
                    <a:cubicBezTo>
                      <a:pt x="1917372" y="940755"/>
                      <a:pt x="1906536" y="952623"/>
                      <a:pt x="1886930" y="958299"/>
                    </a:cubicBezTo>
                    <a:cubicBezTo>
                      <a:pt x="1843071" y="970682"/>
                      <a:pt x="1798697" y="983065"/>
                      <a:pt x="1754839" y="995965"/>
                    </a:cubicBezTo>
                    <a:cubicBezTo>
                      <a:pt x="1712013" y="1008348"/>
                      <a:pt x="1692406" y="1040855"/>
                      <a:pt x="1701178" y="1085229"/>
                    </a:cubicBezTo>
                    <a:cubicBezTo>
                      <a:pt x="1704273" y="1102256"/>
                      <a:pt x="1714077" y="1113092"/>
                      <a:pt x="1728524" y="1121348"/>
                    </a:cubicBezTo>
                    <a:cubicBezTo>
                      <a:pt x="1768771" y="1145083"/>
                      <a:pt x="1809016" y="1168817"/>
                      <a:pt x="1849779" y="1192552"/>
                    </a:cubicBezTo>
                    <a:cubicBezTo>
                      <a:pt x="1879706" y="1210096"/>
                      <a:pt x="1884350" y="1220415"/>
                      <a:pt x="1876094" y="1253954"/>
                    </a:cubicBezTo>
                    <a:cubicBezTo>
                      <a:pt x="1875578" y="1256018"/>
                      <a:pt x="1875578" y="1258082"/>
                      <a:pt x="1875062" y="1260145"/>
                    </a:cubicBezTo>
                    <a:cubicBezTo>
                      <a:pt x="1862678" y="1300908"/>
                      <a:pt x="1848747" y="1321031"/>
                      <a:pt x="1802309" y="1312259"/>
                    </a:cubicBezTo>
                    <a:cubicBezTo>
                      <a:pt x="1760515" y="1304003"/>
                      <a:pt x="1717689" y="1302456"/>
                      <a:pt x="1675379" y="1296264"/>
                    </a:cubicBezTo>
                    <a:cubicBezTo>
                      <a:pt x="1645452" y="1292136"/>
                      <a:pt x="1625845" y="1304003"/>
                      <a:pt x="1611398" y="1329286"/>
                    </a:cubicBezTo>
                    <a:cubicBezTo>
                      <a:pt x="1596434" y="1355085"/>
                      <a:pt x="1589726" y="1379336"/>
                      <a:pt x="1610365" y="1405651"/>
                    </a:cubicBezTo>
                    <a:cubicBezTo>
                      <a:pt x="1638228" y="1441254"/>
                      <a:pt x="1665059" y="1477888"/>
                      <a:pt x="1692406" y="1514006"/>
                    </a:cubicBezTo>
                    <a:cubicBezTo>
                      <a:pt x="1715109" y="1543417"/>
                      <a:pt x="1715109" y="1555285"/>
                      <a:pt x="1692406" y="1584695"/>
                    </a:cubicBezTo>
                    <a:cubicBezTo>
                      <a:pt x="1691374" y="1585727"/>
                      <a:pt x="1690342" y="1587275"/>
                      <a:pt x="1689310" y="1588307"/>
                    </a:cubicBezTo>
                    <a:cubicBezTo>
                      <a:pt x="1659383" y="1620298"/>
                      <a:pt x="1647516" y="1634229"/>
                      <a:pt x="1600562" y="1605850"/>
                    </a:cubicBezTo>
                    <a:cubicBezTo>
                      <a:pt x="1564444" y="1584179"/>
                      <a:pt x="1526261" y="1565604"/>
                      <a:pt x="1490659" y="1543933"/>
                    </a:cubicBezTo>
                    <a:cubicBezTo>
                      <a:pt x="1461248" y="1526390"/>
                      <a:pt x="1438545" y="1536709"/>
                      <a:pt x="1415326" y="1554769"/>
                    </a:cubicBezTo>
                    <a:cubicBezTo>
                      <a:pt x="1392107" y="1572312"/>
                      <a:pt x="1382819" y="1593467"/>
                      <a:pt x="1391075" y="1622877"/>
                    </a:cubicBezTo>
                    <a:cubicBezTo>
                      <a:pt x="1403974" y="1668284"/>
                      <a:pt x="1415326" y="1714205"/>
                      <a:pt x="1426677" y="1760128"/>
                    </a:cubicBezTo>
                    <a:cubicBezTo>
                      <a:pt x="1432870" y="1784894"/>
                      <a:pt x="1427710" y="1798310"/>
                      <a:pt x="1406554" y="1811725"/>
                    </a:cubicBezTo>
                    <a:cubicBezTo>
                      <a:pt x="1395203" y="1818949"/>
                      <a:pt x="1383335" y="1825657"/>
                      <a:pt x="1370436" y="1830300"/>
                    </a:cubicBezTo>
                    <a:cubicBezTo>
                      <a:pt x="1347733" y="1838556"/>
                      <a:pt x="1331222" y="1834428"/>
                      <a:pt x="1316258" y="1815337"/>
                    </a:cubicBezTo>
                    <a:cubicBezTo>
                      <a:pt x="1287879" y="1779735"/>
                      <a:pt x="1259501" y="1743616"/>
                      <a:pt x="1231122" y="1707498"/>
                    </a:cubicBezTo>
                    <a:cubicBezTo>
                      <a:pt x="1203775" y="1673443"/>
                      <a:pt x="1154242" y="1668800"/>
                      <a:pt x="1121219" y="1698210"/>
                    </a:cubicBezTo>
                    <a:cubicBezTo>
                      <a:pt x="1112447" y="1705950"/>
                      <a:pt x="1108320" y="1715753"/>
                      <a:pt x="1106771" y="1727105"/>
                    </a:cubicBezTo>
                    <a:cubicBezTo>
                      <a:pt x="1100064" y="1774575"/>
                      <a:pt x="1092324" y="1821529"/>
                      <a:pt x="1087165" y="1868999"/>
                    </a:cubicBezTo>
                    <a:cubicBezTo>
                      <a:pt x="1084068" y="1893766"/>
                      <a:pt x="1074265" y="1911309"/>
                      <a:pt x="1050014" y="1919049"/>
                    </a:cubicBezTo>
                    <a:cubicBezTo>
                      <a:pt x="1029375" y="1919049"/>
                      <a:pt x="1008220" y="1919049"/>
                      <a:pt x="987581" y="1919049"/>
                    </a:cubicBezTo>
                    <a:cubicBezTo>
                      <a:pt x="973133" y="1910277"/>
                      <a:pt x="964878" y="1897377"/>
                      <a:pt x="960234" y="1880866"/>
                    </a:cubicBezTo>
                    <a:cubicBezTo>
                      <a:pt x="947851" y="1835460"/>
                      <a:pt x="933919" y="1790054"/>
                      <a:pt x="921535" y="1744132"/>
                    </a:cubicBezTo>
                    <a:cubicBezTo>
                      <a:pt x="914828" y="1719881"/>
                      <a:pt x="899865" y="1706982"/>
                      <a:pt x="875614" y="1703886"/>
                    </a:cubicBezTo>
                    <a:cubicBezTo>
                      <a:pt x="866326" y="1702854"/>
                      <a:pt x="857038" y="1701306"/>
                      <a:pt x="847751" y="1700790"/>
                    </a:cubicBezTo>
                    <a:cubicBezTo>
                      <a:pt x="826080" y="1699242"/>
                      <a:pt x="811117" y="1709046"/>
                      <a:pt x="800281" y="1727105"/>
                    </a:cubicBezTo>
                    <a:cubicBezTo>
                      <a:pt x="796153" y="1733813"/>
                      <a:pt x="792541" y="1740520"/>
                      <a:pt x="788414" y="1747228"/>
                    </a:cubicBezTo>
                    <a:cubicBezTo>
                      <a:pt x="766742" y="1783862"/>
                      <a:pt x="745587" y="1821013"/>
                      <a:pt x="723401" y="1857131"/>
                    </a:cubicBezTo>
                    <a:cubicBezTo>
                      <a:pt x="711533" y="1877254"/>
                      <a:pt x="697085" y="1882414"/>
                      <a:pt x="674383" y="1877254"/>
                    </a:cubicBezTo>
                    <a:cubicBezTo>
                      <a:pt x="660451" y="1874158"/>
                      <a:pt x="647552" y="1869515"/>
                      <a:pt x="634652" y="1863839"/>
                    </a:cubicBezTo>
                    <a:cubicBezTo>
                      <a:pt x="611949" y="1853003"/>
                      <a:pt x="604726" y="1839072"/>
                      <a:pt x="607822" y="1813789"/>
                    </a:cubicBezTo>
                    <a:cubicBezTo>
                      <a:pt x="613497" y="1766835"/>
                      <a:pt x="618141" y="1719881"/>
                      <a:pt x="624848" y="1672927"/>
                    </a:cubicBezTo>
                    <a:cubicBezTo>
                      <a:pt x="629492" y="1639905"/>
                      <a:pt x="611949" y="1621846"/>
                      <a:pt x="586150" y="1607398"/>
                    </a:cubicBezTo>
                    <a:cubicBezTo>
                      <a:pt x="560868" y="1593467"/>
                      <a:pt x="538165" y="1591403"/>
                      <a:pt x="514430" y="1611010"/>
                    </a:cubicBezTo>
                    <a:cubicBezTo>
                      <a:pt x="481407" y="1637325"/>
                      <a:pt x="446836" y="1661576"/>
                      <a:pt x="413814" y="1687375"/>
                    </a:cubicBezTo>
                    <a:cubicBezTo>
                      <a:pt x="380276" y="1713690"/>
                      <a:pt x="365828" y="1719365"/>
                      <a:pt x="324550" y="1682215"/>
                    </a:cubicBezTo>
                    <a:cubicBezTo>
                      <a:pt x="321970" y="1679635"/>
                      <a:pt x="319390" y="1677055"/>
                      <a:pt x="316810" y="1674475"/>
                    </a:cubicBezTo>
                    <a:cubicBezTo>
                      <a:pt x="296687" y="1653836"/>
                      <a:pt x="294623" y="1637841"/>
                      <a:pt x="309071" y="1612558"/>
                    </a:cubicBezTo>
                    <a:cubicBezTo>
                      <a:pt x="331258" y="1572828"/>
                      <a:pt x="353960" y="1532581"/>
                      <a:pt x="376148" y="1492851"/>
                    </a:cubicBezTo>
                    <a:cubicBezTo>
                      <a:pt x="382339" y="1481500"/>
                      <a:pt x="389047" y="1470148"/>
                      <a:pt x="387499" y="1456217"/>
                    </a:cubicBezTo>
                    <a:cubicBezTo>
                      <a:pt x="383887" y="1414423"/>
                      <a:pt x="337449" y="1381400"/>
                      <a:pt x="297203" y="1391720"/>
                    </a:cubicBezTo>
                    <a:cubicBezTo>
                      <a:pt x="250765" y="1403587"/>
                      <a:pt x="204327" y="1415455"/>
                      <a:pt x="158405" y="1427838"/>
                    </a:cubicBezTo>
                    <a:cubicBezTo>
                      <a:pt x="139830" y="1432998"/>
                      <a:pt x="125899" y="1427322"/>
                      <a:pt x="114031" y="1412875"/>
                    </a:cubicBezTo>
                    <a:cubicBezTo>
                      <a:pt x="104228" y="1401007"/>
                      <a:pt x="98036" y="1387592"/>
                      <a:pt x="91844" y="1373660"/>
                    </a:cubicBezTo>
                    <a:cubicBezTo>
                      <a:pt x="81525" y="1349409"/>
                      <a:pt x="86169" y="1331866"/>
                      <a:pt x="106808" y="1315871"/>
                    </a:cubicBezTo>
                    <a:cubicBezTo>
                      <a:pt x="140862" y="1288524"/>
                      <a:pt x="175432" y="1261693"/>
                      <a:pt x="209487" y="1234347"/>
                    </a:cubicBezTo>
                    <a:cubicBezTo>
                      <a:pt x="245605" y="1206484"/>
                      <a:pt x="248701" y="1194616"/>
                      <a:pt x="236834" y="1151274"/>
                    </a:cubicBezTo>
                    <a:cubicBezTo>
                      <a:pt x="228578" y="1122896"/>
                      <a:pt x="211551" y="1107932"/>
                      <a:pt x="181624" y="1104836"/>
                    </a:cubicBezTo>
                    <a:cubicBezTo>
                      <a:pt x="138282" y="1100192"/>
                      <a:pt x="95456" y="1091937"/>
                      <a:pt x="52114" y="1087293"/>
                    </a:cubicBezTo>
                    <a:cubicBezTo>
                      <a:pt x="27347" y="1084713"/>
                      <a:pt x="9804" y="1074910"/>
                      <a:pt x="1032" y="1051175"/>
                    </a:cubicBezTo>
                    <a:cubicBezTo>
                      <a:pt x="0" y="1028988"/>
                      <a:pt x="0" y="1008348"/>
                      <a:pt x="0" y="987194"/>
                    </a:cubicBezTo>
                    <a:close/>
                    <a:moveTo>
                      <a:pt x="1198616" y="960879"/>
                    </a:moveTo>
                    <a:cubicBezTo>
                      <a:pt x="1200163" y="838592"/>
                      <a:pt x="1104192" y="720433"/>
                      <a:pt x="958686" y="720949"/>
                    </a:cubicBezTo>
                    <a:cubicBezTo>
                      <a:pt x="824016" y="721465"/>
                      <a:pt x="720821" y="824145"/>
                      <a:pt x="720304" y="959331"/>
                    </a:cubicBezTo>
                    <a:cubicBezTo>
                      <a:pt x="719788" y="1096581"/>
                      <a:pt x="827628" y="1197712"/>
                      <a:pt x="957654" y="1198744"/>
                    </a:cubicBezTo>
                    <a:cubicBezTo>
                      <a:pt x="1090776" y="1199776"/>
                      <a:pt x="1198100" y="1092969"/>
                      <a:pt x="1198616" y="960879"/>
                    </a:cubicBezTo>
                    <a:close/>
                  </a:path>
                </a:pathLst>
              </a:custGeom>
              <a:grpFill/>
              <a:ln w="5155" cap="flat">
                <a:noFill/>
                <a:prstDash val="solid"/>
                <a:miter/>
              </a:ln>
            </p:spPr>
            <p:txBody>
              <a:bodyPr rtlCol="0" anchor="ctr"/>
              <a:lstStyle/>
              <a:p>
                <a:endParaRPr lang="en-US"/>
              </a:p>
            </p:txBody>
          </p:sp>
          <p:grpSp>
            <p:nvGrpSpPr>
              <p:cNvPr id="40" name="Group 39">
                <a:extLst>
                  <a:ext uri="{FF2B5EF4-FFF2-40B4-BE49-F238E27FC236}">
                    <a16:creationId xmlns:a16="http://schemas.microsoft.com/office/drawing/2014/main" id="{31D81169-CACA-4F00-B325-E9872F60ED27}"/>
                  </a:ext>
                </a:extLst>
              </p:cNvPr>
              <p:cNvGrpSpPr/>
              <p:nvPr/>
            </p:nvGrpSpPr>
            <p:grpSpPr>
              <a:xfrm>
                <a:off x="7392963" y="2648852"/>
                <a:ext cx="1838947" cy="1835405"/>
                <a:chOff x="7167947" y="1624190"/>
                <a:chExt cx="2677922" cy="2672763"/>
              </a:xfrm>
              <a:grpFill/>
            </p:grpSpPr>
            <p:sp>
              <p:nvSpPr>
                <p:cNvPr id="41" name="Freeform: Shape 40">
                  <a:extLst>
                    <a:ext uri="{FF2B5EF4-FFF2-40B4-BE49-F238E27FC236}">
                      <a16:creationId xmlns:a16="http://schemas.microsoft.com/office/drawing/2014/main" id="{F939FB8C-F4E6-45BF-BE92-A0D7E337E986}"/>
                    </a:ext>
                  </a:extLst>
                </p:cNvPr>
                <p:cNvSpPr/>
                <p:nvPr/>
              </p:nvSpPr>
              <p:spPr>
                <a:xfrm>
                  <a:off x="7167947" y="1624190"/>
                  <a:ext cx="2677922" cy="2672763"/>
                </a:xfrm>
                <a:custGeom>
                  <a:avLst/>
                  <a:gdLst>
                    <a:gd name="connsiteX0" fmla="*/ 2538684 w 2677922"/>
                    <a:gd name="connsiteY0" fmla="*/ 1897505 h 2672762"/>
                    <a:gd name="connsiteX1" fmla="*/ 2456643 w 2677922"/>
                    <a:gd name="connsiteY1" fmla="*/ 1879446 h 2672762"/>
                    <a:gd name="connsiteX2" fmla="*/ 2389566 w 2677922"/>
                    <a:gd name="connsiteY2" fmla="*/ 1863966 h 2672762"/>
                    <a:gd name="connsiteX3" fmla="*/ 2354479 w 2677922"/>
                    <a:gd name="connsiteY3" fmla="*/ 1874802 h 2672762"/>
                    <a:gd name="connsiteX4" fmla="*/ 2312170 w 2677922"/>
                    <a:gd name="connsiteY4" fmla="*/ 1950651 h 2672762"/>
                    <a:gd name="connsiteX5" fmla="*/ 2322489 w 2677922"/>
                    <a:gd name="connsiteY5" fmla="*/ 1983157 h 2672762"/>
                    <a:gd name="connsiteX6" fmla="*/ 2412785 w 2677922"/>
                    <a:gd name="connsiteY6" fmla="*/ 2080161 h 2672762"/>
                    <a:gd name="connsiteX7" fmla="*/ 2418461 w 2677922"/>
                    <a:gd name="connsiteY7" fmla="*/ 2146722 h 2672762"/>
                    <a:gd name="connsiteX8" fmla="*/ 2414849 w 2677922"/>
                    <a:gd name="connsiteY8" fmla="*/ 2151882 h 2672762"/>
                    <a:gd name="connsiteX9" fmla="*/ 2324037 w 2677922"/>
                    <a:gd name="connsiteY9" fmla="*/ 2174585 h 2672762"/>
                    <a:gd name="connsiteX10" fmla="*/ 2219294 w 2677922"/>
                    <a:gd name="connsiteY10" fmla="*/ 2118859 h 2672762"/>
                    <a:gd name="connsiteX11" fmla="*/ 2178531 w 2677922"/>
                    <a:gd name="connsiteY11" fmla="*/ 2120407 h 2672762"/>
                    <a:gd name="connsiteX12" fmla="*/ 2125386 w 2677922"/>
                    <a:gd name="connsiteY12" fmla="*/ 2172521 h 2672762"/>
                    <a:gd name="connsiteX13" fmla="*/ 2122806 w 2677922"/>
                    <a:gd name="connsiteY13" fmla="*/ 2217411 h 2672762"/>
                    <a:gd name="connsiteX14" fmla="*/ 2184723 w 2677922"/>
                    <a:gd name="connsiteY14" fmla="*/ 2334538 h 2672762"/>
                    <a:gd name="connsiteX15" fmla="*/ 2174404 w 2677922"/>
                    <a:gd name="connsiteY15" fmla="*/ 2395423 h 2672762"/>
                    <a:gd name="connsiteX16" fmla="*/ 2164084 w 2677922"/>
                    <a:gd name="connsiteY16" fmla="*/ 2404711 h 2672762"/>
                    <a:gd name="connsiteX17" fmla="*/ 2075336 w 2677922"/>
                    <a:gd name="connsiteY17" fmla="*/ 2401615 h 2672762"/>
                    <a:gd name="connsiteX18" fmla="*/ 1988652 w 2677922"/>
                    <a:gd name="connsiteY18" fmla="*/ 2320606 h 2672762"/>
                    <a:gd name="connsiteX19" fmla="*/ 1944277 w 2677922"/>
                    <a:gd name="connsiteY19" fmla="*/ 2311835 h 2672762"/>
                    <a:gd name="connsiteX20" fmla="*/ 1883392 w 2677922"/>
                    <a:gd name="connsiteY20" fmla="*/ 2346405 h 2672762"/>
                    <a:gd name="connsiteX21" fmla="*/ 1868429 w 2677922"/>
                    <a:gd name="connsiteY21" fmla="*/ 2391811 h 2672762"/>
                    <a:gd name="connsiteX22" fmla="*/ 1899388 w 2677922"/>
                    <a:gd name="connsiteY22" fmla="*/ 2526997 h 2672762"/>
                    <a:gd name="connsiteX23" fmla="*/ 1879264 w 2677922"/>
                    <a:gd name="connsiteY23" fmla="*/ 2571887 h 2672762"/>
                    <a:gd name="connsiteX24" fmla="*/ 1841082 w 2677922"/>
                    <a:gd name="connsiteY24" fmla="*/ 2588915 h 2672762"/>
                    <a:gd name="connsiteX25" fmla="*/ 1782777 w 2677922"/>
                    <a:gd name="connsiteY25" fmla="*/ 2568276 h 2672762"/>
                    <a:gd name="connsiteX26" fmla="*/ 1715184 w 2677922"/>
                    <a:gd name="connsiteY26" fmla="*/ 2459404 h 2672762"/>
                    <a:gd name="connsiteX27" fmla="*/ 1664618 w 2677922"/>
                    <a:gd name="connsiteY27" fmla="*/ 2435669 h 2672762"/>
                    <a:gd name="connsiteX28" fmla="*/ 1610440 w 2677922"/>
                    <a:gd name="connsiteY28" fmla="*/ 2450117 h 2672762"/>
                    <a:gd name="connsiteX29" fmla="*/ 1577418 w 2677922"/>
                    <a:gd name="connsiteY29" fmla="*/ 2495007 h 2672762"/>
                    <a:gd name="connsiteX30" fmla="*/ 1573806 w 2677922"/>
                    <a:gd name="connsiteY30" fmla="*/ 2616777 h 2672762"/>
                    <a:gd name="connsiteX31" fmla="*/ 1526852 w 2677922"/>
                    <a:gd name="connsiteY31" fmla="*/ 2672503 h 2672762"/>
                    <a:gd name="connsiteX32" fmla="*/ 1497441 w 2677922"/>
                    <a:gd name="connsiteY32" fmla="*/ 2676115 h 2672762"/>
                    <a:gd name="connsiteX33" fmla="*/ 1449972 w 2677922"/>
                    <a:gd name="connsiteY33" fmla="*/ 2644124 h 2672762"/>
                    <a:gd name="connsiteX34" fmla="*/ 1410241 w 2677922"/>
                    <a:gd name="connsiteY34" fmla="*/ 2514614 h 2672762"/>
                    <a:gd name="connsiteX35" fmla="*/ 1373091 w 2677922"/>
                    <a:gd name="connsiteY35" fmla="*/ 2482623 h 2672762"/>
                    <a:gd name="connsiteX36" fmla="*/ 1304982 w 2677922"/>
                    <a:gd name="connsiteY36" fmla="*/ 2483139 h 2672762"/>
                    <a:gd name="connsiteX37" fmla="*/ 1271959 w 2677922"/>
                    <a:gd name="connsiteY37" fmla="*/ 2511518 h 2672762"/>
                    <a:gd name="connsiteX38" fmla="*/ 1234293 w 2677922"/>
                    <a:gd name="connsiteY38" fmla="*/ 2633805 h 2672762"/>
                    <a:gd name="connsiteX39" fmla="*/ 1170828 w 2677922"/>
                    <a:gd name="connsiteY39" fmla="*/ 2674567 h 2672762"/>
                    <a:gd name="connsiteX40" fmla="*/ 1106847 w 2677922"/>
                    <a:gd name="connsiteY40" fmla="*/ 2602330 h 2672762"/>
                    <a:gd name="connsiteX41" fmla="*/ 1103751 w 2677922"/>
                    <a:gd name="connsiteY41" fmla="*/ 2491395 h 2672762"/>
                    <a:gd name="connsiteX42" fmla="*/ 1080532 w 2677922"/>
                    <a:gd name="connsiteY42" fmla="*/ 2454244 h 2672762"/>
                    <a:gd name="connsiteX43" fmla="*/ 1005199 w 2677922"/>
                    <a:gd name="connsiteY43" fmla="*/ 2435153 h 2672762"/>
                    <a:gd name="connsiteX44" fmla="*/ 969080 w 2677922"/>
                    <a:gd name="connsiteY44" fmla="*/ 2454244 h 2672762"/>
                    <a:gd name="connsiteX45" fmla="*/ 900456 w 2677922"/>
                    <a:gd name="connsiteY45" fmla="*/ 2564148 h 2672762"/>
                    <a:gd name="connsiteX46" fmla="*/ 836474 w 2677922"/>
                    <a:gd name="connsiteY46" fmla="*/ 2587367 h 2672762"/>
                    <a:gd name="connsiteX47" fmla="*/ 831830 w 2677922"/>
                    <a:gd name="connsiteY47" fmla="*/ 2585819 h 2672762"/>
                    <a:gd name="connsiteX48" fmla="*/ 785392 w 2677922"/>
                    <a:gd name="connsiteY48" fmla="*/ 2504810 h 2672762"/>
                    <a:gd name="connsiteX49" fmla="*/ 811707 w 2677922"/>
                    <a:gd name="connsiteY49" fmla="*/ 2390779 h 2672762"/>
                    <a:gd name="connsiteX50" fmla="*/ 794680 w 2677922"/>
                    <a:gd name="connsiteY50" fmla="*/ 2344341 h 2672762"/>
                    <a:gd name="connsiteX51" fmla="*/ 739470 w 2677922"/>
                    <a:gd name="connsiteY51" fmla="*/ 2312351 h 2672762"/>
                    <a:gd name="connsiteX52" fmla="*/ 689421 w 2677922"/>
                    <a:gd name="connsiteY52" fmla="*/ 2321638 h 2672762"/>
                    <a:gd name="connsiteX53" fmla="*/ 596029 w 2677922"/>
                    <a:gd name="connsiteY53" fmla="*/ 2408838 h 2672762"/>
                    <a:gd name="connsiteX54" fmla="*/ 530500 w 2677922"/>
                    <a:gd name="connsiteY54" fmla="*/ 2415030 h 2672762"/>
                    <a:gd name="connsiteX55" fmla="*/ 521212 w 2677922"/>
                    <a:gd name="connsiteY55" fmla="*/ 2408838 h 2672762"/>
                    <a:gd name="connsiteX56" fmla="*/ 500573 w 2677922"/>
                    <a:gd name="connsiteY56" fmla="*/ 2322670 h 2672762"/>
                    <a:gd name="connsiteX57" fmla="*/ 556298 w 2677922"/>
                    <a:gd name="connsiteY57" fmla="*/ 2217927 h 2672762"/>
                    <a:gd name="connsiteX58" fmla="*/ 552171 w 2677922"/>
                    <a:gd name="connsiteY58" fmla="*/ 2168909 h 2672762"/>
                    <a:gd name="connsiteX59" fmla="*/ 505733 w 2677922"/>
                    <a:gd name="connsiteY59" fmla="*/ 2122987 h 2672762"/>
                    <a:gd name="connsiteX60" fmla="*/ 457747 w 2677922"/>
                    <a:gd name="connsiteY60" fmla="*/ 2119375 h 2672762"/>
                    <a:gd name="connsiteX61" fmla="*/ 341652 w 2677922"/>
                    <a:gd name="connsiteY61" fmla="*/ 2180777 h 2672762"/>
                    <a:gd name="connsiteX62" fmla="*/ 278187 w 2677922"/>
                    <a:gd name="connsiteY62" fmla="*/ 2168909 h 2672762"/>
                    <a:gd name="connsiteX63" fmla="*/ 274059 w 2677922"/>
                    <a:gd name="connsiteY63" fmla="*/ 2164265 h 2672762"/>
                    <a:gd name="connsiteX64" fmla="*/ 276639 w 2677922"/>
                    <a:gd name="connsiteY64" fmla="*/ 2069325 h 2672762"/>
                    <a:gd name="connsiteX65" fmla="*/ 354551 w 2677922"/>
                    <a:gd name="connsiteY65" fmla="*/ 1986253 h 2672762"/>
                    <a:gd name="connsiteX66" fmla="*/ 363839 w 2677922"/>
                    <a:gd name="connsiteY66" fmla="*/ 1940847 h 2672762"/>
                    <a:gd name="connsiteX67" fmla="*/ 328237 w 2677922"/>
                    <a:gd name="connsiteY67" fmla="*/ 1878930 h 2672762"/>
                    <a:gd name="connsiteX68" fmla="*/ 283347 w 2677922"/>
                    <a:gd name="connsiteY68" fmla="*/ 1866030 h 2672762"/>
                    <a:gd name="connsiteX69" fmla="*/ 170864 w 2677922"/>
                    <a:gd name="connsiteY69" fmla="*/ 1891829 h 2672762"/>
                    <a:gd name="connsiteX70" fmla="*/ 155900 w 2677922"/>
                    <a:gd name="connsiteY70" fmla="*/ 1895441 h 2672762"/>
                    <a:gd name="connsiteX71" fmla="*/ 100175 w 2677922"/>
                    <a:gd name="connsiteY71" fmla="*/ 1868094 h 2672762"/>
                    <a:gd name="connsiteX72" fmla="*/ 87275 w 2677922"/>
                    <a:gd name="connsiteY72" fmla="*/ 1838168 h 2672762"/>
                    <a:gd name="connsiteX73" fmla="*/ 107915 w 2677922"/>
                    <a:gd name="connsiteY73" fmla="*/ 1779862 h 2672762"/>
                    <a:gd name="connsiteX74" fmla="*/ 213690 w 2677922"/>
                    <a:gd name="connsiteY74" fmla="*/ 1713817 h 2672762"/>
                    <a:gd name="connsiteX75" fmla="*/ 238972 w 2677922"/>
                    <a:gd name="connsiteY75" fmla="*/ 1654480 h 2672762"/>
                    <a:gd name="connsiteX76" fmla="*/ 222977 w 2677922"/>
                    <a:gd name="connsiteY76" fmla="*/ 1600818 h 2672762"/>
                    <a:gd name="connsiteX77" fmla="*/ 184279 w 2677922"/>
                    <a:gd name="connsiteY77" fmla="*/ 1575019 h 2672762"/>
                    <a:gd name="connsiteX78" fmla="*/ 59413 w 2677922"/>
                    <a:gd name="connsiteY78" fmla="*/ 1571407 h 2672762"/>
                    <a:gd name="connsiteX79" fmla="*/ 3687 w 2677922"/>
                    <a:gd name="connsiteY79" fmla="*/ 1524453 h 2672762"/>
                    <a:gd name="connsiteX80" fmla="*/ 1623 w 2677922"/>
                    <a:gd name="connsiteY80" fmla="*/ 1513618 h 2672762"/>
                    <a:gd name="connsiteX81" fmla="*/ 48577 w 2677922"/>
                    <a:gd name="connsiteY81" fmla="*/ 1442413 h 2672762"/>
                    <a:gd name="connsiteX82" fmla="*/ 160544 w 2677922"/>
                    <a:gd name="connsiteY82" fmla="*/ 1408358 h 2672762"/>
                    <a:gd name="connsiteX83" fmla="*/ 194083 w 2677922"/>
                    <a:gd name="connsiteY83" fmla="*/ 1370692 h 2672762"/>
                    <a:gd name="connsiteX84" fmla="*/ 192534 w 2677922"/>
                    <a:gd name="connsiteY84" fmla="*/ 1298971 h 2672762"/>
                    <a:gd name="connsiteX85" fmla="*/ 166220 w 2677922"/>
                    <a:gd name="connsiteY85" fmla="*/ 1269560 h 2672762"/>
                    <a:gd name="connsiteX86" fmla="*/ 47029 w 2677922"/>
                    <a:gd name="connsiteY86" fmla="*/ 1232926 h 2672762"/>
                    <a:gd name="connsiteX87" fmla="*/ 1623 w 2677922"/>
                    <a:gd name="connsiteY87" fmla="*/ 1166881 h 2672762"/>
                    <a:gd name="connsiteX88" fmla="*/ 6267 w 2677922"/>
                    <a:gd name="connsiteY88" fmla="*/ 1139534 h 2672762"/>
                    <a:gd name="connsiteX89" fmla="*/ 49093 w 2677922"/>
                    <a:gd name="connsiteY89" fmla="*/ 1105480 h 2672762"/>
                    <a:gd name="connsiteX90" fmla="*/ 164672 w 2677922"/>
                    <a:gd name="connsiteY90" fmla="*/ 1101868 h 2672762"/>
                    <a:gd name="connsiteX91" fmla="*/ 181699 w 2677922"/>
                    <a:gd name="connsiteY91" fmla="*/ 1101352 h 2672762"/>
                    <a:gd name="connsiteX92" fmla="*/ 227621 w 2677922"/>
                    <a:gd name="connsiteY92" fmla="*/ 1065233 h 2672762"/>
                    <a:gd name="connsiteX93" fmla="*/ 241036 w 2677922"/>
                    <a:gd name="connsiteY93" fmla="*/ 1014152 h 2672762"/>
                    <a:gd name="connsiteX94" fmla="*/ 219366 w 2677922"/>
                    <a:gd name="connsiteY94" fmla="*/ 965650 h 2672762"/>
                    <a:gd name="connsiteX95" fmla="*/ 113590 w 2677922"/>
                    <a:gd name="connsiteY95" fmla="*/ 899605 h 2672762"/>
                    <a:gd name="connsiteX96" fmla="*/ 89855 w 2677922"/>
                    <a:gd name="connsiteY96" fmla="*/ 832012 h 2672762"/>
                    <a:gd name="connsiteX97" fmla="*/ 104818 w 2677922"/>
                    <a:gd name="connsiteY97" fmla="*/ 799505 h 2672762"/>
                    <a:gd name="connsiteX98" fmla="*/ 151256 w 2677922"/>
                    <a:gd name="connsiteY98" fmla="*/ 779898 h 2672762"/>
                    <a:gd name="connsiteX99" fmla="*/ 283347 w 2677922"/>
                    <a:gd name="connsiteY99" fmla="*/ 810341 h 2672762"/>
                    <a:gd name="connsiteX100" fmla="*/ 331332 w 2677922"/>
                    <a:gd name="connsiteY100" fmla="*/ 794345 h 2672762"/>
                    <a:gd name="connsiteX101" fmla="*/ 363839 w 2677922"/>
                    <a:gd name="connsiteY101" fmla="*/ 737588 h 2672762"/>
                    <a:gd name="connsiteX102" fmla="*/ 354551 w 2677922"/>
                    <a:gd name="connsiteY102" fmla="*/ 689086 h 2672762"/>
                    <a:gd name="connsiteX103" fmla="*/ 266835 w 2677922"/>
                    <a:gd name="connsiteY103" fmla="*/ 595694 h 2672762"/>
                    <a:gd name="connsiteX104" fmla="*/ 261675 w 2677922"/>
                    <a:gd name="connsiteY104" fmla="*/ 529133 h 2672762"/>
                    <a:gd name="connsiteX105" fmla="*/ 270447 w 2677922"/>
                    <a:gd name="connsiteY105" fmla="*/ 516233 h 2672762"/>
                    <a:gd name="connsiteX106" fmla="*/ 349907 w 2677922"/>
                    <a:gd name="connsiteY106" fmla="*/ 498690 h 2672762"/>
                    <a:gd name="connsiteX107" fmla="*/ 457231 w 2677922"/>
                    <a:gd name="connsiteY107" fmla="*/ 555964 h 2672762"/>
                    <a:gd name="connsiteX108" fmla="*/ 507797 w 2677922"/>
                    <a:gd name="connsiteY108" fmla="*/ 551320 h 2672762"/>
                    <a:gd name="connsiteX109" fmla="*/ 551139 w 2677922"/>
                    <a:gd name="connsiteY109" fmla="*/ 508494 h 2672762"/>
                    <a:gd name="connsiteX110" fmla="*/ 556815 w 2677922"/>
                    <a:gd name="connsiteY110" fmla="*/ 456896 h 2672762"/>
                    <a:gd name="connsiteX111" fmla="*/ 494381 w 2677922"/>
                    <a:gd name="connsiteY111" fmla="*/ 339769 h 2672762"/>
                    <a:gd name="connsiteX112" fmla="*/ 505217 w 2677922"/>
                    <a:gd name="connsiteY112" fmla="*/ 280432 h 2672762"/>
                    <a:gd name="connsiteX113" fmla="*/ 537723 w 2677922"/>
                    <a:gd name="connsiteY113" fmla="*/ 256181 h 2672762"/>
                    <a:gd name="connsiteX114" fmla="*/ 590353 w 2677922"/>
                    <a:gd name="connsiteY114" fmla="*/ 261857 h 2672762"/>
                    <a:gd name="connsiteX115" fmla="*/ 679617 w 2677922"/>
                    <a:gd name="connsiteY115" fmla="*/ 344929 h 2672762"/>
                    <a:gd name="connsiteX116" fmla="*/ 754950 w 2677922"/>
                    <a:gd name="connsiteY116" fmla="*/ 355765 h 2672762"/>
                    <a:gd name="connsiteX117" fmla="*/ 797260 w 2677922"/>
                    <a:gd name="connsiteY117" fmla="*/ 329450 h 2672762"/>
                    <a:gd name="connsiteX118" fmla="*/ 811707 w 2677922"/>
                    <a:gd name="connsiteY118" fmla="*/ 285076 h 2672762"/>
                    <a:gd name="connsiteX119" fmla="*/ 781781 w 2677922"/>
                    <a:gd name="connsiteY119" fmla="*/ 156081 h 2672762"/>
                    <a:gd name="connsiteX120" fmla="*/ 807064 w 2677922"/>
                    <a:gd name="connsiteY120" fmla="*/ 100872 h 2672762"/>
                    <a:gd name="connsiteX121" fmla="*/ 841634 w 2677922"/>
                    <a:gd name="connsiteY121" fmla="*/ 86424 h 2672762"/>
                    <a:gd name="connsiteX122" fmla="*/ 896328 w 2677922"/>
                    <a:gd name="connsiteY122" fmla="*/ 106031 h 2672762"/>
                    <a:gd name="connsiteX123" fmla="*/ 965469 w 2677922"/>
                    <a:gd name="connsiteY123" fmla="*/ 217483 h 2672762"/>
                    <a:gd name="connsiteX124" fmla="*/ 1013455 w 2677922"/>
                    <a:gd name="connsiteY124" fmla="*/ 240702 h 2672762"/>
                    <a:gd name="connsiteX125" fmla="*/ 1077952 w 2677922"/>
                    <a:gd name="connsiteY125" fmla="*/ 222642 h 2672762"/>
                    <a:gd name="connsiteX126" fmla="*/ 1101687 w 2677922"/>
                    <a:gd name="connsiteY126" fmla="*/ 188072 h 2672762"/>
                    <a:gd name="connsiteX127" fmla="*/ 1106847 w 2677922"/>
                    <a:gd name="connsiteY127" fmla="*/ 53918 h 2672762"/>
                    <a:gd name="connsiteX128" fmla="*/ 1145029 w 2677922"/>
                    <a:gd name="connsiteY128" fmla="*/ 4900 h 2672762"/>
                    <a:gd name="connsiteX129" fmla="*/ 1158960 w 2677922"/>
                    <a:gd name="connsiteY129" fmla="*/ 1804 h 2672762"/>
                    <a:gd name="connsiteX130" fmla="*/ 1235841 w 2677922"/>
                    <a:gd name="connsiteY130" fmla="*/ 48758 h 2672762"/>
                    <a:gd name="connsiteX131" fmla="*/ 1269895 w 2677922"/>
                    <a:gd name="connsiteY131" fmla="*/ 162273 h 2672762"/>
                    <a:gd name="connsiteX132" fmla="*/ 1303434 w 2677922"/>
                    <a:gd name="connsiteY132" fmla="*/ 192716 h 2672762"/>
                    <a:gd name="connsiteX133" fmla="*/ 1376702 w 2677922"/>
                    <a:gd name="connsiteY133" fmla="*/ 192716 h 2672762"/>
                    <a:gd name="connsiteX134" fmla="*/ 1409209 w 2677922"/>
                    <a:gd name="connsiteY134" fmla="*/ 163305 h 2672762"/>
                    <a:gd name="connsiteX135" fmla="*/ 1447392 w 2677922"/>
                    <a:gd name="connsiteY135" fmla="*/ 37922 h 2672762"/>
                    <a:gd name="connsiteX136" fmla="*/ 1499505 w 2677922"/>
                    <a:gd name="connsiteY136" fmla="*/ 256 h 2672762"/>
                    <a:gd name="connsiteX137" fmla="*/ 1513436 w 2677922"/>
                    <a:gd name="connsiteY137" fmla="*/ 772 h 2672762"/>
                    <a:gd name="connsiteX138" fmla="*/ 1573290 w 2677922"/>
                    <a:gd name="connsiteY138" fmla="*/ 65269 h 2672762"/>
                    <a:gd name="connsiteX139" fmla="*/ 1576902 w 2677922"/>
                    <a:gd name="connsiteY139" fmla="*/ 185492 h 2672762"/>
                    <a:gd name="connsiteX140" fmla="*/ 1598057 w 2677922"/>
                    <a:gd name="connsiteY140" fmla="*/ 220578 h 2672762"/>
                    <a:gd name="connsiteX141" fmla="*/ 1674422 w 2677922"/>
                    <a:gd name="connsiteY141" fmla="*/ 240702 h 2672762"/>
                    <a:gd name="connsiteX142" fmla="*/ 1710540 w 2677922"/>
                    <a:gd name="connsiteY142" fmla="*/ 221610 h 2672762"/>
                    <a:gd name="connsiteX143" fmla="*/ 1779165 w 2677922"/>
                    <a:gd name="connsiteY143" fmla="*/ 111707 h 2672762"/>
                    <a:gd name="connsiteX144" fmla="*/ 1845726 w 2677922"/>
                    <a:gd name="connsiteY144" fmla="*/ 88488 h 2672762"/>
                    <a:gd name="connsiteX145" fmla="*/ 1857594 w 2677922"/>
                    <a:gd name="connsiteY145" fmla="*/ 92616 h 2672762"/>
                    <a:gd name="connsiteX146" fmla="*/ 1895260 w 2677922"/>
                    <a:gd name="connsiteY146" fmla="*/ 166401 h 2672762"/>
                    <a:gd name="connsiteX147" fmla="*/ 1868429 w 2677922"/>
                    <a:gd name="connsiteY147" fmla="*/ 281980 h 2672762"/>
                    <a:gd name="connsiteX148" fmla="*/ 1887004 w 2677922"/>
                    <a:gd name="connsiteY148" fmla="*/ 332030 h 2672762"/>
                    <a:gd name="connsiteX149" fmla="*/ 1946857 w 2677922"/>
                    <a:gd name="connsiteY149" fmla="*/ 365052 h 2672762"/>
                    <a:gd name="connsiteX150" fmla="*/ 1986588 w 2677922"/>
                    <a:gd name="connsiteY150" fmla="*/ 355765 h 2672762"/>
                    <a:gd name="connsiteX151" fmla="*/ 2081528 w 2677922"/>
                    <a:gd name="connsiteY151" fmla="*/ 267532 h 2672762"/>
                    <a:gd name="connsiteX152" fmla="*/ 2151701 w 2677922"/>
                    <a:gd name="connsiteY152" fmla="*/ 261857 h 2672762"/>
                    <a:gd name="connsiteX153" fmla="*/ 2155312 w 2677922"/>
                    <a:gd name="connsiteY153" fmla="*/ 264437 h 2672762"/>
                    <a:gd name="connsiteX154" fmla="*/ 2177500 w 2677922"/>
                    <a:gd name="connsiteY154" fmla="*/ 353701 h 2672762"/>
                    <a:gd name="connsiteX155" fmla="*/ 2122290 w 2677922"/>
                    <a:gd name="connsiteY155" fmla="*/ 456896 h 2672762"/>
                    <a:gd name="connsiteX156" fmla="*/ 2126934 w 2677922"/>
                    <a:gd name="connsiteY156" fmla="*/ 505914 h 2672762"/>
                    <a:gd name="connsiteX157" fmla="*/ 2173372 w 2677922"/>
                    <a:gd name="connsiteY157" fmla="*/ 551836 h 2672762"/>
                    <a:gd name="connsiteX158" fmla="*/ 2219810 w 2677922"/>
                    <a:gd name="connsiteY158" fmla="*/ 555964 h 2672762"/>
                    <a:gd name="connsiteX159" fmla="*/ 2336937 w 2677922"/>
                    <a:gd name="connsiteY159" fmla="*/ 494046 h 2672762"/>
                    <a:gd name="connsiteX160" fmla="*/ 2400917 w 2677922"/>
                    <a:gd name="connsiteY160" fmla="*/ 507462 h 2672762"/>
                    <a:gd name="connsiteX161" fmla="*/ 2420525 w 2677922"/>
                    <a:gd name="connsiteY161" fmla="*/ 533777 h 2672762"/>
                    <a:gd name="connsiteX162" fmla="*/ 2415365 w 2677922"/>
                    <a:gd name="connsiteY162" fmla="*/ 591566 h 2672762"/>
                    <a:gd name="connsiteX163" fmla="*/ 2321973 w 2677922"/>
                    <a:gd name="connsiteY163" fmla="*/ 692182 h 2672762"/>
                    <a:gd name="connsiteX164" fmla="*/ 2313718 w 2677922"/>
                    <a:gd name="connsiteY164" fmla="*/ 733460 h 2672762"/>
                    <a:gd name="connsiteX165" fmla="*/ 2349320 w 2677922"/>
                    <a:gd name="connsiteY165" fmla="*/ 795377 h 2672762"/>
                    <a:gd name="connsiteX166" fmla="*/ 2394726 w 2677922"/>
                    <a:gd name="connsiteY166" fmla="*/ 810341 h 2672762"/>
                    <a:gd name="connsiteX167" fmla="*/ 2526816 w 2677922"/>
                    <a:gd name="connsiteY167" fmla="*/ 780414 h 2672762"/>
                    <a:gd name="connsiteX168" fmla="*/ 2575834 w 2677922"/>
                    <a:gd name="connsiteY168" fmla="*/ 803117 h 2672762"/>
                    <a:gd name="connsiteX169" fmla="*/ 2591313 w 2677922"/>
                    <a:gd name="connsiteY169" fmla="*/ 838719 h 2672762"/>
                    <a:gd name="connsiteX170" fmla="*/ 2570158 w 2677922"/>
                    <a:gd name="connsiteY170" fmla="*/ 896509 h 2672762"/>
                    <a:gd name="connsiteX171" fmla="*/ 2461287 w 2677922"/>
                    <a:gd name="connsiteY171" fmla="*/ 964102 h 2672762"/>
                    <a:gd name="connsiteX172" fmla="*/ 2438068 w 2677922"/>
                    <a:gd name="connsiteY172" fmla="*/ 1014668 h 2672762"/>
                    <a:gd name="connsiteX173" fmla="*/ 2454063 w 2677922"/>
                    <a:gd name="connsiteY173" fmla="*/ 1073489 h 2672762"/>
                    <a:gd name="connsiteX174" fmla="*/ 2492762 w 2677922"/>
                    <a:gd name="connsiteY174" fmla="*/ 1100836 h 2672762"/>
                    <a:gd name="connsiteX175" fmla="*/ 2628464 w 2677922"/>
                    <a:gd name="connsiteY175" fmla="*/ 1105996 h 2672762"/>
                    <a:gd name="connsiteX176" fmla="*/ 2672322 w 2677922"/>
                    <a:gd name="connsiteY176" fmla="*/ 1140566 h 2672762"/>
                    <a:gd name="connsiteX177" fmla="*/ 2677998 w 2677922"/>
                    <a:gd name="connsiteY177" fmla="*/ 1182360 h 2672762"/>
                    <a:gd name="connsiteX178" fmla="*/ 2644459 w 2677922"/>
                    <a:gd name="connsiteY178" fmla="*/ 1229830 h 2672762"/>
                    <a:gd name="connsiteX179" fmla="*/ 2522172 w 2677922"/>
                    <a:gd name="connsiteY179" fmla="*/ 1267497 h 2672762"/>
                    <a:gd name="connsiteX180" fmla="*/ 2483990 w 2677922"/>
                    <a:gd name="connsiteY180" fmla="*/ 1315998 h 2672762"/>
                    <a:gd name="connsiteX181" fmla="*/ 2486570 w 2677922"/>
                    <a:gd name="connsiteY181" fmla="*/ 1379980 h 2672762"/>
                    <a:gd name="connsiteX182" fmla="*/ 2512885 w 2677922"/>
                    <a:gd name="connsiteY182" fmla="*/ 1407842 h 2672762"/>
                    <a:gd name="connsiteX183" fmla="*/ 2641363 w 2677922"/>
                    <a:gd name="connsiteY183" fmla="*/ 1447057 h 2672762"/>
                    <a:gd name="connsiteX184" fmla="*/ 2677998 w 2677922"/>
                    <a:gd name="connsiteY184" fmla="*/ 1498138 h 2672762"/>
                    <a:gd name="connsiteX185" fmla="*/ 2677998 w 2677922"/>
                    <a:gd name="connsiteY185" fmla="*/ 1507426 h 2672762"/>
                    <a:gd name="connsiteX186" fmla="*/ 2611952 w 2677922"/>
                    <a:gd name="connsiteY186" fmla="*/ 1572955 h 2672762"/>
                    <a:gd name="connsiteX187" fmla="*/ 2490182 w 2677922"/>
                    <a:gd name="connsiteY187" fmla="*/ 1576567 h 2672762"/>
                    <a:gd name="connsiteX188" fmla="*/ 2457675 w 2677922"/>
                    <a:gd name="connsiteY188" fmla="*/ 1596690 h 2672762"/>
                    <a:gd name="connsiteX189" fmla="*/ 2437036 w 2677922"/>
                    <a:gd name="connsiteY189" fmla="*/ 1673055 h 2672762"/>
                    <a:gd name="connsiteX190" fmla="*/ 2457159 w 2677922"/>
                    <a:gd name="connsiteY190" fmla="*/ 1710205 h 2672762"/>
                    <a:gd name="connsiteX191" fmla="*/ 2564483 w 2677922"/>
                    <a:gd name="connsiteY191" fmla="*/ 1777282 h 2672762"/>
                    <a:gd name="connsiteX192" fmla="*/ 2588733 w 2677922"/>
                    <a:gd name="connsiteY192" fmla="*/ 1845907 h 2672762"/>
                    <a:gd name="connsiteX193" fmla="*/ 2571706 w 2677922"/>
                    <a:gd name="connsiteY193" fmla="*/ 1880994 h 2672762"/>
                    <a:gd name="connsiteX194" fmla="*/ 2538684 w 2677922"/>
                    <a:gd name="connsiteY194" fmla="*/ 1897505 h 2672762"/>
                    <a:gd name="connsiteX195" fmla="*/ 1338521 w 2677922"/>
                    <a:gd name="connsiteY195" fmla="*/ 2312867 h 2672762"/>
                    <a:gd name="connsiteX196" fmla="*/ 2316814 w 2677922"/>
                    <a:gd name="connsiteY196" fmla="*/ 1335605 h 2672762"/>
                    <a:gd name="connsiteX197" fmla="*/ 1340068 w 2677922"/>
                    <a:gd name="connsiteY197" fmla="*/ 359376 h 2672762"/>
                    <a:gd name="connsiteX198" fmla="*/ 361775 w 2677922"/>
                    <a:gd name="connsiteY198" fmla="*/ 1331994 h 2672762"/>
                    <a:gd name="connsiteX199" fmla="*/ 1338521 w 2677922"/>
                    <a:gd name="connsiteY199" fmla="*/ 2312867 h 267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2677922" h="2672762">
                      <a:moveTo>
                        <a:pt x="2538684" y="1897505"/>
                      </a:moveTo>
                      <a:cubicBezTo>
                        <a:pt x="2511337" y="1891313"/>
                        <a:pt x="2483990" y="1885121"/>
                        <a:pt x="2456643" y="1879446"/>
                      </a:cubicBezTo>
                      <a:cubicBezTo>
                        <a:pt x="2434456" y="1874286"/>
                        <a:pt x="2411753" y="1869642"/>
                        <a:pt x="2389566" y="1863966"/>
                      </a:cubicBezTo>
                      <a:cubicBezTo>
                        <a:pt x="2375119" y="1860354"/>
                        <a:pt x="2363767" y="1864482"/>
                        <a:pt x="2354479" y="1874802"/>
                      </a:cubicBezTo>
                      <a:cubicBezTo>
                        <a:pt x="2335389" y="1896989"/>
                        <a:pt x="2320425" y="1922272"/>
                        <a:pt x="2312170" y="1950651"/>
                      </a:cubicBezTo>
                      <a:cubicBezTo>
                        <a:pt x="2308042" y="1964066"/>
                        <a:pt x="2314234" y="1973869"/>
                        <a:pt x="2322489" y="1983157"/>
                      </a:cubicBezTo>
                      <a:cubicBezTo>
                        <a:pt x="2352416" y="2015664"/>
                        <a:pt x="2382858" y="2048170"/>
                        <a:pt x="2412785" y="2080161"/>
                      </a:cubicBezTo>
                      <a:cubicBezTo>
                        <a:pt x="2435488" y="2104412"/>
                        <a:pt x="2436520" y="2118859"/>
                        <a:pt x="2418461" y="2146722"/>
                      </a:cubicBezTo>
                      <a:cubicBezTo>
                        <a:pt x="2417429" y="2148270"/>
                        <a:pt x="2416397" y="2150334"/>
                        <a:pt x="2414849" y="2151882"/>
                      </a:cubicBezTo>
                      <a:cubicBezTo>
                        <a:pt x="2380795" y="2197804"/>
                        <a:pt x="2365831" y="2198320"/>
                        <a:pt x="2324037" y="2174585"/>
                      </a:cubicBezTo>
                      <a:cubicBezTo>
                        <a:pt x="2289982" y="2154978"/>
                        <a:pt x="2253864" y="2137434"/>
                        <a:pt x="2219294" y="2118859"/>
                      </a:cubicBezTo>
                      <a:cubicBezTo>
                        <a:pt x="2204846" y="2111120"/>
                        <a:pt x="2191431" y="2111120"/>
                        <a:pt x="2178531" y="2120407"/>
                      </a:cubicBezTo>
                      <a:cubicBezTo>
                        <a:pt x="2157892" y="2134855"/>
                        <a:pt x="2140349" y="2152398"/>
                        <a:pt x="2125386" y="2172521"/>
                      </a:cubicBezTo>
                      <a:cubicBezTo>
                        <a:pt x="2114550" y="2186968"/>
                        <a:pt x="2114034" y="2201416"/>
                        <a:pt x="2122806" y="2217411"/>
                      </a:cubicBezTo>
                      <a:cubicBezTo>
                        <a:pt x="2143961" y="2256109"/>
                        <a:pt x="2164600" y="2295323"/>
                        <a:pt x="2184723" y="2334538"/>
                      </a:cubicBezTo>
                      <a:cubicBezTo>
                        <a:pt x="2198655" y="2361885"/>
                        <a:pt x="2196591" y="2374268"/>
                        <a:pt x="2174404" y="2395423"/>
                      </a:cubicBezTo>
                      <a:cubicBezTo>
                        <a:pt x="2170792" y="2398519"/>
                        <a:pt x="2167696" y="2402131"/>
                        <a:pt x="2164084" y="2404711"/>
                      </a:cubicBezTo>
                      <a:cubicBezTo>
                        <a:pt x="2131062" y="2428962"/>
                        <a:pt x="2114034" y="2440829"/>
                        <a:pt x="2075336" y="2401615"/>
                      </a:cubicBezTo>
                      <a:cubicBezTo>
                        <a:pt x="2047473" y="2373236"/>
                        <a:pt x="2017547" y="2347953"/>
                        <a:pt x="1988652" y="2320606"/>
                      </a:cubicBezTo>
                      <a:cubicBezTo>
                        <a:pt x="1975236" y="2307707"/>
                        <a:pt x="1960789" y="2305127"/>
                        <a:pt x="1944277" y="2311835"/>
                      </a:cubicBezTo>
                      <a:cubicBezTo>
                        <a:pt x="1922607" y="2320606"/>
                        <a:pt x="1901968" y="2331958"/>
                        <a:pt x="1883392" y="2346405"/>
                      </a:cubicBezTo>
                      <a:cubicBezTo>
                        <a:pt x="1867913" y="2358273"/>
                        <a:pt x="1863785" y="2373236"/>
                        <a:pt x="1868429" y="2391811"/>
                      </a:cubicBezTo>
                      <a:cubicBezTo>
                        <a:pt x="1879264" y="2436701"/>
                        <a:pt x="1889584" y="2482107"/>
                        <a:pt x="1899388" y="2526997"/>
                      </a:cubicBezTo>
                      <a:cubicBezTo>
                        <a:pt x="1903516" y="2546604"/>
                        <a:pt x="1896808" y="2561568"/>
                        <a:pt x="1879264" y="2571887"/>
                      </a:cubicBezTo>
                      <a:cubicBezTo>
                        <a:pt x="1867397" y="2579111"/>
                        <a:pt x="1854498" y="2584787"/>
                        <a:pt x="1841082" y="2588915"/>
                      </a:cubicBezTo>
                      <a:cubicBezTo>
                        <a:pt x="1813736" y="2597686"/>
                        <a:pt x="1798256" y="2592526"/>
                        <a:pt x="1782777" y="2568276"/>
                      </a:cubicBezTo>
                      <a:cubicBezTo>
                        <a:pt x="1760074" y="2532157"/>
                        <a:pt x="1736855" y="2496555"/>
                        <a:pt x="1715184" y="2459404"/>
                      </a:cubicBezTo>
                      <a:cubicBezTo>
                        <a:pt x="1703316" y="2439281"/>
                        <a:pt x="1687837" y="2431542"/>
                        <a:pt x="1664618" y="2435669"/>
                      </a:cubicBezTo>
                      <a:cubicBezTo>
                        <a:pt x="1646043" y="2439281"/>
                        <a:pt x="1627984" y="2443925"/>
                        <a:pt x="1610440" y="2450117"/>
                      </a:cubicBezTo>
                      <a:cubicBezTo>
                        <a:pt x="1586190" y="2458888"/>
                        <a:pt x="1578450" y="2469208"/>
                        <a:pt x="1577418" y="2495007"/>
                      </a:cubicBezTo>
                      <a:cubicBezTo>
                        <a:pt x="1575870" y="2535769"/>
                        <a:pt x="1574838" y="2576015"/>
                        <a:pt x="1573806" y="2616777"/>
                      </a:cubicBezTo>
                      <a:cubicBezTo>
                        <a:pt x="1572774" y="2653928"/>
                        <a:pt x="1563487" y="2665795"/>
                        <a:pt x="1526852" y="2672503"/>
                      </a:cubicBezTo>
                      <a:cubicBezTo>
                        <a:pt x="1517049" y="2674567"/>
                        <a:pt x="1507245" y="2675599"/>
                        <a:pt x="1497441" y="2676115"/>
                      </a:cubicBezTo>
                      <a:cubicBezTo>
                        <a:pt x="1473191" y="2677663"/>
                        <a:pt x="1457711" y="2667859"/>
                        <a:pt x="1449972" y="2644124"/>
                      </a:cubicBezTo>
                      <a:cubicBezTo>
                        <a:pt x="1436040" y="2600782"/>
                        <a:pt x="1422624" y="2557956"/>
                        <a:pt x="1410241" y="2514614"/>
                      </a:cubicBezTo>
                      <a:cubicBezTo>
                        <a:pt x="1404565" y="2495007"/>
                        <a:pt x="1392698" y="2485719"/>
                        <a:pt x="1373091" y="2482623"/>
                      </a:cubicBezTo>
                      <a:cubicBezTo>
                        <a:pt x="1350388" y="2479527"/>
                        <a:pt x="1327685" y="2479527"/>
                        <a:pt x="1304982" y="2483139"/>
                      </a:cubicBezTo>
                      <a:cubicBezTo>
                        <a:pt x="1287955" y="2485719"/>
                        <a:pt x="1277119" y="2494491"/>
                        <a:pt x="1271959" y="2511518"/>
                      </a:cubicBezTo>
                      <a:cubicBezTo>
                        <a:pt x="1260092" y="2552280"/>
                        <a:pt x="1247192" y="2593042"/>
                        <a:pt x="1234293" y="2633805"/>
                      </a:cubicBezTo>
                      <a:cubicBezTo>
                        <a:pt x="1222941" y="2670439"/>
                        <a:pt x="1208494" y="2679727"/>
                        <a:pt x="1170828" y="2674567"/>
                      </a:cubicBezTo>
                      <a:cubicBezTo>
                        <a:pt x="1114070" y="2666827"/>
                        <a:pt x="1107362" y="2659087"/>
                        <a:pt x="1106847" y="2602330"/>
                      </a:cubicBezTo>
                      <a:cubicBezTo>
                        <a:pt x="1106331" y="2565180"/>
                        <a:pt x="1104783" y="2528545"/>
                        <a:pt x="1103751" y="2491395"/>
                      </a:cubicBezTo>
                      <a:cubicBezTo>
                        <a:pt x="1103234" y="2474368"/>
                        <a:pt x="1096527" y="2460952"/>
                        <a:pt x="1080532" y="2454244"/>
                      </a:cubicBezTo>
                      <a:cubicBezTo>
                        <a:pt x="1056281" y="2443925"/>
                        <a:pt x="1031514" y="2436701"/>
                        <a:pt x="1005199" y="2435153"/>
                      </a:cubicBezTo>
                      <a:cubicBezTo>
                        <a:pt x="989203" y="2434121"/>
                        <a:pt x="977852" y="2440313"/>
                        <a:pt x="969080" y="2454244"/>
                      </a:cubicBezTo>
                      <a:cubicBezTo>
                        <a:pt x="946894" y="2491395"/>
                        <a:pt x="923159" y="2527513"/>
                        <a:pt x="900456" y="2564148"/>
                      </a:cubicBezTo>
                      <a:cubicBezTo>
                        <a:pt x="882396" y="2593042"/>
                        <a:pt x="868465" y="2598202"/>
                        <a:pt x="836474" y="2587367"/>
                      </a:cubicBezTo>
                      <a:cubicBezTo>
                        <a:pt x="834926" y="2586851"/>
                        <a:pt x="833379" y="2586335"/>
                        <a:pt x="831830" y="2585819"/>
                      </a:cubicBezTo>
                      <a:cubicBezTo>
                        <a:pt x="782297" y="2565696"/>
                        <a:pt x="772493" y="2554344"/>
                        <a:pt x="785392" y="2504810"/>
                      </a:cubicBezTo>
                      <a:cubicBezTo>
                        <a:pt x="795196" y="2467144"/>
                        <a:pt x="802420" y="2428962"/>
                        <a:pt x="811707" y="2390779"/>
                      </a:cubicBezTo>
                      <a:cubicBezTo>
                        <a:pt x="816351" y="2371172"/>
                        <a:pt x="811191" y="2356209"/>
                        <a:pt x="794680" y="2344341"/>
                      </a:cubicBezTo>
                      <a:cubicBezTo>
                        <a:pt x="777137" y="2331958"/>
                        <a:pt x="759078" y="2321122"/>
                        <a:pt x="739470" y="2312351"/>
                      </a:cubicBezTo>
                      <a:cubicBezTo>
                        <a:pt x="720895" y="2304095"/>
                        <a:pt x="704900" y="2307191"/>
                        <a:pt x="689421" y="2321638"/>
                      </a:cubicBezTo>
                      <a:cubicBezTo>
                        <a:pt x="658462" y="2351049"/>
                        <a:pt x="626988" y="2379944"/>
                        <a:pt x="596029" y="2408838"/>
                      </a:cubicBezTo>
                      <a:cubicBezTo>
                        <a:pt x="572810" y="2431026"/>
                        <a:pt x="557847" y="2432057"/>
                        <a:pt x="530500" y="2415030"/>
                      </a:cubicBezTo>
                      <a:cubicBezTo>
                        <a:pt x="527404" y="2412966"/>
                        <a:pt x="524308" y="2410902"/>
                        <a:pt x="521212" y="2408838"/>
                      </a:cubicBezTo>
                      <a:cubicBezTo>
                        <a:pt x="481482" y="2380460"/>
                        <a:pt x="477870" y="2365496"/>
                        <a:pt x="500573" y="2322670"/>
                      </a:cubicBezTo>
                      <a:cubicBezTo>
                        <a:pt x="519148" y="2287584"/>
                        <a:pt x="537207" y="2252497"/>
                        <a:pt x="556298" y="2217927"/>
                      </a:cubicBezTo>
                      <a:cubicBezTo>
                        <a:pt x="566102" y="2199868"/>
                        <a:pt x="564555" y="2184388"/>
                        <a:pt x="552171" y="2168909"/>
                      </a:cubicBezTo>
                      <a:cubicBezTo>
                        <a:pt x="538756" y="2151882"/>
                        <a:pt x="523276" y="2136402"/>
                        <a:pt x="505733" y="2122987"/>
                      </a:cubicBezTo>
                      <a:cubicBezTo>
                        <a:pt x="490254" y="2111120"/>
                        <a:pt x="474774" y="2110088"/>
                        <a:pt x="457747" y="2119375"/>
                      </a:cubicBezTo>
                      <a:cubicBezTo>
                        <a:pt x="419564" y="2140014"/>
                        <a:pt x="380866" y="2160653"/>
                        <a:pt x="341652" y="2180777"/>
                      </a:cubicBezTo>
                      <a:cubicBezTo>
                        <a:pt x="314305" y="2195224"/>
                        <a:pt x="298310" y="2191612"/>
                        <a:pt x="278187" y="2168909"/>
                      </a:cubicBezTo>
                      <a:cubicBezTo>
                        <a:pt x="276639" y="2167361"/>
                        <a:pt x="275607" y="2165813"/>
                        <a:pt x="274059" y="2164265"/>
                      </a:cubicBezTo>
                      <a:cubicBezTo>
                        <a:pt x="238456" y="2122987"/>
                        <a:pt x="238972" y="2108540"/>
                        <a:pt x="276639" y="2069325"/>
                      </a:cubicBezTo>
                      <a:cubicBezTo>
                        <a:pt x="302954" y="2041463"/>
                        <a:pt x="327721" y="2013084"/>
                        <a:pt x="354551" y="1986253"/>
                      </a:cubicBezTo>
                      <a:cubicBezTo>
                        <a:pt x="367967" y="1972322"/>
                        <a:pt x="370547" y="1957874"/>
                        <a:pt x="363839" y="1940847"/>
                      </a:cubicBezTo>
                      <a:cubicBezTo>
                        <a:pt x="355067" y="1918660"/>
                        <a:pt x="342684" y="1898021"/>
                        <a:pt x="328237" y="1878930"/>
                      </a:cubicBezTo>
                      <a:cubicBezTo>
                        <a:pt x="316369" y="1863450"/>
                        <a:pt x="300374" y="1861902"/>
                        <a:pt x="283347" y="1866030"/>
                      </a:cubicBezTo>
                      <a:cubicBezTo>
                        <a:pt x="245680" y="1874802"/>
                        <a:pt x="208530" y="1883573"/>
                        <a:pt x="170864" y="1891829"/>
                      </a:cubicBezTo>
                      <a:cubicBezTo>
                        <a:pt x="165704" y="1892861"/>
                        <a:pt x="160544" y="1894409"/>
                        <a:pt x="155900" y="1895441"/>
                      </a:cubicBezTo>
                      <a:cubicBezTo>
                        <a:pt x="127521" y="1900601"/>
                        <a:pt x="113074" y="1893893"/>
                        <a:pt x="100175" y="1868094"/>
                      </a:cubicBezTo>
                      <a:cubicBezTo>
                        <a:pt x="95531" y="1858291"/>
                        <a:pt x="90887" y="1848487"/>
                        <a:pt x="87275" y="1838168"/>
                      </a:cubicBezTo>
                      <a:cubicBezTo>
                        <a:pt x="77988" y="1810821"/>
                        <a:pt x="83147" y="1795341"/>
                        <a:pt x="107915" y="1779862"/>
                      </a:cubicBezTo>
                      <a:cubicBezTo>
                        <a:pt x="143001" y="1757675"/>
                        <a:pt x="178603" y="1735488"/>
                        <a:pt x="213690" y="1713817"/>
                      </a:cubicBezTo>
                      <a:cubicBezTo>
                        <a:pt x="241552" y="1696274"/>
                        <a:pt x="245680" y="1686470"/>
                        <a:pt x="238972" y="1654480"/>
                      </a:cubicBezTo>
                      <a:cubicBezTo>
                        <a:pt x="234845" y="1636420"/>
                        <a:pt x="230201" y="1617845"/>
                        <a:pt x="222977" y="1600818"/>
                      </a:cubicBezTo>
                      <a:cubicBezTo>
                        <a:pt x="215753" y="1583791"/>
                        <a:pt x="203370" y="1575535"/>
                        <a:pt x="184279" y="1575019"/>
                      </a:cubicBezTo>
                      <a:cubicBezTo>
                        <a:pt x="142485" y="1574503"/>
                        <a:pt x="101207" y="1572955"/>
                        <a:pt x="59413" y="1571407"/>
                      </a:cubicBezTo>
                      <a:cubicBezTo>
                        <a:pt x="21746" y="1570375"/>
                        <a:pt x="10395" y="1560572"/>
                        <a:pt x="3687" y="1524453"/>
                      </a:cubicBezTo>
                      <a:cubicBezTo>
                        <a:pt x="3171" y="1520841"/>
                        <a:pt x="2139" y="1517230"/>
                        <a:pt x="1623" y="1513618"/>
                      </a:cubicBezTo>
                      <a:cubicBezTo>
                        <a:pt x="-4053" y="1467696"/>
                        <a:pt x="3687" y="1455828"/>
                        <a:pt x="48577" y="1442413"/>
                      </a:cubicBezTo>
                      <a:cubicBezTo>
                        <a:pt x="85727" y="1431061"/>
                        <a:pt x="122877" y="1418678"/>
                        <a:pt x="160544" y="1408358"/>
                      </a:cubicBezTo>
                      <a:cubicBezTo>
                        <a:pt x="181183" y="1402683"/>
                        <a:pt x="192018" y="1390815"/>
                        <a:pt x="194083" y="1370692"/>
                      </a:cubicBezTo>
                      <a:cubicBezTo>
                        <a:pt x="196147" y="1346957"/>
                        <a:pt x="197178" y="1322706"/>
                        <a:pt x="192534" y="1298971"/>
                      </a:cubicBezTo>
                      <a:cubicBezTo>
                        <a:pt x="189954" y="1283492"/>
                        <a:pt x="181183" y="1274204"/>
                        <a:pt x="166220" y="1269560"/>
                      </a:cubicBezTo>
                      <a:cubicBezTo>
                        <a:pt x="126490" y="1257693"/>
                        <a:pt x="86759" y="1245310"/>
                        <a:pt x="47029" y="1232926"/>
                      </a:cubicBezTo>
                      <a:cubicBezTo>
                        <a:pt x="3687" y="1219511"/>
                        <a:pt x="-957" y="1212287"/>
                        <a:pt x="1623" y="1166881"/>
                      </a:cubicBezTo>
                      <a:cubicBezTo>
                        <a:pt x="2139" y="1157593"/>
                        <a:pt x="4203" y="1148306"/>
                        <a:pt x="6267" y="1139534"/>
                      </a:cubicBezTo>
                      <a:cubicBezTo>
                        <a:pt x="12459" y="1116831"/>
                        <a:pt x="25358" y="1106512"/>
                        <a:pt x="49093" y="1105480"/>
                      </a:cubicBezTo>
                      <a:cubicBezTo>
                        <a:pt x="87791" y="1103932"/>
                        <a:pt x="125974" y="1102900"/>
                        <a:pt x="164672" y="1101868"/>
                      </a:cubicBezTo>
                      <a:cubicBezTo>
                        <a:pt x="170348" y="1101868"/>
                        <a:pt x="176023" y="1101352"/>
                        <a:pt x="181699" y="1101352"/>
                      </a:cubicBezTo>
                      <a:cubicBezTo>
                        <a:pt x="207498" y="1102384"/>
                        <a:pt x="220913" y="1087936"/>
                        <a:pt x="227621" y="1065233"/>
                      </a:cubicBezTo>
                      <a:cubicBezTo>
                        <a:pt x="232781" y="1048206"/>
                        <a:pt x="237425" y="1031179"/>
                        <a:pt x="241036" y="1014152"/>
                      </a:cubicBezTo>
                      <a:cubicBezTo>
                        <a:pt x="245680" y="990417"/>
                        <a:pt x="240005" y="979065"/>
                        <a:pt x="219366" y="965650"/>
                      </a:cubicBezTo>
                      <a:cubicBezTo>
                        <a:pt x="184279" y="943463"/>
                        <a:pt x="148676" y="921276"/>
                        <a:pt x="113590" y="899605"/>
                      </a:cubicBezTo>
                      <a:cubicBezTo>
                        <a:pt x="82116" y="879997"/>
                        <a:pt x="77472" y="867614"/>
                        <a:pt x="89855" y="832012"/>
                      </a:cubicBezTo>
                      <a:cubicBezTo>
                        <a:pt x="93467" y="820660"/>
                        <a:pt x="98111" y="809309"/>
                        <a:pt x="104818" y="799505"/>
                      </a:cubicBezTo>
                      <a:cubicBezTo>
                        <a:pt x="115654" y="782994"/>
                        <a:pt x="130617" y="774738"/>
                        <a:pt x="151256" y="779898"/>
                      </a:cubicBezTo>
                      <a:cubicBezTo>
                        <a:pt x="195114" y="790217"/>
                        <a:pt x="239489" y="799505"/>
                        <a:pt x="283347" y="810341"/>
                      </a:cubicBezTo>
                      <a:cubicBezTo>
                        <a:pt x="303469" y="815500"/>
                        <a:pt x="318949" y="810857"/>
                        <a:pt x="331332" y="794345"/>
                      </a:cubicBezTo>
                      <a:cubicBezTo>
                        <a:pt x="344232" y="776802"/>
                        <a:pt x="355584" y="757711"/>
                        <a:pt x="363839" y="737588"/>
                      </a:cubicBezTo>
                      <a:cubicBezTo>
                        <a:pt x="371063" y="719529"/>
                        <a:pt x="368999" y="704049"/>
                        <a:pt x="354551" y="689086"/>
                      </a:cubicBezTo>
                      <a:cubicBezTo>
                        <a:pt x="324625" y="658643"/>
                        <a:pt x="296246" y="627169"/>
                        <a:pt x="266835" y="595694"/>
                      </a:cubicBezTo>
                      <a:cubicBezTo>
                        <a:pt x="244132" y="570927"/>
                        <a:pt x="243100" y="556996"/>
                        <a:pt x="261675" y="529133"/>
                      </a:cubicBezTo>
                      <a:cubicBezTo>
                        <a:pt x="264771" y="525005"/>
                        <a:pt x="267351" y="520361"/>
                        <a:pt x="270447" y="516233"/>
                      </a:cubicBezTo>
                      <a:cubicBezTo>
                        <a:pt x="296762" y="481663"/>
                        <a:pt x="311209" y="478567"/>
                        <a:pt x="349907" y="498690"/>
                      </a:cubicBezTo>
                      <a:cubicBezTo>
                        <a:pt x="386026" y="517781"/>
                        <a:pt x="422144" y="536357"/>
                        <a:pt x="457231" y="555964"/>
                      </a:cubicBezTo>
                      <a:cubicBezTo>
                        <a:pt x="475806" y="566283"/>
                        <a:pt x="492318" y="564219"/>
                        <a:pt x="507797" y="551320"/>
                      </a:cubicBezTo>
                      <a:cubicBezTo>
                        <a:pt x="523276" y="538421"/>
                        <a:pt x="537723" y="523973"/>
                        <a:pt x="551139" y="508494"/>
                      </a:cubicBezTo>
                      <a:cubicBezTo>
                        <a:pt x="564555" y="492499"/>
                        <a:pt x="567650" y="476503"/>
                        <a:pt x="556815" y="456896"/>
                      </a:cubicBezTo>
                      <a:cubicBezTo>
                        <a:pt x="535143" y="418198"/>
                        <a:pt x="515020" y="378983"/>
                        <a:pt x="494381" y="339769"/>
                      </a:cubicBezTo>
                      <a:cubicBezTo>
                        <a:pt x="480966" y="313970"/>
                        <a:pt x="484062" y="300039"/>
                        <a:pt x="505217" y="280432"/>
                      </a:cubicBezTo>
                      <a:cubicBezTo>
                        <a:pt x="515020" y="271144"/>
                        <a:pt x="525856" y="263405"/>
                        <a:pt x="537723" y="256181"/>
                      </a:cubicBezTo>
                      <a:cubicBezTo>
                        <a:pt x="558362" y="244313"/>
                        <a:pt x="572810" y="245861"/>
                        <a:pt x="590353" y="261857"/>
                      </a:cubicBezTo>
                      <a:cubicBezTo>
                        <a:pt x="620280" y="289203"/>
                        <a:pt x="650207" y="317066"/>
                        <a:pt x="679617" y="344929"/>
                      </a:cubicBezTo>
                      <a:cubicBezTo>
                        <a:pt x="710576" y="374340"/>
                        <a:pt x="717284" y="375372"/>
                        <a:pt x="754950" y="355765"/>
                      </a:cubicBezTo>
                      <a:cubicBezTo>
                        <a:pt x="769913" y="348025"/>
                        <a:pt x="783845" y="339769"/>
                        <a:pt x="797260" y="329450"/>
                      </a:cubicBezTo>
                      <a:cubicBezTo>
                        <a:pt x="811707" y="317582"/>
                        <a:pt x="816351" y="303651"/>
                        <a:pt x="811707" y="285076"/>
                      </a:cubicBezTo>
                      <a:cubicBezTo>
                        <a:pt x="800872" y="242249"/>
                        <a:pt x="791585" y="198907"/>
                        <a:pt x="781781" y="156081"/>
                      </a:cubicBezTo>
                      <a:cubicBezTo>
                        <a:pt x="775589" y="128218"/>
                        <a:pt x="782297" y="114287"/>
                        <a:pt x="807064" y="100872"/>
                      </a:cubicBezTo>
                      <a:cubicBezTo>
                        <a:pt x="818415" y="95196"/>
                        <a:pt x="829766" y="90552"/>
                        <a:pt x="841634" y="86424"/>
                      </a:cubicBezTo>
                      <a:cubicBezTo>
                        <a:pt x="866917" y="78685"/>
                        <a:pt x="881364" y="83328"/>
                        <a:pt x="896328" y="106031"/>
                      </a:cubicBezTo>
                      <a:cubicBezTo>
                        <a:pt x="920062" y="142666"/>
                        <a:pt x="943798" y="179300"/>
                        <a:pt x="965469" y="217483"/>
                      </a:cubicBezTo>
                      <a:cubicBezTo>
                        <a:pt x="976820" y="237090"/>
                        <a:pt x="992299" y="243797"/>
                        <a:pt x="1013455" y="240702"/>
                      </a:cubicBezTo>
                      <a:cubicBezTo>
                        <a:pt x="1035641" y="237090"/>
                        <a:pt x="1057313" y="231414"/>
                        <a:pt x="1077952" y="222642"/>
                      </a:cubicBezTo>
                      <a:cubicBezTo>
                        <a:pt x="1092915" y="215935"/>
                        <a:pt x="1101171" y="205615"/>
                        <a:pt x="1101687" y="188072"/>
                      </a:cubicBezTo>
                      <a:cubicBezTo>
                        <a:pt x="1102719" y="143182"/>
                        <a:pt x="1105298" y="98808"/>
                        <a:pt x="1106847" y="53918"/>
                      </a:cubicBezTo>
                      <a:cubicBezTo>
                        <a:pt x="1107878" y="25023"/>
                        <a:pt x="1117166" y="12640"/>
                        <a:pt x="1145029" y="4900"/>
                      </a:cubicBezTo>
                      <a:cubicBezTo>
                        <a:pt x="1149672" y="3868"/>
                        <a:pt x="1154316" y="2320"/>
                        <a:pt x="1158960" y="1804"/>
                      </a:cubicBezTo>
                      <a:cubicBezTo>
                        <a:pt x="1210042" y="-3872"/>
                        <a:pt x="1222426" y="1804"/>
                        <a:pt x="1235841" y="48758"/>
                      </a:cubicBezTo>
                      <a:cubicBezTo>
                        <a:pt x="1246676" y="86940"/>
                        <a:pt x="1259576" y="124091"/>
                        <a:pt x="1269895" y="162273"/>
                      </a:cubicBezTo>
                      <a:cubicBezTo>
                        <a:pt x="1275055" y="180332"/>
                        <a:pt x="1285890" y="190136"/>
                        <a:pt x="1303434" y="192716"/>
                      </a:cubicBezTo>
                      <a:cubicBezTo>
                        <a:pt x="1327685" y="195812"/>
                        <a:pt x="1352452" y="195812"/>
                        <a:pt x="1376702" y="192716"/>
                      </a:cubicBezTo>
                      <a:cubicBezTo>
                        <a:pt x="1393730" y="190652"/>
                        <a:pt x="1404049" y="180332"/>
                        <a:pt x="1409209" y="163305"/>
                      </a:cubicBezTo>
                      <a:cubicBezTo>
                        <a:pt x="1421593" y="121511"/>
                        <a:pt x="1434492" y="79717"/>
                        <a:pt x="1447392" y="37922"/>
                      </a:cubicBezTo>
                      <a:cubicBezTo>
                        <a:pt x="1457195" y="6964"/>
                        <a:pt x="1466998" y="-260"/>
                        <a:pt x="1499505" y="256"/>
                      </a:cubicBezTo>
                      <a:cubicBezTo>
                        <a:pt x="1504149" y="256"/>
                        <a:pt x="1508793" y="256"/>
                        <a:pt x="1513436" y="772"/>
                      </a:cubicBezTo>
                      <a:cubicBezTo>
                        <a:pt x="1559358" y="5416"/>
                        <a:pt x="1572258" y="19347"/>
                        <a:pt x="1573290" y="65269"/>
                      </a:cubicBezTo>
                      <a:cubicBezTo>
                        <a:pt x="1574322" y="105515"/>
                        <a:pt x="1575870" y="145246"/>
                        <a:pt x="1576902" y="185492"/>
                      </a:cubicBezTo>
                      <a:cubicBezTo>
                        <a:pt x="1577418" y="201487"/>
                        <a:pt x="1583093" y="213871"/>
                        <a:pt x="1598057" y="220578"/>
                      </a:cubicBezTo>
                      <a:cubicBezTo>
                        <a:pt x="1622308" y="231414"/>
                        <a:pt x="1647590" y="238638"/>
                        <a:pt x="1674422" y="240702"/>
                      </a:cubicBezTo>
                      <a:cubicBezTo>
                        <a:pt x="1690933" y="241733"/>
                        <a:pt x="1702285" y="235026"/>
                        <a:pt x="1710540" y="221610"/>
                      </a:cubicBezTo>
                      <a:cubicBezTo>
                        <a:pt x="1733243" y="184976"/>
                        <a:pt x="1756462" y="148342"/>
                        <a:pt x="1779165" y="111707"/>
                      </a:cubicBezTo>
                      <a:cubicBezTo>
                        <a:pt x="1798772" y="80749"/>
                        <a:pt x="1810640" y="76621"/>
                        <a:pt x="1845726" y="88488"/>
                      </a:cubicBezTo>
                      <a:cubicBezTo>
                        <a:pt x="1849854" y="90036"/>
                        <a:pt x="1853466" y="91068"/>
                        <a:pt x="1857594" y="92616"/>
                      </a:cubicBezTo>
                      <a:cubicBezTo>
                        <a:pt x="1898356" y="110159"/>
                        <a:pt x="1905063" y="123059"/>
                        <a:pt x="1895260" y="166401"/>
                      </a:cubicBezTo>
                      <a:cubicBezTo>
                        <a:pt x="1886488" y="205099"/>
                        <a:pt x="1877717" y="243281"/>
                        <a:pt x="1868429" y="281980"/>
                      </a:cubicBezTo>
                      <a:cubicBezTo>
                        <a:pt x="1863269" y="303135"/>
                        <a:pt x="1868429" y="319646"/>
                        <a:pt x="1887004" y="332030"/>
                      </a:cubicBezTo>
                      <a:cubicBezTo>
                        <a:pt x="1906096" y="344929"/>
                        <a:pt x="1925187" y="356796"/>
                        <a:pt x="1946857" y="365052"/>
                      </a:cubicBezTo>
                      <a:cubicBezTo>
                        <a:pt x="1962337" y="370728"/>
                        <a:pt x="1974720" y="367116"/>
                        <a:pt x="1986588" y="355765"/>
                      </a:cubicBezTo>
                      <a:cubicBezTo>
                        <a:pt x="2018062" y="325838"/>
                        <a:pt x="2049537" y="296943"/>
                        <a:pt x="2081528" y="267532"/>
                      </a:cubicBezTo>
                      <a:cubicBezTo>
                        <a:pt x="2107843" y="242765"/>
                        <a:pt x="2122290" y="241733"/>
                        <a:pt x="2151701" y="261857"/>
                      </a:cubicBezTo>
                      <a:cubicBezTo>
                        <a:pt x="2153248" y="262889"/>
                        <a:pt x="2154281" y="263405"/>
                        <a:pt x="2155312" y="264437"/>
                      </a:cubicBezTo>
                      <a:cubicBezTo>
                        <a:pt x="2205363" y="300555"/>
                        <a:pt x="2198139" y="316034"/>
                        <a:pt x="2177500" y="353701"/>
                      </a:cubicBezTo>
                      <a:cubicBezTo>
                        <a:pt x="2158925" y="387755"/>
                        <a:pt x="2141381" y="422842"/>
                        <a:pt x="2122290" y="456896"/>
                      </a:cubicBezTo>
                      <a:cubicBezTo>
                        <a:pt x="2112487" y="474955"/>
                        <a:pt x="2114550" y="490435"/>
                        <a:pt x="2126934" y="505914"/>
                      </a:cubicBezTo>
                      <a:cubicBezTo>
                        <a:pt x="2140865" y="522941"/>
                        <a:pt x="2156345" y="538421"/>
                        <a:pt x="2173372" y="551836"/>
                      </a:cubicBezTo>
                      <a:cubicBezTo>
                        <a:pt x="2187819" y="563187"/>
                        <a:pt x="2202783" y="564735"/>
                        <a:pt x="2219810" y="555964"/>
                      </a:cubicBezTo>
                      <a:cubicBezTo>
                        <a:pt x="2258508" y="534809"/>
                        <a:pt x="2297722" y="514170"/>
                        <a:pt x="2336937" y="494046"/>
                      </a:cubicBezTo>
                      <a:cubicBezTo>
                        <a:pt x="2364799" y="479599"/>
                        <a:pt x="2380795" y="482695"/>
                        <a:pt x="2400917" y="507462"/>
                      </a:cubicBezTo>
                      <a:cubicBezTo>
                        <a:pt x="2408141" y="515717"/>
                        <a:pt x="2414849" y="524489"/>
                        <a:pt x="2420525" y="533777"/>
                      </a:cubicBezTo>
                      <a:cubicBezTo>
                        <a:pt x="2434972" y="556480"/>
                        <a:pt x="2433424" y="571443"/>
                        <a:pt x="2415365" y="591566"/>
                      </a:cubicBezTo>
                      <a:cubicBezTo>
                        <a:pt x="2384406" y="625105"/>
                        <a:pt x="2353448" y="659159"/>
                        <a:pt x="2321973" y="692182"/>
                      </a:cubicBezTo>
                      <a:cubicBezTo>
                        <a:pt x="2310106" y="704565"/>
                        <a:pt x="2307526" y="717981"/>
                        <a:pt x="2313718" y="733460"/>
                      </a:cubicBezTo>
                      <a:cubicBezTo>
                        <a:pt x="2323005" y="755647"/>
                        <a:pt x="2334357" y="776286"/>
                        <a:pt x="2349320" y="795377"/>
                      </a:cubicBezTo>
                      <a:cubicBezTo>
                        <a:pt x="2361187" y="810857"/>
                        <a:pt x="2375635" y="814984"/>
                        <a:pt x="2394726" y="810341"/>
                      </a:cubicBezTo>
                      <a:cubicBezTo>
                        <a:pt x="2438584" y="799505"/>
                        <a:pt x="2482958" y="789701"/>
                        <a:pt x="2526816" y="780414"/>
                      </a:cubicBezTo>
                      <a:cubicBezTo>
                        <a:pt x="2550035" y="775254"/>
                        <a:pt x="2563967" y="781962"/>
                        <a:pt x="2575834" y="803117"/>
                      </a:cubicBezTo>
                      <a:cubicBezTo>
                        <a:pt x="2582026" y="814468"/>
                        <a:pt x="2587186" y="826336"/>
                        <a:pt x="2591313" y="838719"/>
                      </a:cubicBezTo>
                      <a:cubicBezTo>
                        <a:pt x="2600085" y="867098"/>
                        <a:pt x="2595441" y="880514"/>
                        <a:pt x="2570158" y="896509"/>
                      </a:cubicBezTo>
                      <a:cubicBezTo>
                        <a:pt x="2534040" y="919212"/>
                        <a:pt x="2498437" y="942947"/>
                        <a:pt x="2461287" y="964102"/>
                      </a:cubicBezTo>
                      <a:cubicBezTo>
                        <a:pt x="2440132" y="976485"/>
                        <a:pt x="2434456" y="992997"/>
                        <a:pt x="2438068" y="1014668"/>
                      </a:cubicBezTo>
                      <a:cubicBezTo>
                        <a:pt x="2441164" y="1034791"/>
                        <a:pt x="2446840" y="1054398"/>
                        <a:pt x="2454063" y="1073489"/>
                      </a:cubicBezTo>
                      <a:cubicBezTo>
                        <a:pt x="2460771" y="1091032"/>
                        <a:pt x="2472638" y="1100320"/>
                        <a:pt x="2492762" y="1100836"/>
                      </a:cubicBezTo>
                      <a:cubicBezTo>
                        <a:pt x="2538168" y="1101352"/>
                        <a:pt x="2583058" y="1104448"/>
                        <a:pt x="2628464" y="1105996"/>
                      </a:cubicBezTo>
                      <a:cubicBezTo>
                        <a:pt x="2653230" y="1107028"/>
                        <a:pt x="2665614" y="1116831"/>
                        <a:pt x="2672322" y="1140566"/>
                      </a:cubicBezTo>
                      <a:cubicBezTo>
                        <a:pt x="2676449" y="1153982"/>
                        <a:pt x="2677998" y="1167913"/>
                        <a:pt x="2677998" y="1182360"/>
                      </a:cubicBezTo>
                      <a:cubicBezTo>
                        <a:pt x="2677998" y="1210223"/>
                        <a:pt x="2670258" y="1221575"/>
                        <a:pt x="2644459" y="1229830"/>
                      </a:cubicBezTo>
                      <a:cubicBezTo>
                        <a:pt x="2603697" y="1242730"/>
                        <a:pt x="2562934" y="1255113"/>
                        <a:pt x="2522172" y="1267497"/>
                      </a:cubicBezTo>
                      <a:cubicBezTo>
                        <a:pt x="2492762" y="1276268"/>
                        <a:pt x="2485022" y="1285556"/>
                        <a:pt x="2483990" y="1315998"/>
                      </a:cubicBezTo>
                      <a:cubicBezTo>
                        <a:pt x="2483474" y="1337153"/>
                        <a:pt x="2481926" y="1358824"/>
                        <a:pt x="2486570" y="1379980"/>
                      </a:cubicBezTo>
                      <a:cubicBezTo>
                        <a:pt x="2489666" y="1394427"/>
                        <a:pt x="2498437" y="1403199"/>
                        <a:pt x="2512885" y="1407842"/>
                      </a:cubicBezTo>
                      <a:cubicBezTo>
                        <a:pt x="2555711" y="1420742"/>
                        <a:pt x="2598537" y="1433641"/>
                        <a:pt x="2641363" y="1447057"/>
                      </a:cubicBezTo>
                      <a:cubicBezTo>
                        <a:pt x="2671290" y="1456344"/>
                        <a:pt x="2678514" y="1466664"/>
                        <a:pt x="2677998" y="1498138"/>
                      </a:cubicBezTo>
                      <a:cubicBezTo>
                        <a:pt x="2677998" y="1501234"/>
                        <a:pt x="2677998" y="1504330"/>
                        <a:pt x="2677998" y="1507426"/>
                      </a:cubicBezTo>
                      <a:cubicBezTo>
                        <a:pt x="2675934" y="1555928"/>
                        <a:pt x="2660454" y="1571407"/>
                        <a:pt x="2611952" y="1572955"/>
                      </a:cubicBezTo>
                      <a:cubicBezTo>
                        <a:pt x="2571190" y="1573987"/>
                        <a:pt x="2530944" y="1576051"/>
                        <a:pt x="2490182" y="1576567"/>
                      </a:cubicBezTo>
                      <a:cubicBezTo>
                        <a:pt x="2474702" y="1577083"/>
                        <a:pt x="2463867" y="1583791"/>
                        <a:pt x="2457675" y="1596690"/>
                      </a:cubicBezTo>
                      <a:cubicBezTo>
                        <a:pt x="2446324" y="1620941"/>
                        <a:pt x="2439100" y="1646224"/>
                        <a:pt x="2437036" y="1673055"/>
                      </a:cubicBezTo>
                      <a:cubicBezTo>
                        <a:pt x="2435488" y="1690082"/>
                        <a:pt x="2442712" y="1701434"/>
                        <a:pt x="2457159" y="1710205"/>
                      </a:cubicBezTo>
                      <a:cubicBezTo>
                        <a:pt x="2493278" y="1732392"/>
                        <a:pt x="2528880" y="1754579"/>
                        <a:pt x="2564483" y="1777282"/>
                      </a:cubicBezTo>
                      <a:cubicBezTo>
                        <a:pt x="2596989" y="1797405"/>
                        <a:pt x="2601117" y="1809789"/>
                        <a:pt x="2588733" y="1845907"/>
                      </a:cubicBezTo>
                      <a:cubicBezTo>
                        <a:pt x="2584606" y="1858291"/>
                        <a:pt x="2578930" y="1870158"/>
                        <a:pt x="2571706" y="1880994"/>
                      </a:cubicBezTo>
                      <a:cubicBezTo>
                        <a:pt x="2564998" y="1890797"/>
                        <a:pt x="2554163" y="1897505"/>
                        <a:pt x="2538684" y="1897505"/>
                      </a:cubicBezTo>
                      <a:close/>
                      <a:moveTo>
                        <a:pt x="1338521" y="2312867"/>
                      </a:moveTo>
                      <a:cubicBezTo>
                        <a:pt x="1869461" y="2314931"/>
                        <a:pt x="2317329" y="1887701"/>
                        <a:pt x="2316814" y="1335605"/>
                      </a:cubicBezTo>
                      <a:cubicBezTo>
                        <a:pt x="2316298" y="792797"/>
                        <a:pt x="1880813" y="359892"/>
                        <a:pt x="1340068" y="359376"/>
                      </a:cubicBezTo>
                      <a:cubicBezTo>
                        <a:pt x="796228" y="358860"/>
                        <a:pt x="363839" y="794861"/>
                        <a:pt x="361775" y="1331994"/>
                      </a:cubicBezTo>
                      <a:cubicBezTo>
                        <a:pt x="359711" y="1882026"/>
                        <a:pt x="806032" y="2314415"/>
                        <a:pt x="1338521" y="2312867"/>
                      </a:cubicBezTo>
                      <a:close/>
                    </a:path>
                  </a:pathLst>
                </a:custGeom>
                <a:grpFill/>
                <a:ln w="5155"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E7D2F5C8-112A-47AC-8EBA-CA3BCCFFD653}"/>
                    </a:ext>
                  </a:extLst>
                </p:cNvPr>
                <p:cNvSpPr/>
                <p:nvPr/>
              </p:nvSpPr>
              <p:spPr>
                <a:xfrm>
                  <a:off x="7558586" y="2011427"/>
                  <a:ext cx="1898797" cy="1893637"/>
                </a:xfrm>
                <a:custGeom>
                  <a:avLst/>
                  <a:gdLst>
                    <a:gd name="connsiteX0" fmla="*/ 30 w 1898796"/>
                    <a:gd name="connsiteY0" fmla="*/ 947852 h 1893636"/>
                    <a:gd name="connsiteX1" fmla="*/ 950461 w 1898796"/>
                    <a:gd name="connsiteY1" fmla="*/ 2 h 1893636"/>
                    <a:gd name="connsiteX2" fmla="*/ 1898827 w 1898796"/>
                    <a:gd name="connsiteY2" fmla="*/ 950948 h 1893636"/>
                    <a:gd name="connsiteX3" fmla="*/ 946849 w 1898796"/>
                    <a:gd name="connsiteY3" fmla="*/ 1898283 h 1893636"/>
                    <a:gd name="connsiteX4" fmla="*/ 30 w 1898796"/>
                    <a:gd name="connsiteY4" fmla="*/ 947852 h 1893636"/>
                    <a:gd name="connsiteX5" fmla="*/ 1187811 w 1898796"/>
                    <a:gd name="connsiteY5" fmla="*/ 949916 h 1893636"/>
                    <a:gd name="connsiteX6" fmla="*/ 949429 w 1898796"/>
                    <a:gd name="connsiteY6" fmla="*/ 710503 h 1893636"/>
                    <a:gd name="connsiteX7" fmla="*/ 710532 w 1898796"/>
                    <a:gd name="connsiteY7" fmla="*/ 948368 h 1893636"/>
                    <a:gd name="connsiteX8" fmla="*/ 948397 w 1898796"/>
                    <a:gd name="connsiteY8" fmla="*/ 1188298 h 1893636"/>
                    <a:gd name="connsiteX9" fmla="*/ 1187811 w 1898796"/>
                    <a:gd name="connsiteY9" fmla="*/ 949916 h 1893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8796" h="1893636">
                      <a:moveTo>
                        <a:pt x="30" y="947852"/>
                      </a:moveTo>
                      <a:cubicBezTo>
                        <a:pt x="-3065" y="428263"/>
                        <a:pt x="426228" y="-1030"/>
                        <a:pt x="950461" y="2"/>
                      </a:cubicBezTo>
                      <a:cubicBezTo>
                        <a:pt x="1472114" y="1034"/>
                        <a:pt x="1899859" y="427747"/>
                        <a:pt x="1898827" y="950948"/>
                      </a:cubicBezTo>
                      <a:cubicBezTo>
                        <a:pt x="1897795" y="1468473"/>
                        <a:pt x="1477790" y="1899315"/>
                        <a:pt x="946849" y="1898283"/>
                      </a:cubicBezTo>
                      <a:cubicBezTo>
                        <a:pt x="411781" y="1896735"/>
                        <a:pt x="-4097" y="1460218"/>
                        <a:pt x="30" y="947852"/>
                      </a:cubicBezTo>
                      <a:close/>
                      <a:moveTo>
                        <a:pt x="1187811" y="949916"/>
                      </a:moveTo>
                      <a:cubicBezTo>
                        <a:pt x="1188327" y="817310"/>
                        <a:pt x="1084099" y="710503"/>
                        <a:pt x="949429" y="710503"/>
                      </a:cubicBezTo>
                      <a:cubicBezTo>
                        <a:pt x="805987" y="710503"/>
                        <a:pt x="710015" y="828146"/>
                        <a:pt x="710532" y="948368"/>
                      </a:cubicBezTo>
                      <a:cubicBezTo>
                        <a:pt x="711048" y="1081490"/>
                        <a:pt x="815791" y="1188298"/>
                        <a:pt x="948397" y="1188298"/>
                      </a:cubicBezTo>
                      <a:cubicBezTo>
                        <a:pt x="1081003" y="1188298"/>
                        <a:pt x="1187294" y="1083038"/>
                        <a:pt x="1187811" y="949916"/>
                      </a:cubicBezTo>
                      <a:close/>
                    </a:path>
                  </a:pathLst>
                </a:custGeom>
                <a:grpFill/>
                <a:ln w="5155" cap="flat">
                  <a:noFill/>
                  <a:prstDash val="solid"/>
                  <a:miter/>
                </a:ln>
              </p:spPr>
              <p:txBody>
                <a:bodyPr rtlCol="0" anchor="ctr"/>
                <a:lstStyle/>
                <a:p>
                  <a:endParaRPr lang="en-US"/>
                </a:p>
              </p:txBody>
            </p:sp>
          </p:grpSp>
        </p:grpSp>
        <p:sp>
          <p:nvSpPr>
            <p:cNvPr id="5" name="Freeform: Shape 4">
              <a:extLst>
                <a:ext uri="{FF2B5EF4-FFF2-40B4-BE49-F238E27FC236}">
                  <a16:creationId xmlns:a16="http://schemas.microsoft.com/office/drawing/2014/main" id="{B07F2CD7-68E5-49F5-BBED-77DA2BFBE7AD}"/>
                </a:ext>
              </a:extLst>
            </p:cNvPr>
            <p:cNvSpPr/>
            <p:nvPr/>
          </p:nvSpPr>
          <p:spPr>
            <a:xfrm>
              <a:off x="10132589" y="4237994"/>
              <a:ext cx="577306" cy="577307"/>
            </a:xfrm>
            <a:custGeom>
              <a:avLst/>
              <a:gdLst>
                <a:gd name="connsiteX0" fmla="*/ 686157 w 1243505"/>
                <a:gd name="connsiteY0" fmla="*/ 1016068 h 1243505"/>
                <a:gd name="connsiteX1" fmla="*/ 560258 w 1243505"/>
                <a:gd name="connsiteY1" fmla="*/ 1016068 h 1243505"/>
                <a:gd name="connsiteX2" fmla="*/ 545811 w 1243505"/>
                <a:gd name="connsiteY2" fmla="*/ 1026903 h 1243505"/>
                <a:gd name="connsiteX3" fmla="*/ 533944 w 1243505"/>
                <a:gd name="connsiteY3" fmla="*/ 1088821 h 1243505"/>
                <a:gd name="connsiteX4" fmla="*/ 505565 w 1243505"/>
                <a:gd name="connsiteY4" fmla="*/ 1169829 h 1243505"/>
                <a:gd name="connsiteX5" fmla="*/ 469447 w 1243505"/>
                <a:gd name="connsiteY5" fmla="*/ 1240002 h 1243505"/>
                <a:gd name="connsiteX6" fmla="*/ 452935 w 1243505"/>
                <a:gd name="connsiteY6" fmla="*/ 1246710 h 1243505"/>
                <a:gd name="connsiteX7" fmla="*/ 305366 w 1243505"/>
                <a:gd name="connsiteY7" fmla="*/ 1185824 h 1243505"/>
                <a:gd name="connsiteX8" fmla="*/ 298142 w 1243505"/>
                <a:gd name="connsiteY8" fmla="*/ 1168281 h 1243505"/>
                <a:gd name="connsiteX9" fmla="*/ 333744 w 1243505"/>
                <a:gd name="connsiteY9" fmla="*/ 1059410 h 1243505"/>
                <a:gd name="connsiteX10" fmla="*/ 342000 w 1243505"/>
                <a:gd name="connsiteY10" fmla="*/ 1043415 h 1243505"/>
                <a:gd name="connsiteX11" fmla="*/ 395662 w 1243505"/>
                <a:gd name="connsiteY11" fmla="*/ 962922 h 1243505"/>
                <a:gd name="connsiteX12" fmla="*/ 393598 w 1243505"/>
                <a:gd name="connsiteY12" fmla="*/ 947959 h 1243505"/>
                <a:gd name="connsiteX13" fmla="*/ 299174 w 1243505"/>
                <a:gd name="connsiteY13" fmla="*/ 853535 h 1243505"/>
                <a:gd name="connsiteX14" fmla="*/ 285243 w 1243505"/>
                <a:gd name="connsiteY14" fmla="*/ 851471 h 1243505"/>
                <a:gd name="connsiteX15" fmla="*/ 230549 w 1243505"/>
                <a:gd name="connsiteY15" fmla="*/ 888106 h 1243505"/>
                <a:gd name="connsiteX16" fmla="*/ 148509 w 1243505"/>
                <a:gd name="connsiteY16" fmla="*/ 926804 h 1243505"/>
                <a:gd name="connsiteX17" fmla="*/ 78852 w 1243505"/>
                <a:gd name="connsiteY17" fmla="*/ 949507 h 1243505"/>
                <a:gd name="connsiteX18" fmla="*/ 62340 w 1243505"/>
                <a:gd name="connsiteY18" fmla="*/ 942799 h 1243505"/>
                <a:gd name="connsiteX19" fmla="*/ 939 w 1243505"/>
                <a:gd name="connsiteY19" fmla="*/ 794198 h 1243505"/>
                <a:gd name="connsiteX20" fmla="*/ 7131 w 1243505"/>
                <a:gd name="connsiteY20" fmla="*/ 778718 h 1243505"/>
                <a:gd name="connsiteX21" fmla="*/ 114454 w 1243505"/>
                <a:gd name="connsiteY21" fmla="*/ 725056 h 1243505"/>
                <a:gd name="connsiteX22" fmla="*/ 189787 w 1243505"/>
                <a:gd name="connsiteY22" fmla="*/ 708545 h 1243505"/>
                <a:gd name="connsiteX23" fmla="*/ 221261 w 1243505"/>
                <a:gd name="connsiteY23" fmla="*/ 702354 h 1243505"/>
                <a:gd name="connsiteX24" fmla="*/ 231581 w 1243505"/>
                <a:gd name="connsiteY24" fmla="*/ 688938 h 1243505"/>
                <a:gd name="connsiteX25" fmla="*/ 225905 w 1243505"/>
                <a:gd name="connsiteY25" fmla="*/ 631149 h 1243505"/>
                <a:gd name="connsiteX26" fmla="*/ 231581 w 1243505"/>
                <a:gd name="connsiteY26" fmla="*/ 559428 h 1243505"/>
                <a:gd name="connsiteX27" fmla="*/ 220745 w 1243505"/>
                <a:gd name="connsiteY27" fmla="*/ 544980 h 1243505"/>
                <a:gd name="connsiteX28" fmla="*/ 172760 w 1243505"/>
                <a:gd name="connsiteY28" fmla="*/ 535693 h 1243505"/>
                <a:gd name="connsiteX29" fmla="*/ 27770 w 1243505"/>
                <a:gd name="connsiteY29" fmla="*/ 478419 h 1243505"/>
                <a:gd name="connsiteX30" fmla="*/ 8163 w 1243505"/>
                <a:gd name="connsiteY30" fmla="*/ 431465 h 1243505"/>
                <a:gd name="connsiteX31" fmla="*/ 62340 w 1243505"/>
                <a:gd name="connsiteY31" fmla="*/ 305051 h 1243505"/>
                <a:gd name="connsiteX32" fmla="*/ 79884 w 1243505"/>
                <a:gd name="connsiteY32" fmla="*/ 297827 h 1243505"/>
                <a:gd name="connsiteX33" fmla="*/ 188755 w 1243505"/>
                <a:gd name="connsiteY33" fmla="*/ 333430 h 1243505"/>
                <a:gd name="connsiteX34" fmla="*/ 204750 w 1243505"/>
                <a:gd name="connsiteY34" fmla="*/ 341685 h 1243505"/>
                <a:gd name="connsiteX35" fmla="*/ 285243 w 1243505"/>
                <a:gd name="connsiteY35" fmla="*/ 395347 h 1243505"/>
                <a:gd name="connsiteX36" fmla="*/ 300206 w 1243505"/>
                <a:gd name="connsiteY36" fmla="*/ 393283 h 1243505"/>
                <a:gd name="connsiteX37" fmla="*/ 393598 w 1243505"/>
                <a:gd name="connsiteY37" fmla="*/ 299891 h 1243505"/>
                <a:gd name="connsiteX38" fmla="*/ 395662 w 1243505"/>
                <a:gd name="connsiteY38" fmla="*/ 283896 h 1243505"/>
                <a:gd name="connsiteX39" fmla="*/ 353352 w 1243505"/>
                <a:gd name="connsiteY39" fmla="*/ 220947 h 1243505"/>
                <a:gd name="connsiteX40" fmla="*/ 325489 w 1243505"/>
                <a:gd name="connsiteY40" fmla="*/ 162125 h 1243505"/>
                <a:gd name="connsiteX41" fmla="*/ 299690 w 1243505"/>
                <a:gd name="connsiteY41" fmla="*/ 82665 h 1243505"/>
                <a:gd name="connsiteX42" fmla="*/ 307946 w 1243505"/>
                <a:gd name="connsiteY42" fmla="*/ 61510 h 1243505"/>
                <a:gd name="connsiteX43" fmla="*/ 451903 w 1243505"/>
                <a:gd name="connsiteY43" fmla="*/ 2172 h 1243505"/>
                <a:gd name="connsiteX44" fmla="*/ 470478 w 1243505"/>
                <a:gd name="connsiteY44" fmla="*/ 9396 h 1243505"/>
                <a:gd name="connsiteX45" fmla="*/ 522076 w 1243505"/>
                <a:gd name="connsiteY45" fmla="*/ 111559 h 1243505"/>
                <a:gd name="connsiteX46" fmla="*/ 537555 w 1243505"/>
                <a:gd name="connsiteY46" fmla="*/ 177605 h 1243505"/>
                <a:gd name="connsiteX47" fmla="*/ 546843 w 1243505"/>
                <a:gd name="connsiteY47" fmla="*/ 223011 h 1243505"/>
                <a:gd name="connsiteX48" fmla="*/ 559227 w 1243505"/>
                <a:gd name="connsiteY48" fmla="*/ 231782 h 1243505"/>
                <a:gd name="connsiteX49" fmla="*/ 688737 w 1243505"/>
                <a:gd name="connsiteY49" fmla="*/ 231782 h 1243505"/>
                <a:gd name="connsiteX50" fmla="*/ 704216 w 1243505"/>
                <a:gd name="connsiteY50" fmla="*/ 220431 h 1243505"/>
                <a:gd name="connsiteX51" fmla="*/ 716600 w 1243505"/>
                <a:gd name="connsiteY51" fmla="*/ 156966 h 1243505"/>
                <a:gd name="connsiteX52" fmla="*/ 743430 w 1243505"/>
                <a:gd name="connsiteY52" fmla="*/ 79569 h 1243505"/>
                <a:gd name="connsiteX53" fmla="*/ 780065 w 1243505"/>
                <a:gd name="connsiteY53" fmla="*/ 8364 h 1243505"/>
                <a:gd name="connsiteX54" fmla="*/ 797092 w 1243505"/>
                <a:gd name="connsiteY54" fmla="*/ 1140 h 1243505"/>
                <a:gd name="connsiteX55" fmla="*/ 944146 w 1243505"/>
                <a:gd name="connsiteY55" fmla="*/ 62542 h 1243505"/>
                <a:gd name="connsiteX56" fmla="*/ 950853 w 1243505"/>
                <a:gd name="connsiteY56" fmla="*/ 79053 h 1243505"/>
                <a:gd name="connsiteX57" fmla="*/ 914735 w 1243505"/>
                <a:gd name="connsiteY57" fmla="*/ 189472 h 1243505"/>
                <a:gd name="connsiteX58" fmla="*/ 906479 w 1243505"/>
                <a:gd name="connsiteY58" fmla="*/ 205467 h 1243505"/>
                <a:gd name="connsiteX59" fmla="*/ 853334 w 1243505"/>
                <a:gd name="connsiteY59" fmla="*/ 284928 h 1243505"/>
                <a:gd name="connsiteX60" fmla="*/ 855398 w 1243505"/>
                <a:gd name="connsiteY60" fmla="*/ 300923 h 1243505"/>
                <a:gd name="connsiteX61" fmla="*/ 948789 w 1243505"/>
                <a:gd name="connsiteY61" fmla="*/ 394315 h 1243505"/>
                <a:gd name="connsiteX62" fmla="*/ 963753 w 1243505"/>
                <a:gd name="connsiteY62" fmla="*/ 396379 h 1243505"/>
                <a:gd name="connsiteX63" fmla="*/ 1015866 w 1243505"/>
                <a:gd name="connsiteY63" fmla="*/ 360777 h 1243505"/>
                <a:gd name="connsiteX64" fmla="*/ 1099971 w 1243505"/>
                <a:gd name="connsiteY64" fmla="*/ 320530 h 1243505"/>
                <a:gd name="connsiteX65" fmla="*/ 1168596 w 1243505"/>
                <a:gd name="connsiteY65" fmla="*/ 298343 h 1243505"/>
                <a:gd name="connsiteX66" fmla="*/ 1186139 w 1243505"/>
                <a:gd name="connsiteY66" fmla="*/ 305567 h 1243505"/>
                <a:gd name="connsiteX67" fmla="*/ 1247024 w 1243505"/>
                <a:gd name="connsiteY67" fmla="*/ 453136 h 1243505"/>
                <a:gd name="connsiteX68" fmla="*/ 1240317 w 1243505"/>
                <a:gd name="connsiteY68" fmla="*/ 469648 h 1243505"/>
                <a:gd name="connsiteX69" fmla="*/ 1135573 w 1243505"/>
                <a:gd name="connsiteY69" fmla="*/ 522277 h 1243505"/>
                <a:gd name="connsiteX70" fmla="*/ 1059209 w 1243505"/>
                <a:gd name="connsiteY70" fmla="*/ 539821 h 1243505"/>
                <a:gd name="connsiteX71" fmla="*/ 1040117 w 1243505"/>
                <a:gd name="connsiteY71" fmla="*/ 543433 h 1243505"/>
                <a:gd name="connsiteX72" fmla="*/ 1017930 w 1243505"/>
                <a:gd name="connsiteY72" fmla="*/ 572843 h 1243505"/>
                <a:gd name="connsiteX73" fmla="*/ 1016383 w 1243505"/>
                <a:gd name="connsiteY73" fmla="*/ 688422 h 1243505"/>
                <a:gd name="connsiteX74" fmla="*/ 1028250 w 1243505"/>
                <a:gd name="connsiteY74" fmla="*/ 703386 h 1243505"/>
                <a:gd name="connsiteX75" fmla="*/ 1118030 w 1243505"/>
                <a:gd name="connsiteY75" fmla="*/ 720929 h 1243505"/>
                <a:gd name="connsiteX76" fmla="*/ 1142281 w 1243505"/>
                <a:gd name="connsiteY76" fmla="*/ 729184 h 1243505"/>
                <a:gd name="connsiteX77" fmla="*/ 1237737 w 1243505"/>
                <a:gd name="connsiteY77" fmla="*/ 777686 h 1243505"/>
                <a:gd name="connsiteX78" fmla="*/ 1246508 w 1243505"/>
                <a:gd name="connsiteY78" fmla="*/ 797809 h 1243505"/>
                <a:gd name="connsiteX79" fmla="*/ 1186655 w 1243505"/>
                <a:gd name="connsiteY79" fmla="*/ 941767 h 1243505"/>
                <a:gd name="connsiteX80" fmla="*/ 1167564 w 1243505"/>
                <a:gd name="connsiteY80" fmla="*/ 950023 h 1243505"/>
                <a:gd name="connsiteX81" fmla="*/ 1062304 w 1243505"/>
                <a:gd name="connsiteY81" fmla="*/ 915452 h 1243505"/>
                <a:gd name="connsiteX82" fmla="*/ 1042697 w 1243505"/>
                <a:gd name="connsiteY82" fmla="*/ 905649 h 1243505"/>
                <a:gd name="connsiteX83" fmla="*/ 963237 w 1243505"/>
                <a:gd name="connsiteY83" fmla="*/ 852503 h 1243505"/>
                <a:gd name="connsiteX84" fmla="*/ 947241 w 1243505"/>
                <a:gd name="connsiteY84" fmla="*/ 855083 h 1243505"/>
                <a:gd name="connsiteX85" fmla="*/ 855914 w 1243505"/>
                <a:gd name="connsiteY85" fmla="*/ 946927 h 1243505"/>
                <a:gd name="connsiteX86" fmla="*/ 853850 w 1243505"/>
                <a:gd name="connsiteY86" fmla="*/ 966018 h 1243505"/>
                <a:gd name="connsiteX87" fmla="*/ 890484 w 1243505"/>
                <a:gd name="connsiteY87" fmla="*/ 1020711 h 1243505"/>
                <a:gd name="connsiteX88" fmla="*/ 925054 w 1243505"/>
                <a:gd name="connsiteY88" fmla="*/ 1093464 h 1243505"/>
                <a:gd name="connsiteX89" fmla="*/ 949821 w 1243505"/>
                <a:gd name="connsiteY89" fmla="*/ 1169313 h 1243505"/>
                <a:gd name="connsiteX90" fmla="*/ 943114 w 1243505"/>
                <a:gd name="connsiteY90" fmla="*/ 1185824 h 1243505"/>
                <a:gd name="connsiteX91" fmla="*/ 794512 w 1243505"/>
                <a:gd name="connsiteY91" fmla="*/ 1247226 h 1243505"/>
                <a:gd name="connsiteX92" fmla="*/ 779033 w 1243505"/>
                <a:gd name="connsiteY92" fmla="*/ 1241034 h 1243505"/>
                <a:gd name="connsiteX93" fmla="*/ 724855 w 1243505"/>
                <a:gd name="connsiteY93" fmla="*/ 1134226 h 1243505"/>
                <a:gd name="connsiteX94" fmla="*/ 718148 w 1243505"/>
                <a:gd name="connsiteY94" fmla="*/ 1105332 h 1243505"/>
                <a:gd name="connsiteX95" fmla="*/ 703184 w 1243505"/>
                <a:gd name="connsiteY95" fmla="*/ 1031031 h 1243505"/>
                <a:gd name="connsiteX96" fmla="*/ 686157 w 1243505"/>
                <a:gd name="connsiteY96" fmla="*/ 1016068 h 1243505"/>
                <a:gd name="connsiteX97" fmla="*/ 624240 w 1243505"/>
                <a:gd name="connsiteY97" fmla="*/ 791102 h 1243505"/>
                <a:gd name="connsiteX98" fmla="*/ 790900 w 1243505"/>
                <a:gd name="connsiteY98" fmla="*/ 623925 h 1243505"/>
                <a:gd name="connsiteX99" fmla="*/ 624240 w 1243505"/>
                <a:gd name="connsiteY99" fmla="*/ 458296 h 1243505"/>
                <a:gd name="connsiteX100" fmla="*/ 458095 w 1243505"/>
                <a:gd name="connsiteY100" fmla="*/ 624441 h 1243505"/>
                <a:gd name="connsiteX101" fmla="*/ 624240 w 1243505"/>
                <a:gd name="connsiteY101" fmla="*/ 791102 h 1243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243505" h="1243505">
                  <a:moveTo>
                    <a:pt x="686157" y="1016068"/>
                  </a:moveTo>
                  <a:cubicBezTo>
                    <a:pt x="644363" y="1024840"/>
                    <a:pt x="602053" y="1021743"/>
                    <a:pt x="560258" y="1016068"/>
                  </a:cubicBezTo>
                  <a:cubicBezTo>
                    <a:pt x="550455" y="1015036"/>
                    <a:pt x="547359" y="1018132"/>
                    <a:pt x="545811" y="1026903"/>
                  </a:cubicBezTo>
                  <a:cubicBezTo>
                    <a:pt x="542199" y="1047542"/>
                    <a:pt x="537039" y="1068181"/>
                    <a:pt x="533944" y="1088821"/>
                  </a:cubicBezTo>
                  <a:cubicBezTo>
                    <a:pt x="529816" y="1117715"/>
                    <a:pt x="519496" y="1144030"/>
                    <a:pt x="505565" y="1169829"/>
                  </a:cubicBezTo>
                  <a:cubicBezTo>
                    <a:pt x="492666" y="1192532"/>
                    <a:pt x="481314" y="1216267"/>
                    <a:pt x="469447" y="1240002"/>
                  </a:cubicBezTo>
                  <a:cubicBezTo>
                    <a:pt x="465835" y="1247741"/>
                    <a:pt x="461191" y="1249290"/>
                    <a:pt x="452935" y="1246710"/>
                  </a:cubicBezTo>
                  <a:cubicBezTo>
                    <a:pt x="401853" y="1231230"/>
                    <a:pt x="352836" y="1211107"/>
                    <a:pt x="305366" y="1185824"/>
                  </a:cubicBezTo>
                  <a:cubicBezTo>
                    <a:pt x="297110" y="1181696"/>
                    <a:pt x="295562" y="1177053"/>
                    <a:pt x="298142" y="1168281"/>
                  </a:cubicBezTo>
                  <a:cubicBezTo>
                    <a:pt x="310525" y="1132163"/>
                    <a:pt x="321877" y="1095528"/>
                    <a:pt x="333744" y="1059410"/>
                  </a:cubicBezTo>
                  <a:cubicBezTo>
                    <a:pt x="335808" y="1053734"/>
                    <a:pt x="338904" y="1048574"/>
                    <a:pt x="342000" y="1043415"/>
                  </a:cubicBezTo>
                  <a:cubicBezTo>
                    <a:pt x="360059" y="1016584"/>
                    <a:pt x="377602" y="989753"/>
                    <a:pt x="395662" y="962922"/>
                  </a:cubicBezTo>
                  <a:cubicBezTo>
                    <a:pt x="399790" y="956730"/>
                    <a:pt x="399790" y="952603"/>
                    <a:pt x="393598" y="947959"/>
                  </a:cubicBezTo>
                  <a:cubicBezTo>
                    <a:pt x="356963" y="921644"/>
                    <a:pt x="326005" y="889653"/>
                    <a:pt x="299174" y="853535"/>
                  </a:cubicBezTo>
                  <a:cubicBezTo>
                    <a:pt x="295046" y="847859"/>
                    <a:pt x="290918" y="847859"/>
                    <a:pt x="285243" y="851471"/>
                  </a:cubicBezTo>
                  <a:cubicBezTo>
                    <a:pt x="267183" y="863855"/>
                    <a:pt x="248092" y="875206"/>
                    <a:pt x="230549" y="888106"/>
                  </a:cubicBezTo>
                  <a:cubicBezTo>
                    <a:pt x="205782" y="906681"/>
                    <a:pt x="178435" y="918548"/>
                    <a:pt x="148509" y="926804"/>
                  </a:cubicBezTo>
                  <a:cubicBezTo>
                    <a:pt x="124774" y="933511"/>
                    <a:pt x="101555" y="941767"/>
                    <a:pt x="78852" y="949507"/>
                  </a:cubicBezTo>
                  <a:cubicBezTo>
                    <a:pt x="71112" y="952087"/>
                    <a:pt x="66468" y="950539"/>
                    <a:pt x="62340" y="942799"/>
                  </a:cubicBezTo>
                  <a:cubicBezTo>
                    <a:pt x="36541" y="895329"/>
                    <a:pt x="15902" y="845795"/>
                    <a:pt x="939" y="794198"/>
                  </a:cubicBezTo>
                  <a:cubicBezTo>
                    <a:pt x="-1125" y="786458"/>
                    <a:pt x="-93" y="782330"/>
                    <a:pt x="7131" y="778718"/>
                  </a:cubicBezTo>
                  <a:cubicBezTo>
                    <a:pt x="42733" y="760659"/>
                    <a:pt x="77820" y="741052"/>
                    <a:pt x="114454" y="725056"/>
                  </a:cubicBezTo>
                  <a:cubicBezTo>
                    <a:pt x="137673" y="714737"/>
                    <a:pt x="164504" y="714221"/>
                    <a:pt x="189787" y="708545"/>
                  </a:cubicBezTo>
                  <a:cubicBezTo>
                    <a:pt x="200106" y="705965"/>
                    <a:pt x="210942" y="704417"/>
                    <a:pt x="221261" y="702354"/>
                  </a:cubicBezTo>
                  <a:cubicBezTo>
                    <a:pt x="229001" y="700806"/>
                    <a:pt x="233129" y="698226"/>
                    <a:pt x="231581" y="688938"/>
                  </a:cubicBezTo>
                  <a:cubicBezTo>
                    <a:pt x="229001" y="669847"/>
                    <a:pt x="226937" y="650756"/>
                    <a:pt x="225905" y="631149"/>
                  </a:cubicBezTo>
                  <a:cubicBezTo>
                    <a:pt x="224873" y="606898"/>
                    <a:pt x="229517" y="583163"/>
                    <a:pt x="231581" y="559428"/>
                  </a:cubicBezTo>
                  <a:cubicBezTo>
                    <a:pt x="232613" y="549624"/>
                    <a:pt x="229001" y="546528"/>
                    <a:pt x="220745" y="544980"/>
                  </a:cubicBezTo>
                  <a:cubicBezTo>
                    <a:pt x="204750" y="542401"/>
                    <a:pt x="188755" y="537757"/>
                    <a:pt x="172760" y="535693"/>
                  </a:cubicBezTo>
                  <a:cubicBezTo>
                    <a:pt x="118582" y="530533"/>
                    <a:pt x="74208" y="502154"/>
                    <a:pt x="27770" y="478419"/>
                  </a:cubicBezTo>
                  <a:cubicBezTo>
                    <a:pt x="-2157" y="463456"/>
                    <a:pt x="-1125" y="463456"/>
                    <a:pt x="8163" y="431465"/>
                  </a:cubicBezTo>
                  <a:cubicBezTo>
                    <a:pt x="21062" y="387091"/>
                    <a:pt x="41701" y="345813"/>
                    <a:pt x="62340" y="305051"/>
                  </a:cubicBezTo>
                  <a:cubicBezTo>
                    <a:pt x="66468" y="296795"/>
                    <a:pt x="71112" y="295247"/>
                    <a:pt x="79884" y="297827"/>
                  </a:cubicBezTo>
                  <a:cubicBezTo>
                    <a:pt x="116002" y="310211"/>
                    <a:pt x="152636" y="321562"/>
                    <a:pt x="188755" y="333430"/>
                  </a:cubicBezTo>
                  <a:cubicBezTo>
                    <a:pt x="194430" y="335494"/>
                    <a:pt x="199590" y="338589"/>
                    <a:pt x="204750" y="341685"/>
                  </a:cubicBezTo>
                  <a:cubicBezTo>
                    <a:pt x="231581" y="359745"/>
                    <a:pt x="258412" y="377288"/>
                    <a:pt x="285243" y="395347"/>
                  </a:cubicBezTo>
                  <a:cubicBezTo>
                    <a:pt x="291434" y="399475"/>
                    <a:pt x="295562" y="399475"/>
                    <a:pt x="300206" y="393283"/>
                  </a:cubicBezTo>
                  <a:cubicBezTo>
                    <a:pt x="326521" y="357165"/>
                    <a:pt x="357479" y="326206"/>
                    <a:pt x="393598" y="299891"/>
                  </a:cubicBezTo>
                  <a:cubicBezTo>
                    <a:pt x="400305" y="294731"/>
                    <a:pt x="399790" y="290604"/>
                    <a:pt x="395662" y="283896"/>
                  </a:cubicBezTo>
                  <a:cubicBezTo>
                    <a:pt x="381214" y="263257"/>
                    <a:pt x="367799" y="241586"/>
                    <a:pt x="353352" y="220947"/>
                  </a:cubicBezTo>
                  <a:cubicBezTo>
                    <a:pt x="340452" y="202887"/>
                    <a:pt x="331681" y="183280"/>
                    <a:pt x="325489" y="162125"/>
                  </a:cubicBezTo>
                  <a:cubicBezTo>
                    <a:pt x="317749" y="135294"/>
                    <a:pt x="308978" y="108980"/>
                    <a:pt x="299690" y="82665"/>
                  </a:cubicBezTo>
                  <a:cubicBezTo>
                    <a:pt x="296078" y="72345"/>
                    <a:pt x="297626" y="66669"/>
                    <a:pt x="307946" y="61510"/>
                  </a:cubicBezTo>
                  <a:cubicBezTo>
                    <a:pt x="353867" y="37259"/>
                    <a:pt x="401853" y="17136"/>
                    <a:pt x="451903" y="2172"/>
                  </a:cubicBezTo>
                  <a:cubicBezTo>
                    <a:pt x="461191" y="-408"/>
                    <a:pt x="465835" y="624"/>
                    <a:pt x="470478" y="9396"/>
                  </a:cubicBezTo>
                  <a:cubicBezTo>
                    <a:pt x="487506" y="43451"/>
                    <a:pt x="505565" y="77505"/>
                    <a:pt x="522076" y="111559"/>
                  </a:cubicBezTo>
                  <a:cubicBezTo>
                    <a:pt x="531880" y="132199"/>
                    <a:pt x="532396" y="155934"/>
                    <a:pt x="537555" y="177605"/>
                  </a:cubicBezTo>
                  <a:cubicBezTo>
                    <a:pt x="541167" y="192568"/>
                    <a:pt x="543747" y="208047"/>
                    <a:pt x="546843" y="223011"/>
                  </a:cubicBezTo>
                  <a:cubicBezTo>
                    <a:pt x="548391" y="230234"/>
                    <a:pt x="550971" y="232814"/>
                    <a:pt x="559227" y="231782"/>
                  </a:cubicBezTo>
                  <a:cubicBezTo>
                    <a:pt x="602569" y="225590"/>
                    <a:pt x="645395" y="225074"/>
                    <a:pt x="688737" y="231782"/>
                  </a:cubicBezTo>
                  <a:cubicBezTo>
                    <a:pt x="699056" y="233330"/>
                    <a:pt x="702152" y="229718"/>
                    <a:pt x="704216" y="220431"/>
                  </a:cubicBezTo>
                  <a:cubicBezTo>
                    <a:pt x="707828" y="199276"/>
                    <a:pt x="713504" y="178636"/>
                    <a:pt x="716600" y="156966"/>
                  </a:cubicBezTo>
                  <a:cubicBezTo>
                    <a:pt x="720727" y="129103"/>
                    <a:pt x="730531" y="103820"/>
                    <a:pt x="743430" y="79569"/>
                  </a:cubicBezTo>
                  <a:cubicBezTo>
                    <a:pt x="756330" y="56350"/>
                    <a:pt x="768197" y="32099"/>
                    <a:pt x="780065" y="8364"/>
                  </a:cubicBezTo>
                  <a:cubicBezTo>
                    <a:pt x="784193" y="108"/>
                    <a:pt x="788320" y="-1440"/>
                    <a:pt x="797092" y="1140"/>
                  </a:cubicBezTo>
                  <a:cubicBezTo>
                    <a:pt x="848174" y="16620"/>
                    <a:pt x="897192" y="36743"/>
                    <a:pt x="944146" y="62542"/>
                  </a:cubicBezTo>
                  <a:cubicBezTo>
                    <a:pt x="951885" y="66669"/>
                    <a:pt x="953949" y="70797"/>
                    <a:pt x="950853" y="79053"/>
                  </a:cubicBezTo>
                  <a:cubicBezTo>
                    <a:pt x="938470" y="115687"/>
                    <a:pt x="927118" y="152838"/>
                    <a:pt x="914735" y="189472"/>
                  </a:cubicBezTo>
                  <a:cubicBezTo>
                    <a:pt x="912671" y="195148"/>
                    <a:pt x="909575" y="200308"/>
                    <a:pt x="906479" y="205467"/>
                  </a:cubicBezTo>
                  <a:cubicBezTo>
                    <a:pt x="888936" y="231782"/>
                    <a:pt x="871393" y="258613"/>
                    <a:pt x="853334" y="284928"/>
                  </a:cubicBezTo>
                  <a:cubicBezTo>
                    <a:pt x="848690" y="291635"/>
                    <a:pt x="849206" y="296279"/>
                    <a:pt x="855398" y="300923"/>
                  </a:cubicBezTo>
                  <a:cubicBezTo>
                    <a:pt x="891516" y="327238"/>
                    <a:pt x="922475" y="358713"/>
                    <a:pt x="948789" y="394315"/>
                  </a:cubicBezTo>
                  <a:cubicBezTo>
                    <a:pt x="953433" y="401023"/>
                    <a:pt x="957561" y="400507"/>
                    <a:pt x="963753" y="396379"/>
                  </a:cubicBezTo>
                  <a:cubicBezTo>
                    <a:pt x="981296" y="384511"/>
                    <a:pt x="999355" y="373676"/>
                    <a:pt x="1015866" y="360777"/>
                  </a:cubicBezTo>
                  <a:cubicBezTo>
                    <a:pt x="1041149" y="341685"/>
                    <a:pt x="1069528" y="329302"/>
                    <a:pt x="1099971" y="320530"/>
                  </a:cubicBezTo>
                  <a:cubicBezTo>
                    <a:pt x="1123190" y="314339"/>
                    <a:pt x="1145893" y="306083"/>
                    <a:pt x="1168596" y="298343"/>
                  </a:cubicBezTo>
                  <a:cubicBezTo>
                    <a:pt x="1177368" y="295247"/>
                    <a:pt x="1181495" y="297311"/>
                    <a:pt x="1186139" y="305567"/>
                  </a:cubicBezTo>
                  <a:cubicBezTo>
                    <a:pt x="1211422" y="352521"/>
                    <a:pt x="1232061" y="401539"/>
                    <a:pt x="1247024" y="453136"/>
                  </a:cubicBezTo>
                  <a:cubicBezTo>
                    <a:pt x="1249604" y="461392"/>
                    <a:pt x="1247540" y="465520"/>
                    <a:pt x="1240317" y="469648"/>
                  </a:cubicBezTo>
                  <a:cubicBezTo>
                    <a:pt x="1205230" y="487191"/>
                    <a:pt x="1171176" y="506282"/>
                    <a:pt x="1135573" y="522277"/>
                  </a:cubicBezTo>
                  <a:cubicBezTo>
                    <a:pt x="1111838" y="533113"/>
                    <a:pt x="1084492" y="533629"/>
                    <a:pt x="1059209" y="539821"/>
                  </a:cubicBezTo>
                  <a:cubicBezTo>
                    <a:pt x="1053017" y="541369"/>
                    <a:pt x="1046309" y="542401"/>
                    <a:pt x="1040117" y="543433"/>
                  </a:cubicBezTo>
                  <a:cubicBezTo>
                    <a:pt x="1015866" y="548592"/>
                    <a:pt x="1014318" y="548592"/>
                    <a:pt x="1017930" y="572843"/>
                  </a:cubicBezTo>
                  <a:cubicBezTo>
                    <a:pt x="1024122" y="611541"/>
                    <a:pt x="1021542" y="649724"/>
                    <a:pt x="1016383" y="688422"/>
                  </a:cubicBezTo>
                  <a:cubicBezTo>
                    <a:pt x="1014835" y="699258"/>
                    <a:pt x="1019478" y="701837"/>
                    <a:pt x="1028250" y="703386"/>
                  </a:cubicBezTo>
                  <a:cubicBezTo>
                    <a:pt x="1058177" y="709061"/>
                    <a:pt x="1088103" y="715253"/>
                    <a:pt x="1118030" y="720929"/>
                  </a:cubicBezTo>
                  <a:cubicBezTo>
                    <a:pt x="1126802" y="722477"/>
                    <a:pt x="1134541" y="725572"/>
                    <a:pt x="1142281" y="729184"/>
                  </a:cubicBezTo>
                  <a:cubicBezTo>
                    <a:pt x="1173756" y="745696"/>
                    <a:pt x="1205746" y="762207"/>
                    <a:pt x="1237737" y="777686"/>
                  </a:cubicBezTo>
                  <a:cubicBezTo>
                    <a:pt x="1247024" y="782330"/>
                    <a:pt x="1249604" y="786974"/>
                    <a:pt x="1246508" y="797809"/>
                  </a:cubicBezTo>
                  <a:cubicBezTo>
                    <a:pt x="1231545" y="847859"/>
                    <a:pt x="1211422" y="895329"/>
                    <a:pt x="1186655" y="941767"/>
                  </a:cubicBezTo>
                  <a:cubicBezTo>
                    <a:pt x="1182011" y="950539"/>
                    <a:pt x="1177368" y="953634"/>
                    <a:pt x="1167564" y="950023"/>
                  </a:cubicBezTo>
                  <a:cubicBezTo>
                    <a:pt x="1132477" y="938155"/>
                    <a:pt x="1097391" y="926804"/>
                    <a:pt x="1062304" y="915452"/>
                  </a:cubicBezTo>
                  <a:cubicBezTo>
                    <a:pt x="1055081" y="913388"/>
                    <a:pt x="1048889" y="909776"/>
                    <a:pt x="1042697" y="905649"/>
                  </a:cubicBezTo>
                  <a:cubicBezTo>
                    <a:pt x="1016383" y="888106"/>
                    <a:pt x="989552" y="870562"/>
                    <a:pt x="963237" y="852503"/>
                  </a:cubicBezTo>
                  <a:cubicBezTo>
                    <a:pt x="956529" y="847859"/>
                    <a:pt x="952401" y="848375"/>
                    <a:pt x="947241" y="855083"/>
                  </a:cubicBezTo>
                  <a:cubicBezTo>
                    <a:pt x="921443" y="890169"/>
                    <a:pt x="891000" y="921128"/>
                    <a:pt x="855914" y="946927"/>
                  </a:cubicBezTo>
                  <a:cubicBezTo>
                    <a:pt x="847658" y="953119"/>
                    <a:pt x="848174" y="958278"/>
                    <a:pt x="853850" y="966018"/>
                  </a:cubicBezTo>
                  <a:cubicBezTo>
                    <a:pt x="866749" y="984077"/>
                    <a:pt x="877584" y="1002652"/>
                    <a:pt x="890484" y="1020711"/>
                  </a:cubicBezTo>
                  <a:cubicBezTo>
                    <a:pt x="906479" y="1042899"/>
                    <a:pt x="917831" y="1067149"/>
                    <a:pt x="925054" y="1093464"/>
                  </a:cubicBezTo>
                  <a:cubicBezTo>
                    <a:pt x="932278" y="1119263"/>
                    <a:pt x="941050" y="1144030"/>
                    <a:pt x="949821" y="1169313"/>
                  </a:cubicBezTo>
                  <a:cubicBezTo>
                    <a:pt x="952401" y="1177053"/>
                    <a:pt x="950853" y="1181696"/>
                    <a:pt x="943114" y="1185824"/>
                  </a:cubicBezTo>
                  <a:cubicBezTo>
                    <a:pt x="895644" y="1211623"/>
                    <a:pt x="846110" y="1232262"/>
                    <a:pt x="794512" y="1247226"/>
                  </a:cubicBezTo>
                  <a:cubicBezTo>
                    <a:pt x="786773" y="1249290"/>
                    <a:pt x="782645" y="1248258"/>
                    <a:pt x="779033" y="1241034"/>
                  </a:cubicBezTo>
                  <a:cubicBezTo>
                    <a:pt x="760974" y="1205432"/>
                    <a:pt x="742399" y="1169829"/>
                    <a:pt x="724855" y="1134226"/>
                  </a:cubicBezTo>
                  <a:cubicBezTo>
                    <a:pt x="720211" y="1125455"/>
                    <a:pt x="720211" y="1115136"/>
                    <a:pt x="718148" y="1105332"/>
                  </a:cubicBezTo>
                  <a:cubicBezTo>
                    <a:pt x="712988" y="1080565"/>
                    <a:pt x="708344" y="1055798"/>
                    <a:pt x="703184" y="1031031"/>
                  </a:cubicBezTo>
                  <a:cubicBezTo>
                    <a:pt x="700604" y="1015552"/>
                    <a:pt x="701120" y="1015552"/>
                    <a:pt x="686157" y="1016068"/>
                  </a:cubicBezTo>
                  <a:close/>
                  <a:moveTo>
                    <a:pt x="624240" y="791102"/>
                  </a:moveTo>
                  <a:cubicBezTo>
                    <a:pt x="720211" y="788522"/>
                    <a:pt x="791416" y="716801"/>
                    <a:pt x="790900" y="623925"/>
                  </a:cubicBezTo>
                  <a:cubicBezTo>
                    <a:pt x="790384" y="528985"/>
                    <a:pt x="717632" y="457780"/>
                    <a:pt x="624240" y="458296"/>
                  </a:cubicBezTo>
                  <a:cubicBezTo>
                    <a:pt x="530332" y="458296"/>
                    <a:pt x="458095" y="530533"/>
                    <a:pt x="458095" y="624441"/>
                  </a:cubicBezTo>
                  <a:cubicBezTo>
                    <a:pt x="458095" y="718349"/>
                    <a:pt x="530848" y="788522"/>
                    <a:pt x="624240" y="791102"/>
                  </a:cubicBezTo>
                  <a:close/>
                </a:path>
              </a:pathLst>
            </a:custGeom>
            <a:grpFill/>
            <a:ln w="5155" cap="flat">
              <a:noFill/>
              <a:prstDash val="solid"/>
              <a:miter/>
            </a:ln>
          </p:spPr>
          <p:txBody>
            <a:bodyPr rtlCol="0" anchor="ctr"/>
            <a:lstStyle/>
            <a:p>
              <a:endParaRPr lang="en-US"/>
            </a:p>
          </p:txBody>
        </p:sp>
        <p:grpSp>
          <p:nvGrpSpPr>
            <p:cNvPr id="6" name="Group 5">
              <a:extLst>
                <a:ext uri="{FF2B5EF4-FFF2-40B4-BE49-F238E27FC236}">
                  <a16:creationId xmlns:a16="http://schemas.microsoft.com/office/drawing/2014/main" id="{FCD81010-EBF6-414C-927A-9FFCBAFAE158}"/>
                </a:ext>
              </a:extLst>
            </p:cNvPr>
            <p:cNvGrpSpPr/>
            <p:nvPr/>
          </p:nvGrpSpPr>
          <p:grpSpPr>
            <a:xfrm rot="2159485">
              <a:off x="10055501" y="2964359"/>
              <a:ext cx="1639387" cy="985059"/>
              <a:chOff x="2753518" y="3556278"/>
              <a:chExt cx="2028524" cy="1218879"/>
            </a:xfrm>
            <a:grpFill/>
          </p:grpSpPr>
          <p:sp>
            <p:nvSpPr>
              <p:cNvPr id="35" name="Freeform: Shape 34">
                <a:extLst>
                  <a:ext uri="{FF2B5EF4-FFF2-40B4-BE49-F238E27FC236}">
                    <a16:creationId xmlns:a16="http://schemas.microsoft.com/office/drawing/2014/main" id="{C935FFD8-C758-4E69-865F-0D3F0FF08A12}"/>
                  </a:ext>
                </a:extLst>
              </p:cNvPr>
              <p:cNvSpPr/>
              <p:nvPr/>
            </p:nvSpPr>
            <p:spPr>
              <a:xfrm>
                <a:off x="2753518" y="3683131"/>
                <a:ext cx="796648" cy="799367"/>
              </a:xfrm>
              <a:custGeom>
                <a:avLst/>
                <a:gdLst>
                  <a:gd name="connsiteX0" fmla="*/ 817500 w 1511813"/>
                  <a:gd name="connsiteY0" fmla="*/ 1518710 h 1516973"/>
                  <a:gd name="connsiteX1" fmla="*/ 802537 w 1511813"/>
                  <a:gd name="connsiteY1" fmla="*/ 1507875 h 1516973"/>
                  <a:gd name="connsiteX2" fmla="*/ 780866 w 1511813"/>
                  <a:gd name="connsiteY2" fmla="*/ 1442862 h 1516973"/>
                  <a:gd name="connsiteX3" fmla="*/ 776738 w 1511813"/>
                  <a:gd name="connsiteY3" fmla="*/ 1385072 h 1516973"/>
                  <a:gd name="connsiteX4" fmla="*/ 760227 w 1511813"/>
                  <a:gd name="connsiteY4" fmla="*/ 1369593 h 1516973"/>
                  <a:gd name="connsiteX5" fmla="*/ 694698 w 1511813"/>
                  <a:gd name="connsiteY5" fmla="*/ 1366497 h 1516973"/>
                  <a:gd name="connsiteX6" fmla="*/ 676638 w 1511813"/>
                  <a:gd name="connsiteY6" fmla="*/ 1379912 h 1516973"/>
                  <a:gd name="connsiteX7" fmla="*/ 637940 w 1511813"/>
                  <a:gd name="connsiteY7" fmla="*/ 1501683 h 1516973"/>
                  <a:gd name="connsiteX8" fmla="*/ 622977 w 1511813"/>
                  <a:gd name="connsiteY8" fmla="*/ 1508907 h 1516973"/>
                  <a:gd name="connsiteX9" fmla="*/ 430517 w 1511813"/>
                  <a:gd name="connsiteY9" fmla="*/ 1447505 h 1516973"/>
                  <a:gd name="connsiteX10" fmla="*/ 422262 w 1511813"/>
                  <a:gd name="connsiteY10" fmla="*/ 1431510 h 1516973"/>
                  <a:gd name="connsiteX11" fmla="*/ 435677 w 1511813"/>
                  <a:gd name="connsiteY11" fmla="*/ 1364433 h 1516973"/>
                  <a:gd name="connsiteX12" fmla="*/ 461992 w 1511813"/>
                  <a:gd name="connsiteY12" fmla="*/ 1310255 h 1516973"/>
                  <a:gd name="connsiteX13" fmla="*/ 456316 w 1511813"/>
                  <a:gd name="connsiteY13" fmla="*/ 1290132 h 1516973"/>
                  <a:gd name="connsiteX14" fmla="*/ 395431 w 1511813"/>
                  <a:gd name="connsiteY14" fmla="*/ 1251434 h 1516973"/>
                  <a:gd name="connsiteX15" fmla="*/ 378919 w 1511813"/>
                  <a:gd name="connsiteY15" fmla="*/ 1254014 h 1516973"/>
                  <a:gd name="connsiteX16" fmla="*/ 283464 w 1511813"/>
                  <a:gd name="connsiteY16" fmla="*/ 1342246 h 1516973"/>
                  <a:gd name="connsiteX17" fmla="*/ 265920 w 1511813"/>
                  <a:gd name="connsiteY17" fmla="*/ 1341214 h 1516973"/>
                  <a:gd name="connsiteX18" fmla="*/ 130218 w 1511813"/>
                  <a:gd name="connsiteY18" fmla="*/ 1191580 h 1516973"/>
                  <a:gd name="connsiteX19" fmla="*/ 130734 w 1511813"/>
                  <a:gd name="connsiteY19" fmla="*/ 1174553 h 1516973"/>
                  <a:gd name="connsiteX20" fmla="*/ 177688 w 1511813"/>
                  <a:gd name="connsiteY20" fmla="*/ 1121408 h 1516973"/>
                  <a:gd name="connsiteX21" fmla="*/ 225674 w 1511813"/>
                  <a:gd name="connsiteY21" fmla="*/ 1089417 h 1516973"/>
                  <a:gd name="connsiteX22" fmla="*/ 230834 w 1511813"/>
                  <a:gd name="connsiteY22" fmla="*/ 1067230 h 1516973"/>
                  <a:gd name="connsiteX23" fmla="*/ 198327 w 1511813"/>
                  <a:gd name="connsiteY23" fmla="*/ 1004281 h 1516973"/>
                  <a:gd name="connsiteX24" fmla="*/ 183880 w 1511813"/>
                  <a:gd name="connsiteY24" fmla="*/ 998089 h 1516973"/>
                  <a:gd name="connsiteX25" fmla="*/ 67269 w 1511813"/>
                  <a:gd name="connsiteY25" fmla="*/ 1025952 h 1516973"/>
                  <a:gd name="connsiteX26" fmla="*/ 55918 w 1511813"/>
                  <a:gd name="connsiteY26" fmla="*/ 1027500 h 1516973"/>
                  <a:gd name="connsiteX27" fmla="*/ 41470 w 1511813"/>
                  <a:gd name="connsiteY27" fmla="*/ 1018212 h 1516973"/>
                  <a:gd name="connsiteX28" fmla="*/ 1224 w 1511813"/>
                  <a:gd name="connsiteY28" fmla="*/ 841748 h 1516973"/>
                  <a:gd name="connsiteX29" fmla="*/ 30635 w 1511813"/>
                  <a:gd name="connsiteY29" fmla="*/ 797374 h 1516973"/>
                  <a:gd name="connsiteX30" fmla="*/ 134862 w 1511813"/>
                  <a:gd name="connsiteY30" fmla="*/ 778799 h 1516973"/>
                  <a:gd name="connsiteX31" fmla="*/ 147246 w 1511813"/>
                  <a:gd name="connsiteY31" fmla="*/ 765899 h 1516973"/>
                  <a:gd name="connsiteX32" fmla="*/ 150342 w 1511813"/>
                  <a:gd name="connsiteY32" fmla="*/ 696242 h 1516973"/>
                  <a:gd name="connsiteX33" fmla="*/ 137442 w 1511813"/>
                  <a:gd name="connsiteY33" fmla="*/ 678699 h 1516973"/>
                  <a:gd name="connsiteX34" fmla="*/ 14639 w 1511813"/>
                  <a:gd name="connsiteY34" fmla="*/ 639485 h 1516973"/>
                  <a:gd name="connsiteX35" fmla="*/ 7932 w 1511813"/>
                  <a:gd name="connsiteY35" fmla="*/ 625037 h 1516973"/>
                  <a:gd name="connsiteX36" fmla="*/ 69333 w 1511813"/>
                  <a:gd name="connsiteY36" fmla="*/ 432578 h 1516973"/>
                  <a:gd name="connsiteX37" fmla="*/ 86360 w 1511813"/>
                  <a:gd name="connsiteY37" fmla="*/ 423806 h 1516973"/>
                  <a:gd name="connsiteX38" fmla="*/ 150858 w 1511813"/>
                  <a:gd name="connsiteY38" fmla="*/ 436706 h 1516973"/>
                  <a:gd name="connsiteX39" fmla="*/ 206583 w 1511813"/>
                  <a:gd name="connsiteY39" fmla="*/ 463536 h 1516973"/>
                  <a:gd name="connsiteX40" fmla="*/ 227738 w 1511813"/>
                  <a:gd name="connsiteY40" fmla="*/ 457345 h 1516973"/>
                  <a:gd name="connsiteX41" fmla="*/ 266952 w 1511813"/>
                  <a:gd name="connsiteY41" fmla="*/ 396459 h 1516973"/>
                  <a:gd name="connsiteX42" fmla="*/ 264373 w 1511813"/>
                  <a:gd name="connsiteY42" fmla="*/ 380980 h 1516973"/>
                  <a:gd name="connsiteX43" fmla="*/ 175108 w 1511813"/>
                  <a:gd name="connsiteY43" fmla="*/ 284492 h 1516973"/>
                  <a:gd name="connsiteX44" fmla="*/ 176140 w 1511813"/>
                  <a:gd name="connsiteY44" fmla="*/ 267981 h 1516973"/>
                  <a:gd name="connsiteX45" fmla="*/ 325258 w 1511813"/>
                  <a:gd name="connsiteY45" fmla="*/ 132279 h 1516973"/>
                  <a:gd name="connsiteX46" fmla="*/ 343317 w 1511813"/>
                  <a:gd name="connsiteY46" fmla="*/ 132795 h 1516973"/>
                  <a:gd name="connsiteX47" fmla="*/ 395431 w 1511813"/>
                  <a:gd name="connsiteY47" fmla="*/ 178717 h 1516973"/>
                  <a:gd name="connsiteX48" fmla="*/ 426389 w 1511813"/>
                  <a:gd name="connsiteY48" fmla="*/ 224639 h 1516973"/>
                  <a:gd name="connsiteX49" fmla="*/ 451156 w 1511813"/>
                  <a:gd name="connsiteY49" fmla="*/ 231347 h 1516973"/>
                  <a:gd name="connsiteX50" fmla="*/ 512042 w 1511813"/>
                  <a:gd name="connsiteY50" fmla="*/ 200388 h 1516973"/>
                  <a:gd name="connsiteX51" fmla="*/ 518233 w 1511813"/>
                  <a:gd name="connsiteY51" fmla="*/ 183877 h 1516973"/>
                  <a:gd name="connsiteX52" fmla="*/ 491403 w 1511813"/>
                  <a:gd name="connsiteY52" fmla="*/ 69846 h 1516973"/>
                  <a:gd name="connsiteX53" fmla="*/ 489855 w 1511813"/>
                  <a:gd name="connsiteY53" fmla="*/ 58494 h 1516973"/>
                  <a:gd name="connsiteX54" fmla="*/ 499658 w 1511813"/>
                  <a:gd name="connsiteY54" fmla="*/ 43015 h 1516973"/>
                  <a:gd name="connsiteX55" fmla="*/ 695730 w 1511813"/>
                  <a:gd name="connsiteY55" fmla="*/ 189 h 1516973"/>
                  <a:gd name="connsiteX56" fmla="*/ 713273 w 1511813"/>
                  <a:gd name="connsiteY56" fmla="*/ 12056 h 1516973"/>
                  <a:gd name="connsiteX57" fmla="*/ 721012 w 1511813"/>
                  <a:gd name="connsiteY57" fmla="*/ 35275 h 1516973"/>
                  <a:gd name="connsiteX58" fmla="*/ 738556 w 1511813"/>
                  <a:gd name="connsiteY58" fmla="*/ 134343 h 1516973"/>
                  <a:gd name="connsiteX59" fmla="*/ 753519 w 1511813"/>
                  <a:gd name="connsiteY59" fmla="*/ 148790 h 1516973"/>
                  <a:gd name="connsiteX60" fmla="*/ 820596 w 1511813"/>
                  <a:gd name="connsiteY60" fmla="*/ 151886 h 1516973"/>
                  <a:gd name="connsiteX61" fmla="*/ 838655 w 1511813"/>
                  <a:gd name="connsiteY61" fmla="*/ 138471 h 1516973"/>
                  <a:gd name="connsiteX62" fmla="*/ 877354 w 1511813"/>
                  <a:gd name="connsiteY62" fmla="*/ 16700 h 1516973"/>
                  <a:gd name="connsiteX63" fmla="*/ 892317 w 1511813"/>
                  <a:gd name="connsiteY63" fmla="*/ 9476 h 1516973"/>
                  <a:gd name="connsiteX64" fmla="*/ 1084777 w 1511813"/>
                  <a:gd name="connsiteY64" fmla="*/ 70878 h 1516973"/>
                  <a:gd name="connsiteX65" fmla="*/ 1093032 w 1511813"/>
                  <a:gd name="connsiteY65" fmla="*/ 86873 h 1516973"/>
                  <a:gd name="connsiteX66" fmla="*/ 1079617 w 1511813"/>
                  <a:gd name="connsiteY66" fmla="*/ 152402 h 1516973"/>
                  <a:gd name="connsiteX67" fmla="*/ 1053302 w 1511813"/>
                  <a:gd name="connsiteY67" fmla="*/ 206580 h 1516973"/>
                  <a:gd name="connsiteX68" fmla="*/ 1060010 w 1511813"/>
                  <a:gd name="connsiteY68" fmla="*/ 228251 h 1516973"/>
                  <a:gd name="connsiteX69" fmla="*/ 1118315 w 1511813"/>
                  <a:gd name="connsiteY69" fmla="*/ 265917 h 1516973"/>
                  <a:gd name="connsiteX70" fmla="*/ 1136374 w 1511813"/>
                  <a:gd name="connsiteY70" fmla="*/ 262821 h 1516973"/>
                  <a:gd name="connsiteX71" fmla="*/ 1232346 w 1511813"/>
                  <a:gd name="connsiteY71" fmla="*/ 174589 h 1516973"/>
                  <a:gd name="connsiteX72" fmla="*/ 1247825 w 1511813"/>
                  <a:gd name="connsiteY72" fmla="*/ 175621 h 1516973"/>
                  <a:gd name="connsiteX73" fmla="*/ 1384559 w 1511813"/>
                  <a:gd name="connsiteY73" fmla="*/ 325770 h 1516973"/>
                  <a:gd name="connsiteX74" fmla="*/ 1384043 w 1511813"/>
                  <a:gd name="connsiteY74" fmla="*/ 342798 h 1516973"/>
                  <a:gd name="connsiteX75" fmla="*/ 1336057 w 1511813"/>
                  <a:gd name="connsiteY75" fmla="*/ 396975 h 1516973"/>
                  <a:gd name="connsiteX76" fmla="*/ 1291167 w 1511813"/>
                  <a:gd name="connsiteY76" fmla="*/ 426902 h 1516973"/>
                  <a:gd name="connsiteX77" fmla="*/ 1284976 w 1511813"/>
                  <a:gd name="connsiteY77" fmla="*/ 451153 h 1516973"/>
                  <a:gd name="connsiteX78" fmla="*/ 1316450 w 1511813"/>
                  <a:gd name="connsiteY78" fmla="*/ 513070 h 1516973"/>
                  <a:gd name="connsiteX79" fmla="*/ 1330898 w 1511813"/>
                  <a:gd name="connsiteY79" fmla="*/ 519262 h 1516973"/>
                  <a:gd name="connsiteX80" fmla="*/ 1447509 w 1511813"/>
                  <a:gd name="connsiteY80" fmla="*/ 491399 h 1516973"/>
                  <a:gd name="connsiteX81" fmla="*/ 1458860 w 1511813"/>
                  <a:gd name="connsiteY81" fmla="*/ 489851 h 1516973"/>
                  <a:gd name="connsiteX82" fmla="*/ 1473307 w 1511813"/>
                  <a:gd name="connsiteY82" fmla="*/ 499139 h 1516973"/>
                  <a:gd name="connsiteX83" fmla="*/ 1513554 w 1511813"/>
                  <a:gd name="connsiteY83" fmla="*/ 675603 h 1516973"/>
                  <a:gd name="connsiteX84" fmla="*/ 1514070 w 1511813"/>
                  <a:gd name="connsiteY84" fmla="*/ 679215 h 1516973"/>
                  <a:gd name="connsiteX85" fmla="*/ 1490335 w 1511813"/>
                  <a:gd name="connsiteY85" fmla="*/ 717397 h 1516973"/>
                  <a:gd name="connsiteX86" fmla="*/ 1379916 w 1511813"/>
                  <a:gd name="connsiteY86" fmla="*/ 738036 h 1516973"/>
                  <a:gd name="connsiteX87" fmla="*/ 1367532 w 1511813"/>
                  <a:gd name="connsiteY87" fmla="*/ 749904 h 1516973"/>
                  <a:gd name="connsiteX88" fmla="*/ 1363920 w 1511813"/>
                  <a:gd name="connsiteY88" fmla="*/ 822141 h 1516973"/>
                  <a:gd name="connsiteX89" fmla="*/ 1375788 w 1511813"/>
                  <a:gd name="connsiteY89" fmla="*/ 838136 h 1516973"/>
                  <a:gd name="connsiteX90" fmla="*/ 1498590 w 1511813"/>
                  <a:gd name="connsiteY90" fmla="*/ 876834 h 1516973"/>
                  <a:gd name="connsiteX91" fmla="*/ 1506330 w 1511813"/>
                  <a:gd name="connsiteY91" fmla="*/ 891798 h 1516973"/>
                  <a:gd name="connsiteX92" fmla="*/ 1444413 w 1511813"/>
                  <a:gd name="connsiteY92" fmla="*/ 1085289 h 1516973"/>
                  <a:gd name="connsiteX93" fmla="*/ 1429449 w 1511813"/>
                  <a:gd name="connsiteY93" fmla="*/ 1093029 h 1516973"/>
                  <a:gd name="connsiteX94" fmla="*/ 1306647 w 1511813"/>
                  <a:gd name="connsiteY94" fmla="*/ 1052783 h 1516973"/>
                  <a:gd name="connsiteX95" fmla="*/ 1287556 w 1511813"/>
                  <a:gd name="connsiteY95" fmla="*/ 1057942 h 1516973"/>
                  <a:gd name="connsiteX96" fmla="*/ 1248857 w 1511813"/>
                  <a:gd name="connsiteY96" fmla="*/ 1118828 h 1516973"/>
                  <a:gd name="connsiteX97" fmla="*/ 1250405 w 1511813"/>
                  <a:gd name="connsiteY97" fmla="*/ 1135339 h 1516973"/>
                  <a:gd name="connsiteX98" fmla="*/ 1339153 w 1511813"/>
                  <a:gd name="connsiteY98" fmla="*/ 1230795 h 1516973"/>
                  <a:gd name="connsiteX99" fmla="*/ 1337605 w 1511813"/>
                  <a:gd name="connsiteY99" fmla="*/ 1249370 h 1516973"/>
                  <a:gd name="connsiteX100" fmla="*/ 1189004 w 1511813"/>
                  <a:gd name="connsiteY100" fmla="*/ 1384040 h 1516973"/>
                  <a:gd name="connsiteX101" fmla="*/ 1170945 w 1511813"/>
                  <a:gd name="connsiteY101" fmla="*/ 1383524 h 1516973"/>
                  <a:gd name="connsiteX102" fmla="*/ 1118831 w 1511813"/>
                  <a:gd name="connsiteY102" fmla="*/ 1337602 h 1516973"/>
                  <a:gd name="connsiteX103" fmla="*/ 1086840 w 1511813"/>
                  <a:gd name="connsiteY103" fmla="*/ 1289616 h 1516973"/>
                  <a:gd name="connsiteX104" fmla="*/ 1064137 w 1511813"/>
                  <a:gd name="connsiteY104" fmla="*/ 1284456 h 1516973"/>
                  <a:gd name="connsiteX105" fmla="*/ 1002220 w 1511813"/>
                  <a:gd name="connsiteY105" fmla="*/ 1316447 h 1516973"/>
                  <a:gd name="connsiteX106" fmla="*/ 996028 w 1511813"/>
                  <a:gd name="connsiteY106" fmla="*/ 1332958 h 1516973"/>
                  <a:gd name="connsiteX107" fmla="*/ 1022859 w 1511813"/>
                  <a:gd name="connsiteY107" fmla="*/ 1446989 h 1516973"/>
                  <a:gd name="connsiteX108" fmla="*/ 1024407 w 1511813"/>
                  <a:gd name="connsiteY108" fmla="*/ 1459889 h 1516973"/>
                  <a:gd name="connsiteX109" fmla="*/ 1015636 w 1511813"/>
                  <a:gd name="connsiteY109" fmla="*/ 1473304 h 1516973"/>
                  <a:gd name="connsiteX110" fmla="*/ 817500 w 1511813"/>
                  <a:gd name="connsiteY110" fmla="*/ 1518710 h 1516973"/>
                  <a:gd name="connsiteX111" fmla="*/ 758163 w 1511813"/>
                  <a:gd name="connsiteY111" fmla="*/ 1148238 h 1516973"/>
                  <a:gd name="connsiteX112" fmla="*/ 1145146 w 1511813"/>
                  <a:gd name="connsiteY112" fmla="*/ 758675 h 1516973"/>
                  <a:gd name="connsiteX113" fmla="*/ 757131 w 1511813"/>
                  <a:gd name="connsiteY113" fmla="*/ 371176 h 1516973"/>
                  <a:gd name="connsiteX114" fmla="*/ 368600 w 1511813"/>
                  <a:gd name="connsiteY114" fmla="*/ 759707 h 1516973"/>
                  <a:gd name="connsiteX115" fmla="*/ 758163 w 1511813"/>
                  <a:gd name="connsiteY115" fmla="*/ 1148238 h 1516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511813" h="1516973">
                    <a:moveTo>
                      <a:pt x="817500" y="1518710"/>
                    </a:moveTo>
                    <a:cubicBezTo>
                      <a:pt x="809245" y="1520774"/>
                      <a:pt x="805633" y="1516130"/>
                      <a:pt x="802537" y="1507875"/>
                    </a:cubicBezTo>
                    <a:cubicBezTo>
                      <a:pt x="795829" y="1486204"/>
                      <a:pt x="788090" y="1464532"/>
                      <a:pt x="780866" y="1442862"/>
                    </a:cubicBezTo>
                    <a:cubicBezTo>
                      <a:pt x="774674" y="1424286"/>
                      <a:pt x="777770" y="1404679"/>
                      <a:pt x="776738" y="1385072"/>
                    </a:cubicBezTo>
                    <a:cubicBezTo>
                      <a:pt x="776222" y="1369593"/>
                      <a:pt x="775706" y="1370109"/>
                      <a:pt x="760227" y="1369593"/>
                    </a:cubicBezTo>
                    <a:cubicBezTo>
                      <a:pt x="738556" y="1369593"/>
                      <a:pt x="716369" y="1368045"/>
                      <a:pt x="694698" y="1366497"/>
                    </a:cubicBezTo>
                    <a:cubicBezTo>
                      <a:pt x="683346" y="1365465"/>
                      <a:pt x="676638" y="1365981"/>
                      <a:pt x="676638" y="1379912"/>
                    </a:cubicBezTo>
                    <a:cubicBezTo>
                      <a:pt x="676638" y="1424286"/>
                      <a:pt x="655483" y="1462469"/>
                      <a:pt x="637940" y="1501683"/>
                    </a:cubicBezTo>
                    <a:cubicBezTo>
                      <a:pt x="634844" y="1508907"/>
                      <a:pt x="630716" y="1510454"/>
                      <a:pt x="622977" y="1508907"/>
                    </a:cubicBezTo>
                    <a:cubicBezTo>
                      <a:pt x="556416" y="1496523"/>
                      <a:pt x="492434" y="1475368"/>
                      <a:pt x="430517" y="1447505"/>
                    </a:cubicBezTo>
                    <a:cubicBezTo>
                      <a:pt x="423294" y="1443893"/>
                      <a:pt x="420198" y="1440282"/>
                      <a:pt x="422262" y="1431510"/>
                    </a:cubicBezTo>
                    <a:cubicBezTo>
                      <a:pt x="427421" y="1409323"/>
                      <a:pt x="431033" y="1386620"/>
                      <a:pt x="435677" y="1364433"/>
                    </a:cubicBezTo>
                    <a:cubicBezTo>
                      <a:pt x="439805" y="1344310"/>
                      <a:pt x="452704" y="1327798"/>
                      <a:pt x="461992" y="1310255"/>
                    </a:cubicBezTo>
                    <a:cubicBezTo>
                      <a:pt x="467152" y="1300452"/>
                      <a:pt x="466120" y="1295808"/>
                      <a:pt x="456316" y="1290132"/>
                    </a:cubicBezTo>
                    <a:cubicBezTo>
                      <a:pt x="435677" y="1278265"/>
                      <a:pt x="415554" y="1264849"/>
                      <a:pt x="395431" y="1251434"/>
                    </a:cubicBezTo>
                    <a:cubicBezTo>
                      <a:pt x="388207" y="1246274"/>
                      <a:pt x="383563" y="1246274"/>
                      <a:pt x="378919" y="1254014"/>
                    </a:cubicBezTo>
                    <a:cubicBezTo>
                      <a:pt x="356216" y="1293228"/>
                      <a:pt x="319066" y="1317479"/>
                      <a:pt x="283464" y="1342246"/>
                    </a:cubicBezTo>
                    <a:cubicBezTo>
                      <a:pt x="276240" y="1346890"/>
                      <a:pt x="272112" y="1346374"/>
                      <a:pt x="265920" y="1341214"/>
                    </a:cubicBezTo>
                    <a:cubicBezTo>
                      <a:pt x="214323" y="1297356"/>
                      <a:pt x="169433" y="1246790"/>
                      <a:pt x="130218" y="1191580"/>
                    </a:cubicBezTo>
                    <a:cubicBezTo>
                      <a:pt x="125575" y="1185389"/>
                      <a:pt x="125059" y="1180745"/>
                      <a:pt x="130734" y="1174553"/>
                    </a:cubicBezTo>
                    <a:cubicBezTo>
                      <a:pt x="146730" y="1157010"/>
                      <a:pt x="161177" y="1138435"/>
                      <a:pt x="177688" y="1121408"/>
                    </a:cubicBezTo>
                    <a:cubicBezTo>
                      <a:pt x="191104" y="1107476"/>
                      <a:pt x="209163" y="1099221"/>
                      <a:pt x="225674" y="1089417"/>
                    </a:cubicBezTo>
                    <a:cubicBezTo>
                      <a:pt x="236510" y="1083225"/>
                      <a:pt x="237026" y="1078065"/>
                      <a:pt x="230834" y="1067230"/>
                    </a:cubicBezTo>
                    <a:cubicBezTo>
                      <a:pt x="218967" y="1047107"/>
                      <a:pt x="208647" y="1025436"/>
                      <a:pt x="198327" y="1004281"/>
                    </a:cubicBezTo>
                    <a:cubicBezTo>
                      <a:pt x="194716" y="997057"/>
                      <a:pt x="192136" y="993445"/>
                      <a:pt x="183880" y="998089"/>
                    </a:cubicBezTo>
                    <a:cubicBezTo>
                      <a:pt x="147246" y="1017180"/>
                      <a:pt x="108031" y="1024920"/>
                      <a:pt x="67269" y="1025952"/>
                    </a:cubicBezTo>
                    <a:cubicBezTo>
                      <a:pt x="63657" y="1025952"/>
                      <a:pt x="59529" y="1026984"/>
                      <a:pt x="55918" y="1027500"/>
                    </a:cubicBezTo>
                    <a:cubicBezTo>
                      <a:pt x="48694" y="1028532"/>
                      <a:pt x="44050" y="1025952"/>
                      <a:pt x="41470" y="1018212"/>
                    </a:cubicBezTo>
                    <a:cubicBezTo>
                      <a:pt x="21347" y="960939"/>
                      <a:pt x="6384" y="902117"/>
                      <a:pt x="1224" y="841748"/>
                    </a:cubicBezTo>
                    <a:cubicBezTo>
                      <a:pt x="-1872" y="808725"/>
                      <a:pt x="-1356" y="809241"/>
                      <a:pt x="30635" y="797374"/>
                    </a:cubicBezTo>
                    <a:cubicBezTo>
                      <a:pt x="64173" y="784474"/>
                      <a:pt x="98744" y="775703"/>
                      <a:pt x="134862" y="778799"/>
                    </a:cubicBezTo>
                    <a:cubicBezTo>
                      <a:pt x="144150" y="779315"/>
                      <a:pt x="147246" y="775187"/>
                      <a:pt x="147246" y="765899"/>
                    </a:cubicBezTo>
                    <a:cubicBezTo>
                      <a:pt x="147246" y="742680"/>
                      <a:pt x="148278" y="719461"/>
                      <a:pt x="150342" y="696242"/>
                    </a:cubicBezTo>
                    <a:cubicBezTo>
                      <a:pt x="151373" y="685923"/>
                      <a:pt x="150858" y="678699"/>
                      <a:pt x="137442" y="678699"/>
                    </a:cubicBezTo>
                    <a:cubicBezTo>
                      <a:pt x="92552" y="678699"/>
                      <a:pt x="53854" y="657544"/>
                      <a:pt x="14639" y="639485"/>
                    </a:cubicBezTo>
                    <a:cubicBezTo>
                      <a:pt x="7932" y="636389"/>
                      <a:pt x="6384" y="632261"/>
                      <a:pt x="7932" y="625037"/>
                    </a:cubicBezTo>
                    <a:cubicBezTo>
                      <a:pt x="20315" y="558476"/>
                      <a:pt x="40954" y="494495"/>
                      <a:pt x="69333" y="432578"/>
                    </a:cubicBezTo>
                    <a:cubicBezTo>
                      <a:pt x="72945" y="424838"/>
                      <a:pt x="77073" y="421742"/>
                      <a:pt x="86360" y="423806"/>
                    </a:cubicBezTo>
                    <a:cubicBezTo>
                      <a:pt x="107515" y="428450"/>
                      <a:pt x="129186" y="432578"/>
                      <a:pt x="150858" y="436706"/>
                    </a:cubicBezTo>
                    <a:cubicBezTo>
                      <a:pt x="171497" y="440833"/>
                      <a:pt x="188008" y="453733"/>
                      <a:pt x="206583" y="463536"/>
                    </a:cubicBezTo>
                    <a:cubicBezTo>
                      <a:pt x="216903" y="468696"/>
                      <a:pt x="221546" y="467664"/>
                      <a:pt x="227738" y="457345"/>
                    </a:cubicBezTo>
                    <a:cubicBezTo>
                      <a:pt x="239606" y="436706"/>
                      <a:pt x="253021" y="416582"/>
                      <a:pt x="266952" y="396459"/>
                    </a:cubicBezTo>
                    <a:cubicBezTo>
                      <a:pt x="271596" y="389752"/>
                      <a:pt x="271596" y="385108"/>
                      <a:pt x="264373" y="380980"/>
                    </a:cubicBezTo>
                    <a:cubicBezTo>
                      <a:pt x="225158" y="357761"/>
                      <a:pt x="200391" y="320611"/>
                      <a:pt x="175108" y="284492"/>
                    </a:cubicBezTo>
                    <a:cubicBezTo>
                      <a:pt x="170465" y="277785"/>
                      <a:pt x="170981" y="273657"/>
                      <a:pt x="176140" y="267981"/>
                    </a:cubicBezTo>
                    <a:cubicBezTo>
                      <a:pt x="219998" y="216383"/>
                      <a:pt x="270048" y="171493"/>
                      <a:pt x="325258" y="132279"/>
                    </a:cubicBezTo>
                    <a:cubicBezTo>
                      <a:pt x="331966" y="127635"/>
                      <a:pt x="336609" y="126603"/>
                      <a:pt x="343317" y="132795"/>
                    </a:cubicBezTo>
                    <a:cubicBezTo>
                      <a:pt x="360344" y="148274"/>
                      <a:pt x="378404" y="162722"/>
                      <a:pt x="395431" y="178717"/>
                    </a:cubicBezTo>
                    <a:cubicBezTo>
                      <a:pt x="409362" y="191616"/>
                      <a:pt x="416070" y="209160"/>
                      <a:pt x="426389" y="224639"/>
                    </a:cubicBezTo>
                    <a:cubicBezTo>
                      <a:pt x="437741" y="241666"/>
                      <a:pt x="435161" y="240634"/>
                      <a:pt x="451156" y="231347"/>
                    </a:cubicBezTo>
                    <a:cubicBezTo>
                      <a:pt x="470763" y="219995"/>
                      <a:pt x="491403" y="209676"/>
                      <a:pt x="512042" y="200388"/>
                    </a:cubicBezTo>
                    <a:cubicBezTo>
                      <a:pt x="521329" y="196260"/>
                      <a:pt x="522361" y="192132"/>
                      <a:pt x="518233" y="183877"/>
                    </a:cubicBezTo>
                    <a:cubicBezTo>
                      <a:pt x="499142" y="148274"/>
                      <a:pt x="492434" y="109576"/>
                      <a:pt x="491403" y="69846"/>
                    </a:cubicBezTo>
                    <a:cubicBezTo>
                      <a:pt x="491403" y="66234"/>
                      <a:pt x="490371" y="62106"/>
                      <a:pt x="489855" y="58494"/>
                    </a:cubicBezTo>
                    <a:cubicBezTo>
                      <a:pt x="488307" y="50239"/>
                      <a:pt x="491403" y="46111"/>
                      <a:pt x="499658" y="43015"/>
                    </a:cubicBezTo>
                    <a:cubicBezTo>
                      <a:pt x="563123" y="20312"/>
                      <a:pt x="628653" y="6380"/>
                      <a:pt x="695730" y="189"/>
                    </a:cubicBezTo>
                    <a:cubicBezTo>
                      <a:pt x="706049" y="-843"/>
                      <a:pt x="710693" y="2253"/>
                      <a:pt x="713273" y="12056"/>
                    </a:cubicBezTo>
                    <a:cubicBezTo>
                      <a:pt x="715337" y="19796"/>
                      <a:pt x="717917" y="27536"/>
                      <a:pt x="721012" y="35275"/>
                    </a:cubicBezTo>
                    <a:cubicBezTo>
                      <a:pt x="734428" y="67266"/>
                      <a:pt x="741136" y="99772"/>
                      <a:pt x="738556" y="134343"/>
                    </a:cubicBezTo>
                    <a:cubicBezTo>
                      <a:pt x="737524" y="145694"/>
                      <a:pt x="742168" y="148790"/>
                      <a:pt x="753519" y="148790"/>
                    </a:cubicBezTo>
                    <a:cubicBezTo>
                      <a:pt x="775706" y="148274"/>
                      <a:pt x="797893" y="149822"/>
                      <a:pt x="820596" y="151886"/>
                    </a:cubicBezTo>
                    <a:cubicBezTo>
                      <a:pt x="831948" y="152918"/>
                      <a:pt x="838655" y="152402"/>
                      <a:pt x="838655" y="138471"/>
                    </a:cubicBezTo>
                    <a:cubicBezTo>
                      <a:pt x="838655" y="94097"/>
                      <a:pt x="859810" y="55914"/>
                      <a:pt x="877354" y="16700"/>
                    </a:cubicBezTo>
                    <a:cubicBezTo>
                      <a:pt x="880449" y="9476"/>
                      <a:pt x="885093" y="7928"/>
                      <a:pt x="892317" y="9476"/>
                    </a:cubicBezTo>
                    <a:cubicBezTo>
                      <a:pt x="958878" y="21860"/>
                      <a:pt x="1022859" y="42499"/>
                      <a:pt x="1084777" y="70878"/>
                    </a:cubicBezTo>
                    <a:cubicBezTo>
                      <a:pt x="1092000" y="74489"/>
                      <a:pt x="1095096" y="78617"/>
                      <a:pt x="1093032" y="86873"/>
                    </a:cubicBezTo>
                    <a:cubicBezTo>
                      <a:pt x="1088388" y="108544"/>
                      <a:pt x="1084261" y="130731"/>
                      <a:pt x="1079617" y="152402"/>
                    </a:cubicBezTo>
                    <a:cubicBezTo>
                      <a:pt x="1075489" y="172525"/>
                      <a:pt x="1062590" y="189036"/>
                      <a:pt x="1053302" y="206580"/>
                    </a:cubicBezTo>
                    <a:cubicBezTo>
                      <a:pt x="1047626" y="217415"/>
                      <a:pt x="1048658" y="222575"/>
                      <a:pt x="1060010" y="228251"/>
                    </a:cubicBezTo>
                    <a:cubicBezTo>
                      <a:pt x="1080133" y="239602"/>
                      <a:pt x="1099740" y="252502"/>
                      <a:pt x="1118315" y="265917"/>
                    </a:cubicBezTo>
                    <a:cubicBezTo>
                      <a:pt x="1126571" y="272109"/>
                      <a:pt x="1131214" y="271593"/>
                      <a:pt x="1136374" y="262821"/>
                    </a:cubicBezTo>
                    <a:cubicBezTo>
                      <a:pt x="1159077" y="223607"/>
                      <a:pt x="1196744" y="199872"/>
                      <a:pt x="1232346" y="174589"/>
                    </a:cubicBezTo>
                    <a:cubicBezTo>
                      <a:pt x="1238538" y="170461"/>
                      <a:pt x="1242666" y="170977"/>
                      <a:pt x="1247825" y="175621"/>
                    </a:cubicBezTo>
                    <a:cubicBezTo>
                      <a:pt x="1299939" y="219995"/>
                      <a:pt x="1345345" y="270045"/>
                      <a:pt x="1384559" y="325770"/>
                    </a:cubicBezTo>
                    <a:cubicBezTo>
                      <a:pt x="1389203" y="331962"/>
                      <a:pt x="1389719" y="336606"/>
                      <a:pt x="1384043" y="342798"/>
                    </a:cubicBezTo>
                    <a:cubicBezTo>
                      <a:pt x="1368048" y="360857"/>
                      <a:pt x="1352569" y="379432"/>
                      <a:pt x="1336057" y="396975"/>
                    </a:cubicBezTo>
                    <a:cubicBezTo>
                      <a:pt x="1323674" y="409875"/>
                      <a:pt x="1306131" y="417098"/>
                      <a:pt x="1291167" y="426902"/>
                    </a:cubicBezTo>
                    <a:cubicBezTo>
                      <a:pt x="1276720" y="436706"/>
                      <a:pt x="1276720" y="436190"/>
                      <a:pt x="1284976" y="451153"/>
                    </a:cubicBezTo>
                    <a:cubicBezTo>
                      <a:pt x="1295811" y="471792"/>
                      <a:pt x="1306647" y="492431"/>
                      <a:pt x="1316450" y="513070"/>
                    </a:cubicBezTo>
                    <a:cubicBezTo>
                      <a:pt x="1320062" y="520294"/>
                      <a:pt x="1323158" y="523390"/>
                      <a:pt x="1330898" y="519262"/>
                    </a:cubicBezTo>
                    <a:cubicBezTo>
                      <a:pt x="1367532" y="500171"/>
                      <a:pt x="1406746" y="492431"/>
                      <a:pt x="1447509" y="491399"/>
                    </a:cubicBezTo>
                    <a:cubicBezTo>
                      <a:pt x="1451120" y="491399"/>
                      <a:pt x="1455248" y="490367"/>
                      <a:pt x="1458860" y="489851"/>
                    </a:cubicBezTo>
                    <a:cubicBezTo>
                      <a:pt x="1466600" y="488819"/>
                      <a:pt x="1470728" y="491399"/>
                      <a:pt x="1473307" y="499139"/>
                    </a:cubicBezTo>
                    <a:cubicBezTo>
                      <a:pt x="1493431" y="556412"/>
                      <a:pt x="1508394" y="615234"/>
                      <a:pt x="1513554" y="675603"/>
                    </a:cubicBezTo>
                    <a:cubicBezTo>
                      <a:pt x="1513554" y="676635"/>
                      <a:pt x="1513554" y="678183"/>
                      <a:pt x="1514070" y="679215"/>
                    </a:cubicBezTo>
                    <a:cubicBezTo>
                      <a:pt x="1518713" y="714301"/>
                      <a:pt x="1519745" y="706046"/>
                      <a:pt x="1490335" y="717397"/>
                    </a:cubicBezTo>
                    <a:cubicBezTo>
                      <a:pt x="1454732" y="730813"/>
                      <a:pt x="1418614" y="741648"/>
                      <a:pt x="1379916" y="738036"/>
                    </a:cubicBezTo>
                    <a:cubicBezTo>
                      <a:pt x="1371144" y="737004"/>
                      <a:pt x="1368048" y="740616"/>
                      <a:pt x="1367532" y="749904"/>
                    </a:cubicBezTo>
                    <a:cubicBezTo>
                      <a:pt x="1367016" y="774155"/>
                      <a:pt x="1365984" y="797890"/>
                      <a:pt x="1363920" y="822141"/>
                    </a:cubicBezTo>
                    <a:cubicBezTo>
                      <a:pt x="1363404" y="831944"/>
                      <a:pt x="1363920" y="838136"/>
                      <a:pt x="1375788" y="838136"/>
                    </a:cubicBezTo>
                    <a:cubicBezTo>
                      <a:pt x="1420678" y="838136"/>
                      <a:pt x="1459376" y="858775"/>
                      <a:pt x="1498590" y="876834"/>
                    </a:cubicBezTo>
                    <a:cubicBezTo>
                      <a:pt x="1505298" y="879930"/>
                      <a:pt x="1507878" y="883542"/>
                      <a:pt x="1506330" y="891798"/>
                    </a:cubicBezTo>
                    <a:cubicBezTo>
                      <a:pt x="1493947" y="958875"/>
                      <a:pt x="1472791" y="1023372"/>
                      <a:pt x="1444413" y="1085289"/>
                    </a:cubicBezTo>
                    <a:cubicBezTo>
                      <a:pt x="1441317" y="1092513"/>
                      <a:pt x="1437189" y="1094577"/>
                      <a:pt x="1429449" y="1093029"/>
                    </a:cubicBezTo>
                    <a:cubicBezTo>
                      <a:pt x="1386623" y="1085289"/>
                      <a:pt x="1343797" y="1078581"/>
                      <a:pt x="1306647" y="1052783"/>
                    </a:cubicBezTo>
                    <a:cubicBezTo>
                      <a:pt x="1297875" y="1046591"/>
                      <a:pt x="1293231" y="1048655"/>
                      <a:pt x="1287556" y="1057942"/>
                    </a:cubicBezTo>
                    <a:cubicBezTo>
                      <a:pt x="1275688" y="1078581"/>
                      <a:pt x="1262273" y="1098705"/>
                      <a:pt x="1248857" y="1118828"/>
                    </a:cubicBezTo>
                    <a:cubicBezTo>
                      <a:pt x="1244214" y="1125535"/>
                      <a:pt x="1242150" y="1130179"/>
                      <a:pt x="1250405" y="1135339"/>
                    </a:cubicBezTo>
                    <a:cubicBezTo>
                      <a:pt x="1289620" y="1158558"/>
                      <a:pt x="1313871" y="1194676"/>
                      <a:pt x="1339153" y="1230795"/>
                    </a:cubicBezTo>
                    <a:cubicBezTo>
                      <a:pt x="1344313" y="1238018"/>
                      <a:pt x="1343797" y="1242662"/>
                      <a:pt x="1337605" y="1249370"/>
                    </a:cubicBezTo>
                    <a:cubicBezTo>
                      <a:pt x="1293747" y="1300968"/>
                      <a:pt x="1244214" y="1345342"/>
                      <a:pt x="1189004" y="1384040"/>
                    </a:cubicBezTo>
                    <a:cubicBezTo>
                      <a:pt x="1182296" y="1388684"/>
                      <a:pt x="1177652" y="1389716"/>
                      <a:pt x="1170945" y="1383524"/>
                    </a:cubicBezTo>
                    <a:cubicBezTo>
                      <a:pt x="1153918" y="1368045"/>
                      <a:pt x="1135858" y="1353597"/>
                      <a:pt x="1118831" y="1337602"/>
                    </a:cubicBezTo>
                    <a:cubicBezTo>
                      <a:pt x="1104384" y="1324187"/>
                      <a:pt x="1096644" y="1306128"/>
                      <a:pt x="1086840" y="1289616"/>
                    </a:cubicBezTo>
                    <a:cubicBezTo>
                      <a:pt x="1080133" y="1278265"/>
                      <a:pt x="1074973" y="1277749"/>
                      <a:pt x="1064137" y="1284456"/>
                    </a:cubicBezTo>
                    <a:cubicBezTo>
                      <a:pt x="1044530" y="1296324"/>
                      <a:pt x="1023375" y="1306643"/>
                      <a:pt x="1002220" y="1316447"/>
                    </a:cubicBezTo>
                    <a:cubicBezTo>
                      <a:pt x="993449" y="1320575"/>
                      <a:pt x="991385" y="1324703"/>
                      <a:pt x="996028" y="1332958"/>
                    </a:cubicBezTo>
                    <a:cubicBezTo>
                      <a:pt x="1015120" y="1368561"/>
                      <a:pt x="1021827" y="1407259"/>
                      <a:pt x="1022859" y="1446989"/>
                    </a:cubicBezTo>
                    <a:cubicBezTo>
                      <a:pt x="1022859" y="1451117"/>
                      <a:pt x="1023891" y="1455245"/>
                      <a:pt x="1024407" y="1459889"/>
                    </a:cubicBezTo>
                    <a:cubicBezTo>
                      <a:pt x="1025439" y="1466596"/>
                      <a:pt x="1022859" y="1470724"/>
                      <a:pt x="1015636" y="1473304"/>
                    </a:cubicBezTo>
                    <a:cubicBezTo>
                      <a:pt x="970745" y="1493943"/>
                      <a:pt x="870646" y="1516130"/>
                      <a:pt x="817500" y="1518710"/>
                    </a:cubicBezTo>
                    <a:close/>
                    <a:moveTo>
                      <a:pt x="758163" y="1148238"/>
                    </a:moveTo>
                    <a:cubicBezTo>
                      <a:pt x="974357" y="1144627"/>
                      <a:pt x="1145146" y="976418"/>
                      <a:pt x="1145146" y="758675"/>
                    </a:cubicBezTo>
                    <a:cubicBezTo>
                      <a:pt x="1145146" y="542481"/>
                      <a:pt x="974357" y="371176"/>
                      <a:pt x="757131" y="371176"/>
                    </a:cubicBezTo>
                    <a:cubicBezTo>
                      <a:pt x="539904" y="371176"/>
                      <a:pt x="368600" y="542481"/>
                      <a:pt x="368600" y="759707"/>
                    </a:cubicBezTo>
                    <a:cubicBezTo>
                      <a:pt x="369116" y="977966"/>
                      <a:pt x="541452" y="1145659"/>
                      <a:pt x="758163" y="1148238"/>
                    </a:cubicBezTo>
                    <a:close/>
                  </a:path>
                </a:pathLst>
              </a:custGeom>
              <a:grpFill/>
              <a:ln w="5155" cap="flat">
                <a:noFill/>
                <a:prstDash val="solid"/>
                <a:miter/>
              </a:ln>
            </p:spPr>
            <p:txBody>
              <a:bodyPr rtlCol="0" anchor="ctr"/>
              <a:lstStyle/>
              <a:p>
                <a:endParaRPr lang="en-US"/>
              </a:p>
            </p:txBody>
          </p:sp>
          <p:grpSp>
            <p:nvGrpSpPr>
              <p:cNvPr id="36" name="Group 35">
                <a:extLst>
                  <a:ext uri="{FF2B5EF4-FFF2-40B4-BE49-F238E27FC236}">
                    <a16:creationId xmlns:a16="http://schemas.microsoft.com/office/drawing/2014/main" id="{5B2E929D-2A5A-4E4D-8AFF-089163D7F028}"/>
                  </a:ext>
                </a:extLst>
              </p:cNvPr>
              <p:cNvGrpSpPr/>
              <p:nvPr/>
            </p:nvGrpSpPr>
            <p:grpSpPr>
              <a:xfrm>
                <a:off x="3563163" y="3556278"/>
                <a:ext cx="1218879" cy="1218879"/>
                <a:chOff x="3264582" y="1870309"/>
                <a:chExt cx="1774962" cy="1774962"/>
              </a:xfrm>
              <a:grpFill/>
            </p:grpSpPr>
            <p:sp>
              <p:nvSpPr>
                <p:cNvPr id="37" name="Freeform: Shape 36">
                  <a:extLst>
                    <a:ext uri="{FF2B5EF4-FFF2-40B4-BE49-F238E27FC236}">
                      <a16:creationId xmlns:a16="http://schemas.microsoft.com/office/drawing/2014/main" id="{8A8A0495-30E8-45A0-B48A-6EFDF9C8B696}"/>
                    </a:ext>
                  </a:extLst>
                </p:cNvPr>
                <p:cNvSpPr/>
                <p:nvPr/>
              </p:nvSpPr>
              <p:spPr>
                <a:xfrm>
                  <a:off x="3264582" y="1870309"/>
                  <a:ext cx="1774962" cy="1774962"/>
                </a:xfrm>
                <a:custGeom>
                  <a:avLst/>
                  <a:gdLst>
                    <a:gd name="connsiteX0" fmla="*/ 894776 w 1774962"/>
                    <a:gd name="connsiteY0" fmla="*/ 1775736 h 1774962"/>
                    <a:gd name="connsiteX1" fmla="*/ 852466 w 1774962"/>
                    <a:gd name="connsiteY1" fmla="*/ 1775736 h 1774962"/>
                    <a:gd name="connsiteX2" fmla="*/ 839567 w 1774962"/>
                    <a:gd name="connsiteY2" fmla="*/ 1764901 h 1774962"/>
                    <a:gd name="connsiteX3" fmla="*/ 819960 w 1774962"/>
                    <a:gd name="connsiteY3" fmla="*/ 1666349 h 1774962"/>
                    <a:gd name="connsiteX4" fmla="*/ 822024 w 1774962"/>
                    <a:gd name="connsiteY4" fmla="*/ 1636938 h 1774962"/>
                    <a:gd name="connsiteX5" fmla="*/ 811704 w 1774962"/>
                    <a:gd name="connsiteY5" fmla="*/ 1623523 h 1774962"/>
                    <a:gd name="connsiteX6" fmla="*/ 695093 w 1774962"/>
                    <a:gd name="connsiteY6" fmla="*/ 1601852 h 1774962"/>
                    <a:gd name="connsiteX7" fmla="*/ 680130 w 1774962"/>
                    <a:gd name="connsiteY7" fmla="*/ 1610623 h 1774962"/>
                    <a:gd name="connsiteX8" fmla="*/ 615116 w 1774962"/>
                    <a:gd name="connsiteY8" fmla="*/ 1727234 h 1774962"/>
                    <a:gd name="connsiteX9" fmla="*/ 603765 w 1774962"/>
                    <a:gd name="connsiteY9" fmla="*/ 1730330 h 1774962"/>
                    <a:gd name="connsiteX10" fmla="*/ 512953 w 1774962"/>
                    <a:gd name="connsiteY10" fmla="*/ 1694212 h 1774962"/>
                    <a:gd name="connsiteX11" fmla="*/ 507277 w 1774962"/>
                    <a:gd name="connsiteY11" fmla="*/ 1681828 h 1774962"/>
                    <a:gd name="connsiteX12" fmla="*/ 527400 w 1774962"/>
                    <a:gd name="connsiteY12" fmla="*/ 1583277 h 1774962"/>
                    <a:gd name="connsiteX13" fmla="*/ 541848 w 1774962"/>
                    <a:gd name="connsiteY13" fmla="*/ 1552834 h 1774962"/>
                    <a:gd name="connsiteX14" fmla="*/ 537720 w 1774962"/>
                    <a:gd name="connsiteY14" fmla="*/ 1539418 h 1774962"/>
                    <a:gd name="connsiteX15" fmla="*/ 435041 w 1774962"/>
                    <a:gd name="connsiteY15" fmla="*/ 1472857 h 1774962"/>
                    <a:gd name="connsiteX16" fmla="*/ 420593 w 1774962"/>
                    <a:gd name="connsiteY16" fmla="*/ 1474921 h 1774962"/>
                    <a:gd name="connsiteX17" fmla="*/ 315334 w 1774962"/>
                    <a:gd name="connsiteY17" fmla="*/ 1559026 h 1774962"/>
                    <a:gd name="connsiteX18" fmla="*/ 302950 w 1774962"/>
                    <a:gd name="connsiteY18" fmla="*/ 1557478 h 1774962"/>
                    <a:gd name="connsiteX19" fmla="*/ 233809 w 1774962"/>
                    <a:gd name="connsiteY19" fmla="*/ 1490401 h 1774962"/>
                    <a:gd name="connsiteX20" fmla="*/ 232777 w 1774962"/>
                    <a:gd name="connsiteY20" fmla="*/ 1476985 h 1774962"/>
                    <a:gd name="connsiteX21" fmla="*/ 289019 w 1774962"/>
                    <a:gd name="connsiteY21" fmla="*/ 1393397 h 1774962"/>
                    <a:gd name="connsiteX22" fmla="*/ 312754 w 1774962"/>
                    <a:gd name="connsiteY22" fmla="*/ 1371726 h 1774962"/>
                    <a:gd name="connsiteX23" fmla="*/ 314818 w 1774962"/>
                    <a:gd name="connsiteY23" fmla="*/ 1355731 h 1774962"/>
                    <a:gd name="connsiteX24" fmla="*/ 246193 w 1774962"/>
                    <a:gd name="connsiteY24" fmla="*/ 1255631 h 1774962"/>
                    <a:gd name="connsiteX25" fmla="*/ 230713 w 1774962"/>
                    <a:gd name="connsiteY25" fmla="*/ 1253051 h 1774962"/>
                    <a:gd name="connsiteX26" fmla="*/ 102751 w 1774962"/>
                    <a:gd name="connsiteY26" fmla="*/ 1289685 h 1774962"/>
                    <a:gd name="connsiteX27" fmla="*/ 91916 w 1774962"/>
                    <a:gd name="connsiteY27" fmla="*/ 1282978 h 1774962"/>
                    <a:gd name="connsiteX28" fmla="*/ 53733 w 1774962"/>
                    <a:gd name="connsiteY28" fmla="*/ 1194230 h 1774962"/>
                    <a:gd name="connsiteX29" fmla="*/ 58377 w 1774962"/>
                    <a:gd name="connsiteY29" fmla="*/ 1181330 h 1774962"/>
                    <a:gd name="connsiteX30" fmla="*/ 142481 w 1774962"/>
                    <a:gd name="connsiteY30" fmla="*/ 1125605 h 1774962"/>
                    <a:gd name="connsiteX31" fmla="*/ 173956 w 1774962"/>
                    <a:gd name="connsiteY31" fmla="*/ 1114253 h 1774962"/>
                    <a:gd name="connsiteX32" fmla="*/ 180664 w 1774962"/>
                    <a:gd name="connsiteY32" fmla="*/ 1101870 h 1774962"/>
                    <a:gd name="connsiteX33" fmla="*/ 154865 w 1774962"/>
                    <a:gd name="connsiteY33" fmla="*/ 981131 h 1774962"/>
                    <a:gd name="connsiteX34" fmla="*/ 144029 w 1774962"/>
                    <a:gd name="connsiteY34" fmla="*/ 973391 h 1774962"/>
                    <a:gd name="connsiteX35" fmla="*/ 10391 w 1774962"/>
                    <a:gd name="connsiteY35" fmla="*/ 958428 h 1774962"/>
                    <a:gd name="connsiteX36" fmla="*/ 2135 w 1774962"/>
                    <a:gd name="connsiteY36" fmla="*/ 948624 h 1774962"/>
                    <a:gd name="connsiteX37" fmla="*/ 588 w 1774962"/>
                    <a:gd name="connsiteY37" fmla="*/ 850589 h 1774962"/>
                    <a:gd name="connsiteX38" fmla="*/ 10391 w 1774962"/>
                    <a:gd name="connsiteY38" fmla="*/ 840785 h 1774962"/>
                    <a:gd name="connsiteX39" fmla="*/ 110491 w 1774962"/>
                    <a:gd name="connsiteY39" fmla="*/ 820662 h 1774962"/>
                    <a:gd name="connsiteX40" fmla="*/ 139901 w 1774962"/>
                    <a:gd name="connsiteY40" fmla="*/ 822726 h 1774962"/>
                    <a:gd name="connsiteX41" fmla="*/ 153317 w 1774962"/>
                    <a:gd name="connsiteY41" fmla="*/ 811890 h 1774962"/>
                    <a:gd name="connsiteX42" fmla="*/ 174472 w 1774962"/>
                    <a:gd name="connsiteY42" fmla="*/ 696827 h 1774962"/>
                    <a:gd name="connsiteX43" fmla="*/ 164152 w 1774962"/>
                    <a:gd name="connsiteY43" fmla="*/ 680316 h 1774962"/>
                    <a:gd name="connsiteX44" fmla="*/ 49090 w 1774962"/>
                    <a:gd name="connsiteY44" fmla="*/ 615819 h 1774962"/>
                    <a:gd name="connsiteX45" fmla="*/ 45993 w 1774962"/>
                    <a:gd name="connsiteY45" fmla="*/ 606015 h 1774962"/>
                    <a:gd name="connsiteX46" fmla="*/ 82628 w 1774962"/>
                    <a:gd name="connsiteY46" fmla="*/ 513655 h 1774962"/>
                    <a:gd name="connsiteX47" fmla="*/ 93979 w 1774962"/>
                    <a:gd name="connsiteY47" fmla="*/ 508496 h 1774962"/>
                    <a:gd name="connsiteX48" fmla="*/ 224006 w 1774962"/>
                    <a:gd name="connsiteY48" fmla="*/ 543066 h 1774962"/>
                    <a:gd name="connsiteX49" fmla="*/ 236905 w 1774962"/>
                    <a:gd name="connsiteY49" fmla="*/ 538938 h 1774962"/>
                    <a:gd name="connsiteX50" fmla="*/ 302434 w 1774962"/>
                    <a:gd name="connsiteY50" fmla="*/ 437291 h 1774962"/>
                    <a:gd name="connsiteX51" fmla="*/ 302950 w 1774962"/>
                    <a:gd name="connsiteY51" fmla="*/ 423359 h 1774962"/>
                    <a:gd name="connsiteX52" fmla="*/ 238453 w 1774962"/>
                    <a:gd name="connsiteY52" fmla="*/ 346995 h 1774962"/>
                    <a:gd name="connsiteX53" fmla="*/ 228650 w 1774962"/>
                    <a:gd name="connsiteY53" fmla="*/ 333063 h 1774962"/>
                    <a:gd name="connsiteX54" fmla="*/ 230713 w 1774962"/>
                    <a:gd name="connsiteY54" fmla="*/ 290237 h 1774962"/>
                    <a:gd name="connsiteX55" fmla="*/ 283859 w 1774962"/>
                    <a:gd name="connsiteY55" fmla="*/ 236060 h 1774962"/>
                    <a:gd name="connsiteX56" fmla="*/ 300370 w 1774962"/>
                    <a:gd name="connsiteY56" fmla="*/ 234512 h 1774962"/>
                    <a:gd name="connsiteX57" fmla="*/ 380863 w 1774962"/>
                    <a:gd name="connsiteY57" fmla="*/ 288173 h 1774962"/>
                    <a:gd name="connsiteX58" fmla="*/ 403050 w 1774962"/>
                    <a:gd name="connsiteY58" fmla="*/ 311392 h 1774962"/>
                    <a:gd name="connsiteX59" fmla="*/ 422141 w 1774962"/>
                    <a:gd name="connsiteY59" fmla="*/ 313972 h 1774962"/>
                    <a:gd name="connsiteX60" fmla="*/ 519661 w 1774962"/>
                    <a:gd name="connsiteY60" fmla="*/ 246895 h 1774962"/>
                    <a:gd name="connsiteX61" fmla="*/ 524820 w 1774962"/>
                    <a:gd name="connsiteY61" fmla="*/ 233996 h 1774962"/>
                    <a:gd name="connsiteX62" fmla="*/ 492314 w 1774962"/>
                    <a:gd name="connsiteY62" fmla="*/ 127704 h 1774962"/>
                    <a:gd name="connsiteX63" fmla="*/ 514501 w 1774962"/>
                    <a:gd name="connsiteY63" fmla="*/ 82298 h 1774962"/>
                    <a:gd name="connsiteX64" fmla="*/ 578482 w 1774962"/>
                    <a:gd name="connsiteY64" fmla="*/ 55468 h 1774962"/>
                    <a:gd name="connsiteX65" fmla="*/ 595509 w 1774962"/>
                    <a:gd name="connsiteY65" fmla="*/ 60111 h 1774962"/>
                    <a:gd name="connsiteX66" fmla="*/ 648655 w 1774962"/>
                    <a:gd name="connsiteY66" fmla="*/ 139572 h 1774962"/>
                    <a:gd name="connsiteX67" fmla="*/ 661039 w 1774962"/>
                    <a:gd name="connsiteY67" fmla="*/ 172078 h 1774962"/>
                    <a:gd name="connsiteX68" fmla="*/ 675486 w 1774962"/>
                    <a:gd name="connsiteY68" fmla="*/ 180334 h 1774962"/>
                    <a:gd name="connsiteX69" fmla="*/ 792613 w 1774962"/>
                    <a:gd name="connsiteY69" fmla="*/ 155567 h 1774962"/>
                    <a:gd name="connsiteX70" fmla="*/ 801900 w 1774962"/>
                    <a:gd name="connsiteY70" fmla="*/ 143700 h 1774962"/>
                    <a:gd name="connsiteX71" fmla="*/ 816864 w 1774962"/>
                    <a:gd name="connsiteY71" fmla="*/ 11094 h 1774962"/>
                    <a:gd name="connsiteX72" fmla="*/ 826151 w 1774962"/>
                    <a:gd name="connsiteY72" fmla="*/ 2322 h 1774962"/>
                    <a:gd name="connsiteX73" fmla="*/ 925219 w 1774962"/>
                    <a:gd name="connsiteY73" fmla="*/ 774 h 1774962"/>
                    <a:gd name="connsiteX74" fmla="*/ 934507 w 1774962"/>
                    <a:gd name="connsiteY74" fmla="*/ 10062 h 1774962"/>
                    <a:gd name="connsiteX75" fmla="*/ 954114 w 1774962"/>
                    <a:gd name="connsiteY75" fmla="*/ 111193 h 1774962"/>
                    <a:gd name="connsiteX76" fmla="*/ 952050 w 1774962"/>
                    <a:gd name="connsiteY76" fmla="*/ 140604 h 1774962"/>
                    <a:gd name="connsiteX77" fmla="*/ 962369 w 1774962"/>
                    <a:gd name="connsiteY77" fmla="*/ 152987 h 1774962"/>
                    <a:gd name="connsiteX78" fmla="*/ 1078980 w 1774962"/>
                    <a:gd name="connsiteY78" fmla="*/ 174658 h 1774962"/>
                    <a:gd name="connsiteX79" fmla="*/ 1093428 w 1774962"/>
                    <a:gd name="connsiteY79" fmla="*/ 168467 h 1774962"/>
                    <a:gd name="connsiteX80" fmla="*/ 1147089 w 1774962"/>
                    <a:gd name="connsiteY80" fmla="*/ 69399 h 1774962"/>
                    <a:gd name="connsiteX81" fmla="*/ 1192495 w 1774962"/>
                    <a:gd name="connsiteY81" fmla="*/ 54436 h 1774962"/>
                    <a:gd name="connsiteX82" fmla="*/ 1258024 w 1774962"/>
                    <a:gd name="connsiteY82" fmla="*/ 81266 h 1774962"/>
                    <a:gd name="connsiteX83" fmla="*/ 1267312 w 1774962"/>
                    <a:gd name="connsiteY83" fmla="*/ 96746 h 1774962"/>
                    <a:gd name="connsiteX84" fmla="*/ 1247705 w 1774962"/>
                    <a:gd name="connsiteY84" fmla="*/ 192718 h 1774962"/>
                    <a:gd name="connsiteX85" fmla="*/ 1233258 w 1774962"/>
                    <a:gd name="connsiteY85" fmla="*/ 224192 h 1774962"/>
                    <a:gd name="connsiteX86" fmla="*/ 1237385 w 1774962"/>
                    <a:gd name="connsiteY86" fmla="*/ 237608 h 1774962"/>
                    <a:gd name="connsiteX87" fmla="*/ 1340065 w 1774962"/>
                    <a:gd name="connsiteY87" fmla="*/ 304169 h 1774962"/>
                    <a:gd name="connsiteX88" fmla="*/ 1354512 w 1774962"/>
                    <a:gd name="connsiteY88" fmla="*/ 302621 h 1774962"/>
                    <a:gd name="connsiteX89" fmla="*/ 1459771 w 1774962"/>
                    <a:gd name="connsiteY89" fmla="*/ 218516 h 1774962"/>
                    <a:gd name="connsiteX90" fmla="*/ 1472155 w 1774962"/>
                    <a:gd name="connsiteY90" fmla="*/ 220064 h 1774962"/>
                    <a:gd name="connsiteX91" fmla="*/ 1541296 w 1774962"/>
                    <a:gd name="connsiteY91" fmla="*/ 287657 h 1774962"/>
                    <a:gd name="connsiteX92" fmla="*/ 1542328 w 1774962"/>
                    <a:gd name="connsiteY92" fmla="*/ 301073 h 1774962"/>
                    <a:gd name="connsiteX93" fmla="*/ 1485570 w 1774962"/>
                    <a:gd name="connsiteY93" fmla="*/ 385693 h 1774962"/>
                    <a:gd name="connsiteX94" fmla="*/ 1462868 w 1774962"/>
                    <a:gd name="connsiteY94" fmla="*/ 406332 h 1774962"/>
                    <a:gd name="connsiteX95" fmla="*/ 1460803 w 1774962"/>
                    <a:gd name="connsiteY95" fmla="*/ 422327 h 1774962"/>
                    <a:gd name="connsiteX96" fmla="*/ 1529428 w 1774962"/>
                    <a:gd name="connsiteY96" fmla="*/ 522427 h 1774962"/>
                    <a:gd name="connsiteX97" fmla="*/ 1544908 w 1774962"/>
                    <a:gd name="connsiteY97" fmla="*/ 525007 h 1774962"/>
                    <a:gd name="connsiteX98" fmla="*/ 1672870 w 1774962"/>
                    <a:gd name="connsiteY98" fmla="*/ 488373 h 1774962"/>
                    <a:gd name="connsiteX99" fmla="*/ 1683706 w 1774962"/>
                    <a:gd name="connsiteY99" fmla="*/ 495080 h 1774962"/>
                    <a:gd name="connsiteX100" fmla="*/ 1721888 w 1774962"/>
                    <a:gd name="connsiteY100" fmla="*/ 583828 h 1774962"/>
                    <a:gd name="connsiteX101" fmla="*/ 1717244 w 1774962"/>
                    <a:gd name="connsiteY101" fmla="*/ 596728 h 1774962"/>
                    <a:gd name="connsiteX102" fmla="*/ 1633140 w 1774962"/>
                    <a:gd name="connsiteY102" fmla="*/ 652453 h 1774962"/>
                    <a:gd name="connsiteX103" fmla="*/ 1601665 w 1774962"/>
                    <a:gd name="connsiteY103" fmla="*/ 663805 h 1774962"/>
                    <a:gd name="connsiteX104" fmla="*/ 1594958 w 1774962"/>
                    <a:gd name="connsiteY104" fmla="*/ 676188 h 1774962"/>
                    <a:gd name="connsiteX105" fmla="*/ 1620241 w 1774962"/>
                    <a:gd name="connsiteY105" fmla="*/ 795895 h 1774962"/>
                    <a:gd name="connsiteX106" fmla="*/ 1631076 w 1774962"/>
                    <a:gd name="connsiteY106" fmla="*/ 804667 h 1774962"/>
                    <a:gd name="connsiteX107" fmla="*/ 1763682 w 1774962"/>
                    <a:gd name="connsiteY107" fmla="*/ 819630 h 1774962"/>
                    <a:gd name="connsiteX108" fmla="*/ 1773486 w 1774962"/>
                    <a:gd name="connsiteY108" fmla="*/ 829950 h 1774962"/>
                    <a:gd name="connsiteX109" fmla="*/ 1775034 w 1774962"/>
                    <a:gd name="connsiteY109" fmla="*/ 927985 h 1774962"/>
                    <a:gd name="connsiteX110" fmla="*/ 1766262 w 1774962"/>
                    <a:gd name="connsiteY110" fmla="*/ 937273 h 1774962"/>
                    <a:gd name="connsiteX111" fmla="*/ 1663583 w 1774962"/>
                    <a:gd name="connsiteY111" fmla="*/ 957396 h 1774962"/>
                    <a:gd name="connsiteX112" fmla="*/ 1636752 w 1774962"/>
                    <a:gd name="connsiteY112" fmla="*/ 955332 h 1774962"/>
                    <a:gd name="connsiteX113" fmla="*/ 1622304 w 1774962"/>
                    <a:gd name="connsiteY113" fmla="*/ 966684 h 1774962"/>
                    <a:gd name="connsiteX114" fmla="*/ 1601149 w 1774962"/>
                    <a:gd name="connsiteY114" fmla="*/ 1081746 h 1774962"/>
                    <a:gd name="connsiteX115" fmla="*/ 1610437 w 1774962"/>
                    <a:gd name="connsiteY115" fmla="*/ 1097742 h 1774962"/>
                    <a:gd name="connsiteX116" fmla="*/ 1726016 w 1774962"/>
                    <a:gd name="connsiteY116" fmla="*/ 1161723 h 1774962"/>
                    <a:gd name="connsiteX117" fmla="*/ 1729112 w 1774962"/>
                    <a:gd name="connsiteY117" fmla="*/ 1174107 h 1774962"/>
                    <a:gd name="connsiteX118" fmla="*/ 1693509 w 1774962"/>
                    <a:gd name="connsiteY118" fmla="*/ 1263887 h 1774962"/>
                    <a:gd name="connsiteX119" fmla="*/ 1681126 w 1774962"/>
                    <a:gd name="connsiteY119" fmla="*/ 1270078 h 1774962"/>
                    <a:gd name="connsiteX120" fmla="*/ 1581542 w 1774962"/>
                    <a:gd name="connsiteY120" fmla="*/ 1249955 h 1774962"/>
                    <a:gd name="connsiteX121" fmla="*/ 1552647 w 1774962"/>
                    <a:gd name="connsiteY121" fmla="*/ 1236024 h 1774962"/>
                    <a:gd name="connsiteX122" fmla="*/ 1538200 w 1774962"/>
                    <a:gd name="connsiteY122" fmla="*/ 1240152 h 1774962"/>
                    <a:gd name="connsiteX123" fmla="*/ 1473187 w 1774962"/>
                    <a:gd name="connsiteY123" fmla="*/ 1340767 h 1774962"/>
                    <a:gd name="connsiteX124" fmla="*/ 1475251 w 1774962"/>
                    <a:gd name="connsiteY124" fmla="*/ 1358310 h 1774962"/>
                    <a:gd name="connsiteX125" fmla="*/ 1535104 w 1774962"/>
                    <a:gd name="connsiteY125" fmla="*/ 1430031 h 1774962"/>
                    <a:gd name="connsiteX126" fmla="*/ 1545424 w 1774962"/>
                    <a:gd name="connsiteY126" fmla="*/ 1444995 h 1774962"/>
                    <a:gd name="connsiteX127" fmla="*/ 1542844 w 1774962"/>
                    <a:gd name="connsiteY127" fmla="*/ 1489885 h 1774962"/>
                    <a:gd name="connsiteX128" fmla="*/ 1491246 w 1774962"/>
                    <a:gd name="connsiteY128" fmla="*/ 1542514 h 1774962"/>
                    <a:gd name="connsiteX129" fmla="*/ 1472155 w 1774962"/>
                    <a:gd name="connsiteY129" fmla="*/ 1544062 h 1774962"/>
                    <a:gd name="connsiteX130" fmla="*/ 1393726 w 1774962"/>
                    <a:gd name="connsiteY130" fmla="*/ 1491948 h 1774962"/>
                    <a:gd name="connsiteX131" fmla="*/ 1369992 w 1774962"/>
                    <a:gd name="connsiteY131" fmla="*/ 1466666 h 1774962"/>
                    <a:gd name="connsiteX132" fmla="*/ 1352964 w 1774962"/>
                    <a:gd name="connsiteY132" fmla="*/ 1464602 h 1774962"/>
                    <a:gd name="connsiteX133" fmla="*/ 1254413 w 1774962"/>
                    <a:gd name="connsiteY133" fmla="*/ 1532711 h 1774962"/>
                    <a:gd name="connsiteX134" fmla="*/ 1248737 w 1774962"/>
                    <a:gd name="connsiteY134" fmla="*/ 1544578 h 1774962"/>
                    <a:gd name="connsiteX135" fmla="*/ 1284339 w 1774962"/>
                    <a:gd name="connsiteY135" fmla="*/ 1662221 h 1774962"/>
                    <a:gd name="connsiteX136" fmla="*/ 1268860 w 1774962"/>
                    <a:gd name="connsiteY136" fmla="*/ 1693180 h 1774962"/>
                    <a:gd name="connsiteX137" fmla="*/ 1195591 w 1774962"/>
                    <a:gd name="connsiteY137" fmla="*/ 1724654 h 1774962"/>
                    <a:gd name="connsiteX138" fmla="*/ 1178564 w 1774962"/>
                    <a:gd name="connsiteY138" fmla="*/ 1719495 h 1774962"/>
                    <a:gd name="connsiteX139" fmla="*/ 1125418 w 1774962"/>
                    <a:gd name="connsiteY139" fmla="*/ 1640034 h 1774962"/>
                    <a:gd name="connsiteX140" fmla="*/ 1113035 w 1774962"/>
                    <a:gd name="connsiteY140" fmla="*/ 1606496 h 1774962"/>
                    <a:gd name="connsiteX141" fmla="*/ 1099619 w 1774962"/>
                    <a:gd name="connsiteY141" fmla="*/ 1599272 h 1774962"/>
                    <a:gd name="connsiteX142" fmla="*/ 979913 w 1774962"/>
                    <a:gd name="connsiteY142" fmla="*/ 1624555 h 1774962"/>
                    <a:gd name="connsiteX143" fmla="*/ 972173 w 1774962"/>
                    <a:gd name="connsiteY143" fmla="*/ 1634874 h 1774962"/>
                    <a:gd name="connsiteX144" fmla="*/ 957726 w 1774962"/>
                    <a:gd name="connsiteY144" fmla="*/ 1767481 h 1774962"/>
                    <a:gd name="connsiteX145" fmla="*/ 945858 w 1774962"/>
                    <a:gd name="connsiteY145" fmla="*/ 1777800 h 1774962"/>
                    <a:gd name="connsiteX146" fmla="*/ 895808 w 1774962"/>
                    <a:gd name="connsiteY146" fmla="*/ 1779864 h 1774962"/>
                    <a:gd name="connsiteX147" fmla="*/ 894776 w 1774962"/>
                    <a:gd name="connsiteY147" fmla="*/ 1775736 h 1774962"/>
                    <a:gd name="connsiteX148" fmla="*/ 890648 w 1774962"/>
                    <a:gd name="connsiteY148" fmla="*/ 1454798 h 1774962"/>
                    <a:gd name="connsiteX149" fmla="*/ 1452548 w 1774962"/>
                    <a:gd name="connsiteY149" fmla="*/ 884127 h 1774962"/>
                    <a:gd name="connsiteX150" fmla="*/ 881361 w 1774962"/>
                    <a:gd name="connsiteY150" fmla="*/ 322228 h 1774962"/>
                    <a:gd name="connsiteX151" fmla="*/ 320494 w 1774962"/>
                    <a:gd name="connsiteY151" fmla="*/ 893415 h 1774962"/>
                    <a:gd name="connsiteX152" fmla="*/ 890648 w 1774962"/>
                    <a:gd name="connsiteY152" fmla="*/ 1454798 h 1774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774962" h="1774962">
                      <a:moveTo>
                        <a:pt x="894776" y="1775736"/>
                      </a:moveTo>
                      <a:cubicBezTo>
                        <a:pt x="880845" y="1775736"/>
                        <a:pt x="866397" y="1775736"/>
                        <a:pt x="852466" y="1775736"/>
                      </a:cubicBezTo>
                      <a:cubicBezTo>
                        <a:pt x="844726" y="1775736"/>
                        <a:pt x="840599" y="1772640"/>
                        <a:pt x="839567" y="1764901"/>
                      </a:cubicBezTo>
                      <a:cubicBezTo>
                        <a:pt x="833375" y="1731878"/>
                        <a:pt x="826151" y="1699371"/>
                        <a:pt x="819960" y="1666349"/>
                      </a:cubicBezTo>
                      <a:cubicBezTo>
                        <a:pt x="817896" y="1656545"/>
                        <a:pt x="820992" y="1646742"/>
                        <a:pt x="822024" y="1636938"/>
                      </a:cubicBezTo>
                      <a:cubicBezTo>
                        <a:pt x="823056" y="1628682"/>
                        <a:pt x="820992" y="1624555"/>
                        <a:pt x="811704" y="1623523"/>
                      </a:cubicBezTo>
                      <a:cubicBezTo>
                        <a:pt x="772490" y="1619395"/>
                        <a:pt x="733275" y="1612171"/>
                        <a:pt x="695093" y="1601852"/>
                      </a:cubicBezTo>
                      <a:cubicBezTo>
                        <a:pt x="686837" y="1599788"/>
                        <a:pt x="682194" y="1602368"/>
                        <a:pt x="680130" y="1610623"/>
                      </a:cubicBezTo>
                      <a:cubicBezTo>
                        <a:pt x="669294" y="1655513"/>
                        <a:pt x="636788" y="1688020"/>
                        <a:pt x="615116" y="1727234"/>
                      </a:cubicBezTo>
                      <a:cubicBezTo>
                        <a:pt x="612537" y="1731878"/>
                        <a:pt x="608409" y="1731878"/>
                        <a:pt x="603765" y="1730330"/>
                      </a:cubicBezTo>
                      <a:cubicBezTo>
                        <a:pt x="572807" y="1720011"/>
                        <a:pt x="542364" y="1707627"/>
                        <a:pt x="512953" y="1694212"/>
                      </a:cubicBezTo>
                      <a:cubicBezTo>
                        <a:pt x="506761" y="1691632"/>
                        <a:pt x="506245" y="1686988"/>
                        <a:pt x="507277" y="1681828"/>
                      </a:cubicBezTo>
                      <a:cubicBezTo>
                        <a:pt x="513985" y="1648806"/>
                        <a:pt x="519661" y="1615783"/>
                        <a:pt x="527400" y="1583277"/>
                      </a:cubicBezTo>
                      <a:cubicBezTo>
                        <a:pt x="529980" y="1572441"/>
                        <a:pt x="536172" y="1562637"/>
                        <a:pt x="541848" y="1552834"/>
                      </a:cubicBezTo>
                      <a:cubicBezTo>
                        <a:pt x="545460" y="1546642"/>
                        <a:pt x="544428" y="1543030"/>
                        <a:pt x="537720" y="1539418"/>
                      </a:cubicBezTo>
                      <a:cubicBezTo>
                        <a:pt x="501601" y="1520327"/>
                        <a:pt x="467547" y="1497624"/>
                        <a:pt x="435041" y="1472857"/>
                      </a:cubicBezTo>
                      <a:cubicBezTo>
                        <a:pt x="429365" y="1468214"/>
                        <a:pt x="425237" y="1468214"/>
                        <a:pt x="420593" y="1474921"/>
                      </a:cubicBezTo>
                      <a:cubicBezTo>
                        <a:pt x="393762" y="1512588"/>
                        <a:pt x="350936" y="1531163"/>
                        <a:pt x="315334" y="1559026"/>
                      </a:cubicBezTo>
                      <a:cubicBezTo>
                        <a:pt x="310690" y="1562637"/>
                        <a:pt x="307078" y="1561090"/>
                        <a:pt x="302950" y="1557478"/>
                      </a:cubicBezTo>
                      <a:cubicBezTo>
                        <a:pt x="278699" y="1536323"/>
                        <a:pt x="255996" y="1513104"/>
                        <a:pt x="233809" y="1490401"/>
                      </a:cubicBezTo>
                      <a:cubicBezTo>
                        <a:pt x="229682" y="1485757"/>
                        <a:pt x="229165" y="1482145"/>
                        <a:pt x="232777" y="1476985"/>
                      </a:cubicBezTo>
                      <a:cubicBezTo>
                        <a:pt x="251352" y="1449122"/>
                        <a:pt x="269928" y="1421260"/>
                        <a:pt x="289019" y="1393397"/>
                      </a:cubicBezTo>
                      <a:cubicBezTo>
                        <a:pt x="295210" y="1384625"/>
                        <a:pt x="304498" y="1378949"/>
                        <a:pt x="312754" y="1371726"/>
                      </a:cubicBezTo>
                      <a:cubicBezTo>
                        <a:pt x="318946" y="1366566"/>
                        <a:pt x="319978" y="1361922"/>
                        <a:pt x="314818" y="1355731"/>
                      </a:cubicBezTo>
                      <a:cubicBezTo>
                        <a:pt x="289535" y="1324256"/>
                        <a:pt x="266316" y="1291233"/>
                        <a:pt x="246193" y="1255631"/>
                      </a:cubicBezTo>
                      <a:cubicBezTo>
                        <a:pt x="241549" y="1247375"/>
                        <a:pt x="236905" y="1248923"/>
                        <a:pt x="230713" y="1253051"/>
                      </a:cubicBezTo>
                      <a:cubicBezTo>
                        <a:pt x="191499" y="1277302"/>
                        <a:pt x="145577" y="1277818"/>
                        <a:pt x="102751" y="1289685"/>
                      </a:cubicBezTo>
                      <a:cubicBezTo>
                        <a:pt x="97075" y="1291233"/>
                        <a:pt x="93979" y="1288137"/>
                        <a:pt x="91916" y="1282978"/>
                      </a:cubicBezTo>
                      <a:cubicBezTo>
                        <a:pt x="77984" y="1254083"/>
                        <a:pt x="65085" y="1224156"/>
                        <a:pt x="53733" y="1194230"/>
                      </a:cubicBezTo>
                      <a:cubicBezTo>
                        <a:pt x="51669" y="1188038"/>
                        <a:pt x="53217" y="1184426"/>
                        <a:pt x="58377" y="1181330"/>
                      </a:cubicBezTo>
                      <a:cubicBezTo>
                        <a:pt x="86240" y="1162755"/>
                        <a:pt x="113587" y="1143664"/>
                        <a:pt x="142481" y="1125605"/>
                      </a:cubicBezTo>
                      <a:cubicBezTo>
                        <a:pt x="151769" y="1119929"/>
                        <a:pt x="163120" y="1117349"/>
                        <a:pt x="173956" y="1114253"/>
                      </a:cubicBezTo>
                      <a:cubicBezTo>
                        <a:pt x="180664" y="1112189"/>
                        <a:pt x="182727" y="1109093"/>
                        <a:pt x="180664" y="1101870"/>
                      </a:cubicBezTo>
                      <a:cubicBezTo>
                        <a:pt x="168796" y="1062139"/>
                        <a:pt x="160541" y="1021893"/>
                        <a:pt x="154865" y="981131"/>
                      </a:cubicBezTo>
                      <a:cubicBezTo>
                        <a:pt x="153833" y="974423"/>
                        <a:pt x="150737" y="972359"/>
                        <a:pt x="144029" y="973391"/>
                      </a:cubicBezTo>
                      <a:cubicBezTo>
                        <a:pt x="98107" y="981131"/>
                        <a:pt x="54765" y="963588"/>
                        <a:pt x="10391" y="958428"/>
                      </a:cubicBezTo>
                      <a:cubicBezTo>
                        <a:pt x="4715" y="957912"/>
                        <a:pt x="2652" y="954300"/>
                        <a:pt x="2135" y="948624"/>
                      </a:cubicBezTo>
                      <a:cubicBezTo>
                        <a:pt x="-960" y="916118"/>
                        <a:pt x="72" y="883611"/>
                        <a:pt x="588" y="850589"/>
                      </a:cubicBezTo>
                      <a:cubicBezTo>
                        <a:pt x="588" y="844397"/>
                        <a:pt x="4715" y="841817"/>
                        <a:pt x="10391" y="840785"/>
                      </a:cubicBezTo>
                      <a:cubicBezTo>
                        <a:pt x="43930" y="834077"/>
                        <a:pt x="76952" y="827370"/>
                        <a:pt x="110491" y="820662"/>
                      </a:cubicBezTo>
                      <a:cubicBezTo>
                        <a:pt x="120294" y="818598"/>
                        <a:pt x="130098" y="821694"/>
                        <a:pt x="139901" y="822726"/>
                      </a:cubicBezTo>
                      <a:cubicBezTo>
                        <a:pt x="148157" y="823758"/>
                        <a:pt x="152285" y="820662"/>
                        <a:pt x="153317" y="811890"/>
                      </a:cubicBezTo>
                      <a:cubicBezTo>
                        <a:pt x="157445" y="773192"/>
                        <a:pt x="164668" y="734494"/>
                        <a:pt x="174472" y="696827"/>
                      </a:cubicBezTo>
                      <a:cubicBezTo>
                        <a:pt x="177052" y="687024"/>
                        <a:pt x="173440" y="682380"/>
                        <a:pt x="164152" y="680316"/>
                      </a:cubicBezTo>
                      <a:cubicBezTo>
                        <a:pt x="120294" y="668965"/>
                        <a:pt x="87272" y="636974"/>
                        <a:pt x="49090" y="615819"/>
                      </a:cubicBezTo>
                      <a:cubicBezTo>
                        <a:pt x="44961" y="613755"/>
                        <a:pt x="44961" y="610143"/>
                        <a:pt x="45993" y="606015"/>
                      </a:cubicBezTo>
                      <a:cubicBezTo>
                        <a:pt x="56313" y="574541"/>
                        <a:pt x="69212" y="544098"/>
                        <a:pt x="82628" y="513655"/>
                      </a:cubicBezTo>
                      <a:cubicBezTo>
                        <a:pt x="85208" y="507980"/>
                        <a:pt x="89336" y="506948"/>
                        <a:pt x="93979" y="508496"/>
                      </a:cubicBezTo>
                      <a:cubicBezTo>
                        <a:pt x="137322" y="519847"/>
                        <a:pt x="183760" y="518815"/>
                        <a:pt x="224006" y="543066"/>
                      </a:cubicBezTo>
                      <a:cubicBezTo>
                        <a:pt x="230713" y="547194"/>
                        <a:pt x="233809" y="544614"/>
                        <a:pt x="236905" y="538938"/>
                      </a:cubicBezTo>
                      <a:cubicBezTo>
                        <a:pt x="255996" y="503336"/>
                        <a:pt x="278183" y="469281"/>
                        <a:pt x="302434" y="437291"/>
                      </a:cubicBezTo>
                      <a:cubicBezTo>
                        <a:pt x="305530" y="433163"/>
                        <a:pt x="310690" y="428519"/>
                        <a:pt x="302950" y="423359"/>
                      </a:cubicBezTo>
                      <a:cubicBezTo>
                        <a:pt x="273540" y="404268"/>
                        <a:pt x="258576" y="373826"/>
                        <a:pt x="238453" y="346995"/>
                      </a:cubicBezTo>
                      <a:cubicBezTo>
                        <a:pt x="234841" y="342351"/>
                        <a:pt x="232262" y="337707"/>
                        <a:pt x="228650" y="333063"/>
                      </a:cubicBezTo>
                      <a:cubicBezTo>
                        <a:pt x="212654" y="310360"/>
                        <a:pt x="212138" y="309844"/>
                        <a:pt x="230713" y="290237"/>
                      </a:cubicBezTo>
                      <a:cubicBezTo>
                        <a:pt x="248257" y="271662"/>
                        <a:pt x="266316" y="254119"/>
                        <a:pt x="283859" y="236060"/>
                      </a:cubicBezTo>
                      <a:cubicBezTo>
                        <a:pt x="289535" y="230384"/>
                        <a:pt x="294179" y="229868"/>
                        <a:pt x="300370" y="234512"/>
                      </a:cubicBezTo>
                      <a:cubicBezTo>
                        <a:pt x="327201" y="252571"/>
                        <a:pt x="354032" y="270114"/>
                        <a:pt x="380863" y="288173"/>
                      </a:cubicBezTo>
                      <a:cubicBezTo>
                        <a:pt x="390150" y="294365"/>
                        <a:pt x="396342" y="303137"/>
                        <a:pt x="403050" y="311392"/>
                      </a:cubicBezTo>
                      <a:cubicBezTo>
                        <a:pt x="408726" y="319132"/>
                        <a:pt x="413885" y="320680"/>
                        <a:pt x="422141" y="313972"/>
                      </a:cubicBezTo>
                      <a:cubicBezTo>
                        <a:pt x="452584" y="288689"/>
                        <a:pt x="485606" y="266502"/>
                        <a:pt x="519661" y="246895"/>
                      </a:cubicBezTo>
                      <a:cubicBezTo>
                        <a:pt x="524820" y="243799"/>
                        <a:pt x="529464" y="240703"/>
                        <a:pt x="524820" y="233996"/>
                      </a:cubicBezTo>
                      <a:cubicBezTo>
                        <a:pt x="502633" y="202005"/>
                        <a:pt x="501086" y="163823"/>
                        <a:pt x="492314" y="127704"/>
                      </a:cubicBezTo>
                      <a:cubicBezTo>
                        <a:pt x="484574" y="96230"/>
                        <a:pt x="485606" y="96746"/>
                        <a:pt x="514501" y="82298"/>
                      </a:cubicBezTo>
                      <a:cubicBezTo>
                        <a:pt x="535140" y="71979"/>
                        <a:pt x="557327" y="64239"/>
                        <a:pt x="578482" y="55468"/>
                      </a:cubicBezTo>
                      <a:cubicBezTo>
                        <a:pt x="586222" y="52372"/>
                        <a:pt x="590866" y="52888"/>
                        <a:pt x="595509" y="60111"/>
                      </a:cubicBezTo>
                      <a:cubicBezTo>
                        <a:pt x="613053" y="86942"/>
                        <a:pt x="630596" y="113257"/>
                        <a:pt x="648655" y="139572"/>
                      </a:cubicBezTo>
                      <a:cubicBezTo>
                        <a:pt x="655363" y="149375"/>
                        <a:pt x="657427" y="160727"/>
                        <a:pt x="661039" y="172078"/>
                      </a:cubicBezTo>
                      <a:cubicBezTo>
                        <a:pt x="663618" y="180334"/>
                        <a:pt x="667230" y="182914"/>
                        <a:pt x="675486" y="180334"/>
                      </a:cubicBezTo>
                      <a:cubicBezTo>
                        <a:pt x="713668" y="168983"/>
                        <a:pt x="752882" y="160727"/>
                        <a:pt x="792613" y="155567"/>
                      </a:cubicBezTo>
                      <a:cubicBezTo>
                        <a:pt x="800352" y="154535"/>
                        <a:pt x="802932" y="151439"/>
                        <a:pt x="801900" y="143700"/>
                      </a:cubicBezTo>
                      <a:cubicBezTo>
                        <a:pt x="795193" y="98294"/>
                        <a:pt x="811704" y="55468"/>
                        <a:pt x="816864" y="11094"/>
                      </a:cubicBezTo>
                      <a:cubicBezTo>
                        <a:pt x="817380" y="5934"/>
                        <a:pt x="820476" y="2838"/>
                        <a:pt x="826151" y="2322"/>
                      </a:cubicBezTo>
                      <a:cubicBezTo>
                        <a:pt x="859174" y="-1290"/>
                        <a:pt x="892196" y="258"/>
                        <a:pt x="925219" y="774"/>
                      </a:cubicBezTo>
                      <a:cubicBezTo>
                        <a:pt x="930895" y="774"/>
                        <a:pt x="933475" y="4902"/>
                        <a:pt x="934507" y="10062"/>
                      </a:cubicBezTo>
                      <a:cubicBezTo>
                        <a:pt x="941214" y="43600"/>
                        <a:pt x="948438" y="77139"/>
                        <a:pt x="954114" y="111193"/>
                      </a:cubicBezTo>
                      <a:cubicBezTo>
                        <a:pt x="955662" y="120481"/>
                        <a:pt x="953082" y="130800"/>
                        <a:pt x="952050" y="140604"/>
                      </a:cubicBezTo>
                      <a:cubicBezTo>
                        <a:pt x="951018" y="148343"/>
                        <a:pt x="954114" y="151955"/>
                        <a:pt x="962369" y="152987"/>
                      </a:cubicBezTo>
                      <a:cubicBezTo>
                        <a:pt x="1001584" y="157115"/>
                        <a:pt x="1040798" y="164339"/>
                        <a:pt x="1078980" y="174658"/>
                      </a:cubicBezTo>
                      <a:cubicBezTo>
                        <a:pt x="1085172" y="176206"/>
                        <a:pt x="1091364" y="176722"/>
                        <a:pt x="1093428" y="168467"/>
                      </a:cubicBezTo>
                      <a:cubicBezTo>
                        <a:pt x="1101683" y="130284"/>
                        <a:pt x="1127482" y="101390"/>
                        <a:pt x="1147089" y="69399"/>
                      </a:cubicBezTo>
                      <a:cubicBezTo>
                        <a:pt x="1162569" y="43084"/>
                        <a:pt x="1163601" y="43600"/>
                        <a:pt x="1192495" y="54436"/>
                      </a:cubicBezTo>
                      <a:cubicBezTo>
                        <a:pt x="1214682" y="62691"/>
                        <a:pt x="1236353" y="71979"/>
                        <a:pt x="1258024" y="81266"/>
                      </a:cubicBezTo>
                      <a:cubicBezTo>
                        <a:pt x="1265764" y="84362"/>
                        <a:pt x="1268860" y="88490"/>
                        <a:pt x="1267312" y="96746"/>
                      </a:cubicBezTo>
                      <a:cubicBezTo>
                        <a:pt x="1260604" y="128736"/>
                        <a:pt x="1254928" y="160727"/>
                        <a:pt x="1247705" y="192718"/>
                      </a:cubicBezTo>
                      <a:cubicBezTo>
                        <a:pt x="1245125" y="203553"/>
                        <a:pt x="1238417" y="213873"/>
                        <a:pt x="1233258" y="224192"/>
                      </a:cubicBezTo>
                      <a:cubicBezTo>
                        <a:pt x="1229646" y="230384"/>
                        <a:pt x="1230678" y="233996"/>
                        <a:pt x="1237385" y="237608"/>
                      </a:cubicBezTo>
                      <a:cubicBezTo>
                        <a:pt x="1273504" y="256699"/>
                        <a:pt x="1307558" y="279402"/>
                        <a:pt x="1340065" y="304169"/>
                      </a:cubicBezTo>
                      <a:cubicBezTo>
                        <a:pt x="1345741" y="308812"/>
                        <a:pt x="1349868" y="309328"/>
                        <a:pt x="1354512" y="302621"/>
                      </a:cubicBezTo>
                      <a:cubicBezTo>
                        <a:pt x="1381343" y="264954"/>
                        <a:pt x="1424169" y="246379"/>
                        <a:pt x="1459771" y="218516"/>
                      </a:cubicBezTo>
                      <a:cubicBezTo>
                        <a:pt x="1464415" y="214905"/>
                        <a:pt x="1468027" y="216452"/>
                        <a:pt x="1472155" y="220064"/>
                      </a:cubicBezTo>
                      <a:cubicBezTo>
                        <a:pt x="1496406" y="241219"/>
                        <a:pt x="1519109" y="264438"/>
                        <a:pt x="1541296" y="287657"/>
                      </a:cubicBezTo>
                      <a:cubicBezTo>
                        <a:pt x="1545424" y="292301"/>
                        <a:pt x="1545940" y="296429"/>
                        <a:pt x="1542328" y="301073"/>
                      </a:cubicBezTo>
                      <a:cubicBezTo>
                        <a:pt x="1523237" y="329452"/>
                        <a:pt x="1505177" y="357830"/>
                        <a:pt x="1485570" y="385693"/>
                      </a:cubicBezTo>
                      <a:cubicBezTo>
                        <a:pt x="1479895" y="393949"/>
                        <a:pt x="1470607" y="400140"/>
                        <a:pt x="1462868" y="406332"/>
                      </a:cubicBezTo>
                      <a:cubicBezTo>
                        <a:pt x="1456676" y="411492"/>
                        <a:pt x="1455644" y="416136"/>
                        <a:pt x="1460803" y="422327"/>
                      </a:cubicBezTo>
                      <a:cubicBezTo>
                        <a:pt x="1486086" y="453802"/>
                        <a:pt x="1509305" y="487341"/>
                        <a:pt x="1529428" y="522427"/>
                      </a:cubicBezTo>
                      <a:cubicBezTo>
                        <a:pt x="1534072" y="530167"/>
                        <a:pt x="1538716" y="529135"/>
                        <a:pt x="1544908" y="525007"/>
                      </a:cubicBezTo>
                      <a:cubicBezTo>
                        <a:pt x="1584122" y="500756"/>
                        <a:pt x="1630044" y="500240"/>
                        <a:pt x="1672870" y="488373"/>
                      </a:cubicBezTo>
                      <a:cubicBezTo>
                        <a:pt x="1678546" y="486825"/>
                        <a:pt x="1681642" y="489921"/>
                        <a:pt x="1683706" y="495080"/>
                      </a:cubicBezTo>
                      <a:cubicBezTo>
                        <a:pt x="1697637" y="523975"/>
                        <a:pt x="1710537" y="553902"/>
                        <a:pt x="1721888" y="583828"/>
                      </a:cubicBezTo>
                      <a:cubicBezTo>
                        <a:pt x="1723952" y="590020"/>
                        <a:pt x="1722404" y="593632"/>
                        <a:pt x="1717244" y="596728"/>
                      </a:cubicBezTo>
                      <a:cubicBezTo>
                        <a:pt x="1689381" y="615303"/>
                        <a:pt x="1662035" y="634394"/>
                        <a:pt x="1633140" y="652453"/>
                      </a:cubicBezTo>
                      <a:cubicBezTo>
                        <a:pt x="1623852" y="658129"/>
                        <a:pt x="1612501" y="660709"/>
                        <a:pt x="1601665" y="663805"/>
                      </a:cubicBezTo>
                      <a:cubicBezTo>
                        <a:pt x="1594958" y="665869"/>
                        <a:pt x="1592894" y="668965"/>
                        <a:pt x="1594958" y="676188"/>
                      </a:cubicBezTo>
                      <a:cubicBezTo>
                        <a:pt x="1606309" y="715403"/>
                        <a:pt x="1615081" y="755133"/>
                        <a:pt x="1620241" y="795895"/>
                      </a:cubicBezTo>
                      <a:cubicBezTo>
                        <a:pt x="1621272" y="803119"/>
                        <a:pt x="1624368" y="805699"/>
                        <a:pt x="1631076" y="804667"/>
                      </a:cubicBezTo>
                      <a:cubicBezTo>
                        <a:pt x="1676482" y="797959"/>
                        <a:pt x="1719308" y="814470"/>
                        <a:pt x="1763682" y="819630"/>
                      </a:cubicBezTo>
                      <a:cubicBezTo>
                        <a:pt x="1769874" y="820146"/>
                        <a:pt x="1772454" y="823758"/>
                        <a:pt x="1773486" y="829950"/>
                      </a:cubicBezTo>
                      <a:cubicBezTo>
                        <a:pt x="1776582" y="862456"/>
                        <a:pt x="1775034" y="895479"/>
                        <a:pt x="1775034" y="927985"/>
                      </a:cubicBezTo>
                      <a:cubicBezTo>
                        <a:pt x="1775034" y="933661"/>
                        <a:pt x="1771422" y="936241"/>
                        <a:pt x="1766262" y="937273"/>
                      </a:cubicBezTo>
                      <a:cubicBezTo>
                        <a:pt x="1732207" y="943981"/>
                        <a:pt x="1698153" y="951204"/>
                        <a:pt x="1663583" y="957396"/>
                      </a:cubicBezTo>
                      <a:cubicBezTo>
                        <a:pt x="1654811" y="958944"/>
                        <a:pt x="1645523" y="956364"/>
                        <a:pt x="1636752" y="955332"/>
                      </a:cubicBezTo>
                      <a:cubicBezTo>
                        <a:pt x="1627980" y="954300"/>
                        <a:pt x="1623336" y="956364"/>
                        <a:pt x="1622304" y="966684"/>
                      </a:cubicBezTo>
                      <a:cubicBezTo>
                        <a:pt x="1618177" y="1005382"/>
                        <a:pt x="1610953" y="1044080"/>
                        <a:pt x="1601149" y="1081746"/>
                      </a:cubicBezTo>
                      <a:cubicBezTo>
                        <a:pt x="1598569" y="1091034"/>
                        <a:pt x="1601665" y="1095678"/>
                        <a:pt x="1610437" y="1097742"/>
                      </a:cubicBezTo>
                      <a:cubicBezTo>
                        <a:pt x="1654811" y="1108577"/>
                        <a:pt x="1687318" y="1140568"/>
                        <a:pt x="1726016" y="1161723"/>
                      </a:cubicBezTo>
                      <a:cubicBezTo>
                        <a:pt x="1731176" y="1164819"/>
                        <a:pt x="1731176" y="1168947"/>
                        <a:pt x="1729112" y="1174107"/>
                      </a:cubicBezTo>
                      <a:cubicBezTo>
                        <a:pt x="1718792" y="1204549"/>
                        <a:pt x="1706409" y="1234476"/>
                        <a:pt x="1693509" y="1263887"/>
                      </a:cubicBezTo>
                      <a:cubicBezTo>
                        <a:pt x="1690929" y="1269562"/>
                        <a:pt x="1687318" y="1271626"/>
                        <a:pt x="1681126" y="1270078"/>
                      </a:cubicBezTo>
                      <a:cubicBezTo>
                        <a:pt x="1648103" y="1263371"/>
                        <a:pt x="1614565" y="1257179"/>
                        <a:pt x="1581542" y="1249955"/>
                      </a:cubicBezTo>
                      <a:cubicBezTo>
                        <a:pt x="1571223" y="1247375"/>
                        <a:pt x="1561935" y="1241184"/>
                        <a:pt x="1552647" y="1236024"/>
                      </a:cubicBezTo>
                      <a:cubicBezTo>
                        <a:pt x="1545940" y="1232412"/>
                        <a:pt x="1542328" y="1232928"/>
                        <a:pt x="1538200" y="1240152"/>
                      </a:cubicBezTo>
                      <a:cubicBezTo>
                        <a:pt x="1519109" y="1275238"/>
                        <a:pt x="1497954" y="1309293"/>
                        <a:pt x="1473187" y="1340767"/>
                      </a:cubicBezTo>
                      <a:cubicBezTo>
                        <a:pt x="1467511" y="1347991"/>
                        <a:pt x="1466479" y="1352635"/>
                        <a:pt x="1475251" y="1358310"/>
                      </a:cubicBezTo>
                      <a:cubicBezTo>
                        <a:pt x="1502598" y="1375854"/>
                        <a:pt x="1516013" y="1405264"/>
                        <a:pt x="1535104" y="1430031"/>
                      </a:cubicBezTo>
                      <a:cubicBezTo>
                        <a:pt x="1538716" y="1434675"/>
                        <a:pt x="1541812" y="1439835"/>
                        <a:pt x="1545424" y="1444995"/>
                      </a:cubicBezTo>
                      <a:cubicBezTo>
                        <a:pt x="1566063" y="1474921"/>
                        <a:pt x="1565031" y="1464602"/>
                        <a:pt x="1542844" y="1489885"/>
                      </a:cubicBezTo>
                      <a:cubicBezTo>
                        <a:pt x="1526849" y="1508460"/>
                        <a:pt x="1508273" y="1524971"/>
                        <a:pt x="1491246" y="1542514"/>
                      </a:cubicBezTo>
                      <a:cubicBezTo>
                        <a:pt x="1485054" y="1549222"/>
                        <a:pt x="1479895" y="1549222"/>
                        <a:pt x="1472155" y="1544062"/>
                      </a:cubicBezTo>
                      <a:cubicBezTo>
                        <a:pt x="1446356" y="1526519"/>
                        <a:pt x="1420041" y="1508976"/>
                        <a:pt x="1393726" y="1491948"/>
                      </a:cubicBezTo>
                      <a:cubicBezTo>
                        <a:pt x="1383923" y="1485241"/>
                        <a:pt x="1377215" y="1475437"/>
                        <a:pt x="1369992" y="1466666"/>
                      </a:cubicBezTo>
                      <a:cubicBezTo>
                        <a:pt x="1364316" y="1459958"/>
                        <a:pt x="1359672" y="1458926"/>
                        <a:pt x="1352964" y="1464602"/>
                      </a:cubicBezTo>
                      <a:cubicBezTo>
                        <a:pt x="1322005" y="1489885"/>
                        <a:pt x="1288983" y="1512588"/>
                        <a:pt x="1254413" y="1532711"/>
                      </a:cubicBezTo>
                      <a:cubicBezTo>
                        <a:pt x="1249769" y="1535291"/>
                        <a:pt x="1244609" y="1537871"/>
                        <a:pt x="1248737" y="1544578"/>
                      </a:cubicBezTo>
                      <a:cubicBezTo>
                        <a:pt x="1272472" y="1580181"/>
                        <a:pt x="1274020" y="1622491"/>
                        <a:pt x="1284339" y="1662221"/>
                      </a:cubicBezTo>
                      <a:cubicBezTo>
                        <a:pt x="1290531" y="1685440"/>
                        <a:pt x="1292079" y="1682344"/>
                        <a:pt x="1268860" y="1693180"/>
                      </a:cubicBezTo>
                      <a:cubicBezTo>
                        <a:pt x="1244609" y="1704531"/>
                        <a:pt x="1219842" y="1714335"/>
                        <a:pt x="1195591" y="1724654"/>
                      </a:cubicBezTo>
                      <a:cubicBezTo>
                        <a:pt x="1187851" y="1727750"/>
                        <a:pt x="1183208" y="1726718"/>
                        <a:pt x="1178564" y="1719495"/>
                      </a:cubicBezTo>
                      <a:cubicBezTo>
                        <a:pt x="1161021" y="1692664"/>
                        <a:pt x="1142962" y="1666865"/>
                        <a:pt x="1125418" y="1640034"/>
                      </a:cubicBezTo>
                      <a:cubicBezTo>
                        <a:pt x="1118711" y="1629715"/>
                        <a:pt x="1116131" y="1617847"/>
                        <a:pt x="1113035" y="1606496"/>
                      </a:cubicBezTo>
                      <a:cubicBezTo>
                        <a:pt x="1110971" y="1599272"/>
                        <a:pt x="1107359" y="1597208"/>
                        <a:pt x="1099619" y="1599272"/>
                      </a:cubicBezTo>
                      <a:cubicBezTo>
                        <a:pt x="1060405" y="1611139"/>
                        <a:pt x="1020675" y="1619395"/>
                        <a:pt x="979913" y="1624555"/>
                      </a:cubicBezTo>
                      <a:cubicBezTo>
                        <a:pt x="973205" y="1625587"/>
                        <a:pt x="971141" y="1628682"/>
                        <a:pt x="972173" y="1634874"/>
                      </a:cubicBezTo>
                      <a:cubicBezTo>
                        <a:pt x="979397" y="1680280"/>
                        <a:pt x="962885" y="1723106"/>
                        <a:pt x="957726" y="1767481"/>
                      </a:cubicBezTo>
                      <a:cubicBezTo>
                        <a:pt x="956694" y="1775220"/>
                        <a:pt x="952566" y="1777800"/>
                        <a:pt x="945858" y="1777800"/>
                      </a:cubicBezTo>
                      <a:cubicBezTo>
                        <a:pt x="929347" y="1778316"/>
                        <a:pt x="912320" y="1779348"/>
                        <a:pt x="895808" y="1779864"/>
                      </a:cubicBezTo>
                      <a:cubicBezTo>
                        <a:pt x="894776" y="1776252"/>
                        <a:pt x="894776" y="1776252"/>
                        <a:pt x="894776" y="1775736"/>
                      </a:cubicBezTo>
                      <a:close/>
                      <a:moveTo>
                        <a:pt x="890648" y="1454798"/>
                      </a:moveTo>
                      <a:cubicBezTo>
                        <a:pt x="1199203" y="1449638"/>
                        <a:pt x="1454096" y="1207645"/>
                        <a:pt x="1452548" y="884127"/>
                      </a:cubicBezTo>
                      <a:cubicBezTo>
                        <a:pt x="1451516" y="575057"/>
                        <a:pt x="1205395" y="320164"/>
                        <a:pt x="881361" y="322228"/>
                      </a:cubicBezTo>
                      <a:cubicBezTo>
                        <a:pt x="571775" y="324292"/>
                        <a:pt x="318429" y="570929"/>
                        <a:pt x="320494" y="893415"/>
                      </a:cubicBezTo>
                      <a:cubicBezTo>
                        <a:pt x="323073" y="1202485"/>
                        <a:pt x="569195" y="1452218"/>
                        <a:pt x="890648" y="1454798"/>
                      </a:cubicBezTo>
                      <a:close/>
                    </a:path>
                  </a:pathLst>
                </a:custGeom>
                <a:grpFill/>
                <a:ln w="515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86DEB52C-C941-4797-8322-11F1C0AD0C40}"/>
                    </a:ext>
                  </a:extLst>
                </p:cNvPr>
                <p:cNvSpPr/>
                <p:nvPr/>
              </p:nvSpPr>
              <p:spPr>
                <a:xfrm>
                  <a:off x="3733675" y="2339591"/>
                  <a:ext cx="835883" cy="835883"/>
                </a:xfrm>
                <a:custGeom>
                  <a:avLst/>
                  <a:gdLst>
                    <a:gd name="connsiteX0" fmla="*/ 836916 w 835883"/>
                    <a:gd name="connsiteY0" fmla="*/ 418458 h 835883"/>
                    <a:gd name="connsiteX1" fmla="*/ 418459 w 835883"/>
                    <a:gd name="connsiteY1" fmla="*/ 836399 h 835883"/>
                    <a:gd name="connsiteX2" fmla="*/ 1 w 835883"/>
                    <a:gd name="connsiteY2" fmla="*/ 417426 h 835883"/>
                    <a:gd name="connsiteX3" fmla="*/ 418975 w 835883"/>
                    <a:gd name="connsiteY3" fmla="*/ 0 h 835883"/>
                    <a:gd name="connsiteX4" fmla="*/ 836916 w 835883"/>
                    <a:gd name="connsiteY4" fmla="*/ 418458 h 835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883" h="835883">
                      <a:moveTo>
                        <a:pt x="836916" y="418458"/>
                      </a:moveTo>
                      <a:cubicBezTo>
                        <a:pt x="833821" y="651679"/>
                        <a:pt x="651165" y="836915"/>
                        <a:pt x="418459" y="836399"/>
                      </a:cubicBezTo>
                      <a:cubicBezTo>
                        <a:pt x="182657" y="836399"/>
                        <a:pt x="-515" y="649615"/>
                        <a:pt x="1" y="417426"/>
                      </a:cubicBezTo>
                      <a:cubicBezTo>
                        <a:pt x="517" y="181624"/>
                        <a:pt x="187301" y="0"/>
                        <a:pt x="418975" y="0"/>
                      </a:cubicBezTo>
                      <a:cubicBezTo>
                        <a:pt x="651680" y="516"/>
                        <a:pt x="833821" y="186268"/>
                        <a:pt x="836916" y="418458"/>
                      </a:cubicBezTo>
                      <a:close/>
                    </a:path>
                  </a:pathLst>
                </a:custGeom>
                <a:grpFill/>
                <a:ln w="5155" cap="flat">
                  <a:noFill/>
                  <a:prstDash val="solid"/>
                  <a:miter/>
                </a:ln>
              </p:spPr>
              <p:txBody>
                <a:bodyPr rtlCol="0" anchor="ctr"/>
                <a:lstStyle/>
                <a:p>
                  <a:endParaRPr lang="en-US"/>
                </a:p>
              </p:txBody>
            </p:sp>
          </p:grpSp>
        </p:grpSp>
        <p:sp>
          <p:nvSpPr>
            <p:cNvPr id="7" name="Freeform: Shape 6">
              <a:extLst>
                <a:ext uri="{FF2B5EF4-FFF2-40B4-BE49-F238E27FC236}">
                  <a16:creationId xmlns:a16="http://schemas.microsoft.com/office/drawing/2014/main" id="{B25B6E65-0935-40EC-806D-53C1E043E564}"/>
                </a:ext>
              </a:extLst>
            </p:cNvPr>
            <p:cNvSpPr/>
            <p:nvPr/>
          </p:nvSpPr>
          <p:spPr>
            <a:xfrm>
              <a:off x="5436819" y="3673417"/>
              <a:ext cx="936646" cy="931442"/>
            </a:xfrm>
            <a:custGeom>
              <a:avLst/>
              <a:gdLst>
                <a:gd name="connsiteX0" fmla="*/ 959201 w 1857518"/>
                <a:gd name="connsiteY0" fmla="*/ 1852264 h 1847198"/>
                <a:gd name="connsiteX1" fmla="*/ 910700 w 1857518"/>
                <a:gd name="connsiteY1" fmla="*/ 1852264 h 1847198"/>
                <a:gd name="connsiteX2" fmla="*/ 891608 w 1857518"/>
                <a:gd name="connsiteY2" fmla="*/ 1830593 h 1847198"/>
                <a:gd name="connsiteX3" fmla="*/ 838463 w 1857518"/>
                <a:gd name="connsiteY3" fmla="*/ 1669608 h 1847198"/>
                <a:gd name="connsiteX4" fmla="*/ 813180 w 1857518"/>
                <a:gd name="connsiteY4" fmla="*/ 1646905 h 1847198"/>
                <a:gd name="connsiteX5" fmla="*/ 730624 w 1857518"/>
                <a:gd name="connsiteY5" fmla="*/ 1628330 h 1847198"/>
                <a:gd name="connsiteX6" fmla="*/ 693990 w 1857518"/>
                <a:gd name="connsiteY6" fmla="*/ 1639165 h 1847198"/>
                <a:gd name="connsiteX7" fmla="*/ 573251 w 1857518"/>
                <a:gd name="connsiteY7" fmla="*/ 1761452 h 1847198"/>
                <a:gd name="connsiteX8" fmla="*/ 542292 w 1857518"/>
                <a:gd name="connsiteY8" fmla="*/ 1766612 h 1847198"/>
                <a:gd name="connsiteX9" fmla="*/ 412782 w 1857518"/>
                <a:gd name="connsiteY9" fmla="*/ 1693859 h 1847198"/>
                <a:gd name="connsiteX10" fmla="*/ 398334 w 1857518"/>
                <a:gd name="connsiteY10" fmla="*/ 1660836 h 1847198"/>
                <a:gd name="connsiteX11" fmla="*/ 440644 w 1857518"/>
                <a:gd name="connsiteY11" fmla="*/ 1494176 h 1847198"/>
                <a:gd name="connsiteX12" fmla="*/ 432904 w 1857518"/>
                <a:gd name="connsiteY12" fmla="*/ 1462185 h 1847198"/>
                <a:gd name="connsiteX13" fmla="*/ 370471 w 1857518"/>
                <a:gd name="connsiteY13" fmla="*/ 1397172 h 1847198"/>
                <a:gd name="connsiteX14" fmla="*/ 340545 w 1857518"/>
                <a:gd name="connsiteY14" fmla="*/ 1388400 h 1847198"/>
                <a:gd name="connsiteX15" fmla="*/ 310618 w 1857518"/>
                <a:gd name="connsiteY15" fmla="*/ 1395108 h 1847198"/>
                <a:gd name="connsiteX16" fmla="*/ 170273 w 1857518"/>
                <a:gd name="connsiteY16" fmla="*/ 1426583 h 1847198"/>
                <a:gd name="connsiteX17" fmla="*/ 141377 w 1857518"/>
                <a:gd name="connsiteY17" fmla="*/ 1413683 h 1847198"/>
                <a:gd name="connsiteX18" fmla="*/ 70689 w 1857518"/>
                <a:gd name="connsiteY18" fmla="*/ 1276949 h 1847198"/>
                <a:gd name="connsiteX19" fmla="*/ 75848 w 1857518"/>
                <a:gd name="connsiteY19" fmla="*/ 1247539 h 1847198"/>
                <a:gd name="connsiteX20" fmla="*/ 206391 w 1857518"/>
                <a:gd name="connsiteY20" fmla="*/ 1126284 h 1847198"/>
                <a:gd name="connsiteX21" fmla="*/ 216710 w 1857518"/>
                <a:gd name="connsiteY21" fmla="*/ 1096873 h 1847198"/>
                <a:gd name="connsiteX22" fmla="*/ 201231 w 1857518"/>
                <a:gd name="connsiteY22" fmla="*/ 1012769 h 1847198"/>
                <a:gd name="connsiteX23" fmla="*/ 181108 w 1857518"/>
                <a:gd name="connsiteY23" fmla="*/ 989034 h 1847198"/>
                <a:gd name="connsiteX24" fmla="*/ 67077 w 1857518"/>
                <a:gd name="connsiteY24" fmla="*/ 947240 h 1847198"/>
                <a:gd name="connsiteX25" fmla="*/ 0 w 1857518"/>
                <a:gd name="connsiteY25" fmla="*/ 921957 h 1847198"/>
                <a:gd name="connsiteX26" fmla="*/ 0 w 1857518"/>
                <a:gd name="connsiteY26" fmla="*/ 893062 h 1847198"/>
                <a:gd name="connsiteX27" fmla="*/ 4643 w 1857518"/>
                <a:gd name="connsiteY27" fmla="*/ 842496 h 1847198"/>
                <a:gd name="connsiteX28" fmla="*/ 17543 w 1857518"/>
                <a:gd name="connsiteY28" fmla="*/ 743945 h 1847198"/>
                <a:gd name="connsiteX29" fmla="*/ 38182 w 1857518"/>
                <a:gd name="connsiteY29" fmla="*/ 723305 h 1847198"/>
                <a:gd name="connsiteX30" fmla="*/ 214131 w 1857518"/>
                <a:gd name="connsiteY30" fmla="*/ 691315 h 1847198"/>
                <a:gd name="connsiteX31" fmla="*/ 239929 w 1857518"/>
                <a:gd name="connsiteY31" fmla="*/ 671192 h 1847198"/>
                <a:gd name="connsiteX32" fmla="*/ 266760 w 1857518"/>
                <a:gd name="connsiteY32" fmla="*/ 606695 h 1847198"/>
                <a:gd name="connsiteX33" fmla="*/ 262116 w 1857518"/>
                <a:gd name="connsiteY33" fmla="*/ 570060 h 1847198"/>
                <a:gd name="connsiteX34" fmla="*/ 159437 w 1857518"/>
                <a:gd name="connsiteY34" fmla="*/ 434874 h 1847198"/>
                <a:gd name="connsiteX35" fmla="*/ 159953 w 1857518"/>
                <a:gd name="connsiteY35" fmla="*/ 401336 h 1847198"/>
                <a:gd name="connsiteX36" fmla="*/ 259536 w 1857518"/>
                <a:gd name="connsiteY36" fmla="*/ 278017 h 1847198"/>
                <a:gd name="connsiteX37" fmla="*/ 294623 w 1857518"/>
                <a:gd name="connsiteY37" fmla="*/ 268729 h 1847198"/>
                <a:gd name="connsiteX38" fmla="*/ 457672 w 1857518"/>
                <a:gd name="connsiteY38" fmla="*/ 336322 h 1847198"/>
                <a:gd name="connsiteX39" fmla="*/ 489146 w 1857518"/>
                <a:gd name="connsiteY39" fmla="*/ 333743 h 1847198"/>
                <a:gd name="connsiteX40" fmla="*/ 540744 w 1857518"/>
                <a:gd name="connsiteY40" fmla="*/ 298140 h 1847198"/>
                <a:gd name="connsiteX41" fmla="*/ 553127 w 1857518"/>
                <a:gd name="connsiteY41" fmla="*/ 273889 h 1847198"/>
                <a:gd name="connsiteX42" fmla="*/ 552096 w 1857518"/>
                <a:gd name="connsiteY42" fmla="*/ 255830 h 1847198"/>
                <a:gd name="connsiteX43" fmla="*/ 545904 w 1857518"/>
                <a:gd name="connsiteY43" fmla="*/ 175854 h 1847198"/>
                <a:gd name="connsiteX44" fmla="*/ 539712 w 1857518"/>
                <a:gd name="connsiteY44" fmla="*/ 95877 h 1847198"/>
                <a:gd name="connsiteX45" fmla="*/ 556739 w 1857518"/>
                <a:gd name="connsiteY45" fmla="*/ 69562 h 1847198"/>
                <a:gd name="connsiteX46" fmla="*/ 716176 w 1857518"/>
                <a:gd name="connsiteY46" fmla="*/ 15901 h 1847198"/>
                <a:gd name="connsiteX47" fmla="*/ 726496 w 1857518"/>
                <a:gd name="connsiteY47" fmla="*/ 14353 h 1847198"/>
                <a:gd name="connsiteX48" fmla="*/ 748167 w 1857518"/>
                <a:gd name="connsiteY48" fmla="*/ 28800 h 1847198"/>
                <a:gd name="connsiteX49" fmla="*/ 847750 w 1857518"/>
                <a:gd name="connsiteY49" fmla="*/ 172758 h 1847198"/>
                <a:gd name="connsiteX50" fmla="*/ 878709 w 1857518"/>
                <a:gd name="connsiteY50" fmla="*/ 187721 h 1847198"/>
                <a:gd name="connsiteX51" fmla="*/ 931855 w 1857518"/>
                <a:gd name="connsiteY51" fmla="*/ 185657 h 1847198"/>
                <a:gd name="connsiteX52" fmla="*/ 948366 w 1857518"/>
                <a:gd name="connsiteY52" fmla="*/ 177401 h 1847198"/>
                <a:gd name="connsiteX53" fmla="*/ 954042 w 1857518"/>
                <a:gd name="connsiteY53" fmla="*/ 169146 h 1847198"/>
                <a:gd name="connsiteX54" fmla="*/ 979840 w 1857518"/>
                <a:gd name="connsiteY54" fmla="*/ 121676 h 1847198"/>
                <a:gd name="connsiteX55" fmla="*/ 1037630 w 1857518"/>
                <a:gd name="connsiteY55" fmla="*/ 13837 h 1847198"/>
                <a:gd name="connsiteX56" fmla="*/ 1066525 w 1857518"/>
                <a:gd name="connsiteY56" fmla="*/ 937 h 1847198"/>
                <a:gd name="connsiteX57" fmla="*/ 1233702 w 1857518"/>
                <a:gd name="connsiteY57" fmla="*/ 40667 h 1847198"/>
                <a:gd name="connsiteX58" fmla="*/ 1253309 w 1857518"/>
                <a:gd name="connsiteY58" fmla="*/ 64918 h 1847198"/>
                <a:gd name="connsiteX59" fmla="*/ 1254341 w 1857518"/>
                <a:gd name="connsiteY59" fmla="*/ 85042 h 1847198"/>
                <a:gd name="connsiteX60" fmla="*/ 1258468 w 1857518"/>
                <a:gd name="connsiteY60" fmla="*/ 209908 h 1847198"/>
                <a:gd name="connsiteX61" fmla="*/ 1260016 w 1857518"/>
                <a:gd name="connsiteY61" fmla="*/ 244478 h 1847198"/>
                <a:gd name="connsiteX62" fmla="*/ 1276012 w 1857518"/>
                <a:gd name="connsiteY62" fmla="*/ 270277 h 1847198"/>
                <a:gd name="connsiteX63" fmla="*/ 1313678 w 1857518"/>
                <a:gd name="connsiteY63" fmla="*/ 291948 h 1847198"/>
                <a:gd name="connsiteX64" fmla="*/ 1349797 w 1857518"/>
                <a:gd name="connsiteY64" fmla="*/ 291948 h 1847198"/>
                <a:gd name="connsiteX65" fmla="*/ 1502526 w 1857518"/>
                <a:gd name="connsiteY65" fmla="*/ 206812 h 1847198"/>
                <a:gd name="connsiteX66" fmla="*/ 1535033 w 1857518"/>
                <a:gd name="connsiteY66" fmla="*/ 211456 h 1847198"/>
                <a:gd name="connsiteX67" fmla="*/ 1653707 w 1857518"/>
                <a:gd name="connsiteY67" fmla="*/ 332711 h 1847198"/>
                <a:gd name="connsiteX68" fmla="*/ 1657835 w 1857518"/>
                <a:gd name="connsiteY68" fmla="*/ 366249 h 1847198"/>
                <a:gd name="connsiteX69" fmla="*/ 1569087 w 1857518"/>
                <a:gd name="connsiteY69" fmla="*/ 515883 h 1847198"/>
                <a:gd name="connsiteX70" fmla="*/ 1568571 w 1857518"/>
                <a:gd name="connsiteY70" fmla="*/ 550453 h 1847198"/>
                <a:gd name="connsiteX71" fmla="*/ 1591274 w 1857518"/>
                <a:gd name="connsiteY71" fmla="*/ 592247 h 1847198"/>
                <a:gd name="connsiteX72" fmla="*/ 1617589 w 1857518"/>
                <a:gd name="connsiteY72" fmla="*/ 608759 h 1847198"/>
                <a:gd name="connsiteX73" fmla="*/ 1676926 w 1857518"/>
                <a:gd name="connsiteY73" fmla="*/ 612886 h 1847198"/>
                <a:gd name="connsiteX74" fmla="*/ 1797665 w 1857518"/>
                <a:gd name="connsiteY74" fmla="*/ 620626 h 1847198"/>
                <a:gd name="connsiteX75" fmla="*/ 1820884 w 1857518"/>
                <a:gd name="connsiteY75" fmla="*/ 640233 h 1847198"/>
                <a:gd name="connsiteX76" fmla="*/ 1857518 w 1857518"/>
                <a:gd name="connsiteY76" fmla="*/ 808442 h 1847198"/>
                <a:gd name="connsiteX77" fmla="*/ 1851842 w 1857518"/>
                <a:gd name="connsiteY77" fmla="*/ 829081 h 1847198"/>
                <a:gd name="connsiteX78" fmla="*/ 1841523 w 1857518"/>
                <a:gd name="connsiteY78" fmla="*/ 836305 h 1847198"/>
                <a:gd name="connsiteX79" fmla="*/ 1686214 w 1857518"/>
                <a:gd name="connsiteY79" fmla="*/ 913701 h 1847198"/>
                <a:gd name="connsiteX80" fmla="*/ 1668670 w 1857518"/>
                <a:gd name="connsiteY80" fmla="*/ 940016 h 1847198"/>
                <a:gd name="connsiteX81" fmla="*/ 1665059 w 1857518"/>
                <a:gd name="connsiteY81" fmla="*/ 998322 h 1847198"/>
                <a:gd name="connsiteX82" fmla="*/ 1678474 w 1857518"/>
                <a:gd name="connsiteY82" fmla="*/ 1026184 h 1847198"/>
                <a:gd name="connsiteX83" fmla="*/ 1821916 w 1857518"/>
                <a:gd name="connsiteY83" fmla="*/ 1131960 h 1847198"/>
                <a:gd name="connsiteX84" fmla="*/ 1831720 w 1857518"/>
                <a:gd name="connsiteY84" fmla="*/ 1163950 h 1847198"/>
                <a:gd name="connsiteX85" fmla="*/ 1805404 w 1857518"/>
                <a:gd name="connsiteY85" fmla="*/ 1236703 h 1847198"/>
                <a:gd name="connsiteX86" fmla="*/ 1775478 w 1857518"/>
                <a:gd name="connsiteY86" fmla="*/ 1317711 h 1847198"/>
                <a:gd name="connsiteX87" fmla="*/ 1750195 w 1857518"/>
                <a:gd name="connsiteY87" fmla="*/ 1334223 h 1847198"/>
                <a:gd name="connsiteX88" fmla="*/ 1685698 w 1857518"/>
                <a:gd name="connsiteY88" fmla="*/ 1327515 h 1847198"/>
                <a:gd name="connsiteX89" fmla="*/ 1574247 w 1857518"/>
                <a:gd name="connsiteY89" fmla="*/ 1315648 h 1847198"/>
                <a:gd name="connsiteX90" fmla="*/ 1545868 w 1857518"/>
                <a:gd name="connsiteY90" fmla="*/ 1328547 h 1847198"/>
                <a:gd name="connsiteX91" fmla="*/ 1505622 w 1857518"/>
                <a:gd name="connsiteY91" fmla="*/ 1383241 h 1847198"/>
                <a:gd name="connsiteX92" fmla="*/ 1500978 w 1857518"/>
                <a:gd name="connsiteY92" fmla="*/ 1417811 h 1847198"/>
                <a:gd name="connsiteX93" fmla="*/ 1563411 w 1857518"/>
                <a:gd name="connsiteY93" fmla="*/ 1581892 h 1847198"/>
                <a:gd name="connsiteX94" fmla="*/ 1554124 w 1857518"/>
                <a:gd name="connsiteY94" fmla="*/ 1615430 h 1847198"/>
                <a:gd name="connsiteX95" fmla="*/ 1430805 w 1857518"/>
                <a:gd name="connsiteY95" fmla="*/ 1708822 h 1847198"/>
                <a:gd name="connsiteX96" fmla="*/ 1397266 w 1857518"/>
                <a:gd name="connsiteY96" fmla="*/ 1708306 h 1847198"/>
                <a:gd name="connsiteX97" fmla="*/ 1263628 w 1857518"/>
                <a:gd name="connsiteY97" fmla="*/ 1600467 h 1847198"/>
                <a:gd name="connsiteX98" fmla="*/ 1232154 w 1857518"/>
                <a:gd name="connsiteY98" fmla="*/ 1594275 h 1847198"/>
                <a:gd name="connsiteX99" fmla="*/ 1153725 w 1857518"/>
                <a:gd name="connsiteY99" fmla="*/ 1624202 h 1847198"/>
                <a:gd name="connsiteX100" fmla="*/ 1134634 w 1857518"/>
                <a:gd name="connsiteY100" fmla="*/ 1646905 h 1847198"/>
                <a:gd name="connsiteX101" fmla="*/ 1123798 w 1857518"/>
                <a:gd name="connsiteY101" fmla="*/ 1698503 h 1847198"/>
                <a:gd name="connsiteX102" fmla="*/ 1097999 w 1857518"/>
                <a:gd name="connsiteY102" fmla="*/ 1821821 h 1847198"/>
                <a:gd name="connsiteX103" fmla="*/ 1076329 w 1857518"/>
                <a:gd name="connsiteY103" fmla="*/ 1842460 h 1847198"/>
                <a:gd name="connsiteX104" fmla="*/ 994288 w 1857518"/>
                <a:gd name="connsiteY104" fmla="*/ 1851232 h 1847198"/>
                <a:gd name="connsiteX105" fmla="*/ 959201 w 1857518"/>
                <a:gd name="connsiteY105" fmla="*/ 1852264 h 1847198"/>
                <a:gd name="connsiteX106" fmla="*/ 928759 w 1857518"/>
                <a:gd name="connsiteY106" fmla="*/ 382245 h 1847198"/>
                <a:gd name="connsiteX107" fmla="*/ 386983 w 1857518"/>
                <a:gd name="connsiteY107" fmla="*/ 921957 h 1847198"/>
                <a:gd name="connsiteX108" fmla="*/ 926695 w 1857518"/>
                <a:gd name="connsiteY108" fmla="*/ 1465797 h 1847198"/>
                <a:gd name="connsiteX109" fmla="*/ 1470535 w 1857518"/>
                <a:gd name="connsiteY109" fmla="*/ 924537 h 1847198"/>
                <a:gd name="connsiteX110" fmla="*/ 928759 w 1857518"/>
                <a:gd name="connsiteY110" fmla="*/ 382245 h 1847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857518" h="1847198">
                  <a:moveTo>
                    <a:pt x="959201" y="1852264"/>
                  </a:moveTo>
                  <a:cubicBezTo>
                    <a:pt x="943206" y="1852264"/>
                    <a:pt x="927211" y="1852264"/>
                    <a:pt x="910700" y="1852264"/>
                  </a:cubicBezTo>
                  <a:cubicBezTo>
                    <a:pt x="900380" y="1848652"/>
                    <a:pt x="894704" y="1840913"/>
                    <a:pt x="891608" y="1830593"/>
                  </a:cubicBezTo>
                  <a:cubicBezTo>
                    <a:pt x="874065" y="1776931"/>
                    <a:pt x="856006" y="1723270"/>
                    <a:pt x="838463" y="1669608"/>
                  </a:cubicBezTo>
                  <a:cubicBezTo>
                    <a:pt x="834335" y="1657224"/>
                    <a:pt x="826080" y="1649485"/>
                    <a:pt x="813180" y="1646905"/>
                  </a:cubicBezTo>
                  <a:cubicBezTo>
                    <a:pt x="785833" y="1640713"/>
                    <a:pt x="757970" y="1635037"/>
                    <a:pt x="730624" y="1628330"/>
                  </a:cubicBezTo>
                  <a:cubicBezTo>
                    <a:pt x="716176" y="1624718"/>
                    <a:pt x="704309" y="1628330"/>
                    <a:pt x="693990" y="1639165"/>
                  </a:cubicBezTo>
                  <a:cubicBezTo>
                    <a:pt x="654259" y="1680443"/>
                    <a:pt x="613497" y="1720690"/>
                    <a:pt x="573251" y="1761452"/>
                  </a:cubicBezTo>
                  <a:cubicBezTo>
                    <a:pt x="563963" y="1770739"/>
                    <a:pt x="553127" y="1772804"/>
                    <a:pt x="542292" y="1766612"/>
                  </a:cubicBezTo>
                  <a:cubicBezTo>
                    <a:pt x="498950" y="1742361"/>
                    <a:pt x="456123" y="1718110"/>
                    <a:pt x="412782" y="1693859"/>
                  </a:cubicBezTo>
                  <a:cubicBezTo>
                    <a:pt x="397818" y="1685603"/>
                    <a:pt x="394206" y="1676832"/>
                    <a:pt x="398334" y="1660836"/>
                  </a:cubicBezTo>
                  <a:cubicBezTo>
                    <a:pt x="412265" y="1605111"/>
                    <a:pt x="426713" y="1549901"/>
                    <a:pt x="440644" y="1494176"/>
                  </a:cubicBezTo>
                  <a:cubicBezTo>
                    <a:pt x="443741" y="1482308"/>
                    <a:pt x="441676" y="1471473"/>
                    <a:pt x="432904" y="1462185"/>
                  </a:cubicBezTo>
                  <a:cubicBezTo>
                    <a:pt x="412265" y="1440514"/>
                    <a:pt x="391110" y="1418843"/>
                    <a:pt x="370471" y="1397172"/>
                  </a:cubicBezTo>
                  <a:cubicBezTo>
                    <a:pt x="362216" y="1388400"/>
                    <a:pt x="351896" y="1385820"/>
                    <a:pt x="340545" y="1388400"/>
                  </a:cubicBezTo>
                  <a:cubicBezTo>
                    <a:pt x="330226" y="1390464"/>
                    <a:pt x="320422" y="1393044"/>
                    <a:pt x="310618" y="1395108"/>
                  </a:cubicBezTo>
                  <a:cubicBezTo>
                    <a:pt x="263664" y="1405428"/>
                    <a:pt x="217226" y="1416263"/>
                    <a:pt x="170273" y="1426583"/>
                  </a:cubicBezTo>
                  <a:cubicBezTo>
                    <a:pt x="157373" y="1429679"/>
                    <a:pt x="147054" y="1425035"/>
                    <a:pt x="141377" y="1413683"/>
                  </a:cubicBezTo>
                  <a:cubicBezTo>
                    <a:pt x="117642" y="1368277"/>
                    <a:pt x="94423" y="1322355"/>
                    <a:pt x="70689" y="1276949"/>
                  </a:cubicBezTo>
                  <a:cubicBezTo>
                    <a:pt x="65529" y="1266630"/>
                    <a:pt x="67593" y="1255278"/>
                    <a:pt x="75848" y="1247539"/>
                  </a:cubicBezTo>
                  <a:cubicBezTo>
                    <a:pt x="119191" y="1207292"/>
                    <a:pt x="163049" y="1166530"/>
                    <a:pt x="206391" y="1126284"/>
                  </a:cubicBezTo>
                  <a:cubicBezTo>
                    <a:pt x="215162" y="1118544"/>
                    <a:pt x="218258" y="1108225"/>
                    <a:pt x="216710" y="1096873"/>
                  </a:cubicBezTo>
                  <a:cubicBezTo>
                    <a:pt x="211551" y="1069010"/>
                    <a:pt x="206391" y="1040631"/>
                    <a:pt x="201231" y="1012769"/>
                  </a:cubicBezTo>
                  <a:cubicBezTo>
                    <a:pt x="199167" y="1000901"/>
                    <a:pt x="192459" y="993162"/>
                    <a:pt x="181108" y="989034"/>
                  </a:cubicBezTo>
                  <a:cubicBezTo>
                    <a:pt x="142925" y="975103"/>
                    <a:pt x="104743" y="961171"/>
                    <a:pt x="67077" y="947240"/>
                  </a:cubicBezTo>
                  <a:cubicBezTo>
                    <a:pt x="44890" y="938984"/>
                    <a:pt x="22187" y="931760"/>
                    <a:pt x="0" y="921957"/>
                  </a:cubicBezTo>
                  <a:cubicBezTo>
                    <a:pt x="0" y="912153"/>
                    <a:pt x="0" y="902866"/>
                    <a:pt x="0" y="893062"/>
                  </a:cubicBezTo>
                  <a:cubicBezTo>
                    <a:pt x="1548" y="876035"/>
                    <a:pt x="3096" y="859524"/>
                    <a:pt x="4643" y="842496"/>
                  </a:cubicBezTo>
                  <a:cubicBezTo>
                    <a:pt x="7740" y="809474"/>
                    <a:pt x="12383" y="776451"/>
                    <a:pt x="17543" y="743945"/>
                  </a:cubicBezTo>
                  <a:cubicBezTo>
                    <a:pt x="19091" y="733109"/>
                    <a:pt x="26831" y="725369"/>
                    <a:pt x="38182" y="723305"/>
                  </a:cubicBezTo>
                  <a:cubicBezTo>
                    <a:pt x="97003" y="712470"/>
                    <a:pt x="155309" y="702150"/>
                    <a:pt x="214131" y="691315"/>
                  </a:cubicBezTo>
                  <a:cubicBezTo>
                    <a:pt x="226514" y="689251"/>
                    <a:pt x="234770" y="682543"/>
                    <a:pt x="239929" y="671192"/>
                  </a:cubicBezTo>
                  <a:cubicBezTo>
                    <a:pt x="248701" y="649521"/>
                    <a:pt x="257989" y="627850"/>
                    <a:pt x="266760" y="606695"/>
                  </a:cubicBezTo>
                  <a:cubicBezTo>
                    <a:pt x="272436" y="593279"/>
                    <a:pt x="270888" y="581928"/>
                    <a:pt x="262116" y="570060"/>
                  </a:cubicBezTo>
                  <a:cubicBezTo>
                    <a:pt x="227546" y="525170"/>
                    <a:pt x="193492" y="479764"/>
                    <a:pt x="159437" y="434874"/>
                  </a:cubicBezTo>
                  <a:cubicBezTo>
                    <a:pt x="150665" y="423007"/>
                    <a:pt x="150665" y="412687"/>
                    <a:pt x="159953" y="401336"/>
                  </a:cubicBezTo>
                  <a:cubicBezTo>
                    <a:pt x="192975" y="360058"/>
                    <a:pt x="225998" y="319295"/>
                    <a:pt x="259536" y="278017"/>
                  </a:cubicBezTo>
                  <a:cubicBezTo>
                    <a:pt x="270372" y="265118"/>
                    <a:pt x="279144" y="262538"/>
                    <a:pt x="294623" y="268729"/>
                  </a:cubicBezTo>
                  <a:cubicBezTo>
                    <a:pt x="348801" y="291433"/>
                    <a:pt x="402978" y="313620"/>
                    <a:pt x="457672" y="336322"/>
                  </a:cubicBezTo>
                  <a:cubicBezTo>
                    <a:pt x="468507" y="340966"/>
                    <a:pt x="479342" y="340450"/>
                    <a:pt x="489146" y="333743"/>
                  </a:cubicBezTo>
                  <a:cubicBezTo>
                    <a:pt x="506690" y="321875"/>
                    <a:pt x="523717" y="310008"/>
                    <a:pt x="540744" y="298140"/>
                  </a:cubicBezTo>
                  <a:cubicBezTo>
                    <a:pt x="548999" y="292464"/>
                    <a:pt x="553127" y="284209"/>
                    <a:pt x="553127" y="273889"/>
                  </a:cubicBezTo>
                  <a:cubicBezTo>
                    <a:pt x="553127" y="267697"/>
                    <a:pt x="552612" y="261506"/>
                    <a:pt x="552096" y="255830"/>
                  </a:cubicBezTo>
                  <a:cubicBezTo>
                    <a:pt x="550032" y="228999"/>
                    <a:pt x="547968" y="202684"/>
                    <a:pt x="545904" y="175854"/>
                  </a:cubicBezTo>
                  <a:cubicBezTo>
                    <a:pt x="543840" y="149023"/>
                    <a:pt x="541776" y="122708"/>
                    <a:pt x="539712" y="95877"/>
                  </a:cubicBezTo>
                  <a:cubicBezTo>
                    <a:pt x="538680" y="83493"/>
                    <a:pt x="544872" y="73690"/>
                    <a:pt x="556739" y="69562"/>
                  </a:cubicBezTo>
                  <a:cubicBezTo>
                    <a:pt x="609885" y="51503"/>
                    <a:pt x="663031" y="33444"/>
                    <a:pt x="716176" y="15901"/>
                  </a:cubicBezTo>
                  <a:cubicBezTo>
                    <a:pt x="719788" y="14869"/>
                    <a:pt x="722884" y="14353"/>
                    <a:pt x="726496" y="14353"/>
                  </a:cubicBezTo>
                  <a:cubicBezTo>
                    <a:pt x="736299" y="14869"/>
                    <a:pt x="742491" y="21060"/>
                    <a:pt x="748167" y="28800"/>
                  </a:cubicBezTo>
                  <a:cubicBezTo>
                    <a:pt x="781189" y="76786"/>
                    <a:pt x="814728" y="124772"/>
                    <a:pt x="847750" y="172758"/>
                  </a:cubicBezTo>
                  <a:cubicBezTo>
                    <a:pt x="855490" y="183593"/>
                    <a:pt x="865810" y="188753"/>
                    <a:pt x="878709" y="187721"/>
                  </a:cubicBezTo>
                  <a:cubicBezTo>
                    <a:pt x="896252" y="186173"/>
                    <a:pt x="914312" y="185657"/>
                    <a:pt x="931855" y="185657"/>
                  </a:cubicBezTo>
                  <a:cubicBezTo>
                    <a:pt x="939079" y="185657"/>
                    <a:pt x="944239" y="183077"/>
                    <a:pt x="948366" y="177401"/>
                  </a:cubicBezTo>
                  <a:cubicBezTo>
                    <a:pt x="950430" y="174822"/>
                    <a:pt x="952494" y="171726"/>
                    <a:pt x="954042" y="169146"/>
                  </a:cubicBezTo>
                  <a:cubicBezTo>
                    <a:pt x="962814" y="153150"/>
                    <a:pt x="971069" y="137155"/>
                    <a:pt x="979840" y="121676"/>
                  </a:cubicBezTo>
                  <a:cubicBezTo>
                    <a:pt x="998932" y="85558"/>
                    <a:pt x="1018539" y="49955"/>
                    <a:pt x="1037630" y="13837"/>
                  </a:cubicBezTo>
                  <a:cubicBezTo>
                    <a:pt x="1043822" y="2485"/>
                    <a:pt x="1053626" y="-2159"/>
                    <a:pt x="1066525" y="937"/>
                  </a:cubicBezTo>
                  <a:cubicBezTo>
                    <a:pt x="1122251" y="14353"/>
                    <a:pt x="1177976" y="27252"/>
                    <a:pt x="1233702" y="40667"/>
                  </a:cubicBezTo>
                  <a:cubicBezTo>
                    <a:pt x="1245569" y="43763"/>
                    <a:pt x="1252793" y="52535"/>
                    <a:pt x="1253309" y="64918"/>
                  </a:cubicBezTo>
                  <a:cubicBezTo>
                    <a:pt x="1253825" y="71626"/>
                    <a:pt x="1253825" y="78334"/>
                    <a:pt x="1254341" y="85042"/>
                  </a:cubicBezTo>
                  <a:cubicBezTo>
                    <a:pt x="1255888" y="126836"/>
                    <a:pt x="1256921" y="168630"/>
                    <a:pt x="1258468" y="209908"/>
                  </a:cubicBezTo>
                  <a:cubicBezTo>
                    <a:pt x="1258985" y="221260"/>
                    <a:pt x="1259501" y="233127"/>
                    <a:pt x="1260016" y="244478"/>
                  </a:cubicBezTo>
                  <a:cubicBezTo>
                    <a:pt x="1260532" y="255830"/>
                    <a:pt x="1266208" y="264602"/>
                    <a:pt x="1276012" y="270277"/>
                  </a:cubicBezTo>
                  <a:cubicBezTo>
                    <a:pt x="1288395" y="277501"/>
                    <a:pt x="1301295" y="284209"/>
                    <a:pt x="1313678" y="291948"/>
                  </a:cubicBezTo>
                  <a:cubicBezTo>
                    <a:pt x="1326062" y="299172"/>
                    <a:pt x="1337413" y="298656"/>
                    <a:pt x="1349797" y="291948"/>
                  </a:cubicBezTo>
                  <a:cubicBezTo>
                    <a:pt x="1400879" y="263570"/>
                    <a:pt x="1451444" y="235191"/>
                    <a:pt x="1502526" y="206812"/>
                  </a:cubicBezTo>
                  <a:cubicBezTo>
                    <a:pt x="1514394" y="200105"/>
                    <a:pt x="1525745" y="202168"/>
                    <a:pt x="1535033" y="211456"/>
                  </a:cubicBezTo>
                  <a:cubicBezTo>
                    <a:pt x="1574763" y="251702"/>
                    <a:pt x="1613977" y="292464"/>
                    <a:pt x="1653707" y="332711"/>
                  </a:cubicBezTo>
                  <a:cubicBezTo>
                    <a:pt x="1664027" y="343546"/>
                    <a:pt x="1665575" y="353350"/>
                    <a:pt x="1657835" y="366249"/>
                  </a:cubicBezTo>
                  <a:cubicBezTo>
                    <a:pt x="1628424" y="416299"/>
                    <a:pt x="1598497" y="465833"/>
                    <a:pt x="1569087" y="515883"/>
                  </a:cubicBezTo>
                  <a:cubicBezTo>
                    <a:pt x="1562379" y="527234"/>
                    <a:pt x="1561863" y="539102"/>
                    <a:pt x="1568571" y="550453"/>
                  </a:cubicBezTo>
                  <a:cubicBezTo>
                    <a:pt x="1576311" y="564384"/>
                    <a:pt x="1583534" y="578316"/>
                    <a:pt x="1591274" y="592247"/>
                  </a:cubicBezTo>
                  <a:cubicBezTo>
                    <a:pt x="1596950" y="602567"/>
                    <a:pt x="1605721" y="608243"/>
                    <a:pt x="1617589" y="608759"/>
                  </a:cubicBezTo>
                  <a:cubicBezTo>
                    <a:pt x="1637196" y="610307"/>
                    <a:pt x="1657319" y="611339"/>
                    <a:pt x="1676926" y="612886"/>
                  </a:cubicBezTo>
                  <a:cubicBezTo>
                    <a:pt x="1717172" y="615466"/>
                    <a:pt x="1757419" y="618046"/>
                    <a:pt x="1797665" y="620626"/>
                  </a:cubicBezTo>
                  <a:cubicBezTo>
                    <a:pt x="1809016" y="621142"/>
                    <a:pt x="1818304" y="628882"/>
                    <a:pt x="1820884" y="640233"/>
                  </a:cubicBezTo>
                  <a:cubicBezTo>
                    <a:pt x="1833267" y="695959"/>
                    <a:pt x="1845135" y="752200"/>
                    <a:pt x="1857518" y="808442"/>
                  </a:cubicBezTo>
                  <a:cubicBezTo>
                    <a:pt x="1859066" y="816181"/>
                    <a:pt x="1857002" y="822889"/>
                    <a:pt x="1851842" y="829081"/>
                  </a:cubicBezTo>
                  <a:cubicBezTo>
                    <a:pt x="1849262" y="832177"/>
                    <a:pt x="1845135" y="834241"/>
                    <a:pt x="1841523" y="836305"/>
                  </a:cubicBezTo>
                  <a:cubicBezTo>
                    <a:pt x="1789925" y="862103"/>
                    <a:pt x="1738327" y="887902"/>
                    <a:pt x="1686214" y="913701"/>
                  </a:cubicBezTo>
                  <a:cubicBezTo>
                    <a:pt x="1675378" y="919377"/>
                    <a:pt x="1669187" y="927633"/>
                    <a:pt x="1668670" y="940016"/>
                  </a:cubicBezTo>
                  <a:cubicBezTo>
                    <a:pt x="1667639" y="959623"/>
                    <a:pt x="1666090" y="978714"/>
                    <a:pt x="1665059" y="998322"/>
                  </a:cubicBezTo>
                  <a:cubicBezTo>
                    <a:pt x="1664543" y="1009673"/>
                    <a:pt x="1668670" y="1019477"/>
                    <a:pt x="1678474" y="1026184"/>
                  </a:cubicBezTo>
                  <a:cubicBezTo>
                    <a:pt x="1726460" y="1061271"/>
                    <a:pt x="1773930" y="1096873"/>
                    <a:pt x="1821916" y="1131960"/>
                  </a:cubicBezTo>
                  <a:cubicBezTo>
                    <a:pt x="1833267" y="1140215"/>
                    <a:pt x="1836879" y="1150535"/>
                    <a:pt x="1831720" y="1163950"/>
                  </a:cubicBezTo>
                  <a:cubicBezTo>
                    <a:pt x="1822948" y="1188201"/>
                    <a:pt x="1814176" y="1212452"/>
                    <a:pt x="1805404" y="1236703"/>
                  </a:cubicBezTo>
                  <a:cubicBezTo>
                    <a:pt x="1795601" y="1263534"/>
                    <a:pt x="1785798" y="1290881"/>
                    <a:pt x="1775478" y="1317711"/>
                  </a:cubicBezTo>
                  <a:cubicBezTo>
                    <a:pt x="1771350" y="1329063"/>
                    <a:pt x="1761546" y="1335255"/>
                    <a:pt x="1750195" y="1334223"/>
                  </a:cubicBezTo>
                  <a:cubicBezTo>
                    <a:pt x="1728524" y="1332159"/>
                    <a:pt x="1707369" y="1329579"/>
                    <a:pt x="1685698" y="1327515"/>
                  </a:cubicBezTo>
                  <a:cubicBezTo>
                    <a:pt x="1648548" y="1323387"/>
                    <a:pt x="1611397" y="1319259"/>
                    <a:pt x="1574247" y="1315648"/>
                  </a:cubicBezTo>
                  <a:cubicBezTo>
                    <a:pt x="1562379" y="1314616"/>
                    <a:pt x="1553092" y="1318743"/>
                    <a:pt x="1545868" y="1328547"/>
                  </a:cubicBezTo>
                  <a:cubicBezTo>
                    <a:pt x="1532453" y="1346606"/>
                    <a:pt x="1519553" y="1365181"/>
                    <a:pt x="1505622" y="1383241"/>
                  </a:cubicBezTo>
                  <a:cubicBezTo>
                    <a:pt x="1497366" y="1394076"/>
                    <a:pt x="1496334" y="1405428"/>
                    <a:pt x="1500978" y="1417811"/>
                  </a:cubicBezTo>
                  <a:cubicBezTo>
                    <a:pt x="1521617" y="1472505"/>
                    <a:pt x="1542772" y="1527198"/>
                    <a:pt x="1563411" y="1581892"/>
                  </a:cubicBezTo>
                  <a:cubicBezTo>
                    <a:pt x="1569087" y="1596339"/>
                    <a:pt x="1565991" y="1606143"/>
                    <a:pt x="1554124" y="1615430"/>
                  </a:cubicBezTo>
                  <a:cubicBezTo>
                    <a:pt x="1512845" y="1646389"/>
                    <a:pt x="1472083" y="1677864"/>
                    <a:pt x="1430805" y="1708822"/>
                  </a:cubicBezTo>
                  <a:cubicBezTo>
                    <a:pt x="1418938" y="1717594"/>
                    <a:pt x="1408618" y="1717594"/>
                    <a:pt x="1397266" y="1708306"/>
                  </a:cubicBezTo>
                  <a:cubicBezTo>
                    <a:pt x="1352892" y="1672704"/>
                    <a:pt x="1308003" y="1636585"/>
                    <a:pt x="1263628" y="1600467"/>
                  </a:cubicBezTo>
                  <a:cubicBezTo>
                    <a:pt x="1253825" y="1592727"/>
                    <a:pt x="1243505" y="1590147"/>
                    <a:pt x="1232154" y="1594275"/>
                  </a:cubicBezTo>
                  <a:cubicBezTo>
                    <a:pt x="1205839" y="1604079"/>
                    <a:pt x="1179524" y="1613883"/>
                    <a:pt x="1153725" y="1624202"/>
                  </a:cubicBezTo>
                  <a:cubicBezTo>
                    <a:pt x="1143406" y="1628330"/>
                    <a:pt x="1137214" y="1636070"/>
                    <a:pt x="1134634" y="1646905"/>
                  </a:cubicBezTo>
                  <a:cubicBezTo>
                    <a:pt x="1131022" y="1663932"/>
                    <a:pt x="1127411" y="1681475"/>
                    <a:pt x="1123798" y="1698503"/>
                  </a:cubicBezTo>
                  <a:cubicBezTo>
                    <a:pt x="1115027" y="1739781"/>
                    <a:pt x="1106771" y="1780543"/>
                    <a:pt x="1097999" y="1821821"/>
                  </a:cubicBezTo>
                  <a:cubicBezTo>
                    <a:pt x="1095420" y="1833689"/>
                    <a:pt x="1088196" y="1840913"/>
                    <a:pt x="1076329" y="1842460"/>
                  </a:cubicBezTo>
                  <a:cubicBezTo>
                    <a:pt x="1048982" y="1846072"/>
                    <a:pt x="1021635" y="1848652"/>
                    <a:pt x="994288" y="1851232"/>
                  </a:cubicBezTo>
                  <a:cubicBezTo>
                    <a:pt x="980873" y="1850200"/>
                    <a:pt x="970037" y="1851232"/>
                    <a:pt x="959201" y="1852264"/>
                  </a:cubicBezTo>
                  <a:close/>
                  <a:moveTo>
                    <a:pt x="928759" y="382245"/>
                  </a:moveTo>
                  <a:cubicBezTo>
                    <a:pt x="633620" y="381729"/>
                    <a:pt x="388015" y="619594"/>
                    <a:pt x="386983" y="921957"/>
                  </a:cubicBezTo>
                  <a:cubicBezTo>
                    <a:pt x="385951" y="1222772"/>
                    <a:pt x="627428" y="1464765"/>
                    <a:pt x="926695" y="1465797"/>
                  </a:cubicBezTo>
                  <a:cubicBezTo>
                    <a:pt x="1229058" y="1466829"/>
                    <a:pt x="1470019" y="1222772"/>
                    <a:pt x="1470535" y="924537"/>
                  </a:cubicBezTo>
                  <a:cubicBezTo>
                    <a:pt x="1470535" y="625270"/>
                    <a:pt x="1228026" y="381729"/>
                    <a:pt x="928759" y="382245"/>
                  </a:cubicBezTo>
                  <a:close/>
                </a:path>
              </a:pathLst>
            </a:custGeom>
            <a:grpFill/>
            <a:ln w="515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77478775-9720-4065-9D9F-0A2FCB97F2F0}"/>
                </a:ext>
              </a:extLst>
            </p:cNvPr>
            <p:cNvSpPr/>
            <p:nvPr/>
          </p:nvSpPr>
          <p:spPr>
            <a:xfrm>
              <a:off x="4032637" y="2622975"/>
              <a:ext cx="1051669" cy="1070562"/>
            </a:xfrm>
            <a:custGeom>
              <a:avLst/>
              <a:gdLst>
                <a:gd name="connsiteX0" fmla="*/ 879664 w 1723364"/>
                <a:gd name="connsiteY0" fmla="*/ 267 h 1754322"/>
                <a:gd name="connsiteX1" fmla="*/ 964801 w 1723364"/>
                <a:gd name="connsiteY1" fmla="*/ 5943 h 1754322"/>
                <a:gd name="connsiteX2" fmla="*/ 979248 w 1723364"/>
                <a:gd name="connsiteY2" fmla="*/ 18843 h 1754322"/>
                <a:gd name="connsiteX3" fmla="*/ 977700 w 1723364"/>
                <a:gd name="connsiteY3" fmla="*/ 158673 h 1754322"/>
                <a:gd name="connsiteX4" fmla="*/ 968928 w 1723364"/>
                <a:gd name="connsiteY4" fmla="*/ 213366 h 1754322"/>
                <a:gd name="connsiteX5" fmla="*/ 979764 w 1723364"/>
                <a:gd name="connsiteY5" fmla="*/ 229877 h 1754322"/>
                <a:gd name="connsiteX6" fmla="*/ 1149520 w 1723364"/>
                <a:gd name="connsiteY6" fmla="*/ 285087 h 1754322"/>
                <a:gd name="connsiteX7" fmla="*/ 1166548 w 1723364"/>
                <a:gd name="connsiteY7" fmla="*/ 278379 h 1754322"/>
                <a:gd name="connsiteX8" fmla="*/ 1210406 w 1723364"/>
                <a:gd name="connsiteY8" fmla="*/ 190663 h 1754322"/>
                <a:gd name="connsiteX9" fmla="*/ 1263035 w 1723364"/>
                <a:gd name="connsiteY9" fmla="*/ 123070 h 1754322"/>
                <a:gd name="connsiteX10" fmla="*/ 1304314 w 1723364"/>
                <a:gd name="connsiteY10" fmla="*/ 119458 h 1754322"/>
                <a:gd name="connsiteX11" fmla="*/ 1458075 w 1723364"/>
                <a:gd name="connsiteY11" fmla="*/ 231941 h 1754322"/>
                <a:gd name="connsiteX12" fmla="*/ 1462203 w 1723364"/>
                <a:gd name="connsiteY12" fmla="*/ 251549 h 1754322"/>
                <a:gd name="connsiteX13" fmla="*/ 1461171 w 1723364"/>
                <a:gd name="connsiteY13" fmla="*/ 254128 h 1754322"/>
                <a:gd name="connsiteX14" fmla="*/ 1396158 w 1723364"/>
                <a:gd name="connsiteY14" fmla="*/ 347004 h 1754322"/>
                <a:gd name="connsiteX15" fmla="*/ 1337336 w 1723364"/>
                <a:gd name="connsiteY15" fmla="*/ 404794 h 1754322"/>
                <a:gd name="connsiteX16" fmla="*/ 1336304 w 1723364"/>
                <a:gd name="connsiteY16" fmla="*/ 419757 h 1754322"/>
                <a:gd name="connsiteX17" fmla="*/ 1369327 w 1723364"/>
                <a:gd name="connsiteY17" fmla="*/ 457939 h 1754322"/>
                <a:gd name="connsiteX18" fmla="*/ 1442596 w 1723364"/>
                <a:gd name="connsiteY18" fmla="*/ 565263 h 1754322"/>
                <a:gd name="connsiteX19" fmla="*/ 1462719 w 1723364"/>
                <a:gd name="connsiteY19" fmla="*/ 570938 h 1754322"/>
                <a:gd name="connsiteX20" fmla="*/ 1573138 w 1723364"/>
                <a:gd name="connsiteY20" fmla="*/ 514697 h 1754322"/>
                <a:gd name="connsiteX21" fmla="*/ 1650018 w 1723364"/>
                <a:gd name="connsiteY21" fmla="*/ 501281 h 1754322"/>
                <a:gd name="connsiteX22" fmla="*/ 1659822 w 1723364"/>
                <a:gd name="connsiteY22" fmla="*/ 509537 h 1754322"/>
                <a:gd name="connsiteX23" fmla="*/ 1724835 w 1723364"/>
                <a:gd name="connsiteY23" fmla="*/ 709220 h 1754322"/>
                <a:gd name="connsiteX24" fmla="*/ 1717611 w 1723364"/>
                <a:gd name="connsiteY24" fmla="*/ 723668 h 1754322"/>
                <a:gd name="connsiteX25" fmla="*/ 1671173 w 1723364"/>
                <a:gd name="connsiteY25" fmla="*/ 748950 h 1754322"/>
                <a:gd name="connsiteX26" fmla="*/ 1618544 w 1723364"/>
                <a:gd name="connsiteY26" fmla="*/ 760302 h 1754322"/>
                <a:gd name="connsiteX27" fmla="*/ 1529280 w 1723364"/>
                <a:gd name="connsiteY27" fmla="*/ 774234 h 1754322"/>
                <a:gd name="connsiteX28" fmla="*/ 1515349 w 1723364"/>
                <a:gd name="connsiteY28" fmla="*/ 791777 h 1754322"/>
                <a:gd name="connsiteX29" fmla="*/ 1521024 w 1723364"/>
                <a:gd name="connsiteY29" fmla="*/ 857306 h 1754322"/>
                <a:gd name="connsiteX30" fmla="*/ 1516380 w 1723364"/>
                <a:gd name="connsiteY30" fmla="*/ 953794 h 1754322"/>
                <a:gd name="connsiteX31" fmla="*/ 1538567 w 1723364"/>
                <a:gd name="connsiteY31" fmla="*/ 983720 h 1754322"/>
                <a:gd name="connsiteX32" fmla="*/ 1653114 w 1723364"/>
                <a:gd name="connsiteY32" fmla="*/ 1001779 h 1754322"/>
                <a:gd name="connsiteX33" fmla="*/ 1700584 w 1723364"/>
                <a:gd name="connsiteY33" fmla="*/ 1024483 h 1754322"/>
                <a:gd name="connsiteX34" fmla="*/ 1719675 w 1723364"/>
                <a:gd name="connsiteY34" fmla="*/ 1067825 h 1754322"/>
                <a:gd name="connsiteX35" fmla="*/ 1661370 w 1723364"/>
                <a:gd name="connsiteY35" fmla="*/ 1243773 h 1754322"/>
                <a:gd name="connsiteX36" fmla="*/ 1641763 w 1723364"/>
                <a:gd name="connsiteY36" fmla="*/ 1255124 h 1754322"/>
                <a:gd name="connsiteX37" fmla="*/ 1541663 w 1723364"/>
                <a:gd name="connsiteY37" fmla="*/ 1226230 h 1754322"/>
                <a:gd name="connsiteX38" fmla="*/ 1461687 w 1723364"/>
                <a:gd name="connsiteY38" fmla="*/ 1184436 h 1754322"/>
                <a:gd name="connsiteX39" fmla="*/ 1444143 w 1723364"/>
                <a:gd name="connsiteY39" fmla="*/ 1189079 h 1754322"/>
                <a:gd name="connsiteX40" fmla="*/ 1339400 w 1723364"/>
                <a:gd name="connsiteY40" fmla="*/ 1333553 h 1754322"/>
                <a:gd name="connsiteX41" fmla="*/ 1339916 w 1723364"/>
                <a:gd name="connsiteY41" fmla="*/ 1353160 h 1754322"/>
                <a:gd name="connsiteX42" fmla="*/ 1430212 w 1723364"/>
                <a:gd name="connsiteY42" fmla="*/ 1443456 h 1754322"/>
                <a:gd name="connsiteX43" fmla="*/ 1465814 w 1723364"/>
                <a:gd name="connsiteY43" fmla="*/ 1511565 h 1754322"/>
                <a:gd name="connsiteX44" fmla="*/ 1461171 w 1723364"/>
                <a:gd name="connsiteY44" fmla="*/ 1521369 h 1754322"/>
                <a:gd name="connsiteX45" fmla="*/ 1290382 w 1723364"/>
                <a:gd name="connsiteY45" fmla="*/ 1645203 h 1754322"/>
                <a:gd name="connsiteX46" fmla="*/ 1275419 w 1723364"/>
                <a:gd name="connsiteY46" fmla="*/ 1643655 h 1754322"/>
                <a:gd name="connsiteX47" fmla="*/ 1207310 w 1723364"/>
                <a:gd name="connsiteY47" fmla="*/ 1558003 h 1754322"/>
                <a:gd name="connsiteX48" fmla="*/ 1167064 w 1723364"/>
                <a:gd name="connsiteY48" fmla="*/ 1477511 h 1754322"/>
                <a:gd name="connsiteX49" fmla="*/ 1150036 w 1723364"/>
                <a:gd name="connsiteY49" fmla="*/ 1470803 h 1754322"/>
                <a:gd name="connsiteX50" fmla="*/ 981312 w 1723364"/>
                <a:gd name="connsiteY50" fmla="*/ 1526013 h 1754322"/>
                <a:gd name="connsiteX51" fmla="*/ 969960 w 1723364"/>
                <a:gd name="connsiteY51" fmla="*/ 1544072 h 1754322"/>
                <a:gd name="connsiteX52" fmla="*/ 989052 w 1723364"/>
                <a:gd name="connsiteY52" fmla="*/ 1663779 h 1754322"/>
                <a:gd name="connsiteX53" fmla="*/ 978216 w 1723364"/>
                <a:gd name="connsiteY53" fmla="*/ 1743755 h 1754322"/>
                <a:gd name="connsiteX54" fmla="*/ 966864 w 1723364"/>
                <a:gd name="connsiteY54" fmla="*/ 1749947 h 1754322"/>
                <a:gd name="connsiteX55" fmla="*/ 758410 w 1723364"/>
                <a:gd name="connsiteY55" fmla="*/ 1749947 h 1754322"/>
                <a:gd name="connsiteX56" fmla="*/ 745510 w 1723364"/>
                <a:gd name="connsiteY56" fmla="*/ 1737047 h 1754322"/>
                <a:gd name="connsiteX57" fmla="*/ 747058 w 1723364"/>
                <a:gd name="connsiteY57" fmla="*/ 1598249 h 1754322"/>
                <a:gd name="connsiteX58" fmla="*/ 756346 w 1723364"/>
                <a:gd name="connsiteY58" fmla="*/ 1543556 h 1754322"/>
                <a:gd name="connsiteX59" fmla="*/ 744478 w 1723364"/>
                <a:gd name="connsiteY59" fmla="*/ 1525496 h 1754322"/>
                <a:gd name="connsiteX60" fmla="*/ 575754 w 1723364"/>
                <a:gd name="connsiteY60" fmla="*/ 1470287 h 1754322"/>
                <a:gd name="connsiteX61" fmla="*/ 559758 w 1723364"/>
                <a:gd name="connsiteY61" fmla="*/ 1475963 h 1754322"/>
                <a:gd name="connsiteX62" fmla="*/ 504549 w 1723364"/>
                <a:gd name="connsiteY62" fmla="*/ 1585350 h 1754322"/>
                <a:gd name="connsiteX63" fmla="*/ 447275 w 1723364"/>
                <a:gd name="connsiteY63" fmla="*/ 1645719 h 1754322"/>
                <a:gd name="connsiteX64" fmla="*/ 434376 w 1723364"/>
                <a:gd name="connsiteY64" fmla="*/ 1643655 h 1754322"/>
                <a:gd name="connsiteX65" fmla="*/ 290418 w 1723364"/>
                <a:gd name="connsiteY65" fmla="*/ 1542008 h 1754322"/>
                <a:gd name="connsiteX66" fmla="*/ 265651 w 1723364"/>
                <a:gd name="connsiteY66" fmla="*/ 1521369 h 1754322"/>
                <a:gd name="connsiteX67" fmla="*/ 262039 w 1723364"/>
                <a:gd name="connsiteY67" fmla="*/ 1505889 h 1754322"/>
                <a:gd name="connsiteX68" fmla="*/ 321893 w 1723364"/>
                <a:gd name="connsiteY68" fmla="*/ 1415593 h 1754322"/>
                <a:gd name="connsiteX69" fmla="*/ 386906 w 1723364"/>
                <a:gd name="connsiteY69" fmla="*/ 1351096 h 1754322"/>
                <a:gd name="connsiteX70" fmla="*/ 387938 w 1723364"/>
                <a:gd name="connsiteY70" fmla="*/ 1334069 h 1754322"/>
                <a:gd name="connsiteX71" fmla="*/ 354915 w 1723364"/>
                <a:gd name="connsiteY71" fmla="*/ 1295887 h 1754322"/>
                <a:gd name="connsiteX72" fmla="*/ 282678 w 1723364"/>
                <a:gd name="connsiteY72" fmla="*/ 1189595 h 1754322"/>
                <a:gd name="connsiteX73" fmla="*/ 262555 w 1723364"/>
                <a:gd name="connsiteY73" fmla="*/ 1183920 h 1754322"/>
                <a:gd name="connsiteX74" fmla="*/ 152136 w 1723364"/>
                <a:gd name="connsiteY74" fmla="*/ 1240161 h 1754322"/>
                <a:gd name="connsiteX75" fmla="*/ 75256 w 1723364"/>
                <a:gd name="connsiteY75" fmla="*/ 1253577 h 1754322"/>
                <a:gd name="connsiteX76" fmla="*/ 65452 w 1723364"/>
                <a:gd name="connsiteY76" fmla="*/ 1245321 h 1754322"/>
                <a:gd name="connsiteX77" fmla="*/ 439 w 1723364"/>
                <a:gd name="connsiteY77" fmla="*/ 1045637 h 1754322"/>
                <a:gd name="connsiteX78" fmla="*/ 7663 w 1723364"/>
                <a:gd name="connsiteY78" fmla="*/ 1031190 h 1754322"/>
                <a:gd name="connsiteX79" fmla="*/ 54101 w 1723364"/>
                <a:gd name="connsiteY79" fmla="*/ 1005907 h 1754322"/>
                <a:gd name="connsiteX80" fmla="*/ 106730 w 1723364"/>
                <a:gd name="connsiteY80" fmla="*/ 994556 h 1754322"/>
                <a:gd name="connsiteX81" fmla="*/ 197026 w 1723364"/>
                <a:gd name="connsiteY81" fmla="*/ 980109 h 1754322"/>
                <a:gd name="connsiteX82" fmla="*/ 209410 w 1723364"/>
                <a:gd name="connsiteY82" fmla="*/ 964113 h 1754322"/>
                <a:gd name="connsiteX83" fmla="*/ 203734 w 1723364"/>
                <a:gd name="connsiteY83" fmla="*/ 897552 h 1754322"/>
                <a:gd name="connsiteX84" fmla="*/ 208378 w 1723364"/>
                <a:gd name="connsiteY84" fmla="*/ 801064 h 1754322"/>
                <a:gd name="connsiteX85" fmla="*/ 185159 w 1723364"/>
                <a:gd name="connsiteY85" fmla="*/ 770622 h 1754322"/>
                <a:gd name="connsiteX86" fmla="*/ 73192 w 1723364"/>
                <a:gd name="connsiteY86" fmla="*/ 753079 h 1754322"/>
                <a:gd name="connsiteX87" fmla="*/ 24690 w 1723364"/>
                <a:gd name="connsiteY87" fmla="*/ 730375 h 1754322"/>
                <a:gd name="connsiteX88" fmla="*/ 5599 w 1723364"/>
                <a:gd name="connsiteY88" fmla="*/ 687033 h 1754322"/>
                <a:gd name="connsiteX89" fmla="*/ 63904 w 1723364"/>
                <a:gd name="connsiteY89" fmla="*/ 511085 h 1754322"/>
                <a:gd name="connsiteX90" fmla="*/ 83511 w 1723364"/>
                <a:gd name="connsiteY90" fmla="*/ 499733 h 1754322"/>
                <a:gd name="connsiteX91" fmla="*/ 183611 w 1723364"/>
                <a:gd name="connsiteY91" fmla="*/ 528628 h 1754322"/>
                <a:gd name="connsiteX92" fmla="*/ 262555 w 1723364"/>
                <a:gd name="connsiteY92" fmla="*/ 569390 h 1754322"/>
                <a:gd name="connsiteX93" fmla="*/ 282163 w 1723364"/>
                <a:gd name="connsiteY93" fmla="*/ 564231 h 1754322"/>
                <a:gd name="connsiteX94" fmla="*/ 386906 w 1723364"/>
                <a:gd name="connsiteY94" fmla="*/ 419757 h 1754322"/>
                <a:gd name="connsiteX95" fmla="*/ 386390 w 1723364"/>
                <a:gd name="connsiteY95" fmla="*/ 402214 h 1754322"/>
                <a:gd name="connsiteX96" fmla="*/ 296094 w 1723364"/>
                <a:gd name="connsiteY96" fmla="*/ 311918 h 1754322"/>
                <a:gd name="connsiteX97" fmla="*/ 259975 w 1723364"/>
                <a:gd name="connsiteY97" fmla="*/ 242777 h 1754322"/>
                <a:gd name="connsiteX98" fmla="*/ 264619 w 1723364"/>
                <a:gd name="connsiteY98" fmla="*/ 232973 h 1754322"/>
                <a:gd name="connsiteX99" fmla="*/ 435408 w 1723364"/>
                <a:gd name="connsiteY99" fmla="*/ 109139 h 1754322"/>
                <a:gd name="connsiteX100" fmla="*/ 450371 w 1723364"/>
                <a:gd name="connsiteY100" fmla="*/ 110687 h 1754322"/>
                <a:gd name="connsiteX101" fmla="*/ 518480 w 1723364"/>
                <a:gd name="connsiteY101" fmla="*/ 196339 h 1754322"/>
                <a:gd name="connsiteX102" fmla="*/ 559758 w 1723364"/>
                <a:gd name="connsiteY102" fmla="*/ 277863 h 1754322"/>
                <a:gd name="connsiteX103" fmla="*/ 574722 w 1723364"/>
                <a:gd name="connsiteY103" fmla="*/ 283539 h 1754322"/>
                <a:gd name="connsiteX104" fmla="*/ 746026 w 1723364"/>
                <a:gd name="connsiteY104" fmla="*/ 227813 h 1754322"/>
                <a:gd name="connsiteX105" fmla="*/ 756346 w 1723364"/>
                <a:gd name="connsiteY105" fmla="*/ 211302 h 1754322"/>
                <a:gd name="connsiteX106" fmla="*/ 737254 w 1723364"/>
                <a:gd name="connsiteY106" fmla="*/ 91596 h 1754322"/>
                <a:gd name="connsiteX107" fmla="*/ 748090 w 1723364"/>
                <a:gd name="connsiteY107" fmla="*/ 10587 h 1754322"/>
                <a:gd name="connsiteX108" fmla="*/ 758410 w 1723364"/>
                <a:gd name="connsiteY108" fmla="*/ 4395 h 1754322"/>
                <a:gd name="connsiteX109" fmla="*/ 879664 w 1723364"/>
                <a:gd name="connsiteY109" fmla="*/ 267 h 1754322"/>
                <a:gd name="connsiteX110" fmla="*/ 861605 w 1723364"/>
                <a:gd name="connsiteY110" fmla="*/ 1409918 h 1754322"/>
                <a:gd name="connsiteX111" fmla="*/ 1392546 w 1723364"/>
                <a:gd name="connsiteY111" fmla="*/ 879493 h 1754322"/>
                <a:gd name="connsiteX112" fmla="*/ 862637 w 1723364"/>
                <a:gd name="connsiteY112" fmla="*/ 348552 h 1754322"/>
                <a:gd name="connsiteX113" fmla="*/ 331180 w 1723364"/>
                <a:gd name="connsiteY113" fmla="*/ 879493 h 1754322"/>
                <a:gd name="connsiteX114" fmla="*/ 861605 w 1723364"/>
                <a:gd name="connsiteY114" fmla="*/ 1409918 h 1754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723364" h="1754322">
                  <a:moveTo>
                    <a:pt x="879664" y="267"/>
                  </a:moveTo>
                  <a:cubicBezTo>
                    <a:pt x="907527" y="2332"/>
                    <a:pt x="935906" y="4395"/>
                    <a:pt x="964801" y="5943"/>
                  </a:cubicBezTo>
                  <a:cubicBezTo>
                    <a:pt x="974088" y="6459"/>
                    <a:pt x="976668" y="11103"/>
                    <a:pt x="979248" y="18843"/>
                  </a:cubicBezTo>
                  <a:cubicBezTo>
                    <a:pt x="994727" y="65797"/>
                    <a:pt x="985956" y="112235"/>
                    <a:pt x="977700" y="158673"/>
                  </a:cubicBezTo>
                  <a:cubicBezTo>
                    <a:pt x="974604" y="176732"/>
                    <a:pt x="972024" y="195307"/>
                    <a:pt x="968928" y="213366"/>
                  </a:cubicBezTo>
                  <a:cubicBezTo>
                    <a:pt x="967380" y="222654"/>
                    <a:pt x="969960" y="227813"/>
                    <a:pt x="979764" y="229877"/>
                  </a:cubicBezTo>
                  <a:cubicBezTo>
                    <a:pt x="1038585" y="240713"/>
                    <a:pt x="1095343" y="259804"/>
                    <a:pt x="1149520" y="285087"/>
                  </a:cubicBezTo>
                  <a:cubicBezTo>
                    <a:pt x="1158808" y="289215"/>
                    <a:pt x="1162420" y="286119"/>
                    <a:pt x="1166548" y="278379"/>
                  </a:cubicBezTo>
                  <a:cubicBezTo>
                    <a:pt x="1180995" y="248969"/>
                    <a:pt x="1197506" y="220590"/>
                    <a:pt x="1210406" y="190663"/>
                  </a:cubicBezTo>
                  <a:cubicBezTo>
                    <a:pt x="1222273" y="163316"/>
                    <a:pt x="1240848" y="142161"/>
                    <a:pt x="1263035" y="123070"/>
                  </a:cubicBezTo>
                  <a:cubicBezTo>
                    <a:pt x="1282643" y="106043"/>
                    <a:pt x="1282127" y="106559"/>
                    <a:pt x="1304314" y="119458"/>
                  </a:cubicBezTo>
                  <a:cubicBezTo>
                    <a:pt x="1359523" y="151449"/>
                    <a:pt x="1409573" y="190663"/>
                    <a:pt x="1458075" y="231941"/>
                  </a:cubicBezTo>
                  <a:cubicBezTo>
                    <a:pt x="1465299" y="238133"/>
                    <a:pt x="1467362" y="243809"/>
                    <a:pt x="1462203" y="251549"/>
                  </a:cubicBezTo>
                  <a:cubicBezTo>
                    <a:pt x="1461687" y="252064"/>
                    <a:pt x="1461171" y="253096"/>
                    <a:pt x="1461171" y="254128"/>
                  </a:cubicBezTo>
                  <a:cubicBezTo>
                    <a:pt x="1448271" y="291279"/>
                    <a:pt x="1425052" y="320689"/>
                    <a:pt x="1396158" y="347004"/>
                  </a:cubicBezTo>
                  <a:cubicBezTo>
                    <a:pt x="1375518" y="365064"/>
                    <a:pt x="1356943" y="385703"/>
                    <a:pt x="1337336" y="404794"/>
                  </a:cubicBezTo>
                  <a:cubicBezTo>
                    <a:pt x="1332177" y="409954"/>
                    <a:pt x="1330628" y="413565"/>
                    <a:pt x="1336304" y="419757"/>
                  </a:cubicBezTo>
                  <a:cubicBezTo>
                    <a:pt x="1347656" y="432141"/>
                    <a:pt x="1357459" y="445556"/>
                    <a:pt x="1369327" y="457939"/>
                  </a:cubicBezTo>
                  <a:cubicBezTo>
                    <a:pt x="1399769" y="489930"/>
                    <a:pt x="1419893" y="528628"/>
                    <a:pt x="1442596" y="565263"/>
                  </a:cubicBezTo>
                  <a:cubicBezTo>
                    <a:pt x="1448271" y="574550"/>
                    <a:pt x="1452915" y="576098"/>
                    <a:pt x="1462719" y="570938"/>
                  </a:cubicBezTo>
                  <a:cubicBezTo>
                    <a:pt x="1499353" y="551847"/>
                    <a:pt x="1535988" y="533272"/>
                    <a:pt x="1573138" y="514697"/>
                  </a:cubicBezTo>
                  <a:cubicBezTo>
                    <a:pt x="1597389" y="502830"/>
                    <a:pt x="1624220" y="504893"/>
                    <a:pt x="1650018" y="501281"/>
                  </a:cubicBezTo>
                  <a:cubicBezTo>
                    <a:pt x="1655694" y="500250"/>
                    <a:pt x="1658274" y="505409"/>
                    <a:pt x="1659822" y="509537"/>
                  </a:cubicBezTo>
                  <a:cubicBezTo>
                    <a:pt x="1687685" y="574034"/>
                    <a:pt x="1709872" y="640595"/>
                    <a:pt x="1724835" y="709220"/>
                  </a:cubicBezTo>
                  <a:cubicBezTo>
                    <a:pt x="1726383" y="716444"/>
                    <a:pt x="1723803" y="720572"/>
                    <a:pt x="1717611" y="723668"/>
                  </a:cubicBezTo>
                  <a:cubicBezTo>
                    <a:pt x="1702132" y="731923"/>
                    <a:pt x="1686653" y="740695"/>
                    <a:pt x="1671173" y="748950"/>
                  </a:cubicBezTo>
                  <a:cubicBezTo>
                    <a:pt x="1654662" y="757722"/>
                    <a:pt x="1636087" y="757206"/>
                    <a:pt x="1618544" y="760302"/>
                  </a:cubicBezTo>
                  <a:cubicBezTo>
                    <a:pt x="1589133" y="765462"/>
                    <a:pt x="1559207" y="770106"/>
                    <a:pt x="1529280" y="774234"/>
                  </a:cubicBezTo>
                  <a:cubicBezTo>
                    <a:pt x="1517412" y="775781"/>
                    <a:pt x="1514316" y="780941"/>
                    <a:pt x="1515349" y="791777"/>
                  </a:cubicBezTo>
                  <a:cubicBezTo>
                    <a:pt x="1517412" y="813448"/>
                    <a:pt x="1518444" y="835635"/>
                    <a:pt x="1521024" y="857306"/>
                  </a:cubicBezTo>
                  <a:cubicBezTo>
                    <a:pt x="1524636" y="889813"/>
                    <a:pt x="1518960" y="921803"/>
                    <a:pt x="1516380" y="953794"/>
                  </a:cubicBezTo>
                  <a:cubicBezTo>
                    <a:pt x="1514316" y="980109"/>
                    <a:pt x="1513284" y="980109"/>
                    <a:pt x="1538567" y="983720"/>
                  </a:cubicBezTo>
                  <a:cubicBezTo>
                    <a:pt x="1576750" y="989912"/>
                    <a:pt x="1614932" y="995588"/>
                    <a:pt x="1653114" y="1001779"/>
                  </a:cubicBezTo>
                  <a:cubicBezTo>
                    <a:pt x="1671173" y="1004875"/>
                    <a:pt x="1685105" y="1016227"/>
                    <a:pt x="1700584" y="1024483"/>
                  </a:cubicBezTo>
                  <a:cubicBezTo>
                    <a:pt x="1726899" y="1038414"/>
                    <a:pt x="1725867" y="1038930"/>
                    <a:pt x="1719675" y="1067825"/>
                  </a:cubicBezTo>
                  <a:cubicBezTo>
                    <a:pt x="1706260" y="1128710"/>
                    <a:pt x="1685105" y="1186500"/>
                    <a:pt x="1661370" y="1243773"/>
                  </a:cubicBezTo>
                  <a:cubicBezTo>
                    <a:pt x="1657242" y="1253577"/>
                    <a:pt x="1651566" y="1256157"/>
                    <a:pt x="1641763" y="1255124"/>
                  </a:cubicBezTo>
                  <a:cubicBezTo>
                    <a:pt x="1606160" y="1252028"/>
                    <a:pt x="1572622" y="1244805"/>
                    <a:pt x="1541663" y="1226230"/>
                  </a:cubicBezTo>
                  <a:cubicBezTo>
                    <a:pt x="1515864" y="1210750"/>
                    <a:pt x="1488001" y="1198883"/>
                    <a:pt x="1461687" y="1184436"/>
                  </a:cubicBezTo>
                  <a:cubicBezTo>
                    <a:pt x="1453947" y="1180308"/>
                    <a:pt x="1448787" y="1180308"/>
                    <a:pt x="1444143" y="1189079"/>
                  </a:cubicBezTo>
                  <a:cubicBezTo>
                    <a:pt x="1415249" y="1241709"/>
                    <a:pt x="1380162" y="1290211"/>
                    <a:pt x="1339400" y="1333553"/>
                  </a:cubicBezTo>
                  <a:cubicBezTo>
                    <a:pt x="1332177" y="1341293"/>
                    <a:pt x="1332177" y="1345936"/>
                    <a:pt x="1339916" y="1353160"/>
                  </a:cubicBezTo>
                  <a:cubicBezTo>
                    <a:pt x="1370359" y="1382571"/>
                    <a:pt x="1400801" y="1412498"/>
                    <a:pt x="1430212" y="1443456"/>
                  </a:cubicBezTo>
                  <a:cubicBezTo>
                    <a:pt x="1448271" y="1462547"/>
                    <a:pt x="1453947" y="1488862"/>
                    <a:pt x="1465814" y="1511565"/>
                  </a:cubicBezTo>
                  <a:cubicBezTo>
                    <a:pt x="1467879" y="1515693"/>
                    <a:pt x="1464267" y="1518789"/>
                    <a:pt x="1461171" y="1521369"/>
                  </a:cubicBezTo>
                  <a:cubicBezTo>
                    <a:pt x="1408025" y="1568323"/>
                    <a:pt x="1351784" y="1610117"/>
                    <a:pt x="1290382" y="1645203"/>
                  </a:cubicBezTo>
                  <a:cubicBezTo>
                    <a:pt x="1284707" y="1648815"/>
                    <a:pt x="1280579" y="1648299"/>
                    <a:pt x="1275419" y="1643655"/>
                  </a:cubicBezTo>
                  <a:cubicBezTo>
                    <a:pt x="1247040" y="1619404"/>
                    <a:pt x="1221757" y="1593606"/>
                    <a:pt x="1207310" y="1558003"/>
                  </a:cubicBezTo>
                  <a:cubicBezTo>
                    <a:pt x="1195958" y="1530140"/>
                    <a:pt x="1179963" y="1504341"/>
                    <a:pt x="1167064" y="1477511"/>
                  </a:cubicBezTo>
                  <a:cubicBezTo>
                    <a:pt x="1162936" y="1469255"/>
                    <a:pt x="1158808" y="1467191"/>
                    <a:pt x="1150036" y="1470803"/>
                  </a:cubicBezTo>
                  <a:cubicBezTo>
                    <a:pt x="1096375" y="1496086"/>
                    <a:pt x="1040133" y="1514661"/>
                    <a:pt x="981312" y="1526013"/>
                  </a:cubicBezTo>
                  <a:cubicBezTo>
                    <a:pt x="969960" y="1528076"/>
                    <a:pt x="967896" y="1534268"/>
                    <a:pt x="969960" y="1544072"/>
                  </a:cubicBezTo>
                  <a:cubicBezTo>
                    <a:pt x="976668" y="1583802"/>
                    <a:pt x="982860" y="1623532"/>
                    <a:pt x="989052" y="1663779"/>
                  </a:cubicBezTo>
                  <a:cubicBezTo>
                    <a:pt x="993179" y="1691641"/>
                    <a:pt x="982344" y="1716924"/>
                    <a:pt x="978216" y="1743755"/>
                  </a:cubicBezTo>
                  <a:cubicBezTo>
                    <a:pt x="977184" y="1749431"/>
                    <a:pt x="971508" y="1749431"/>
                    <a:pt x="966864" y="1749947"/>
                  </a:cubicBezTo>
                  <a:cubicBezTo>
                    <a:pt x="897207" y="1757170"/>
                    <a:pt x="828067" y="1756655"/>
                    <a:pt x="758410" y="1749947"/>
                  </a:cubicBezTo>
                  <a:cubicBezTo>
                    <a:pt x="749638" y="1748915"/>
                    <a:pt x="748090" y="1744271"/>
                    <a:pt x="745510" y="1737047"/>
                  </a:cubicBezTo>
                  <a:cubicBezTo>
                    <a:pt x="730031" y="1690609"/>
                    <a:pt x="738286" y="1644687"/>
                    <a:pt x="747058" y="1598249"/>
                  </a:cubicBezTo>
                  <a:cubicBezTo>
                    <a:pt x="750154" y="1580190"/>
                    <a:pt x="752734" y="1561615"/>
                    <a:pt x="756346" y="1543556"/>
                  </a:cubicBezTo>
                  <a:cubicBezTo>
                    <a:pt x="758410" y="1533236"/>
                    <a:pt x="755314" y="1527560"/>
                    <a:pt x="744478" y="1525496"/>
                  </a:cubicBezTo>
                  <a:cubicBezTo>
                    <a:pt x="685657" y="1514661"/>
                    <a:pt x="629931" y="1496086"/>
                    <a:pt x="575754" y="1470287"/>
                  </a:cubicBezTo>
                  <a:cubicBezTo>
                    <a:pt x="568014" y="1466675"/>
                    <a:pt x="563886" y="1467707"/>
                    <a:pt x="559758" y="1475963"/>
                  </a:cubicBezTo>
                  <a:cubicBezTo>
                    <a:pt x="541699" y="1512597"/>
                    <a:pt x="522608" y="1548715"/>
                    <a:pt x="504549" y="1585350"/>
                  </a:cubicBezTo>
                  <a:cubicBezTo>
                    <a:pt x="491649" y="1611149"/>
                    <a:pt x="466882" y="1626112"/>
                    <a:pt x="447275" y="1645719"/>
                  </a:cubicBezTo>
                  <a:cubicBezTo>
                    <a:pt x="442631" y="1650363"/>
                    <a:pt x="438504" y="1646235"/>
                    <a:pt x="434376" y="1643655"/>
                  </a:cubicBezTo>
                  <a:cubicBezTo>
                    <a:pt x="384326" y="1612697"/>
                    <a:pt x="334276" y="1581738"/>
                    <a:pt x="290418" y="1542008"/>
                  </a:cubicBezTo>
                  <a:cubicBezTo>
                    <a:pt x="282678" y="1534784"/>
                    <a:pt x="273907" y="1528076"/>
                    <a:pt x="265651" y="1521369"/>
                  </a:cubicBezTo>
                  <a:cubicBezTo>
                    <a:pt x="259975" y="1516725"/>
                    <a:pt x="259459" y="1512597"/>
                    <a:pt x="262039" y="1505889"/>
                  </a:cubicBezTo>
                  <a:cubicBezTo>
                    <a:pt x="276487" y="1472351"/>
                    <a:pt x="292998" y="1440360"/>
                    <a:pt x="321893" y="1415593"/>
                  </a:cubicBezTo>
                  <a:cubicBezTo>
                    <a:pt x="345112" y="1395986"/>
                    <a:pt x="365235" y="1372767"/>
                    <a:pt x="386906" y="1351096"/>
                  </a:cubicBezTo>
                  <a:cubicBezTo>
                    <a:pt x="393098" y="1345421"/>
                    <a:pt x="394129" y="1341293"/>
                    <a:pt x="387938" y="1334069"/>
                  </a:cubicBezTo>
                  <a:cubicBezTo>
                    <a:pt x="376586" y="1321685"/>
                    <a:pt x="366783" y="1308270"/>
                    <a:pt x="354915" y="1295887"/>
                  </a:cubicBezTo>
                  <a:cubicBezTo>
                    <a:pt x="324989" y="1264412"/>
                    <a:pt x="305382" y="1225714"/>
                    <a:pt x="282678" y="1189595"/>
                  </a:cubicBezTo>
                  <a:cubicBezTo>
                    <a:pt x="277003" y="1180308"/>
                    <a:pt x="272359" y="1178760"/>
                    <a:pt x="262555" y="1183920"/>
                  </a:cubicBezTo>
                  <a:cubicBezTo>
                    <a:pt x="225921" y="1203011"/>
                    <a:pt x="189287" y="1221586"/>
                    <a:pt x="152136" y="1240161"/>
                  </a:cubicBezTo>
                  <a:cubicBezTo>
                    <a:pt x="127885" y="1252545"/>
                    <a:pt x="101054" y="1249965"/>
                    <a:pt x="75256" y="1253577"/>
                  </a:cubicBezTo>
                  <a:cubicBezTo>
                    <a:pt x="69580" y="1254608"/>
                    <a:pt x="67000" y="1249965"/>
                    <a:pt x="65452" y="1245321"/>
                  </a:cubicBezTo>
                  <a:cubicBezTo>
                    <a:pt x="37589" y="1180824"/>
                    <a:pt x="15402" y="1114263"/>
                    <a:pt x="439" y="1045637"/>
                  </a:cubicBezTo>
                  <a:cubicBezTo>
                    <a:pt x="-1109" y="1038414"/>
                    <a:pt x="1471" y="1034286"/>
                    <a:pt x="7663" y="1031190"/>
                  </a:cubicBezTo>
                  <a:cubicBezTo>
                    <a:pt x="23142" y="1022935"/>
                    <a:pt x="38621" y="1014163"/>
                    <a:pt x="54101" y="1005907"/>
                  </a:cubicBezTo>
                  <a:cubicBezTo>
                    <a:pt x="70612" y="997136"/>
                    <a:pt x="89187" y="997652"/>
                    <a:pt x="106730" y="994556"/>
                  </a:cubicBezTo>
                  <a:cubicBezTo>
                    <a:pt x="136657" y="989396"/>
                    <a:pt x="167099" y="984236"/>
                    <a:pt x="197026" y="980109"/>
                  </a:cubicBezTo>
                  <a:cubicBezTo>
                    <a:pt x="207346" y="978560"/>
                    <a:pt x="210442" y="973917"/>
                    <a:pt x="209410" y="964113"/>
                  </a:cubicBezTo>
                  <a:cubicBezTo>
                    <a:pt x="207346" y="941926"/>
                    <a:pt x="206314" y="919739"/>
                    <a:pt x="203734" y="897552"/>
                  </a:cubicBezTo>
                  <a:cubicBezTo>
                    <a:pt x="200122" y="865045"/>
                    <a:pt x="205798" y="833055"/>
                    <a:pt x="208378" y="801064"/>
                  </a:cubicBezTo>
                  <a:cubicBezTo>
                    <a:pt x="210442" y="774749"/>
                    <a:pt x="211474" y="774749"/>
                    <a:pt x="185159" y="770622"/>
                  </a:cubicBezTo>
                  <a:cubicBezTo>
                    <a:pt x="148009" y="764430"/>
                    <a:pt x="110342" y="758754"/>
                    <a:pt x="73192" y="753079"/>
                  </a:cubicBezTo>
                  <a:cubicBezTo>
                    <a:pt x="54616" y="750499"/>
                    <a:pt x="40169" y="738631"/>
                    <a:pt x="24690" y="730375"/>
                  </a:cubicBezTo>
                  <a:cubicBezTo>
                    <a:pt x="-1625" y="715928"/>
                    <a:pt x="-593" y="715928"/>
                    <a:pt x="5599" y="687033"/>
                  </a:cubicBezTo>
                  <a:cubicBezTo>
                    <a:pt x="19014" y="626148"/>
                    <a:pt x="40169" y="568358"/>
                    <a:pt x="63904" y="511085"/>
                  </a:cubicBezTo>
                  <a:cubicBezTo>
                    <a:pt x="68032" y="501281"/>
                    <a:pt x="73192" y="498701"/>
                    <a:pt x="83511" y="499733"/>
                  </a:cubicBezTo>
                  <a:cubicBezTo>
                    <a:pt x="119114" y="502830"/>
                    <a:pt x="152652" y="510053"/>
                    <a:pt x="183611" y="528628"/>
                  </a:cubicBezTo>
                  <a:cubicBezTo>
                    <a:pt x="208894" y="543592"/>
                    <a:pt x="236241" y="555459"/>
                    <a:pt x="262555" y="569390"/>
                  </a:cubicBezTo>
                  <a:cubicBezTo>
                    <a:pt x="271327" y="574034"/>
                    <a:pt x="277003" y="574034"/>
                    <a:pt x="282163" y="564231"/>
                  </a:cubicBezTo>
                  <a:cubicBezTo>
                    <a:pt x="311057" y="511601"/>
                    <a:pt x="346144" y="463615"/>
                    <a:pt x="386906" y="419757"/>
                  </a:cubicBezTo>
                  <a:cubicBezTo>
                    <a:pt x="393614" y="412534"/>
                    <a:pt x="393098" y="408922"/>
                    <a:pt x="386390" y="402214"/>
                  </a:cubicBezTo>
                  <a:cubicBezTo>
                    <a:pt x="355947" y="372287"/>
                    <a:pt x="325505" y="342360"/>
                    <a:pt x="296094" y="311918"/>
                  </a:cubicBezTo>
                  <a:cubicBezTo>
                    <a:pt x="277519" y="292827"/>
                    <a:pt x="271843" y="265996"/>
                    <a:pt x="259975" y="242777"/>
                  </a:cubicBezTo>
                  <a:cubicBezTo>
                    <a:pt x="257912" y="238649"/>
                    <a:pt x="261524" y="235553"/>
                    <a:pt x="264619" y="232973"/>
                  </a:cubicBezTo>
                  <a:cubicBezTo>
                    <a:pt x="317765" y="186019"/>
                    <a:pt x="374007" y="144225"/>
                    <a:pt x="435408" y="109139"/>
                  </a:cubicBezTo>
                  <a:cubicBezTo>
                    <a:pt x="441084" y="105527"/>
                    <a:pt x="445211" y="106043"/>
                    <a:pt x="450371" y="110687"/>
                  </a:cubicBezTo>
                  <a:cubicBezTo>
                    <a:pt x="478750" y="134937"/>
                    <a:pt x="504033" y="160736"/>
                    <a:pt x="518480" y="196339"/>
                  </a:cubicBezTo>
                  <a:cubicBezTo>
                    <a:pt x="530348" y="224202"/>
                    <a:pt x="545827" y="250516"/>
                    <a:pt x="559758" y="277863"/>
                  </a:cubicBezTo>
                  <a:cubicBezTo>
                    <a:pt x="563370" y="285087"/>
                    <a:pt x="566982" y="287151"/>
                    <a:pt x="574722" y="283539"/>
                  </a:cubicBezTo>
                  <a:cubicBezTo>
                    <a:pt x="629415" y="257740"/>
                    <a:pt x="686173" y="238649"/>
                    <a:pt x="746026" y="227813"/>
                  </a:cubicBezTo>
                  <a:cubicBezTo>
                    <a:pt x="756346" y="225750"/>
                    <a:pt x="757893" y="220074"/>
                    <a:pt x="756346" y="211302"/>
                  </a:cubicBezTo>
                  <a:cubicBezTo>
                    <a:pt x="749638" y="171572"/>
                    <a:pt x="743446" y="131326"/>
                    <a:pt x="737254" y="91596"/>
                  </a:cubicBezTo>
                  <a:cubicBezTo>
                    <a:pt x="732611" y="63217"/>
                    <a:pt x="743446" y="37418"/>
                    <a:pt x="748090" y="10587"/>
                  </a:cubicBezTo>
                  <a:cubicBezTo>
                    <a:pt x="749122" y="5427"/>
                    <a:pt x="753766" y="4395"/>
                    <a:pt x="758410" y="4395"/>
                  </a:cubicBezTo>
                  <a:cubicBezTo>
                    <a:pt x="797624" y="4395"/>
                    <a:pt x="837870" y="-1280"/>
                    <a:pt x="879664" y="267"/>
                  </a:cubicBezTo>
                  <a:close/>
                  <a:moveTo>
                    <a:pt x="861605" y="1409918"/>
                  </a:moveTo>
                  <a:cubicBezTo>
                    <a:pt x="1155712" y="1407338"/>
                    <a:pt x="1392030" y="1176180"/>
                    <a:pt x="1392546" y="879493"/>
                  </a:cubicBezTo>
                  <a:cubicBezTo>
                    <a:pt x="1393062" y="585902"/>
                    <a:pt x="1160356" y="349068"/>
                    <a:pt x="862637" y="348552"/>
                  </a:cubicBezTo>
                  <a:cubicBezTo>
                    <a:pt x="568014" y="348036"/>
                    <a:pt x="331180" y="581774"/>
                    <a:pt x="331180" y="879493"/>
                  </a:cubicBezTo>
                  <a:cubicBezTo>
                    <a:pt x="331180" y="1173600"/>
                    <a:pt x="565950" y="1406822"/>
                    <a:pt x="861605" y="1409918"/>
                  </a:cubicBezTo>
                  <a:close/>
                </a:path>
              </a:pathLst>
            </a:custGeom>
            <a:grpFill/>
            <a:ln w="515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9466B1FD-A1C4-48E5-82F9-88F257D12E08}"/>
                </a:ext>
              </a:extLst>
            </p:cNvPr>
            <p:cNvSpPr/>
            <p:nvPr/>
          </p:nvSpPr>
          <p:spPr>
            <a:xfrm>
              <a:off x="4673077" y="4204265"/>
              <a:ext cx="853923" cy="853924"/>
            </a:xfrm>
            <a:custGeom>
              <a:avLst/>
              <a:gdLst>
                <a:gd name="connsiteX0" fmla="*/ 686157 w 1243505"/>
                <a:gd name="connsiteY0" fmla="*/ 1016068 h 1243505"/>
                <a:gd name="connsiteX1" fmla="*/ 560258 w 1243505"/>
                <a:gd name="connsiteY1" fmla="*/ 1016068 h 1243505"/>
                <a:gd name="connsiteX2" fmla="*/ 545811 w 1243505"/>
                <a:gd name="connsiteY2" fmla="*/ 1026903 h 1243505"/>
                <a:gd name="connsiteX3" fmla="*/ 533944 w 1243505"/>
                <a:gd name="connsiteY3" fmla="*/ 1088821 h 1243505"/>
                <a:gd name="connsiteX4" fmla="*/ 505565 w 1243505"/>
                <a:gd name="connsiteY4" fmla="*/ 1169829 h 1243505"/>
                <a:gd name="connsiteX5" fmla="*/ 469447 w 1243505"/>
                <a:gd name="connsiteY5" fmla="*/ 1240002 h 1243505"/>
                <a:gd name="connsiteX6" fmla="*/ 452935 w 1243505"/>
                <a:gd name="connsiteY6" fmla="*/ 1246710 h 1243505"/>
                <a:gd name="connsiteX7" fmla="*/ 305366 w 1243505"/>
                <a:gd name="connsiteY7" fmla="*/ 1185824 h 1243505"/>
                <a:gd name="connsiteX8" fmla="*/ 298142 w 1243505"/>
                <a:gd name="connsiteY8" fmla="*/ 1168281 h 1243505"/>
                <a:gd name="connsiteX9" fmla="*/ 333744 w 1243505"/>
                <a:gd name="connsiteY9" fmla="*/ 1059410 h 1243505"/>
                <a:gd name="connsiteX10" fmla="*/ 342000 w 1243505"/>
                <a:gd name="connsiteY10" fmla="*/ 1043415 h 1243505"/>
                <a:gd name="connsiteX11" fmla="*/ 395662 w 1243505"/>
                <a:gd name="connsiteY11" fmla="*/ 962922 h 1243505"/>
                <a:gd name="connsiteX12" fmla="*/ 393598 w 1243505"/>
                <a:gd name="connsiteY12" fmla="*/ 947959 h 1243505"/>
                <a:gd name="connsiteX13" fmla="*/ 299174 w 1243505"/>
                <a:gd name="connsiteY13" fmla="*/ 853535 h 1243505"/>
                <a:gd name="connsiteX14" fmla="*/ 285243 w 1243505"/>
                <a:gd name="connsiteY14" fmla="*/ 851471 h 1243505"/>
                <a:gd name="connsiteX15" fmla="*/ 230549 w 1243505"/>
                <a:gd name="connsiteY15" fmla="*/ 888106 h 1243505"/>
                <a:gd name="connsiteX16" fmla="*/ 148509 w 1243505"/>
                <a:gd name="connsiteY16" fmla="*/ 926804 h 1243505"/>
                <a:gd name="connsiteX17" fmla="*/ 78852 w 1243505"/>
                <a:gd name="connsiteY17" fmla="*/ 949507 h 1243505"/>
                <a:gd name="connsiteX18" fmla="*/ 62340 w 1243505"/>
                <a:gd name="connsiteY18" fmla="*/ 942799 h 1243505"/>
                <a:gd name="connsiteX19" fmla="*/ 939 w 1243505"/>
                <a:gd name="connsiteY19" fmla="*/ 794198 h 1243505"/>
                <a:gd name="connsiteX20" fmla="*/ 7131 w 1243505"/>
                <a:gd name="connsiteY20" fmla="*/ 778718 h 1243505"/>
                <a:gd name="connsiteX21" fmla="*/ 114454 w 1243505"/>
                <a:gd name="connsiteY21" fmla="*/ 725056 h 1243505"/>
                <a:gd name="connsiteX22" fmla="*/ 189787 w 1243505"/>
                <a:gd name="connsiteY22" fmla="*/ 708545 h 1243505"/>
                <a:gd name="connsiteX23" fmla="*/ 221261 w 1243505"/>
                <a:gd name="connsiteY23" fmla="*/ 702354 h 1243505"/>
                <a:gd name="connsiteX24" fmla="*/ 231581 w 1243505"/>
                <a:gd name="connsiteY24" fmla="*/ 688938 h 1243505"/>
                <a:gd name="connsiteX25" fmla="*/ 225905 w 1243505"/>
                <a:gd name="connsiteY25" fmla="*/ 631149 h 1243505"/>
                <a:gd name="connsiteX26" fmla="*/ 231581 w 1243505"/>
                <a:gd name="connsiteY26" fmla="*/ 559428 h 1243505"/>
                <a:gd name="connsiteX27" fmla="*/ 220745 w 1243505"/>
                <a:gd name="connsiteY27" fmla="*/ 544980 h 1243505"/>
                <a:gd name="connsiteX28" fmla="*/ 172760 w 1243505"/>
                <a:gd name="connsiteY28" fmla="*/ 535693 h 1243505"/>
                <a:gd name="connsiteX29" fmla="*/ 27770 w 1243505"/>
                <a:gd name="connsiteY29" fmla="*/ 478419 h 1243505"/>
                <a:gd name="connsiteX30" fmla="*/ 8163 w 1243505"/>
                <a:gd name="connsiteY30" fmla="*/ 431465 h 1243505"/>
                <a:gd name="connsiteX31" fmla="*/ 62340 w 1243505"/>
                <a:gd name="connsiteY31" fmla="*/ 305051 h 1243505"/>
                <a:gd name="connsiteX32" fmla="*/ 79884 w 1243505"/>
                <a:gd name="connsiteY32" fmla="*/ 297827 h 1243505"/>
                <a:gd name="connsiteX33" fmla="*/ 188755 w 1243505"/>
                <a:gd name="connsiteY33" fmla="*/ 333430 h 1243505"/>
                <a:gd name="connsiteX34" fmla="*/ 204750 w 1243505"/>
                <a:gd name="connsiteY34" fmla="*/ 341685 h 1243505"/>
                <a:gd name="connsiteX35" fmla="*/ 285243 w 1243505"/>
                <a:gd name="connsiteY35" fmla="*/ 395347 h 1243505"/>
                <a:gd name="connsiteX36" fmla="*/ 300206 w 1243505"/>
                <a:gd name="connsiteY36" fmla="*/ 393283 h 1243505"/>
                <a:gd name="connsiteX37" fmla="*/ 393598 w 1243505"/>
                <a:gd name="connsiteY37" fmla="*/ 299891 h 1243505"/>
                <a:gd name="connsiteX38" fmla="*/ 395662 w 1243505"/>
                <a:gd name="connsiteY38" fmla="*/ 283896 h 1243505"/>
                <a:gd name="connsiteX39" fmla="*/ 353352 w 1243505"/>
                <a:gd name="connsiteY39" fmla="*/ 220947 h 1243505"/>
                <a:gd name="connsiteX40" fmla="*/ 325489 w 1243505"/>
                <a:gd name="connsiteY40" fmla="*/ 162125 h 1243505"/>
                <a:gd name="connsiteX41" fmla="*/ 299690 w 1243505"/>
                <a:gd name="connsiteY41" fmla="*/ 82665 h 1243505"/>
                <a:gd name="connsiteX42" fmla="*/ 307946 w 1243505"/>
                <a:gd name="connsiteY42" fmla="*/ 61510 h 1243505"/>
                <a:gd name="connsiteX43" fmla="*/ 451903 w 1243505"/>
                <a:gd name="connsiteY43" fmla="*/ 2172 h 1243505"/>
                <a:gd name="connsiteX44" fmla="*/ 470478 w 1243505"/>
                <a:gd name="connsiteY44" fmla="*/ 9396 h 1243505"/>
                <a:gd name="connsiteX45" fmla="*/ 522076 w 1243505"/>
                <a:gd name="connsiteY45" fmla="*/ 111559 h 1243505"/>
                <a:gd name="connsiteX46" fmla="*/ 537555 w 1243505"/>
                <a:gd name="connsiteY46" fmla="*/ 177605 h 1243505"/>
                <a:gd name="connsiteX47" fmla="*/ 546843 w 1243505"/>
                <a:gd name="connsiteY47" fmla="*/ 223011 h 1243505"/>
                <a:gd name="connsiteX48" fmla="*/ 559227 w 1243505"/>
                <a:gd name="connsiteY48" fmla="*/ 231782 h 1243505"/>
                <a:gd name="connsiteX49" fmla="*/ 688737 w 1243505"/>
                <a:gd name="connsiteY49" fmla="*/ 231782 h 1243505"/>
                <a:gd name="connsiteX50" fmla="*/ 704216 w 1243505"/>
                <a:gd name="connsiteY50" fmla="*/ 220431 h 1243505"/>
                <a:gd name="connsiteX51" fmla="*/ 716600 w 1243505"/>
                <a:gd name="connsiteY51" fmla="*/ 156966 h 1243505"/>
                <a:gd name="connsiteX52" fmla="*/ 743430 w 1243505"/>
                <a:gd name="connsiteY52" fmla="*/ 79569 h 1243505"/>
                <a:gd name="connsiteX53" fmla="*/ 780065 w 1243505"/>
                <a:gd name="connsiteY53" fmla="*/ 8364 h 1243505"/>
                <a:gd name="connsiteX54" fmla="*/ 797092 w 1243505"/>
                <a:gd name="connsiteY54" fmla="*/ 1140 h 1243505"/>
                <a:gd name="connsiteX55" fmla="*/ 944146 w 1243505"/>
                <a:gd name="connsiteY55" fmla="*/ 62542 h 1243505"/>
                <a:gd name="connsiteX56" fmla="*/ 950853 w 1243505"/>
                <a:gd name="connsiteY56" fmla="*/ 79053 h 1243505"/>
                <a:gd name="connsiteX57" fmla="*/ 914735 w 1243505"/>
                <a:gd name="connsiteY57" fmla="*/ 189472 h 1243505"/>
                <a:gd name="connsiteX58" fmla="*/ 906479 w 1243505"/>
                <a:gd name="connsiteY58" fmla="*/ 205467 h 1243505"/>
                <a:gd name="connsiteX59" fmla="*/ 853334 w 1243505"/>
                <a:gd name="connsiteY59" fmla="*/ 284928 h 1243505"/>
                <a:gd name="connsiteX60" fmla="*/ 855398 w 1243505"/>
                <a:gd name="connsiteY60" fmla="*/ 300923 h 1243505"/>
                <a:gd name="connsiteX61" fmla="*/ 948789 w 1243505"/>
                <a:gd name="connsiteY61" fmla="*/ 394315 h 1243505"/>
                <a:gd name="connsiteX62" fmla="*/ 963753 w 1243505"/>
                <a:gd name="connsiteY62" fmla="*/ 396379 h 1243505"/>
                <a:gd name="connsiteX63" fmla="*/ 1015866 w 1243505"/>
                <a:gd name="connsiteY63" fmla="*/ 360777 h 1243505"/>
                <a:gd name="connsiteX64" fmla="*/ 1099971 w 1243505"/>
                <a:gd name="connsiteY64" fmla="*/ 320530 h 1243505"/>
                <a:gd name="connsiteX65" fmla="*/ 1168596 w 1243505"/>
                <a:gd name="connsiteY65" fmla="*/ 298343 h 1243505"/>
                <a:gd name="connsiteX66" fmla="*/ 1186139 w 1243505"/>
                <a:gd name="connsiteY66" fmla="*/ 305567 h 1243505"/>
                <a:gd name="connsiteX67" fmla="*/ 1247024 w 1243505"/>
                <a:gd name="connsiteY67" fmla="*/ 453136 h 1243505"/>
                <a:gd name="connsiteX68" fmla="*/ 1240317 w 1243505"/>
                <a:gd name="connsiteY68" fmla="*/ 469648 h 1243505"/>
                <a:gd name="connsiteX69" fmla="*/ 1135573 w 1243505"/>
                <a:gd name="connsiteY69" fmla="*/ 522277 h 1243505"/>
                <a:gd name="connsiteX70" fmla="*/ 1059209 w 1243505"/>
                <a:gd name="connsiteY70" fmla="*/ 539821 h 1243505"/>
                <a:gd name="connsiteX71" fmla="*/ 1040117 w 1243505"/>
                <a:gd name="connsiteY71" fmla="*/ 543433 h 1243505"/>
                <a:gd name="connsiteX72" fmla="*/ 1017930 w 1243505"/>
                <a:gd name="connsiteY72" fmla="*/ 572843 h 1243505"/>
                <a:gd name="connsiteX73" fmla="*/ 1016383 w 1243505"/>
                <a:gd name="connsiteY73" fmla="*/ 688422 h 1243505"/>
                <a:gd name="connsiteX74" fmla="*/ 1028250 w 1243505"/>
                <a:gd name="connsiteY74" fmla="*/ 703386 h 1243505"/>
                <a:gd name="connsiteX75" fmla="*/ 1118030 w 1243505"/>
                <a:gd name="connsiteY75" fmla="*/ 720929 h 1243505"/>
                <a:gd name="connsiteX76" fmla="*/ 1142281 w 1243505"/>
                <a:gd name="connsiteY76" fmla="*/ 729184 h 1243505"/>
                <a:gd name="connsiteX77" fmla="*/ 1237737 w 1243505"/>
                <a:gd name="connsiteY77" fmla="*/ 777686 h 1243505"/>
                <a:gd name="connsiteX78" fmla="*/ 1246508 w 1243505"/>
                <a:gd name="connsiteY78" fmla="*/ 797809 h 1243505"/>
                <a:gd name="connsiteX79" fmla="*/ 1186655 w 1243505"/>
                <a:gd name="connsiteY79" fmla="*/ 941767 h 1243505"/>
                <a:gd name="connsiteX80" fmla="*/ 1167564 w 1243505"/>
                <a:gd name="connsiteY80" fmla="*/ 950023 h 1243505"/>
                <a:gd name="connsiteX81" fmla="*/ 1062304 w 1243505"/>
                <a:gd name="connsiteY81" fmla="*/ 915452 h 1243505"/>
                <a:gd name="connsiteX82" fmla="*/ 1042697 w 1243505"/>
                <a:gd name="connsiteY82" fmla="*/ 905649 h 1243505"/>
                <a:gd name="connsiteX83" fmla="*/ 963237 w 1243505"/>
                <a:gd name="connsiteY83" fmla="*/ 852503 h 1243505"/>
                <a:gd name="connsiteX84" fmla="*/ 947241 w 1243505"/>
                <a:gd name="connsiteY84" fmla="*/ 855083 h 1243505"/>
                <a:gd name="connsiteX85" fmla="*/ 855914 w 1243505"/>
                <a:gd name="connsiteY85" fmla="*/ 946927 h 1243505"/>
                <a:gd name="connsiteX86" fmla="*/ 853850 w 1243505"/>
                <a:gd name="connsiteY86" fmla="*/ 966018 h 1243505"/>
                <a:gd name="connsiteX87" fmla="*/ 890484 w 1243505"/>
                <a:gd name="connsiteY87" fmla="*/ 1020711 h 1243505"/>
                <a:gd name="connsiteX88" fmla="*/ 925054 w 1243505"/>
                <a:gd name="connsiteY88" fmla="*/ 1093464 h 1243505"/>
                <a:gd name="connsiteX89" fmla="*/ 949821 w 1243505"/>
                <a:gd name="connsiteY89" fmla="*/ 1169313 h 1243505"/>
                <a:gd name="connsiteX90" fmla="*/ 943114 w 1243505"/>
                <a:gd name="connsiteY90" fmla="*/ 1185824 h 1243505"/>
                <a:gd name="connsiteX91" fmla="*/ 794512 w 1243505"/>
                <a:gd name="connsiteY91" fmla="*/ 1247226 h 1243505"/>
                <a:gd name="connsiteX92" fmla="*/ 779033 w 1243505"/>
                <a:gd name="connsiteY92" fmla="*/ 1241034 h 1243505"/>
                <a:gd name="connsiteX93" fmla="*/ 724855 w 1243505"/>
                <a:gd name="connsiteY93" fmla="*/ 1134226 h 1243505"/>
                <a:gd name="connsiteX94" fmla="*/ 718148 w 1243505"/>
                <a:gd name="connsiteY94" fmla="*/ 1105332 h 1243505"/>
                <a:gd name="connsiteX95" fmla="*/ 703184 w 1243505"/>
                <a:gd name="connsiteY95" fmla="*/ 1031031 h 1243505"/>
                <a:gd name="connsiteX96" fmla="*/ 686157 w 1243505"/>
                <a:gd name="connsiteY96" fmla="*/ 1016068 h 1243505"/>
                <a:gd name="connsiteX97" fmla="*/ 624240 w 1243505"/>
                <a:gd name="connsiteY97" fmla="*/ 791102 h 1243505"/>
                <a:gd name="connsiteX98" fmla="*/ 790900 w 1243505"/>
                <a:gd name="connsiteY98" fmla="*/ 623925 h 1243505"/>
                <a:gd name="connsiteX99" fmla="*/ 624240 w 1243505"/>
                <a:gd name="connsiteY99" fmla="*/ 458296 h 1243505"/>
                <a:gd name="connsiteX100" fmla="*/ 458095 w 1243505"/>
                <a:gd name="connsiteY100" fmla="*/ 624441 h 1243505"/>
                <a:gd name="connsiteX101" fmla="*/ 624240 w 1243505"/>
                <a:gd name="connsiteY101" fmla="*/ 791102 h 1243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243505" h="1243505">
                  <a:moveTo>
                    <a:pt x="686157" y="1016068"/>
                  </a:moveTo>
                  <a:cubicBezTo>
                    <a:pt x="644363" y="1024840"/>
                    <a:pt x="602053" y="1021743"/>
                    <a:pt x="560258" y="1016068"/>
                  </a:cubicBezTo>
                  <a:cubicBezTo>
                    <a:pt x="550455" y="1015036"/>
                    <a:pt x="547359" y="1018132"/>
                    <a:pt x="545811" y="1026903"/>
                  </a:cubicBezTo>
                  <a:cubicBezTo>
                    <a:pt x="542199" y="1047542"/>
                    <a:pt x="537039" y="1068181"/>
                    <a:pt x="533944" y="1088821"/>
                  </a:cubicBezTo>
                  <a:cubicBezTo>
                    <a:pt x="529816" y="1117715"/>
                    <a:pt x="519496" y="1144030"/>
                    <a:pt x="505565" y="1169829"/>
                  </a:cubicBezTo>
                  <a:cubicBezTo>
                    <a:pt x="492666" y="1192532"/>
                    <a:pt x="481314" y="1216267"/>
                    <a:pt x="469447" y="1240002"/>
                  </a:cubicBezTo>
                  <a:cubicBezTo>
                    <a:pt x="465835" y="1247741"/>
                    <a:pt x="461191" y="1249290"/>
                    <a:pt x="452935" y="1246710"/>
                  </a:cubicBezTo>
                  <a:cubicBezTo>
                    <a:pt x="401853" y="1231230"/>
                    <a:pt x="352836" y="1211107"/>
                    <a:pt x="305366" y="1185824"/>
                  </a:cubicBezTo>
                  <a:cubicBezTo>
                    <a:pt x="297110" y="1181696"/>
                    <a:pt x="295562" y="1177053"/>
                    <a:pt x="298142" y="1168281"/>
                  </a:cubicBezTo>
                  <a:cubicBezTo>
                    <a:pt x="310525" y="1132163"/>
                    <a:pt x="321877" y="1095528"/>
                    <a:pt x="333744" y="1059410"/>
                  </a:cubicBezTo>
                  <a:cubicBezTo>
                    <a:pt x="335808" y="1053734"/>
                    <a:pt x="338904" y="1048574"/>
                    <a:pt x="342000" y="1043415"/>
                  </a:cubicBezTo>
                  <a:cubicBezTo>
                    <a:pt x="360059" y="1016584"/>
                    <a:pt x="377602" y="989753"/>
                    <a:pt x="395662" y="962922"/>
                  </a:cubicBezTo>
                  <a:cubicBezTo>
                    <a:pt x="399790" y="956730"/>
                    <a:pt x="399790" y="952603"/>
                    <a:pt x="393598" y="947959"/>
                  </a:cubicBezTo>
                  <a:cubicBezTo>
                    <a:pt x="356963" y="921644"/>
                    <a:pt x="326005" y="889653"/>
                    <a:pt x="299174" y="853535"/>
                  </a:cubicBezTo>
                  <a:cubicBezTo>
                    <a:pt x="295046" y="847859"/>
                    <a:pt x="290918" y="847859"/>
                    <a:pt x="285243" y="851471"/>
                  </a:cubicBezTo>
                  <a:cubicBezTo>
                    <a:pt x="267183" y="863855"/>
                    <a:pt x="248092" y="875206"/>
                    <a:pt x="230549" y="888106"/>
                  </a:cubicBezTo>
                  <a:cubicBezTo>
                    <a:pt x="205782" y="906681"/>
                    <a:pt x="178435" y="918548"/>
                    <a:pt x="148509" y="926804"/>
                  </a:cubicBezTo>
                  <a:cubicBezTo>
                    <a:pt x="124774" y="933511"/>
                    <a:pt x="101555" y="941767"/>
                    <a:pt x="78852" y="949507"/>
                  </a:cubicBezTo>
                  <a:cubicBezTo>
                    <a:pt x="71112" y="952087"/>
                    <a:pt x="66468" y="950539"/>
                    <a:pt x="62340" y="942799"/>
                  </a:cubicBezTo>
                  <a:cubicBezTo>
                    <a:pt x="36541" y="895329"/>
                    <a:pt x="15902" y="845795"/>
                    <a:pt x="939" y="794198"/>
                  </a:cubicBezTo>
                  <a:cubicBezTo>
                    <a:pt x="-1125" y="786458"/>
                    <a:pt x="-93" y="782330"/>
                    <a:pt x="7131" y="778718"/>
                  </a:cubicBezTo>
                  <a:cubicBezTo>
                    <a:pt x="42733" y="760659"/>
                    <a:pt x="77820" y="741052"/>
                    <a:pt x="114454" y="725056"/>
                  </a:cubicBezTo>
                  <a:cubicBezTo>
                    <a:pt x="137673" y="714737"/>
                    <a:pt x="164504" y="714221"/>
                    <a:pt x="189787" y="708545"/>
                  </a:cubicBezTo>
                  <a:cubicBezTo>
                    <a:pt x="200106" y="705965"/>
                    <a:pt x="210942" y="704417"/>
                    <a:pt x="221261" y="702354"/>
                  </a:cubicBezTo>
                  <a:cubicBezTo>
                    <a:pt x="229001" y="700806"/>
                    <a:pt x="233129" y="698226"/>
                    <a:pt x="231581" y="688938"/>
                  </a:cubicBezTo>
                  <a:cubicBezTo>
                    <a:pt x="229001" y="669847"/>
                    <a:pt x="226937" y="650756"/>
                    <a:pt x="225905" y="631149"/>
                  </a:cubicBezTo>
                  <a:cubicBezTo>
                    <a:pt x="224873" y="606898"/>
                    <a:pt x="229517" y="583163"/>
                    <a:pt x="231581" y="559428"/>
                  </a:cubicBezTo>
                  <a:cubicBezTo>
                    <a:pt x="232613" y="549624"/>
                    <a:pt x="229001" y="546528"/>
                    <a:pt x="220745" y="544980"/>
                  </a:cubicBezTo>
                  <a:cubicBezTo>
                    <a:pt x="204750" y="542401"/>
                    <a:pt x="188755" y="537757"/>
                    <a:pt x="172760" y="535693"/>
                  </a:cubicBezTo>
                  <a:cubicBezTo>
                    <a:pt x="118582" y="530533"/>
                    <a:pt x="74208" y="502154"/>
                    <a:pt x="27770" y="478419"/>
                  </a:cubicBezTo>
                  <a:cubicBezTo>
                    <a:pt x="-2157" y="463456"/>
                    <a:pt x="-1125" y="463456"/>
                    <a:pt x="8163" y="431465"/>
                  </a:cubicBezTo>
                  <a:cubicBezTo>
                    <a:pt x="21062" y="387091"/>
                    <a:pt x="41701" y="345813"/>
                    <a:pt x="62340" y="305051"/>
                  </a:cubicBezTo>
                  <a:cubicBezTo>
                    <a:pt x="66468" y="296795"/>
                    <a:pt x="71112" y="295247"/>
                    <a:pt x="79884" y="297827"/>
                  </a:cubicBezTo>
                  <a:cubicBezTo>
                    <a:pt x="116002" y="310211"/>
                    <a:pt x="152636" y="321562"/>
                    <a:pt x="188755" y="333430"/>
                  </a:cubicBezTo>
                  <a:cubicBezTo>
                    <a:pt x="194430" y="335494"/>
                    <a:pt x="199590" y="338589"/>
                    <a:pt x="204750" y="341685"/>
                  </a:cubicBezTo>
                  <a:cubicBezTo>
                    <a:pt x="231581" y="359745"/>
                    <a:pt x="258412" y="377288"/>
                    <a:pt x="285243" y="395347"/>
                  </a:cubicBezTo>
                  <a:cubicBezTo>
                    <a:pt x="291434" y="399475"/>
                    <a:pt x="295562" y="399475"/>
                    <a:pt x="300206" y="393283"/>
                  </a:cubicBezTo>
                  <a:cubicBezTo>
                    <a:pt x="326521" y="357165"/>
                    <a:pt x="357479" y="326206"/>
                    <a:pt x="393598" y="299891"/>
                  </a:cubicBezTo>
                  <a:cubicBezTo>
                    <a:pt x="400305" y="294731"/>
                    <a:pt x="399790" y="290604"/>
                    <a:pt x="395662" y="283896"/>
                  </a:cubicBezTo>
                  <a:cubicBezTo>
                    <a:pt x="381214" y="263257"/>
                    <a:pt x="367799" y="241586"/>
                    <a:pt x="353352" y="220947"/>
                  </a:cubicBezTo>
                  <a:cubicBezTo>
                    <a:pt x="340452" y="202887"/>
                    <a:pt x="331681" y="183280"/>
                    <a:pt x="325489" y="162125"/>
                  </a:cubicBezTo>
                  <a:cubicBezTo>
                    <a:pt x="317749" y="135294"/>
                    <a:pt x="308978" y="108980"/>
                    <a:pt x="299690" y="82665"/>
                  </a:cubicBezTo>
                  <a:cubicBezTo>
                    <a:pt x="296078" y="72345"/>
                    <a:pt x="297626" y="66669"/>
                    <a:pt x="307946" y="61510"/>
                  </a:cubicBezTo>
                  <a:cubicBezTo>
                    <a:pt x="353867" y="37259"/>
                    <a:pt x="401853" y="17136"/>
                    <a:pt x="451903" y="2172"/>
                  </a:cubicBezTo>
                  <a:cubicBezTo>
                    <a:pt x="461191" y="-408"/>
                    <a:pt x="465835" y="624"/>
                    <a:pt x="470478" y="9396"/>
                  </a:cubicBezTo>
                  <a:cubicBezTo>
                    <a:pt x="487506" y="43451"/>
                    <a:pt x="505565" y="77505"/>
                    <a:pt x="522076" y="111559"/>
                  </a:cubicBezTo>
                  <a:cubicBezTo>
                    <a:pt x="531880" y="132199"/>
                    <a:pt x="532396" y="155934"/>
                    <a:pt x="537555" y="177605"/>
                  </a:cubicBezTo>
                  <a:cubicBezTo>
                    <a:pt x="541167" y="192568"/>
                    <a:pt x="543747" y="208047"/>
                    <a:pt x="546843" y="223011"/>
                  </a:cubicBezTo>
                  <a:cubicBezTo>
                    <a:pt x="548391" y="230234"/>
                    <a:pt x="550971" y="232814"/>
                    <a:pt x="559227" y="231782"/>
                  </a:cubicBezTo>
                  <a:cubicBezTo>
                    <a:pt x="602569" y="225590"/>
                    <a:pt x="645395" y="225074"/>
                    <a:pt x="688737" y="231782"/>
                  </a:cubicBezTo>
                  <a:cubicBezTo>
                    <a:pt x="699056" y="233330"/>
                    <a:pt x="702152" y="229718"/>
                    <a:pt x="704216" y="220431"/>
                  </a:cubicBezTo>
                  <a:cubicBezTo>
                    <a:pt x="707828" y="199276"/>
                    <a:pt x="713504" y="178636"/>
                    <a:pt x="716600" y="156966"/>
                  </a:cubicBezTo>
                  <a:cubicBezTo>
                    <a:pt x="720727" y="129103"/>
                    <a:pt x="730531" y="103820"/>
                    <a:pt x="743430" y="79569"/>
                  </a:cubicBezTo>
                  <a:cubicBezTo>
                    <a:pt x="756330" y="56350"/>
                    <a:pt x="768197" y="32099"/>
                    <a:pt x="780065" y="8364"/>
                  </a:cubicBezTo>
                  <a:cubicBezTo>
                    <a:pt x="784193" y="108"/>
                    <a:pt x="788320" y="-1440"/>
                    <a:pt x="797092" y="1140"/>
                  </a:cubicBezTo>
                  <a:cubicBezTo>
                    <a:pt x="848174" y="16620"/>
                    <a:pt x="897192" y="36743"/>
                    <a:pt x="944146" y="62542"/>
                  </a:cubicBezTo>
                  <a:cubicBezTo>
                    <a:pt x="951885" y="66669"/>
                    <a:pt x="953949" y="70797"/>
                    <a:pt x="950853" y="79053"/>
                  </a:cubicBezTo>
                  <a:cubicBezTo>
                    <a:pt x="938470" y="115687"/>
                    <a:pt x="927118" y="152838"/>
                    <a:pt x="914735" y="189472"/>
                  </a:cubicBezTo>
                  <a:cubicBezTo>
                    <a:pt x="912671" y="195148"/>
                    <a:pt x="909575" y="200308"/>
                    <a:pt x="906479" y="205467"/>
                  </a:cubicBezTo>
                  <a:cubicBezTo>
                    <a:pt x="888936" y="231782"/>
                    <a:pt x="871393" y="258613"/>
                    <a:pt x="853334" y="284928"/>
                  </a:cubicBezTo>
                  <a:cubicBezTo>
                    <a:pt x="848690" y="291635"/>
                    <a:pt x="849206" y="296279"/>
                    <a:pt x="855398" y="300923"/>
                  </a:cubicBezTo>
                  <a:cubicBezTo>
                    <a:pt x="891516" y="327238"/>
                    <a:pt x="922475" y="358713"/>
                    <a:pt x="948789" y="394315"/>
                  </a:cubicBezTo>
                  <a:cubicBezTo>
                    <a:pt x="953433" y="401023"/>
                    <a:pt x="957561" y="400507"/>
                    <a:pt x="963753" y="396379"/>
                  </a:cubicBezTo>
                  <a:cubicBezTo>
                    <a:pt x="981296" y="384511"/>
                    <a:pt x="999355" y="373676"/>
                    <a:pt x="1015866" y="360777"/>
                  </a:cubicBezTo>
                  <a:cubicBezTo>
                    <a:pt x="1041149" y="341685"/>
                    <a:pt x="1069528" y="329302"/>
                    <a:pt x="1099971" y="320530"/>
                  </a:cubicBezTo>
                  <a:cubicBezTo>
                    <a:pt x="1123190" y="314339"/>
                    <a:pt x="1145893" y="306083"/>
                    <a:pt x="1168596" y="298343"/>
                  </a:cubicBezTo>
                  <a:cubicBezTo>
                    <a:pt x="1177368" y="295247"/>
                    <a:pt x="1181495" y="297311"/>
                    <a:pt x="1186139" y="305567"/>
                  </a:cubicBezTo>
                  <a:cubicBezTo>
                    <a:pt x="1211422" y="352521"/>
                    <a:pt x="1232061" y="401539"/>
                    <a:pt x="1247024" y="453136"/>
                  </a:cubicBezTo>
                  <a:cubicBezTo>
                    <a:pt x="1249604" y="461392"/>
                    <a:pt x="1247540" y="465520"/>
                    <a:pt x="1240317" y="469648"/>
                  </a:cubicBezTo>
                  <a:cubicBezTo>
                    <a:pt x="1205230" y="487191"/>
                    <a:pt x="1171176" y="506282"/>
                    <a:pt x="1135573" y="522277"/>
                  </a:cubicBezTo>
                  <a:cubicBezTo>
                    <a:pt x="1111838" y="533113"/>
                    <a:pt x="1084492" y="533629"/>
                    <a:pt x="1059209" y="539821"/>
                  </a:cubicBezTo>
                  <a:cubicBezTo>
                    <a:pt x="1053017" y="541369"/>
                    <a:pt x="1046309" y="542401"/>
                    <a:pt x="1040117" y="543433"/>
                  </a:cubicBezTo>
                  <a:cubicBezTo>
                    <a:pt x="1015866" y="548592"/>
                    <a:pt x="1014318" y="548592"/>
                    <a:pt x="1017930" y="572843"/>
                  </a:cubicBezTo>
                  <a:cubicBezTo>
                    <a:pt x="1024122" y="611541"/>
                    <a:pt x="1021542" y="649724"/>
                    <a:pt x="1016383" y="688422"/>
                  </a:cubicBezTo>
                  <a:cubicBezTo>
                    <a:pt x="1014835" y="699258"/>
                    <a:pt x="1019478" y="701837"/>
                    <a:pt x="1028250" y="703386"/>
                  </a:cubicBezTo>
                  <a:cubicBezTo>
                    <a:pt x="1058177" y="709061"/>
                    <a:pt x="1088103" y="715253"/>
                    <a:pt x="1118030" y="720929"/>
                  </a:cubicBezTo>
                  <a:cubicBezTo>
                    <a:pt x="1126802" y="722477"/>
                    <a:pt x="1134541" y="725572"/>
                    <a:pt x="1142281" y="729184"/>
                  </a:cubicBezTo>
                  <a:cubicBezTo>
                    <a:pt x="1173756" y="745696"/>
                    <a:pt x="1205746" y="762207"/>
                    <a:pt x="1237737" y="777686"/>
                  </a:cubicBezTo>
                  <a:cubicBezTo>
                    <a:pt x="1247024" y="782330"/>
                    <a:pt x="1249604" y="786974"/>
                    <a:pt x="1246508" y="797809"/>
                  </a:cubicBezTo>
                  <a:cubicBezTo>
                    <a:pt x="1231545" y="847859"/>
                    <a:pt x="1211422" y="895329"/>
                    <a:pt x="1186655" y="941767"/>
                  </a:cubicBezTo>
                  <a:cubicBezTo>
                    <a:pt x="1182011" y="950539"/>
                    <a:pt x="1177368" y="953634"/>
                    <a:pt x="1167564" y="950023"/>
                  </a:cubicBezTo>
                  <a:cubicBezTo>
                    <a:pt x="1132477" y="938155"/>
                    <a:pt x="1097391" y="926804"/>
                    <a:pt x="1062304" y="915452"/>
                  </a:cubicBezTo>
                  <a:cubicBezTo>
                    <a:pt x="1055081" y="913388"/>
                    <a:pt x="1048889" y="909776"/>
                    <a:pt x="1042697" y="905649"/>
                  </a:cubicBezTo>
                  <a:cubicBezTo>
                    <a:pt x="1016383" y="888106"/>
                    <a:pt x="989552" y="870562"/>
                    <a:pt x="963237" y="852503"/>
                  </a:cubicBezTo>
                  <a:cubicBezTo>
                    <a:pt x="956529" y="847859"/>
                    <a:pt x="952401" y="848375"/>
                    <a:pt x="947241" y="855083"/>
                  </a:cubicBezTo>
                  <a:cubicBezTo>
                    <a:pt x="921443" y="890169"/>
                    <a:pt x="891000" y="921128"/>
                    <a:pt x="855914" y="946927"/>
                  </a:cubicBezTo>
                  <a:cubicBezTo>
                    <a:pt x="847658" y="953119"/>
                    <a:pt x="848174" y="958278"/>
                    <a:pt x="853850" y="966018"/>
                  </a:cubicBezTo>
                  <a:cubicBezTo>
                    <a:pt x="866749" y="984077"/>
                    <a:pt x="877584" y="1002652"/>
                    <a:pt x="890484" y="1020711"/>
                  </a:cubicBezTo>
                  <a:cubicBezTo>
                    <a:pt x="906479" y="1042899"/>
                    <a:pt x="917831" y="1067149"/>
                    <a:pt x="925054" y="1093464"/>
                  </a:cubicBezTo>
                  <a:cubicBezTo>
                    <a:pt x="932278" y="1119263"/>
                    <a:pt x="941050" y="1144030"/>
                    <a:pt x="949821" y="1169313"/>
                  </a:cubicBezTo>
                  <a:cubicBezTo>
                    <a:pt x="952401" y="1177053"/>
                    <a:pt x="950853" y="1181696"/>
                    <a:pt x="943114" y="1185824"/>
                  </a:cubicBezTo>
                  <a:cubicBezTo>
                    <a:pt x="895644" y="1211623"/>
                    <a:pt x="846110" y="1232262"/>
                    <a:pt x="794512" y="1247226"/>
                  </a:cubicBezTo>
                  <a:cubicBezTo>
                    <a:pt x="786773" y="1249290"/>
                    <a:pt x="782645" y="1248258"/>
                    <a:pt x="779033" y="1241034"/>
                  </a:cubicBezTo>
                  <a:cubicBezTo>
                    <a:pt x="760974" y="1205432"/>
                    <a:pt x="742399" y="1169829"/>
                    <a:pt x="724855" y="1134226"/>
                  </a:cubicBezTo>
                  <a:cubicBezTo>
                    <a:pt x="720211" y="1125455"/>
                    <a:pt x="720211" y="1115136"/>
                    <a:pt x="718148" y="1105332"/>
                  </a:cubicBezTo>
                  <a:cubicBezTo>
                    <a:pt x="712988" y="1080565"/>
                    <a:pt x="708344" y="1055798"/>
                    <a:pt x="703184" y="1031031"/>
                  </a:cubicBezTo>
                  <a:cubicBezTo>
                    <a:pt x="700604" y="1015552"/>
                    <a:pt x="701120" y="1015552"/>
                    <a:pt x="686157" y="1016068"/>
                  </a:cubicBezTo>
                  <a:close/>
                  <a:moveTo>
                    <a:pt x="624240" y="791102"/>
                  </a:moveTo>
                  <a:cubicBezTo>
                    <a:pt x="720211" y="788522"/>
                    <a:pt x="791416" y="716801"/>
                    <a:pt x="790900" y="623925"/>
                  </a:cubicBezTo>
                  <a:cubicBezTo>
                    <a:pt x="790384" y="528985"/>
                    <a:pt x="717632" y="457780"/>
                    <a:pt x="624240" y="458296"/>
                  </a:cubicBezTo>
                  <a:cubicBezTo>
                    <a:pt x="530332" y="458296"/>
                    <a:pt x="458095" y="530533"/>
                    <a:pt x="458095" y="624441"/>
                  </a:cubicBezTo>
                  <a:cubicBezTo>
                    <a:pt x="458095" y="718349"/>
                    <a:pt x="530848" y="788522"/>
                    <a:pt x="624240" y="791102"/>
                  </a:cubicBezTo>
                  <a:close/>
                </a:path>
              </a:pathLst>
            </a:custGeom>
            <a:grpFill/>
            <a:ln w="5155" cap="flat">
              <a:noFill/>
              <a:prstDash val="solid"/>
              <a:miter/>
            </a:ln>
          </p:spPr>
          <p:txBody>
            <a:bodyPr rtlCol="0" anchor="ctr"/>
            <a:lstStyle/>
            <a:p>
              <a:endParaRPr lang="en-US"/>
            </a:p>
          </p:txBody>
        </p:sp>
        <p:grpSp>
          <p:nvGrpSpPr>
            <p:cNvPr id="10" name="Group 9">
              <a:extLst>
                <a:ext uri="{FF2B5EF4-FFF2-40B4-BE49-F238E27FC236}">
                  <a16:creationId xmlns:a16="http://schemas.microsoft.com/office/drawing/2014/main" id="{84777225-2D61-4C66-B198-7D070CA8492F}"/>
                </a:ext>
              </a:extLst>
            </p:cNvPr>
            <p:cNvGrpSpPr/>
            <p:nvPr/>
          </p:nvGrpSpPr>
          <p:grpSpPr>
            <a:xfrm rot="2246763">
              <a:off x="932314" y="2900862"/>
              <a:ext cx="3054679" cy="1218879"/>
              <a:chOff x="1727363" y="3556278"/>
              <a:chExt cx="3054679" cy="1218879"/>
            </a:xfrm>
            <a:grpFill/>
          </p:grpSpPr>
          <p:sp>
            <p:nvSpPr>
              <p:cNvPr id="30" name="Freeform: Shape 29">
                <a:extLst>
                  <a:ext uri="{FF2B5EF4-FFF2-40B4-BE49-F238E27FC236}">
                    <a16:creationId xmlns:a16="http://schemas.microsoft.com/office/drawing/2014/main" id="{83E67246-C28F-4691-8DF2-21886E878D44}"/>
                  </a:ext>
                </a:extLst>
              </p:cNvPr>
              <p:cNvSpPr/>
              <p:nvPr/>
            </p:nvSpPr>
            <p:spPr>
              <a:xfrm>
                <a:off x="2753518" y="3683131"/>
                <a:ext cx="796648" cy="799367"/>
              </a:xfrm>
              <a:custGeom>
                <a:avLst/>
                <a:gdLst>
                  <a:gd name="connsiteX0" fmla="*/ 817500 w 1511813"/>
                  <a:gd name="connsiteY0" fmla="*/ 1518710 h 1516973"/>
                  <a:gd name="connsiteX1" fmla="*/ 802537 w 1511813"/>
                  <a:gd name="connsiteY1" fmla="*/ 1507875 h 1516973"/>
                  <a:gd name="connsiteX2" fmla="*/ 780866 w 1511813"/>
                  <a:gd name="connsiteY2" fmla="*/ 1442862 h 1516973"/>
                  <a:gd name="connsiteX3" fmla="*/ 776738 w 1511813"/>
                  <a:gd name="connsiteY3" fmla="*/ 1385072 h 1516973"/>
                  <a:gd name="connsiteX4" fmla="*/ 760227 w 1511813"/>
                  <a:gd name="connsiteY4" fmla="*/ 1369593 h 1516973"/>
                  <a:gd name="connsiteX5" fmla="*/ 694698 w 1511813"/>
                  <a:gd name="connsiteY5" fmla="*/ 1366497 h 1516973"/>
                  <a:gd name="connsiteX6" fmla="*/ 676638 w 1511813"/>
                  <a:gd name="connsiteY6" fmla="*/ 1379912 h 1516973"/>
                  <a:gd name="connsiteX7" fmla="*/ 637940 w 1511813"/>
                  <a:gd name="connsiteY7" fmla="*/ 1501683 h 1516973"/>
                  <a:gd name="connsiteX8" fmla="*/ 622977 w 1511813"/>
                  <a:gd name="connsiteY8" fmla="*/ 1508907 h 1516973"/>
                  <a:gd name="connsiteX9" fmla="*/ 430517 w 1511813"/>
                  <a:gd name="connsiteY9" fmla="*/ 1447505 h 1516973"/>
                  <a:gd name="connsiteX10" fmla="*/ 422262 w 1511813"/>
                  <a:gd name="connsiteY10" fmla="*/ 1431510 h 1516973"/>
                  <a:gd name="connsiteX11" fmla="*/ 435677 w 1511813"/>
                  <a:gd name="connsiteY11" fmla="*/ 1364433 h 1516973"/>
                  <a:gd name="connsiteX12" fmla="*/ 461992 w 1511813"/>
                  <a:gd name="connsiteY12" fmla="*/ 1310255 h 1516973"/>
                  <a:gd name="connsiteX13" fmla="*/ 456316 w 1511813"/>
                  <a:gd name="connsiteY13" fmla="*/ 1290132 h 1516973"/>
                  <a:gd name="connsiteX14" fmla="*/ 395431 w 1511813"/>
                  <a:gd name="connsiteY14" fmla="*/ 1251434 h 1516973"/>
                  <a:gd name="connsiteX15" fmla="*/ 378919 w 1511813"/>
                  <a:gd name="connsiteY15" fmla="*/ 1254014 h 1516973"/>
                  <a:gd name="connsiteX16" fmla="*/ 283464 w 1511813"/>
                  <a:gd name="connsiteY16" fmla="*/ 1342246 h 1516973"/>
                  <a:gd name="connsiteX17" fmla="*/ 265920 w 1511813"/>
                  <a:gd name="connsiteY17" fmla="*/ 1341214 h 1516973"/>
                  <a:gd name="connsiteX18" fmla="*/ 130218 w 1511813"/>
                  <a:gd name="connsiteY18" fmla="*/ 1191580 h 1516973"/>
                  <a:gd name="connsiteX19" fmla="*/ 130734 w 1511813"/>
                  <a:gd name="connsiteY19" fmla="*/ 1174553 h 1516973"/>
                  <a:gd name="connsiteX20" fmla="*/ 177688 w 1511813"/>
                  <a:gd name="connsiteY20" fmla="*/ 1121408 h 1516973"/>
                  <a:gd name="connsiteX21" fmla="*/ 225674 w 1511813"/>
                  <a:gd name="connsiteY21" fmla="*/ 1089417 h 1516973"/>
                  <a:gd name="connsiteX22" fmla="*/ 230834 w 1511813"/>
                  <a:gd name="connsiteY22" fmla="*/ 1067230 h 1516973"/>
                  <a:gd name="connsiteX23" fmla="*/ 198327 w 1511813"/>
                  <a:gd name="connsiteY23" fmla="*/ 1004281 h 1516973"/>
                  <a:gd name="connsiteX24" fmla="*/ 183880 w 1511813"/>
                  <a:gd name="connsiteY24" fmla="*/ 998089 h 1516973"/>
                  <a:gd name="connsiteX25" fmla="*/ 67269 w 1511813"/>
                  <a:gd name="connsiteY25" fmla="*/ 1025952 h 1516973"/>
                  <a:gd name="connsiteX26" fmla="*/ 55918 w 1511813"/>
                  <a:gd name="connsiteY26" fmla="*/ 1027500 h 1516973"/>
                  <a:gd name="connsiteX27" fmla="*/ 41470 w 1511813"/>
                  <a:gd name="connsiteY27" fmla="*/ 1018212 h 1516973"/>
                  <a:gd name="connsiteX28" fmla="*/ 1224 w 1511813"/>
                  <a:gd name="connsiteY28" fmla="*/ 841748 h 1516973"/>
                  <a:gd name="connsiteX29" fmla="*/ 30635 w 1511813"/>
                  <a:gd name="connsiteY29" fmla="*/ 797374 h 1516973"/>
                  <a:gd name="connsiteX30" fmla="*/ 134862 w 1511813"/>
                  <a:gd name="connsiteY30" fmla="*/ 778799 h 1516973"/>
                  <a:gd name="connsiteX31" fmla="*/ 147246 w 1511813"/>
                  <a:gd name="connsiteY31" fmla="*/ 765899 h 1516973"/>
                  <a:gd name="connsiteX32" fmla="*/ 150342 w 1511813"/>
                  <a:gd name="connsiteY32" fmla="*/ 696242 h 1516973"/>
                  <a:gd name="connsiteX33" fmla="*/ 137442 w 1511813"/>
                  <a:gd name="connsiteY33" fmla="*/ 678699 h 1516973"/>
                  <a:gd name="connsiteX34" fmla="*/ 14639 w 1511813"/>
                  <a:gd name="connsiteY34" fmla="*/ 639485 h 1516973"/>
                  <a:gd name="connsiteX35" fmla="*/ 7932 w 1511813"/>
                  <a:gd name="connsiteY35" fmla="*/ 625037 h 1516973"/>
                  <a:gd name="connsiteX36" fmla="*/ 69333 w 1511813"/>
                  <a:gd name="connsiteY36" fmla="*/ 432578 h 1516973"/>
                  <a:gd name="connsiteX37" fmla="*/ 86360 w 1511813"/>
                  <a:gd name="connsiteY37" fmla="*/ 423806 h 1516973"/>
                  <a:gd name="connsiteX38" fmla="*/ 150858 w 1511813"/>
                  <a:gd name="connsiteY38" fmla="*/ 436706 h 1516973"/>
                  <a:gd name="connsiteX39" fmla="*/ 206583 w 1511813"/>
                  <a:gd name="connsiteY39" fmla="*/ 463536 h 1516973"/>
                  <a:gd name="connsiteX40" fmla="*/ 227738 w 1511813"/>
                  <a:gd name="connsiteY40" fmla="*/ 457345 h 1516973"/>
                  <a:gd name="connsiteX41" fmla="*/ 266952 w 1511813"/>
                  <a:gd name="connsiteY41" fmla="*/ 396459 h 1516973"/>
                  <a:gd name="connsiteX42" fmla="*/ 264373 w 1511813"/>
                  <a:gd name="connsiteY42" fmla="*/ 380980 h 1516973"/>
                  <a:gd name="connsiteX43" fmla="*/ 175108 w 1511813"/>
                  <a:gd name="connsiteY43" fmla="*/ 284492 h 1516973"/>
                  <a:gd name="connsiteX44" fmla="*/ 176140 w 1511813"/>
                  <a:gd name="connsiteY44" fmla="*/ 267981 h 1516973"/>
                  <a:gd name="connsiteX45" fmla="*/ 325258 w 1511813"/>
                  <a:gd name="connsiteY45" fmla="*/ 132279 h 1516973"/>
                  <a:gd name="connsiteX46" fmla="*/ 343317 w 1511813"/>
                  <a:gd name="connsiteY46" fmla="*/ 132795 h 1516973"/>
                  <a:gd name="connsiteX47" fmla="*/ 395431 w 1511813"/>
                  <a:gd name="connsiteY47" fmla="*/ 178717 h 1516973"/>
                  <a:gd name="connsiteX48" fmla="*/ 426389 w 1511813"/>
                  <a:gd name="connsiteY48" fmla="*/ 224639 h 1516973"/>
                  <a:gd name="connsiteX49" fmla="*/ 451156 w 1511813"/>
                  <a:gd name="connsiteY49" fmla="*/ 231347 h 1516973"/>
                  <a:gd name="connsiteX50" fmla="*/ 512042 w 1511813"/>
                  <a:gd name="connsiteY50" fmla="*/ 200388 h 1516973"/>
                  <a:gd name="connsiteX51" fmla="*/ 518233 w 1511813"/>
                  <a:gd name="connsiteY51" fmla="*/ 183877 h 1516973"/>
                  <a:gd name="connsiteX52" fmla="*/ 491403 w 1511813"/>
                  <a:gd name="connsiteY52" fmla="*/ 69846 h 1516973"/>
                  <a:gd name="connsiteX53" fmla="*/ 489855 w 1511813"/>
                  <a:gd name="connsiteY53" fmla="*/ 58494 h 1516973"/>
                  <a:gd name="connsiteX54" fmla="*/ 499658 w 1511813"/>
                  <a:gd name="connsiteY54" fmla="*/ 43015 h 1516973"/>
                  <a:gd name="connsiteX55" fmla="*/ 695730 w 1511813"/>
                  <a:gd name="connsiteY55" fmla="*/ 189 h 1516973"/>
                  <a:gd name="connsiteX56" fmla="*/ 713273 w 1511813"/>
                  <a:gd name="connsiteY56" fmla="*/ 12056 h 1516973"/>
                  <a:gd name="connsiteX57" fmla="*/ 721012 w 1511813"/>
                  <a:gd name="connsiteY57" fmla="*/ 35275 h 1516973"/>
                  <a:gd name="connsiteX58" fmla="*/ 738556 w 1511813"/>
                  <a:gd name="connsiteY58" fmla="*/ 134343 h 1516973"/>
                  <a:gd name="connsiteX59" fmla="*/ 753519 w 1511813"/>
                  <a:gd name="connsiteY59" fmla="*/ 148790 h 1516973"/>
                  <a:gd name="connsiteX60" fmla="*/ 820596 w 1511813"/>
                  <a:gd name="connsiteY60" fmla="*/ 151886 h 1516973"/>
                  <a:gd name="connsiteX61" fmla="*/ 838655 w 1511813"/>
                  <a:gd name="connsiteY61" fmla="*/ 138471 h 1516973"/>
                  <a:gd name="connsiteX62" fmla="*/ 877354 w 1511813"/>
                  <a:gd name="connsiteY62" fmla="*/ 16700 h 1516973"/>
                  <a:gd name="connsiteX63" fmla="*/ 892317 w 1511813"/>
                  <a:gd name="connsiteY63" fmla="*/ 9476 h 1516973"/>
                  <a:gd name="connsiteX64" fmla="*/ 1084777 w 1511813"/>
                  <a:gd name="connsiteY64" fmla="*/ 70878 h 1516973"/>
                  <a:gd name="connsiteX65" fmla="*/ 1093032 w 1511813"/>
                  <a:gd name="connsiteY65" fmla="*/ 86873 h 1516973"/>
                  <a:gd name="connsiteX66" fmla="*/ 1079617 w 1511813"/>
                  <a:gd name="connsiteY66" fmla="*/ 152402 h 1516973"/>
                  <a:gd name="connsiteX67" fmla="*/ 1053302 w 1511813"/>
                  <a:gd name="connsiteY67" fmla="*/ 206580 h 1516973"/>
                  <a:gd name="connsiteX68" fmla="*/ 1060010 w 1511813"/>
                  <a:gd name="connsiteY68" fmla="*/ 228251 h 1516973"/>
                  <a:gd name="connsiteX69" fmla="*/ 1118315 w 1511813"/>
                  <a:gd name="connsiteY69" fmla="*/ 265917 h 1516973"/>
                  <a:gd name="connsiteX70" fmla="*/ 1136374 w 1511813"/>
                  <a:gd name="connsiteY70" fmla="*/ 262821 h 1516973"/>
                  <a:gd name="connsiteX71" fmla="*/ 1232346 w 1511813"/>
                  <a:gd name="connsiteY71" fmla="*/ 174589 h 1516973"/>
                  <a:gd name="connsiteX72" fmla="*/ 1247825 w 1511813"/>
                  <a:gd name="connsiteY72" fmla="*/ 175621 h 1516973"/>
                  <a:gd name="connsiteX73" fmla="*/ 1384559 w 1511813"/>
                  <a:gd name="connsiteY73" fmla="*/ 325770 h 1516973"/>
                  <a:gd name="connsiteX74" fmla="*/ 1384043 w 1511813"/>
                  <a:gd name="connsiteY74" fmla="*/ 342798 h 1516973"/>
                  <a:gd name="connsiteX75" fmla="*/ 1336057 w 1511813"/>
                  <a:gd name="connsiteY75" fmla="*/ 396975 h 1516973"/>
                  <a:gd name="connsiteX76" fmla="*/ 1291167 w 1511813"/>
                  <a:gd name="connsiteY76" fmla="*/ 426902 h 1516973"/>
                  <a:gd name="connsiteX77" fmla="*/ 1284976 w 1511813"/>
                  <a:gd name="connsiteY77" fmla="*/ 451153 h 1516973"/>
                  <a:gd name="connsiteX78" fmla="*/ 1316450 w 1511813"/>
                  <a:gd name="connsiteY78" fmla="*/ 513070 h 1516973"/>
                  <a:gd name="connsiteX79" fmla="*/ 1330898 w 1511813"/>
                  <a:gd name="connsiteY79" fmla="*/ 519262 h 1516973"/>
                  <a:gd name="connsiteX80" fmla="*/ 1447509 w 1511813"/>
                  <a:gd name="connsiteY80" fmla="*/ 491399 h 1516973"/>
                  <a:gd name="connsiteX81" fmla="*/ 1458860 w 1511813"/>
                  <a:gd name="connsiteY81" fmla="*/ 489851 h 1516973"/>
                  <a:gd name="connsiteX82" fmla="*/ 1473307 w 1511813"/>
                  <a:gd name="connsiteY82" fmla="*/ 499139 h 1516973"/>
                  <a:gd name="connsiteX83" fmla="*/ 1513554 w 1511813"/>
                  <a:gd name="connsiteY83" fmla="*/ 675603 h 1516973"/>
                  <a:gd name="connsiteX84" fmla="*/ 1514070 w 1511813"/>
                  <a:gd name="connsiteY84" fmla="*/ 679215 h 1516973"/>
                  <a:gd name="connsiteX85" fmla="*/ 1490335 w 1511813"/>
                  <a:gd name="connsiteY85" fmla="*/ 717397 h 1516973"/>
                  <a:gd name="connsiteX86" fmla="*/ 1379916 w 1511813"/>
                  <a:gd name="connsiteY86" fmla="*/ 738036 h 1516973"/>
                  <a:gd name="connsiteX87" fmla="*/ 1367532 w 1511813"/>
                  <a:gd name="connsiteY87" fmla="*/ 749904 h 1516973"/>
                  <a:gd name="connsiteX88" fmla="*/ 1363920 w 1511813"/>
                  <a:gd name="connsiteY88" fmla="*/ 822141 h 1516973"/>
                  <a:gd name="connsiteX89" fmla="*/ 1375788 w 1511813"/>
                  <a:gd name="connsiteY89" fmla="*/ 838136 h 1516973"/>
                  <a:gd name="connsiteX90" fmla="*/ 1498590 w 1511813"/>
                  <a:gd name="connsiteY90" fmla="*/ 876834 h 1516973"/>
                  <a:gd name="connsiteX91" fmla="*/ 1506330 w 1511813"/>
                  <a:gd name="connsiteY91" fmla="*/ 891798 h 1516973"/>
                  <a:gd name="connsiteX92" fmla="*/ 1444413 w 1511813"/>
                  <a:gd name="connsiteY92" fmla="*/ 1085289 h 1516973"/>
                  <a:gd name="connsiteX93" fmla="*/ 1429449 w 1511813"/>
                  <a:gd name="connsiteY93" fmla="*/ 1093029 h 1516973"/>
                  <a:gd name="connsiteX94" fmla="*/ 1306647 w 1511813"/>
                  <a:gd name="connsiteY94" fmla="*/ 1052783 h 1516973"/>
                  <a:gd name="connsiteX95" fmla="*/ 1287556 w 1511813"/>
                  <a:gd name="connsiteY95" fmla="*/ 1057942 h 1516973"/>
                  <a:gd name="connsiteX96" fmla="*/ 1248857 w 1511813"/>
                  <a:gd name="connsiteY96" fmla="*/ 1118828 h 1516973"/>
                  <a:gd name="connsiteX97" fmla="*/ 1250405 w 1511813"/>
                  <a:gd name="connsiteY97" fmla="*/ 1135339 h 1516973"/>
                  <a:gd name="connsiteX98" fmla="*/ 1339153 w 1511813"/>
                  <a:gd name="connsiteY98" fmla="*/ 1230795 h 1516973"/>
                  <a:gd name="connsiteX99" fmla="*/ 1337605 w 1511813"/>
                  <a:gd name="connsiteY99" fmla="*/ 1249370 h 1516973"/>
                  <a:gd name="connsiteX100" fmla="*/ 1189004 w 1511813"/>
                  <a:gd name="connsiteY100" fmla="*/ 1384040 h 1516973"/>
                  <a:gd name="connsiteX101" fmla="*/ 1170945 w 1511813"/>
                  <a:gd name="connsiteY101" fmla="*/ 1383524 h 1516973"/>
                  <a:gd name="connsiteX102" fmla="*/ 1118831 w 1511813"/>
                  <a:gd name="connsiteY102" fmla="*/ 1337602 h 1516973"/>
                  <a:gd name="connsiteX103" fmla="*/ 1086840 w 1511813"/>
                  <a:gd name="connsiteY103" fmla="*/ 1289616 h 1516973"/>
                  <a:gd name="connsiteX104" fmla="*/ 1064137 w 1511813"/>
                  <a:gd name="connsiteY104" fmla="*/ 1284456 h 1516973"/>
                  <a:gd name="connsiteX105" fmla="*/ 1002220 w 1511813"/>
                  <a:gd name="connsiteY105" fmla="*/ 1316447 h 1516973"/>
                  <a:gd name="connsiteX106" fmla="*/ 996028 w 1511813"/>
                  <a:gd name="connsiteY106" fmla="*/ 1332958 h 1516973"/>
                  <a:gd name="connsiteX107" fmla="*/ 1022859 w 1511813"/>
                  <a:gd name="connsiteY107" fmla="*/ 1446989 h 1516973"/>
                  <a:gd name="connsiteX108" fmla="*/ 1024407 w 1511813"/>
                  <a:gd name="connsiteY108" fmla="*/ 1459889 h 1516973"/>
                  <a:gd name="connsiteX109" fmla="*/ 1015636 w 1511813"/>
                  <a:gd name="connsiteY109" fmla="*/ 1473304 h 1516973"/>
                  <a:gd name="connsiteX110" fmla="*/ 817500 w 1511813"/>
                  <a:gd name="connsiteY110" fmla="*/ 1518710 h 1516973"/>
                  <a:gd name="connsiteX111" fmla="*/ 758163 w 1511813"/>
                  <a:gd name="connsiteY111" fmla="*/ 1148238 h 1516973"/>
                  <a:gd name="connsiteX112" fmla="*/ 1145146 w 1511813"/>
                  <a:gd name="connsiteY112" fmla="*/ 758675 h 1516973"/>
                  <a:gd name="connsiteX113" fmla="*/ 757131 w 1511813"/>
                  <a:gd name="connsiteY113" fmla="*/ 371176 h 1516973"/>
                  <a:gd name="connsiteX114" fmla="*/ 368600 w 1511813"/>
                  <a:gd name="connsiteY114" fmla="*/ 759707 h 1516973"/>
                  <a:gd name="connsiteX115" fmla="*/ 758163 w 1511813"/>
                  <a:gd name="connsiteY115" fmla="*/ 1148238 h 1516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511813" h="1516973">
                    <a:moveTo>
                      <a:pt x="817500" y="1518710"/>
                    </a:moveTo>
                    <a:cubicBezTo>
                      <a:pt x="809245" y="1520774"/>
                      <a:pt x="805633" y="1516130"/>
                      <a:pt x="802537" y="1507875"/>
                    </a:cubicBezTo>
                    <a:cubicBezTo>
                      <a:pt x="795829" y="1486204"/>
                      <a:pt x="788090" y="1464532"/>
                      <a:pt x="780866" y="1442862"/>
                    </a:cubicBezTo>
                    <a:cubicBezTo>
                      <a:pt x="774674" y="1424286"/>
                      <a:pt x="777770" y="1404679"/>
                      <a:pt x="776738" y="1385072"/>
                    </a:cubicBezTo>
                    <a:cubicBezTo>
                      <a:pt x="776222" y="1369593"/>
                      <a:pt x="775706" y="1370109"/>
                      <a:pt x="760227" y="1369593"/>
                    </a:cubicBezTo>
                    <a:cubicBezTo>
                      <a:pt x="738556" y="1369593"/>
                      <a:pt x="716369" y="1368045"/>
                      <a:pt x="694698" y="1366497"/>
                    </a:cubicBezTo>
                    <a:cubicBezTo>
                      <a:pt x="683346" y="1365465"/>
                      <a:pt x="676638" y="1365981"/>
                      <a:pt x="676638" y="1379912"/>
                    </a:cubicBezTo>
                    <a:cubicBezTo>
                      <a:pt x="676638" y="1424286"/>
                      <a:pt x="655483" y="1462469"/>
                      <a:pt x="637940" y="1501683"/>
                    </a:cubicBezTo>
                    <a:cubicBezTo>
                      <a:pt x="634844" y="1508907"/>
                      <a:pt x="630716" y="1510454"/>
                      <a:pt x="622977" y="1508907"/>
                    </a:cubicBezTo>
                    <a:cubicBezTo>
                      <a:pt x="556416" y="1496523"/>
                      <a:pt x="492434" y="1475368"/>
                      <a:pt x="430517" y="1447505"/>
                    </a:cubicBezTo>
                    <a:cubicBezTo>
                      <a:pt x="423294" y="1443893"/>
                      <a:pt x="420198" y="1440282"/>
                      <a:pt x="422262" y="1431510"/>
                    </a:cubicBezTo>
                    <a:cubicBezTo>
                      <a:pt x="427421" y="1409323"/>
                      <a:pt x="431033" y="1386620"/>
                      <a:pt x="435677" y="1364433"/>
                    </a:cubicBezTo>
                    <a:cubicBezTo>
                      <a:pt x="439805" y="1344310"/>
                      <a:pt x="452704" y="1327798"/>
                      <a:pt x="461992" y="1310255"/>
                    </a:cubicBezTo>
                    <a:cubicBezTo>
                      <a:pt x="467152" y="1300452"/>
                      <a:pt x="466120" y="1295808"/>
                      <a:pt x="456316" y="1290132"/>
                    </a:cubicBezTo>
                    <a:cubicBezTo>
                      <a:pt x="435677" y="1278265"/>
                      <a:pt x="415554" y="1264849"/>
                      <a:pt x="395431" y="1251434"/>
                    </a:cubicBezTo>
                    <a:cubicBezTo>
                      <a:pt x="388207" y="1246274"/>
                      <a:pt x="383563" y="1246274"/>
                      <a:pt x="378919" y="1254014"/>
                    </a:cubicBezTo>
                    <a:cubicBezTo>
                      <a:pt x="356216" y="1293228"/>
                      <a:pt x="319066" y="1317479"/>
                      <a:pt x="283464" y="1342246"/>
                    </a:cubicBezTo>
                    <a:cubicBezTo>
                      <a:pt x="276240" y="1346890"/>
                      <a:pt x="272112" y="1346374"/>
                      <a:pt x="265920" y="1341214"/>
                    </a:cubicBezTo>
                    <a:cubicBezTo>
                      <a:pt x="214323" y="1297356"/>
                      <a:pt x="169433" y="1246790"/>
                      <a:pt x="130218" y="1191580"/>
                    </a:cubicBezTo>
                    <a:cubicBezTo>
                      <a:pt x="125575" y="1185389"/>
                      <a:pt x="125059" y="1180745"/>
                      <a:pt x="130734" y="1174553"/>
                    </a:cubicBezTo>
                    <a:cubicBezTo>
                      <a:pt x="146730" y="1157010"/>
                      <a:pt x="161177" y="1138435"/>
                      <a:pt x="177688" y="1121408"/>
                    </a:cubicBezTo>
                    <a:cubicBezTo>
                      <a:pt x="191104" y="1107476"/>
                      <a:pt x="209163" y="1099221"/>
                      <a:pt x="225674" y="1089417"/>
                    </a:cubicBezTo>
                    <a:cubicBezTo>
                      <a:pt x="236510" y="1083225"/>
                      <a:pt x="237026" y="1078065"/>
                      <a:pt x="230834" y="1067230"/>
                    </a:cubicBezTo>
                    <a:cubicBezTo>
                      <a:pt x="218967" y="1047107"/>
                      <a:pt x="208647" y="1025436"/>
                      <a:pt x="198327" y="1004281"/>
                    </a:cubicBezTo>
                    <a:cubicBezTo>
                      <a:pt x="194716" y="997057"/>
                      <a:pt x="192136" y="993445"/>
                      <a:pt x="183880" y="998089"/>
                    </a:cubicBezTo>
                    <a:cubicBezTo>
                      <a:pt x="147246" y="1017180"/>
                      <a:pt x="108031" y="1024920"/>
                      <a:pt x="67269" y="1025952"/>
                    </a:cubicBezTo>
                    <a:cubicBezTo>
                      <a:pt x="63657" y="1025952"/>
                      <a:pt x="59529" y="1026984"/>
                      <a:pt x="55918" y="1027500"/>
                    </a:cubicBezTo>
                    <a:cubicBezTo>
                      <a:pt x="48694" y="1028532"/>
                      <a:pt x="44050" y="1025952"/>
                      <a:pt x="41470" y="1018212"/>
                    </a:cubicBezTo>
                    <a:cubicBezTo>
                      <a:pt x="21347" y="960939"/>
                      <a:pt x="6384" y="902117"/>
                      <a:pt x="1224" y="841748"/>
                    </a:cubicBezTo>
                    <a:cubicBezTo>
                      <a:pt x="-1872" y="808725"/>
                      <a:pt x="-1356" y="809241"/>
                      <a:pt x="30635" y="797374"/>
                    </a:cubicBezTo>
                    <a:cubicBezTo>
                      <a:pt x="64173" y="784474"/>
                      <a:pt x="98744" y="775703"/>
                      <a:pt x="134862" y="778799"/>
                    </a:cubicBezTo>
                    <a:cubicBezTo>
                      <a:pt x="144150" y="779315"/>
                      <a:pt x="147246" y="775187"/>
                      <a:pt x="147246" y="765899"/>
                    </a:cubicBezTo>
                    <a:cubicBezTo>
                      <a:pt x="147246" y="742680"/>
                      <a:pt x="148278" y="719461"/>
                      <a:pt x="150342" y="696242"/>
                    </a:cubicBezTo>
                    <a:cubicBezTo>
                      <a:pt x="151373" y="685923"/>
                      <a:pt x="150858" y="678699"/>
                      <a:pt x="137442" y="678699"/>
                    </a:cubicBezTo>
                    <a:cubicBezTo>
                      <a:pt x="92552" y="678699"/>
                      <a:pt x="53854" y="657544"/>
                      <a:pt x="14639" y="639485"/>
                    </a:cubicBezTo>
                    <a:cubicBezTo>
                      <a:pt x="7932" y="636389"/>
                      <a:pt x="6384" y="632261"/>
                      <a:pt x="7932" y="625037"/>
                    </a:cubicBezTo>
                    <a:cubicBezTo>
                      <a:pt x="20315" y="558476"/>
                      <a:pt x="40954" y="494495"/>
                      <a:pt x="69333" y="432578"/>
                    </a:cubicBezTo>
                    <a:cubicBezTo>
                      <a:pt x="72945" y="424838"/>
                      <a:pt x="77073" y="421742"/>
                      <a:pt x="86360" y="423806"/>
                    </a:cubicBezTo>
                    <a:cubicBezTo>
                      <a:pt x="107515" y="428450"/>
                      <a:pt x="129186" y="432578"/>
                      <a:pt x="150858" y="436706"/>
                    </a:cubicBezTo>
                    <a:cubicBezTo>
                      <a:pt x="171497" y="440833"/>
                      <a:pt x="188008" y="453733"/>
                      <a:pt x="206583" y="463536"/>
                    </a:cubicBezTo>
                    <a:cubicBezTo>
                      <a:pt x="216903" y="468696"/>
                      <a:pt x="221546" y="467664"/>
                      <a:pt x="227738" y="457345"/>
                    </a:cubicBezTo>
                    <a:cubicBezTo>
                      <a:pt x="239606" y="436706"/>
                      <a:pt x="253021" y="416582"/>
                      <a:pt x="266952" y="396459"/>
                    </a:cubicBezTo>
                    <a:cubicBezTo>
                      <a:pt x="271596" y="389752"/>
                      <a:pt x="271596" y="385108"/>
                      <a:pt x="264373" y="380980"/>
                    </a:cubicBezTo>
                    <a:cubicBezTo>
                      <a:pt x="225158" y="357761"/>
                      <a:pt x="200391" y="320611"/>
                      <a:pt x="175108" y="284492"/>
                    </a:cubicBezTo>
                    <a:cubicBezTo>
                      <a:pt x="170465" y="277785"/>
                      <a:pt x="170981" y="273657"/>
                      <a:pt x="176140" y="267981"/>
                    </a:cubicBezTo>
                    <a:cubicBezTo>
                      <a:pt x="219998" y="216383"/>
                      <a:pt x="270048" y="171493"/>
                      <a:pt x="325258" y="132279"/>
                    </a:cubicBezTo>
                    <a:cubicBezTo>
                      <a:pt x="331966" y="127635"/>
                      <a:pt x="336609" y="126603"/>
                      <a:pt x="343317" y="132795"/>
                    </a:cubicBezTo>
                    <a:cubicBezTo>
                      <a:pt x="360344" y="148274"/>
                      <a:pt x="378404" y="162722"/>
                      <a:pt x="395431" y="178717"/>
                    </a:cubicBezTo>
                    <a:cubicBezTo>
                      <a:pt x="409362" y="191616"/>
                      <a:pt x="416070" y="209160"/>
                      <a:pt x="426389" y="224639"/>
                    </a:cubicBezTo>
                    <a:cubicBezTo>
                      <a:pt x="437741" y="241666"/>
                      <a:pt x="435161" y="240634"/>
                      <a:pt x="451156" y="231347"/>
                    </a:cubicBezTo>
                    <a:cubicBezTo>
                      <a:pt x="470763" y="219995"/>
                      <a:pt x="491403" y="209676"/>
                      <a:pt x="512042" y="200388"/>
                    </a:cubicBezTo>
                    <a:cubicBezTo>
                      <a:pt x="521329" y="196260"/>
                      <a:pt x="522361" y="192132"/>
                      <a:pt x="518233" y="183877"/>
                    </a:cubicBezTo>
                    <a:cubicBezTo>
                      <a:pt x="499142" y="148274"/>
                      <a:pt x="492434" y="109576"/>
                      <a:pt x="491403" y="69846"/>
                    </a:cubicBezTo>
                    <a:cubicBezTo>
                      <a:pt x="491403" y="66234"/>
                      <a:pt x="490371" y="62106"/>
                      <a:pt x="489855" y="58494"/>
                    </a:cubicBezTo>
                    <a:cubicBezTo>
                      <a:pt x="488307" y="50239"/>
                      <a:pt x="491403" y="46111"/>
                      <a:pt x="499658" y="43015"/>
                    </a:cubicBezTo>
                    <a:cubicBezTo>
                      <a:pt x="563123" y="20312"/>
                      <a:pt x="628653" y="6380"/>
                      <a:pt x="695730" y="189"/>
                    </a:cubicBezTo>
                    <a:cubicBezTo>
                      <a:pt x="706049" y="-843"/>
                      <a:pt x="710693" y="2253"/>
                      <a:pt x="713273" y="12056"/>
                    </a:cubicBezTo>
                    <a:cubicBezTo>
                      <a:pt x="715337" y="19796"/>
                      <a:pt x="717917" y="27536"/>
                      <a:pt x="721012" y="35275"/>
                    </a:cubicBezTo>
                    <a:cubicBezTo>
                      <a:pt x="734428" y="67266"/>
                      <a:pt x="741136" y="99772"/>
                      <a:pt x="738556" y="134343"/>
                    </a:cubicBezTo>
                    <a:cubicBezTo>
                      <a:pt x="737524" y="145694"/>
                      <a:pt x="742168" y="148790"/>
                      <a:pt x="753519" y="148790"/>
                    </a:cubicBezTo>
                    <a:cubicBezTo>
                      <a:pt x="775706" y="148274"/>
                      <a:pt x="797893" y="149822"/>
                      <a:pt x="820596" y="151886"/>
                    </a:cubicBezTo>
                    <a:cubicBezTo>
                      <a:pt x="831948" y="152918"/>
                      <a:pt x="838655" y="152402"/>
                      <a:pt x="838655" y="138471"/>
                    </a:cubicBezTo>
                    <a:cubicBezTo>
                      <a:pt x="838655" y="94097"/>
                      <a:pt x="859810" y="55914"/>
                      <a:pt x="877354" y="16700"/>
                    </a:cubicBezTo>
                    <a:cubicBezTo>
                      <a:pt x="880449" y="9476"/>
                      <a:pt x="885093" y="7928"/>
                      <a:pt x="892317" y="9476"/>
                    </a:cubicBezTo>
                    <a:cubicBezTo>
                      <a:pt x="958878" y="21860"/>
                      <a:pt x="1022859" y="42499"/>
                      <a:pt x="1084777" y="70878"/>
                    </a:cubicBezTo>
                    <a:cubicBezTo>
                      <a:pt x="1092000" y="74489"/>
                      <a:pt x="1095096" y="78617"/>
                      <a:pt x="1093032" y="86873"/>
                    </a:cubicBezTo>
                    <a:cubicBezTo>
                      <a:pt x="1088388" y="108544"/>
                      <a:pt x="1084261" y="130731"/>
                      <a:pt x="1079617" y="152402"/>
                    </a:cubicBezTo>
                    <a:cubicBezTo>
                      <a:pt x="1075489" y="172525"/>
                      <a:pt x="1062590" y="189036"/>
                      <a:pt x="1053302" y="206580"/>
                    </a:cubicBezTo>
                    <a:cubicBezTo>
                      <a:pt x="1047626" y="217415"/>
                      <a:pt x="1048658" y="222575"/>
                      <a:pt x="1060010" y="228251"/>
                    </a:cubicBezTo>
                    <a:cubicBezTo>
                      <a:pt x="1080133" y="239602"/>
                      <a:pt x="1099740" y="252502"/>
                      <a:pt x="1118315" y="265917"/>
                    </a:cubicBezTo>
                    <a:cubicBezTo>
                      <a:pt x="1126571" y="272109"/>
                      <a:pt x="1131214" y="271593"/>
                      <a:pt x="1136374" y="262821"/>
                    </a:cubicBezTo>
                    <a:cubicBezTo>
                      <a:pt x="1159077" y="223607"/>
                      <a:pt x="1196744" y="199872"/>
                      <a:pt x="1232346" y="174589"/>
                    </a:cubicBezTo>
                    <a:cubicBezTo>
                      <a:pt x="1238538" y="170461"/>
                      <a:pt x="1242666" y="170977"/>
                      <a:pt x="1247825" y="175621"/>
                    </a:cubicBezTo>
                    <a:cubicBezTo>
                      <a:pt x="1299939" y="219995"/>
                      <a:pt x="1345345" y="270045"/>
                      <a:pt x="1384559" y="325770"/>
                    </a:cubicBezTo>
                    <a:cubicBezTo>
                      <a:pt x="1389203" y="331962"/>
                      <a:pt x="1389719" y="336606"/>
                      <a:pt x="1384043" y="342798"/>
                    </a:cubicBezTo>
                    <a:cubicBezTo>
                      <a:pt x="1368048" y="360857"/>
                      <a:pt x="1352569" y="379432"/>
                      <a:pt x="1336057" y="396975"/>
                    </a:cubicBezTo>
                    <a:cubicBezTo>
                      <a:pt x="1323674" y="409875"/>
                      <a:pt x="1306131" y="417098"/>
                      <a:pt x="1291167" y="426902"/>
                    </a:cubicBezTo>
                    <a:cubicBezTo>
                      <a:pt x="1276720" y="436706"/>
                      <a:pt x="1276720" y="436190"/>
                      <a:pt x="1284976" y="451153"/>
                    </a:cubicBezTo>
                    <a:cubicBezTo>
                      <a:pt x="1295811" y="471792"/>
                      <a:pt x="1306647" y="492431"/>
                      <a:pt x="1316450" y="513070"/>
                    </a:cubicBezTo>
                    <a:cubicBezTo>
                      <a:pt x="1320062" y="520294"/>
                      <a:pt x="1323158" y="523390"/>
                      <a:pt x="1330898" y="519262"/>
                    </a:cubicBezTo>
                    <a:cubicBezTo>
                      <a:pt x="1367532" y="500171"/>
                      <a:pt x="1406746" y="492431"/>
                      <a:pt x="1447509" y="491399"/>
                    </a:cubicBezTo>
                    <a:cubicBezTo>
                      <a:pt x="1451120" y="491399"/>
                      <a:pt x="1455248" y="490367"/>
                      <a:pt x="1458860" y="489851"/>
                    </a:cubicBezTo>
                    <a:cubicBezTo>
                      <a:pt x="1466600" y="488819"/>
                      <a:pt x="1470728" y="491399"/>
                      <a:pt x="1473307" y="499139"/>
                    </a:cubicBezTo>
                    <a:cubicBezTo>
                      <a:pt x="1493431" y="556412"/>
                      <a:pt x="1508394" y="615234"/>
                      <a:pt x="1513554" y="675603"/>
                    </a:cubicBezTo>
                    <a:cubicBezTo>
                      <a:pt x="1513554" y="676635"/>
                      <a:pt x="1513554" y="678183"/>
                      <a:pt x="1514070" y="679215"/>
                    </a:cubicBezTo>
                    <a:cubicBezTo>
                      <a:pt x="1518713" y="714301"/>
                      <a:pt x="1519745" y="706046"/>
                      <a:pt x="1490335" y="717397"/>
                    </a:cubicBezTo>
                    <a:cubicBezTo>
                      <a:pt x="1454732" y="730813"/>
                      <a:pt x="1418614" y="741648"/>
                      <a:pt x="1379916" y="738036"/>
                    </a:cubicBezTo>
                    <a:cubicBezTo>
                      <a:pt x="1371144" y="737004"/>
                      <a:pt x="1368048" y="740616"/>
                      <a:pt x="1367532" y="749904"/>
                    </a:cubicBezTo>
                    <a:cubicBezTo>
                      <a:pt x="1367016" y="774155"/>
                      <a:pt x="1365984" y="797890"/>
                      <a:pt x="1363920" y="822141"/>
                    </a:cubicBezTo>
                    <a:cubicBezTo>
                      <a:pt x="1363404" y="831944"/>
                      <a:pt x="1363920" y="838136"/>
                      <a:pt x="1375788" y="838136"/>
                    </a:cubicBezTo>
                    <a:cubicBezTo>
                      <a:pt x="1420678" y="838136"/>
                      <a:pt x="1459376" y="858775"/>
                      <a:pt x="1498590" y="876834"/>
                    </a:cubicBezTo>
                    <a:cubicBezTo>
                      <a:pt x="1505298" y="879930"/>
                      <a:pt x="1507878" y="883542"/>
                      <a:pt x="1506330" y="891798"/>
                    </a:cubicBezTo>
                    <a:cubicBezTo>
                      <a:pt x="1493947" y="958875"/>
                      <a:pt x="1472791" y="1023372"/>
                      <a:pt x="1444413" y="1085289"/>
                    </a:cubicBezTo>
                    <a:cubicBezTo>
                      <a:pt x="1441317" y="1092513"/>
                      <a:pt x="1437189" y="1094577"/>
                      <a:pt x="1429449" y="1093029"/>
                    </a:cubicBezTo>
                    <a:cubicBezTo>
                      <a:pt x="1386623" y="1085289"/>
                      <a:pt x="1343797" y="1078581"/>
                      <a:pt x="1306647" y="1052783"/>
                    </a:cubicBezTo>
                    <a:cubicBezTo>
                      <a:pt x="1297875" y="1046591"/>
                      <a:pt x="1293231" y="1048655"/>
                      <a:pt x="1287556" y="1057942"/>
                    </a:cubicBezTo>
                    <a:cubicBezTo>
                      <a:pt x="1275688" y="1078581"/>
                      <a:pt x="1262273" y="1098705"/>
                      <a:pt x="1248857" y="1118828"/>
                    </a:cubicBezTo>
                    <a:cubicBezTo>
                      <a:pt x="1244214" y="1125535"/>
                      <a:pt x="1242150" y="1130179"/>
                      <a:pt x="1250405" y="1135339"/>
                    </a:cubicBezTo>
                    <a:cubicBezTo>
                      <a:pt x="1289620" y="1158558"/>
                      <a:pt x="1313871" y="1194676"/>
                      <a:pt x="1339153" y="1230795"/>
                    </a:cubicBezTo>
                    <a:cubicBezTo>
                      <a:pt x="1344313" y="1238018"/>
                      <a:pt x="1343797" y="1242662"/>
                      <a:pt x="1337605" y="1249370"/>
                    </a:cubicBezTo>
                    <a:cubicBezTo>
                      <a:pt x="1293747" y="1300968"/>
                      <a:pt x="1244214" y="1345342"/>
                      <a:pt x="1189004" y="1384040"/>
                    </a:cubicBezTo>
                    <a:cubicBezTo>
                      <a:pt x="1182296" y="1388684"/>
                      <a:pt x="1177652" y="1389716"/>
                      <a:pt x="1170945" y="1383524"/>
                    </a:cubicBezTo>
                    <a:cubicBezTo>
                      <a:pt x="1153918" y="1368045"/>
                      <a:pt x="1135858" y="1353597"/>
                      <a:pt x="1118831" y="1337602"/>
                    </a:cubicBezTo>
                    <a:cubicBezTo>
                      <a:pt x="1104384" y="1324187"/>
                      <a:pt x="1096644" y="1306128"/>
                      <a:pt x="1086840" y="1289616"/>
                    </a:cubicBezTo>
                    <a:cubicBezTo>
                      <a:pt x="1080133" y="1278265"/>
                      <a:pt x="1074973" y="1277749"/>
                      <a:pt x="1064137" y="1284456"/>
                    </a:cubicBezTo>
                    <a:cubicBezTo>
                      <a:pt x="1044530" y="1296324"/>
                      <a:pt x="1023375" y="1306643"/>
                      <a:pt x="1002220" y="1316447"/>
                    </a:cubicBezTo>
                    <a:cubicBezTo>
                      <a:pt x="993449" y="1320575"/>
                      <a:pt x="991385" y="1324703"/>
                      <a:pt x="996028" y="1332958"/>
                    </a:cubicBezTo>
                    <a:cubicBezTo>
                      <a:pt x="1015120" y="1368561"/>
                      <a:pt x="1021827" y="1407259"/>
                      <a:pt x="1022859" y="1446989"/>
                    </a:cubicBezTo>
                    <a:cubicBezTo>
                      <a:pt x="1022859" y="1451117"/>
                      <a:pt x="1023891" y="1455245"/>
                      <a:pt x="1024407" y="1459889"/>
                    </a:cubicBezTo>
                    <a:cubicBezTo>
                      <a:pt x="1025439" y="1466596"/>
                      <a:pt x="1022859" y="1470724"/>
                      <a:pt x="1015636" y="1473304"/>
                    </a:cubicBezTo>
                    <a:cubicBezTo>
                      <a:pt x="970745" y="1493943"/>
                      <a:pt x="870646" y="1516130"/>
                      <a:pt x="817500" y="1518710"/>
                    </a:cubicBezTo>
                    <a:close/>
                    <a:moveTo>
                      <a:pt x="758163" y="1148238"/>
                    </a:moveTo>
                    <a:cubicBezTo>
                      <a:pt x="974357" y="1144627"/>
                      <a:pt x="1145146" y="976418"/>
                      <a:pt x="1145146" y="758675"/>
                    </a:cubicBezTo>
                    <a:cubicBezTo>
                      <a:pt x="1145146" y="542481"/>
                      <a:pt x="974357" y="371176"/>
                      <a:pt x="757131" y="371176"/>
                    </a:cubicBezTo>
                    <a:cubicBezTo>
                      <a:pt x="539904" y="371176"/>
                      <a:pt x="368600" y="542481"/>
                      <a:pt x="368600" y="759707"/>
                    </a:cubicBezTo>
                    <a:cubicBezTo>
                      <a:pt x="369116" y="977966"/>
                      <a:pt x="541452" y="1145659"/>
                      <a:pt x="758163" y="1148238"/>
                    </a:cubicBezTo>
                    <a:close/>
                  </a:path>
                </a:pathLst>
              </a:custGeom>
              <a:grpFill/>
              <a:ln w="5155" cap="flat">
                <a:noFill/>
                <a:prstDash val="solid"/>
                <a:miter/>
              </a:ln>
            </p:spPr>
            <p:txBody>
              <a:bodyPr rtlCol="0" anchor="ctr"/>
              <a:lstStyle/>
              <a:p>
                <a:endParaRPr lang="en-US"/>
              </a:p>
            </p:txBody>
          </p:sp>
          <p:grpSp>
            <p:nvGrpSpPr>
              <p:cNvPr id="31" name="Group 30">
                <a:extLst>
                  <a:ext uri="{FF2B5EF4-FFF2-40B4-BE49-F238E27FC236}">
                    <a16:creationId xmlns:a16="http://schemas.microsoft.com/office/drawing/2014/main" id="{25925A4A-CBF1-48EF-AB30-CEBB54EC947A}"/>
                  </a:ext>
                </a:extLst>
              </p:cNvPr>
              <p:cNvGrpSpPr/>
              <p:nvPr/>
            </p:nvGrpSpPr>
            <p:grpSpPr>
              <a:xfrm>
                <a:off x="3563163" y="3556278"/>
                <a:ext cx="1218879" cy="1218879"/>
                <a:chOff x="3264582" y="1870309"/>
                <a:chExt cx="1774962" cy="1774962"/>
              </a:xfrm>
              <a:grpFill/>
            </p:grpSpPr>
            <p:sp>
              <p:nvSpPr>
                <p:cNvPr id="33" name="Freeform: Shape 32">
                  <a:extLst>
                    <a:ext uri="{FF2B5EF4-FFF2-40B4-BE49-F238E27FC236}">
                      <a16:creationId xmlns:a16="http://schemas.microsoft.com/office/drawing/2014/main" id="{59AB121F-74A9-4A6A-B896-45331194465F}"/>
                    </a:ext>
                  </a:extLst>
                </p:cNvPr>
                <p:cNvSpPr/>
                <p:nvPr/>
              </p:nvSpPr>
              <p:spPr>
                <a:xfrm>
                  <a:off x="3264582" y="1870309"/>
                  <a:ext cx="1774962" cy="1774962"/>
                </a:xfrm>
                <a:custGeom>
                  <a:avLst/>
                  <a:gdLst>
                    <a:gd name="connsiteX0" fmla="*/ 894776 w 1774962"/>
                    <a:gd name="connsiteY0" fmla="*/ 1775736 h 1774962"/>
                    <a:gd name="connsiteX1" fmla="*/ 852466 w 1774962"/>
                    <a:gd name="connsiteY1" fmla="*/ 1775736 h 1774962"/>
                    <a:gd name="connsiteX2" fmla="*/ 839567 w 1774962"/>
                    <a:gd name="connsiteY2" fmla="*/ 1764901 h 1774962"/>
                    <a:gd name="connsiteX3" fmla="*/ 819960 w 1774962"/>
                    <a:gd name="connsiteY3" fmla="*/ 1666349 h 1774962"/>
                    <a:gd name="connsiteX4" fmla="*/ 822024 w 1774962"/>
                    <a:gd name="connsiteY4" fmla="*/ 1636938 h 1774962"/>
                    <a:gd name="connsiteX5" fmla="*/ 811704 w 1774962"/>
                    <a:gd name="connsiteY5" fmla="*/ 1623523 h 1774962"/>
                    <a:gd name="connsiteX6" fmla="*/ 695093 w 1774962"/>
                    <a:gd name="connsiteY6" fmla="*/ 1601852 h 1774962"/>
                    <a:gd name="connsiteX7" fmla="*/ 680130 w 1774962"/>
                    <a:gd name="connsiteY7" fmla="*/ 1610623 h 1774962"/>
                    <a:gd name="connsiteX8" fmla="*/ 615116 w 1774962"/>
                    <a:gd name="connsiteY8" fmla="*/ 1727234 h 1774962"/>
                    <a:gd name="connsiteX9" fmla="*/ 603765 w 1774962"/>
                    <a:gd name="connsiteY9" fmla="*/ 1730330 h 1774962"/>
                    <a:gd name="connsiteX10" fmla="*/ 512953 w 1774962"/>
                    <a:gd name="connsiteY10" fmla="*/ 1694212 h 1774962"/>
                    <a:gd name="connsiteX11" fmla="*/ 507277 w 1774962"/>
                    <a:gd name="connsiteY11" fmla="*/ 1681828 h 1774962"/>
                    <a:gd name="connsiteX12" fmla="*/ 527400 w 1774962"/>
                    <a:gd name="connsiteY12" fmla="*/ 1583277 h 1774962"/>
                    <a:gd name="connsiteX13" fmla="*/ 541848 w 1774962"/>
                    <a:gd name="connsiteY13" fmla="*/ 1552834 h 1774962"/>
                    <a:gd name="connsiteX14" fmla="*/ 537720 w 1774962"/>
                    <a:gd name="connsiteY14" fmla="*/ 1539418 h 1774962"/>
                    <a:gd name="connsiteX15" fmla="*/ 435041 w 1774962"/>
                    <a:gd name="connsiteY15" fmla="*/ 1472857 h 1774962"/>
                    <a:gd name="connsiteX16" fmla="*/ 420593 w 1774962"/>
                    <a:gd name="connsiteY16" fmla="*/ 1474921 h 1774962"/>
                    <a:gd name="connsiteX17" fmla="*/ 315334 w 1774962"/>
                    <a:gd name="connsiteY17" fmla="*/ 1559026 h 1774962"/>
                    <a:gd name="connsiteX18" fmla="*/ 302950 w 1774962"/>
                    <a:gd name="connsiteY18" fmla="*/ 1557478 h 1774962"/>
                    <a:gd name="connsiteX19" fmla="*/ 233809 w 1774962"/>
                    <a:gd name="connsiteY19" fmla="*/ 1490401 h 1774962"/>
                    <a:gd name="connsiteX20" fmla="*/ 232777 w 1774962"/>
                    <a:gd name="connsiteY20" fmla="*/ 1476985 h 1774962"/>
                    <a:gd name="connsiteX21" fmla="*/ 289019 w 1774962"/>
                    <a:gd name="connsiteY21" fmla="*/ 1393397 h 1774962"/>
                    <a:gd name="connsiteX22" fmla="*/ 312754 w 1774962"/>
                    <a:gd name="connsiteY22" fmla="*/ 1371726 h 1774962"/>
                    <a:gd name="connsiteX23" fmla="*/ 314818 w 1774962"/>
                    <a:gd name="connsiteY23" fmla="*/ 1355731 h 1774962"/>
                    <a:gd name="connsiteX24" fmla="*/ 246193 w 1774962"/>
                    <a:gd name="connsiteY24" fmla="*/ 1255631 h 1774962"/>
                    <a:gd name="connsiteX25" fmla="*/ 230713 w 1774962"/>
                    <a:gd name="connsiteY25" fmla="*/ 1253051 h 1774962"/>
                    <a:gd name="connsiteX26" fmla="*/ 102751 w 1774962"/>
                    <a:gd name="connsiteY26" fmla="*/ 1289685 h 1774962"/>
                    <a:gd name="connsiteX27" fmla="*/ 91916 w 1774962"/>
                    <a:gd name="connsiteY27" fmla="*/ 1282978 h 1774962"/>
                    <a:gd name="connsiteX28" fmla="*/ 53733 w 1774962"/>
                    <a:gd name="connsiteY28" fmla="*/ 1194230 h 1774962"/>
                    <a:gd name="connsiteX29" fmla="*/ 58377 w 1774962"/>
                    <a:gd name="connsiteY29" fmla="*/ 1181330 h 1774962"/>
                    <a:gd name="connsiteX30" fmla="*/ 142481 w 1774962"/>
                    <a:gd name="connsiteY30" fmla="*/ 1125605 h 1774962"/>
                    <a:gd name="connsiteX31" fmla="*/ 173956 w 1774962"/>
                    <a:gd name="connsiteY31" fmla="*/ 1114253 h 1774962"/>
                    <a:gd name="connsiteX32" fmla="*/ 180664 w 1774962"/>
                    <a:gd name="connsiteY32" fmla="*/ 1101870 h 1774962"/>
                    <a:gd name="connsiteX33" fmla="*/ 154865 w 1774962"/>
                    <a:gd name="connsiteY33" fmla="*/ 981131 h 1774962"/>
                    <a:gd name="connsiteX34" fmla="*/ 144029 w 1774962"/>
                    <a:gd name="connsiteY34" fmla="*/ 973391 h 1774962"/>
                    <a:gd name="connsiteX35" fmla="*/ 10391 w 1774962"/>
                    <a:gd name="connsiteY35" fmla="*/ 958428 h 1774962"/>
                    <a:gd name="connsiteX36" fmla="*/ 2135 w 1774962"/>
                    <a:gd name="connsiteY36" fmla="*/ 948624 h 1774962"/>
                    <a:gd name="connsiteX37" fmla="*/ 588 w 1774962"/>
                    <a:gd name="connsiteY37" fmla="*/ 850589 h 1774962"/>
                    <a:gd name="connsiteX38" fmla="*/ 10391 w 1774962"/>
                    <a:gd name="connsiteY38" fmla="*/ 840785 h 1774962"/>
                    <a:gd name="connsiteX39" fmla="*/ 110491 w 1774962"/>
                    <a:gd name="connsiteY39" fmla="*/ 820662 h 1774962"/>
                    <a:gd name="connsiteX40" fmla="*/ 139901 w 1774962"/>
                    <a:gd name="connsiteY40" fmla="*/ 822726 h 1774962"/>
                    <a:gd name="connsiteX41" fmla="*/ 153317 w 1774962"/>
                    <a:gd name="connsiteY41" fmla="*/ 811890 h 1774962"/>
                    <a:gd name="connsiteX42" fmla="*/ 174472 w 1774962"/>
                    <a:gd name="connsiteY42" fmla="*/ 696827 h 1774962"/>
                    <a:gd name="connsiteX43" fmla="*/ 164152 w 1774962"/>
                    <a:gd name="connsiteY43" fmla="*/ 680316 h 1774962"/>
                    <a:gd name="connsiteX44" fmla="*/ 49090 w 1774962"/>
                    <a:gd name="connsiteY44" fmla="*/ 615819 h 1774962"/>
                    <a:gd name="connsiteX45" fmla="*/ 45993 w 1774962"/>
                    <a:gd name="connsiteY45" fmla="*/ 606015 h 1774962"/>
                    <a:gd name="connsiteX46" fmla="*/ 82628 w 1774962"/>
                    <a:gd name="connsiteY46" fmla="*/ 513655 h 1774962"/>
                    <a:gd name="connsiteX47" fmla="*/ 93979 w 1774962"/>
                    <a:gd name="connsiteY47" fmla="*/ 508496 h 1774962"/>
                    <a:gd name="connsiteX48" fmla="*/ 224006 w 1774962"/>
                    <a:gd name="connsiteY48" fmla="*/ 543066 h 1774962"/>
                    <a:gd name="connsiteX49" fmla="*/ 236905 w 1774962"/>
                    <a:gd name="connsiteY49" fmla="*/ 538938 h 1774962"/>
                    <a:gd name="connsiteX50" fmla="*/ 302434 w 1774962"/>
                    <a:gd name="connsiteY50" fmla="*/ 437291 h 1774962"/>
                    <a:gd name="connsiteX51" fmla="*/ 302950 w 1774962"/>
                    <a:gd name="connsiteY51" fmla="*/ 423359 h 1774962"/>
                    <a:gd name="connsiteX52" fmla="*/ 238453 w 1774962"/>
                    <a:gd name="connsiteY52" fmla="*/ 346995 h 1774962"/>
                    <a:gd name="connsiteX53" fmla="*/ 228650 w 1774962"/>
                    <a:gd name="connsiteY53" fmla="*/ 333063 h 1774962"/>
                    <a:gd name="connsiteX54" fmla="*/ 230713 w 1774962"/>
                    <a:gd name="connsiteY54" fmla="*/ 290237 h 1774962"/>
                    <a:gd name="connsiteX55" fmla="*/ 283859 w 1774962"/>
                    <a:gd name="connsiteY55" fmla="*/ 236060 h 1774962"/>
                    <a:gd name="connsiteX56" fmla="*/ 300370 w 1774962"/>
                    <a:gd name="connsiteY56" fmla="*/ 234512 h 1774962"/>
                    <a:gd name="connsiteX57" fmla="*/ 380863 w 1774962"/>
                    <a:gd name="connsiteY57" fmla="*/ 288173 h 1774962"/>
                    <a:gd name="connsiteX58" fmla="*/ 403050 w 1774962"/>
                    <a:gd name="connsiteY58" fmla="*/ 311392 h 1774962"/>
                    <a:gd name="connsiteX59" fmla="*/ 422141 w 1774962"/>
                    <a:gd name="connsiteY59" fmla="*/ 313972 h 1774962"/>
                    <a:gd name="connsiteX60" fmla="*/ 519661 w 1774962"/>
                    <a:gd name="connsiteY60" fmla="*/ 246895 h 1774962"/>
                    <a:gd name="connsiteX61" fmla="*/ 524820 w 1774962"/>
                    <a:gd name="connsiteY61" fmla="*/ 233996 h 1774962"/>
                    <a:gd name="connsiteX62" fmla="*/ 492314 w 1774962"/>
                    <a:gd name="connsiteY62" fmla="*/ 127704 h 1774962"/>
                    <a:gd name="connsiteX63" fmla="*/ 514501 w 1774962"/>
                    <a:gd name="connsiteY63" fmla="*/ 82298 h 1774962"/>
                    <a:gd name="connsiteX64" fmla="*/ 578482 w 1774962"/>
                    <a:gd name="connsiteY64" fmla="*/ 55468 h 1774962"/>
                    <a:gd name="connsiteX65" fmla="*/ 595509 w 1774962"/>
                    <a:gd name="connsiteY65" fmla="*/ 60111 h 1774962"/>
                    <a:gd name="connsiteX66" fmla="*/ 648655 w 1774962"/>
                    <a:gd name="connsiteY66" fmla="*/ 139572 h 1774962"/>
                    <a:gd name="connsiteX67" fmla="*/ 661039 w 1774962"/>
                    <a:gd name="connsiteY67" fmla="*/ 172078 h 1774962"/>
                    <a:gd name="connsiteX68" fmla="*/ 675486 w 1774962"/>
                    <a:gd name="connsiteY68" fmla="*/ 180334 h 1774962"/>
                    <a:gd name="connsiteX69" fmla="*/ 792613 w 1774962"/>
                    <a:gd name="connsiteY69" fmla="*/ 155567 h 1774962"/>
                    <a:gd name="connsiteX70" fmla="*/ 801900 w 1774962"/>
                    <a:gd name="connsiteY70" fmla="*/ 143700 h 1774962"/>
                    <a:gd name="connsiteX71" fmla="*/ 816864 w 1774962"/>
                    <a:gd name="connsiteY71" fmla="*/ 11094 h 1774962"/>
                    <a:gd name="connsiteX72" fmla="*/ 826151 w 1774962"/>
                    <a:gd name="connsiteY72" fmla="*/ 2322 h 1774962"/>
                    <a:gd name="connsiteX73" fmla="*/ 925219 w 1774962"/>
                    <a:gd name="connsiteY73" fmla="*/ 774 h 1774962"/>
                    <a:gd name="connsiteX74" fmla="*/ 934507 w 1774962"/>
                    <a:gd name="connsiteY74" fmla="*/ 10062 h 1774962"/>
                    <a:gd name="connsiteX75" fmla="*/ 954114 w 1774962"/>
                    <a:gd name="connsiteY75" fmla="*/ 111193 h 1774962"/>
                    <a:gd name="connsiteX76" fmla="*/ 952050 w 1774962"/>
                    <a:gd name="connsiteY76" fmla="*/ 140604 h 1774962"/>
                    <a:gd name="connsiteX77" fmla="*/ 962369 w 1774962"/>
                    <a:gd name="connsiteY77" fmla="*/ 152987 h 1774962"/>
                    <a:gd name="connsiteX78" fmla="*/ 1078980 w 1774962"/>
                    <a:gd name="connsiteY78" fmla="*/ 174658 h 1774962"/>
                    <a:gd name="connsiteX79" fmla="*/ 1093428 w 1774962"/>
                    <a:gd name="connsiteY79" fmla="*/ 168467 h 1774962"/>
                    <a:gd name="connsiteX80" fmla="*/ 1147089 w 1774962"/>
                    <a:gd name="connsiteY80" fmla="*/ 69399 h 1774962"/>
                    <a:gd name="connsiteX81" fmla="*/ 1192495 w 1774962"/>
                    <a:gd name="connsiteY81" fmla="*/ 54436 h 1774962"/>
                    <a:gd name="connsiteX82" fmla="*/ 1258024 w 1774962"/>
                    <a:gd name="connsiteY82" fmla="*/ 81266 h 1774962"/>
                    <a:gd name="connsiteX83" fmla="*/ 1267312 w 1774962"/>
                    <a:gd name="connsiteY83" fmla="*/ 96746 h 1774962"/>
                    <a:gd name="connsiteX84" fmla="*/ 1247705 w 1774962"/>
                    <a:gd name="connsiteY84" fmla="*/ 192718 h 1774962"/>
                    <a:gd name="connsiteX85" fmla="*/ 1233258 w 1774962"/>
                    <a:gd name="connsiteY85" fmla="*/ 224192 h 1774962"/>
                    <a:gd name="connsiteX86" fmla="*/ 1237385 w 1774962"/>
                    <a:gd name="connsiteY86" fmla="*/ 237608 h 1774962"/>
                    <a:gd name="connsiteX87" fmla="*/ 1340065 w 1774962"/>
                    <a:gd name="connsiteY87" fmla="*/ 304169 h 1774962"/>
                    <a:gd name="connsiteX88" fmla="*/ 1354512 w 1774962"/>
                    <a:gd name="connsiteY88" fmla="*/ 302621 h 1774962"/>
                    <a:gd name="connsiteX89" fmla="*/ 1459771 w 1774962"/>
                    <a:gd name="connsiteY89" fmla="*/ 218516 h 1774962"/>
                    <a:gd name="connsiteX90" fmla="*/ 1472155 w 1774962"/>
                    <a:gd name="connsiteY90" fmla="*/ 220064 h 1774962"/>
                    <a:gd name="connsiteX91" fmla="*/ 1541296 w 1774962"/>
                    <a:gd name="connsiteY91" fmla="*/ 287657 h 1774962"/>
                    <a:gd name="connsiteX92" fmla="*/ 1542328 w 1774962"/>
                    <a:gd name="connsiteY92" fmla="*/ 301073 h 1774962"/>
                    <a:gd name="connsiteX93" fmla="*/ 1485570 w 1774962"/>
                    <a:gd name="connsiteY93" fmla="*/ 385693 h 1774962"/>
                    <a:gd name="connsiteX94" fmla="*/ 1462868 w 1774962"/>
                    <a:gd name="connsiteY94" fmla="*/ 406332 h 1774962"/>
                    <a:gd name="connsiteX95" fmla="*/ 1460803 w 1774962"/>
                    <a:gd name="connsiteY95" fmla="*/ 422327 h 1774962"/>
                    <a:gd name="connsiteX96" fmla="*/ 1529428 w 1774962"/>
                    <a:gd name="connsiteY96" fmla="*/ 522427 h 1774962"/>
                    <a:gd name="connsiteX97" fmla="*/ 1544908 w 1774962"/>
                    <a:gd name="connsiteY97" fmla="*/ 525007 h 1774962"/>
                    <a:gd name="connsiteX98" fmla="*/ 1672870 w 1774962"/>
                    <a:gd name="connsiteY98" fmla="*/ 488373 h 1774962"/>
                    <a:gd name="connsiteX99" fmla="*/ 1683706 w 1774962"/>
                    <a:gd name="connsiteY99" fmla="*/ 495080 h 1774962"/>
                    <a:gd name="connsiteX100" fmla="*/ 1721888 w 1774962"/>
                    <a:gd name="connsiteY100" fmla="*/ 583828 h 1774962"/>
                    <a:gd name="connsiteX101" fmla="*/ 1717244 w 1774962"/>
                    <a:gd name="connsiteY101" fmla="*/ 596728 h 1774962"/>
                    <a:gd name="connsiteX102" fmla="*/ 1633140 w 1774962"/>
                    <a:gd name="connsiteY102" fmla="*/ 652453 h 1774962"/>
                    <a:gd name="connsiteX103" fmla="*/ 1601665 w 1774962"/>
                    <a:gd name="connsiteY103" fmla="*/ 663805 h 1774962"/>
                    <a:gd name="connsiteX104" fmla="*/ 1594958 w 1774962"/>
                    <a:gd name="connsiteY104" fmla="*/ 676188 h 1774962"/>
                    <a:gd name="connsiteX105" fmla="*/ 1620241 w 1774962"/>
                    <a:gd name="connsiteY105" fmla="*/ 795895 h 1774962"/>
                    <a:gd name="connsiteX106" fmla="*/ 1631076 w 1774962"/>
                    <a:gd name="connsiteY106" fmla="*/ 804667 h 1774962"/>
                    <a:gd name="connsiteX107" fmla="*/ 1763682 w 1774962"/>
                    <a:gd name="connsiteY107" fmla="*/ 819630 h 1774962"/>
                    <a:gd name="connsiteX108" fmla="*/ 1773486 w 1774962"/>
                    <a:gd name="connsiteY108" fmla="*/ 829950 h 1774962"/>
                    <a:gd name="connsiteX109" fmla="*/ 1775034 w 1774962"/>
                    <a:gd name="connsiteY109" fmla="*/ 927985 h 1774962"/>
                    <a:gd name="connsiteX110" fmla="*/ 1766262 w 1774962"/>
                    <a:gd name="connsiteY110" fmla="*/ 937273 h 1774962"/>
                    <a:gd name="connsiteX111" fmla="*/ 1663583 w 1774962"/>
                    <a:gd name="connsiteY111" fmla="*/ 957396 h 1774962"/>
                    <a:gd name="connsiteX112" fmla="*/ 1636752 w 1774962"/>
                    <a:gd name="connsiteY112" fmla="*/ 955332 h 1774962"/>
                    <a:gd name="connsiteX113" fmla="*/ 1622304 w 1774962"/>
                    <a:gd name="connsiteY113" fmla="*/ 966684 h 1774962"/>
                    <a:gd name="connsiteX114" fmla="*/ 1601149 w 1774962"/>
                    <a:gd name="connsiteY114" fmla="*/ 1081746 h 1774962"/>
                    <a:gd name="connsiteX115" fmla="*/ 1610437 w 1774962"/>
                    <a:gd name="connsiteY115" fmla="*/ 1097742 h 1774962"/>
                    <a:gd name="connsiteX116" fmla="*/ 1726016 w 1774962"/>
                    <a:gd name="connsiteY116" fmla="*/ 1161723 h 1774962"/>
                    <a:gd name="connsiteX117" fmla="*/ 1729112 w 1774962"/>
                    <a:gd name="connsiteY117" fmla="*/ 1174107 h 1774962"/>
                    <a:gd name="connsiteX118" fmla="*/ 1693509 w 1774962"/>
                    <a:gd name="connsiteY118" fmla="*/ 1263887 h 1774962"/>
                    <a:gd name="connsiteX119" fmla="*/ 1681126 w 1774962"/>
                    <a:gd name="connsiteY119" fmla="*/ 1270078 h 1774962"/>
                    <a:gd name="connsiteX120" fmla="*/ 1581542 w 1774962"/>
                    <a:gd name="connsiteY120" fmla="*/ 1249955 h 1774962"/>
                    <a:gd name="connsiteX121" fmla="*/ 1552647 w 1774962"/>
                    <a:gd name="connsiteY121" fmla="*/ 1236024 h 1774962"/>
                    <a:gd name="connsiteX122" fmla="*/ 1538200 w 1774962"/>
                    <a:gd name="connsiteY122" fmla="*/ 1240152 h 1774962"/>
                    <a:gd name="connsiteX123" fmla="*/ 1473187 w 1774962"/>
                    <a:gd name="connsiteY123" fmla="*/ 1340767 h 1774962"/>
                    <a:gd name="connsiteX124" fmla="*/ 1475251 w 1774962"/>
                    <a:gd name="connsiteY124" fmla="*/ 1358310 h 1774962"/>
                    <a:gd name="connsiteX125" fmla="*/ 1535104 w 1774962"/>
                    <a:gd name="connsiteY125" fmla="*/ 1430031 h 1774962"/>
                    <a:gd name="connsiteX126" fmla="*/ 1545424 w 1774962"/>
                    <a:gd name="connsiteY126" fmla="*/ 1444995 h 1774962"/>
                    <a:gd name="connsiteX127" fmla="*/ 1542844 w 1774962"/>
                    <a:gd name="connsiteY127" fmla="*/ 1489885 h 1774962"/>
                    <a:gd name="connsiteX128" fmla="*/ 1491246 w 1774962"/>
                    <a:gd name="connsiteY128" fmla="*/ 1542514 h 1774962"/>
                    <a:gd name="connsiteX129" fmla="*/ 1472155 w 1774962"/>
                    <a:gd name="connsiteY129" fmla="*/ 1544062 h 1774962"/>
                    <a:gd name="connsiteX130" fmla="*/ 1393726 w 1774962"/>
                    <a:gd name="connsiteY130" fmla="*/ 1491948 h 1774962"/>
                    <a:gd name="connsiteX131" fmla="*/ 1369992 w 1774962"/>
                    <a:gd name="connsiteY131" fmla="*/ 1466666 h 1774962"/>
                    <a:gd name="connsiteX132" fmla="*/ 1352964 w 1774962"/>
                    <a:gd name="connsiteY132" fmla="*/ 1464602 h 1774962"/>
                    <a:gd name="connsiteX133" fmla="*/ 1254413 w 1774962"/>
                    <a:gd name="connsiteY133" fmla="*/ 1532711 h 1774962"/>
                    <a:gd name="connsiteX134" fmla="*/ 1248737 w 1774962"/>
                    <a:gd name="connsiteY134" fmla="*/ 1544578 h 1774962"/>
                    <a:gd name="connsiteX135" fmla="*/ 1284339 w 1774962"/>
                    <a:gd name="connsiteY135" fmla="*/ 1662221 h 1774962"/>
                    <a:gd name="connsiteX136" fmla="*/ 1268860 w 1774962"/>
                    <a:gd name="connsiteY136" fmla="*/ 1693180 h 1774962"/>
                    <a:gd name="connsiteX137" fmla="*/ 1195591 w 1774962"/>
                    <a:gd name="connsiteY137" fmla="*/ 1724654 h 1774962"/>
                    <a:gd name="connsiteX138" fmla="*/ 1178564 w 1774962"/>
                    <a:gd name="connsiteY138" fmla="*/ 1719495 h 1774962"/>
                    <a:gd name="connsiteX139" fmla="*/ 1125418 w 1774962"/>
                    <a:gd name="connsiteY139" fmla="*/ 1640034 h 1774962"/>
                    <a:gd name="connsiteX140" fmla="*/ 1113035 w 1774962"/>
                    <a:gd name="connsiteY140" fmla="*/ 1606496 h 1774962"/>
                    <a:gd name="connsiteX141" fmla="*/ 1099619 w 1774962"/>
                    <a:gd name="connsiteY141" fmla="*/ 1599272 h 1774962"/>
                    <a:gd name="connsiteX142" fmla="*/ 979913 w 1774962"/>
                    <a:gd name="connsiteY142" fmla="*/ 1624555 h 1774962"/>
                    <a:gd name="connsiteX143" fmla="*/ 972173 w 1774962"/>
                    <a:gd name="connsiteY143" fmla="*/ 1634874 h 1774962"/>
                    <a:gd name="connsiteX144" fmla="*/ 957726 w 1774962"/>
                    <a:gd name="connsiteY144" fmla="*/ 1767481 h 1774962"/>
                    <a:gd name="connsiteX145" fmla="*/ 945858 w 1774962"/>
                    <a:gd name="connsiteY145" fmla="*/ 1777800 h 1774962"/>
                    <a:gd name="connsiteX146" fmla="*/ 895808 w 1774962"/>
                    <a:gd name="connsiteY146" fmla="*/ 1779864 h 1774962"/>
                    <a:gd name="connsiteX147" fmla="*/ 894776 w 1774962"/>
                    <a:gd name="connsiteY147" fmla="*/ 1775736 h 1774962"/>
                    <a:gd name="connsiteX148" fmla="*/ 890648 w 1774962"/>
                    <a:gd name="connsiteY148" fmla="*/ 1454798 h 1774962"/>
                    <a:gd name="connsiteX149" fmla="*/ 1452548 w 1774962"/>
                    <a:gd name="connsiteY149" fmla="*/ 884127 h 1774962"/>
                    <a:gd name="connsiteX150" fmla="*/ 881361 w 1774962"/>
                    <a:gd name="connsiteY150" fmla="*/ 322228 h 1774962"/>
                    <a:gd name="connsiteX151" fmla="*/ 320494 w 1774962"/>
                    <a:gd name="connsiteY151" fmla="*/ 893415 h 1774962"/>
                    <a:gd name="connsiteX152" fmla="*/ 890648 w 1774962"/>
                    <a:gd name="connsiteY152" fmla="*/ 1454798 h 1774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774962" h="1774962">
                      <a:moveTo>
                        <a:pt x="894776" y="1775736"/>
                      </a:moveTo>
                      <a:cubicBezTo>
                        <a:pt x="880845" y="1775736"/>
                        <a:pt x="866397" y="1775736"/>
                        <a:pt x="852466" y="1775736"/>
                      </a:cubicBezTo>
                      <a:cubicBezTo>
                        <a:pt x="844726" y="1775736"/>
                        <a:pt x="840599" y="1772640"/>
                        <a:pt x="839567" y="1764901"/>
                      </a:cubicBezTo>
                      <a:cubicBezTo>
                        <a:pt x="833375" y="1731878"/>
                        <a:pt x="826151" y="1699371"/>
                        <a:pt x="819960" y="1666349"/>
                      </a:cubicBezTo>
                      <a:cubicBezTo>
                        <a:pt x="817896" y="1656545"/>
                        <a:pt x="820992" y="1646742"/>
                        <a:pt x="822024" y="1636938"/>
                      </a:cubicBezTo>
                      <a:cubicBezTo>
                        <a:pt x="823056" y="1628682"/>
                        <a:pt x="820992" y="1624555"/>
                        <a:pt x="811704" y="1623523"/>
                      </a:cubicBezTo>
                      <a:cubicBezTo>
                        <a:pt x="772490" y="1619395"/>
                        <a:pt x="733275" y="1612171"/>
                        <a:pt x="695093" y="1601852"/>
                      </a:cubicBezTo>
                      <a:cubicBezTo>
                        <a:pt x="686837" y="1599788"/>
                        <a:pt x="682194" y="1602368"/>
                        <a:pt x="680130" y="1610623"/>
                      </a:cubicBezTo>
                      <a:cubicBezTo>
                        <a:pt x="669294" y="1655513"/>
                        <a:pt x="636788" y="1688020"/>
                        <a:pt x="615116" y="1727234"/>
                      </a:cubicBezTo>
                      <a:cubicBezTo>
                        <a:pt x="612537" y="1731878"/>
                        <a:pt x="608409" y="1731878"/>
                        <a:pt x="603765" y="1730330"/>
                      </a:cubicBezTo>
                      <a:cubicBezTo>
                        <a:pt x="572807" y="1720011"/>
                        <a:pt x="542364" y="1707627"/>
                        <a:pt x="512953" y="1694212"/>
                      </a:cubicBezTo>
                      <a:cubicBezTo>
                        <a:pt x="506761" y="1691632"/>
                        <a:pt x="506245" y="1686988"/>
                        <a:pt x="507277" y="1681828"/>
                      </a:cubicBezTo>
                      <a:cubicBezTo>
                        <a:pt x="513985" y="1648806"/>
                        <a:pt x="519661" y="1615783"/>
                        <a:pt x="527400" y="1583277"/>
                      </a:cubicBezTo>
                      <a:cubicBezTo>
                        <a:pt x="529980" y="1572441"/>
                        <a:pt x="536172" y="1562637"/>
                        <a:pt x="541848" y="1552834"/>
                      </a:cubicBezTo>
                      <a:cubicBezTo>
                        <a:pt x="545460" y="1546642"/>
                        <a:pt x="544428" y="1543030"/>
                        <a:pt x="537720" y="1539418"/>
                      </a:cubicBezTo>
                      <a:cubicBezTo>
                        <a:pt x="501601" y="1520327"/>
                        <a:pt x="467547" y="1497624"/>
                        <a:pt x="435041" y="1472857"/>
                      </a:cubicBezTo>
                      <a:cubicBezTo>
                        <a:pt x="429365" y="1468214"/>
                        <a:pt x="425237" y="1468214"/>
                        <a:pt x="420593" y="1474921"/>
                      </a:cubicBezTo>
                      <a:cubicBezTo>
                        <a:pt x="393762" y="1512588"/>
                        <a:pt x="350936" y="1531163"/>
                        <a:pt x="315334" y="1559026"/>
                      </a:cubicBezTo>
                      <a:cubicBezTo>
                        <a:pt x="310690" y="1562637"/>
                        <a:pt x="307078" y="1561090"/>
                        <a:pt x="302950" y="1557478"/>
                      </a:cubicBezTo>
                      <a:cubicBezTo>
                        <a:pt x="278699" y="1536323"/>
                        <a:pt x="255996" y="1513104"/>
                        <a:pt x="233809" y="1490401"/>
                      </a:cubicBezTo>
                      <a:cubicBezTo>
                        <a:pt x="229682" y="1485757"/>
                        <a:pt x="229165" y="1482145"/>
                        <a:pt x="232777" y="1476985"/>
                      </a:cubicBezTo>
                      <a:cubicBezTo>
                        <a:pt x="251352" y="1449122"/>
                        <a:pt x="269928" y="1421260"/>
                        <a:pt x="289019" y="1393397"/>
                      </a:cubicBezTo>
                      <a:cubicBezTo>
                        <a:pt x="295210" y="1384625"/>
                        <a:pt x="304498" y="1378949"/>
                        <a:pt x="312754" y="1371726"/>
                      </a:cubicBezTo>
                      <a:cubicBezTo>
                        <a:pt x="318946" y="1366566"/>
                        <a:pt x="319978" y="1361922"/>
                        <a:pt x="314818" y="1355731"/>
                      </a:cubicBezTo>
                      <a:cubicBezTo>
                        <a:pt x="289535" y="1324256"/>
                        <a:pt x="266316" y="1291233"/>
                        <a:pt x="246193" y="1255631"/>
                      </a:cubicBezTo>
                      <a:cubicBezTo>
                        <a:pt x="241549" y="1247375"/>
                        <a:pt x="236905" y="1248923"/>
                        <a:pt x="230713" y="1253051"/>
                      </a:cubicBezTo>
                      <a:cubicBezTo>
                        <a:pt x="191499" y="1277302"/>
                        <a:pt x="145577" y="1277818"/>
                        <a:pt x="102751" y="1289685"/>
                      </a:cubicBezTo>
                      <a:cubicBezTo>
                        <a:pt x="97075" y="1291233"/>
                        <a:pt x="93979" y="1288137"/>
                        <a:pt x="91916" y="1282978"/>
                      </a:cubicBezTo>
                      <a:cubicBezTo>
                        <a:pt x="77984" y="1254083"/>
                        <a:pt x="65085" y="1224156"/>
                        <a:pt x="53733" y="1194230"/>
                      </a:cubicBezTo>
                      <a:cubicBezTo>
                        <a:pt x="51669" y="1188038"/>
                        <a:pt x="53217" y="1184426"/>
                        <a:pt x="58377" y="1181330"/>
                      </a:cubicBezTo>
                      <a:cubicBezTo>
                        <a:pt x="86240" y="1162755"/>
                        <a:pt x="113587" y="1143664"/>
                        <a:pt x="142481" y="1125605"/>
                      </a:cubicBezTo>
                      <a:cubicBezTo>
                        <a:pt x="151769" y="1119929"/>
                        <a:pt x="163120" y="1117349"/>
                        <a:pt x="173956" y="1114253"/>
                      </a:cubicBezTo>
                      <a:cubicBezTo>
                        <a:pt x="180664" y="1112189"/>
                        <a:pt x="182727" y="1109093"/>
                        <a:pt x="180664" y="1101870"/>
                      </a:cubicBezTo>
                      <a:cubicBezTo>
                        <a:pt x="168796" y="1062139"/>
                        <a:pt x="160541" y="1021893"/>
                        <a:pt x="154865" y="981131"/>
                      </a:cubicBezTo>
                      <a:cubicBezTo>
                        <a:pt x="153833" y="974423"/>
                        <a:pt x="150737" y="972359"/>
                        <a:pt x="144029" y="973391"/>
                      </a:cubicBezTo>
                      <a:cubicBezTo>
                        <a:pt x="98107" y="981131"/>
                        <a:pt x="54765" y="963588"/>
                        <a:pt x="10391" y="958428"/>
                      </a:cubicBezTo>
                      <a:cubicBezTo>
                        <a:pt x="4715" y="957912"/>
                        <a:pt x="2652" y="954300"/>
                        <a:pt x="2135" y="948624"/>
                      </a:cubicBezTo>
                      <a:cubicBezTo>
                        <a:pt x="-960" y="916118"/>
                        <a:pt x="72" y="883611"/>
                        <a:pt x="588" y="850589"/>
                      </a:cubicBezTo>
                      <a:cubicBezTo>
                        <a:pt x="588" y="844397"/>
                        <a:pt x="4715" y="841817"/>
                        <a:pt x="10391" y="840785"/>
                      </a:cubicBezTo>
                      <a:cubicBezTo>
                        <a:pt x="43930" y="834077"/>
                        <a:pt x="76952" y="827370"/>
                        <a:pt x="110491" y="820662"/>
                      </a:cubicBezTo>
                      <a:cubicBezTo>
                        <a:pt x="120294" y="818598"/>
                        <a:pt x="130098" y="821694"/>
                        <a:pt x="139901" y="822726"/>
                      </a:cubicBezTo>
                      <a:cubicBezTo>
                        <a:pt x="148157" y="823758"/>
                        <a:pt x="152285" y="820662"/>
                        <a:pt x="153317" y="811890"/>
                      </a:cubicBezTo>
                      <a:cubicBezTo>
                        <a:pt x="157445" y="773192"/>
                        <a:pt x="164668" y="734494"/>
                        <a:pt x="174472" y="696827"/>
                      </a:cubicBezTo>
                      <a:cubicBezTo>
                        <a:pt x="177052" y="687024"/>
                        <a:pt x="173440" y="682380"/>
                        <a:pt x="164152" y="680316"/>
                      </a:cubicBezTo>
                      <a:cubicBezTo>
                        <a:pt x="120294" y="668965"/>
                        <a:pt x="87272" y="636974"/>
                        <a:pt x="49090" y="615819"/>
                      </a:cubicBezTo>
                      <a:cubicBezTo>
                        <a:pt x="44961" y="613755"/>
                        <a:pt x="44961" y="610143"/>
                        <a:pt x="45993" y="606015"/>
                      </a:cubicBezTo>
                      <a:cubicBezTo>
                        <a:pt x="56313" y="574541"/>
                        <a:pt x="69212" y="544098"/>
                        <a:pt x="82628" y="513655"/>
                      </a:cubicBezTo>
                      <a:cubicBezTo>
                        <a:pt x="85208" y="507980"/>
                        <a:pt x="89336" y="506948"/>
                        <a:pt x="93979" y="508496"/>
                      </a:cubicBezTo>
                      <a:cubicBezTo>
                        <a:pt x="137322" y="519847"/>
                        <a:pt x="183760" y="518815"/>
                        <a:pt x="224006" y="543066"/>
                      </a:cubicBezTo>
                      <a:cubicBezTo>
                        <a:pt x="230713" y="547194"/>
                        <a:pt x="233809" y="544614"/>
                        <a:pt x="236905" y="538938"/>
                      </a:cubicBezTo>
                      <a:cubicBezTo>
                        <a:pt x="255996" y="503336"/>
                        <a:pt x="278183" y="469281"/>
                        <a:pt x="302434" y="437291"/>
                      </a:cubicBezTo>
                      <a:cubicBezTo>
                        <a:pt x="305530" y="433163"/>
                        <a:pt x="310690" y="428519"/>
                        <a:pt x="302950" y="423359"/>
                      </a:cubicBezTo>
                      <a:cubicBezTo>
                        <a:pt x="273540" y="404268"/>
                        <a:pt x="258576" y="373826"/>
                        <a:pt x="238453" y="346995"/>
                      </a:cubicBezTo>
                      <a:cubicBezTo>
                        <a:pt x="234841" y="342351"/>
                        <a:pt x="232262" y="337707"/>
                        <a:pt x="228650" y="333063"/>
                      </a:cubicBezTo>
                      <a:cubicBezTo>
                        <a:pt x="212654" y="310360"/>
                        <a:pt x="212138" y="309844"/>
                        <a:pt x="230713" y="290237"/>
                      </a:cubicBezTo>
                      <a:cubicBezTo>
                        <a:pt x="248257" y="271662"/>
                        <a:pt x="266316" y="254119"/>
                        <a:pt x="283859" y="236060"/>
                      </a:cubicBezTo>
                      <a:cubicBezTo>
                        <a:pt x="289535" y="230384"/>
                        <a:pt x="294179" y="229868"/>
                        <a:pt x="300370" y="234512"/>
                      </a:cubicBezTo>
                      <a:cubicBezTo>
                        <a:pt x="327201" y="252571"/>
                        <a:pt x="354032" y="270114"/>
                        <a:pt x="380863" y="288173"/>
                      </a:cubicBezTo>
                      <a:cubicBezTo>
                        <a:pt x="390150" y="294365"/>
                        <a:pt x="396342" y="303137"/>
                        <a:pt x="403050" y="311392"/>
                      </a:cubicBezTo>
                      <a:cubicBezTo>
                        <a:pt x="408726" y="319132"/>
                        <a:pt x="413885" y="320680"/>
                        <a:pt x="422141" y="313972"/>
                      </a:cubicBezTo>
                      <a:cubicBezTo>
                        <a:pt x="452584" y="288689"/>
                        <a:pt x="485606" y="266502"/>
                        <a:pt x="519661" y="246895"/>
                      </a:cubicBezTo>
                      <a:cubicBezTo>
                        <a:pt x="524820" y="243799"/>
                        <a:pt x="529464" y="240703"/>
                        <a:pt x="524820" y="233996"/>
                      </a:cubicBezTo>
                      <a:cubicBezTo>
                        <a:pt x="502633" y="202005"/>
                        <a:pt x="501086" y="163823"/>
                        <a:pt x="492314" y="127704"/>
                      </a:cubicBezTo>
                      <a:cubicBezTo>
                        <a:pt x="484574" y="96230"/>
                        <a:pt x="485606" y="96746"/>
                        <a:pt x="514501" y="82298"/>
                      </a:cubicBezTo>
                      <a:cubicBezTo>
                        <a:pt x="535140" y="71979"/>
                        <a:pt x="557327" y="64239"/>
                        <a:pt x="578482" y="55468"/>
                      </a:cubicBezTo>
                      <a:cubicBezTo>
                        <a:pt x="586222" y="52372"/>
                        <a:pt x="590866" y="52888"/>
                        <a:pt x="595509" y="60111"/>
                      </a:cubicBezTo>
                      <a:cubicBezTo>
                        <a:pt x="613053" y="86942"/>
                        <a:pt x="630596" y="113257"/>
                        <a:pt x="648655" y="139572"/>
                      </a:cubicBezTo>
                      <a:cubicBezTo>
                        <a:pt x="655363" y="149375"/>
                        <a:pt x="657427" y="160727"/>
                        <a:pt x="661039" y="172078"/>
                      </a:cubicBezTo>
                      <a:cubicBezTo>
                        <a:pt x="663618" y="180334"/>
                        <a:pt x="667230" y="182914"/>
                        <a:pt x="675486" y="180334"/>
                      </a:cubicBezTo>
                      <a:cubicBezTo>
                        <a:pt x="713668" y="168983"/>
                        <a:pt x="752882" y="160727"/>
                        <a:pt x="792613" y="155567"/>
                      </a:cubicBezTo>
                      <a:cubicBezTo>
                        <a:pt x="800352" y="154535"/>
                        <a:pt x="802932" y="151439"/>
                        <a:pt x="801900" y="143700"/>
                      </a:cubicBezTo>
                      <a:cubicBezTo>
                        <a:pt x="795193" y="98294"/>
                        <a:pt x="811704" y="55468"/>
                        <a:pt x="816864" y="11094"/>
                      </a:cubicBezTo>
                      <a:cubicBezTo>
                        <a:pt x="817380" y="5934"/>
                        <a:pt x="820476" y="2838"/>
                        <a:pt x="826151" y="2322"/>
                      </a:cubicBezTo>
                      <a:cubicBezTo>
                        <a:pt x="859174" y="-1290"/>
                        <a:pt x="892196" y="258"/>
                        <a:pt x="925219" y="774"/>
                      </a:cubicBezTo>
                      <a:cubicBezTo>
                        <a:pt x="930895" y="774"/>
                        <a:pt x="933475" y="4902"/>
                        <a:pt x="934507" y="10062"/>
                      </a:cubicBezTo>
                      <a:cubicBezTo>
                        <a:pt x="941214" y="43600"/>
                        <a:pt x="948438" y="77139"/>
                        <a:pt x="954114" y="111193"/>
                      </a:cubicBezTo>
                      <a:cubicBezTo>
                        <a:pt x="955662" y="120481"/>
                        <a:pt x="953082" y="130800"/>
                        <a:pt x="952050" y="140604"/>
                      </a:cubicBezTo>
                      <a:cubicBezTo>
                        <a:pt x="951018" y="148343"/>
                        <a:pt x="954114" y="151955"/>
                        <a:pt x="962369" y="152987"/>
                      </a:cubicBezTo>
                      <a:cubicBezTo>
                        <a:pt x="1001584" y="157115"/>
                        <a:pt x="1040798" y="164339"/>
                        <a:pt x="1078980" y="174658"/>
                      </a:cubicBezTo>
                      <a:cubicBezTo>
                        <a:pt x="1085172" y="176206"/>
                        <a:pt x="1091364" y="176722"/>
                        <a:pt x="1093428" y="168467"/>
                      </a:cubicBezTo>
                      <a:cubicBezTo>
                        <a:pt x="1101683" y="130284"/>
                        <a:pt x="1127482" y="101390"/>
                        <a:pt x="1147089" y="69399"/>
                      </a:cubicBezTo>
                      <a:cubicBezTo>
                        <a:pt x="1162569" y="43084"/>
                        <a:pt x="1163601" y="43600"/>
                        <a:pt x="1192495" y="54436"/>
                      </a:cubicBezTo>
                      <a:cubicBezTo>
                        <a:pt x="1214682" y="62691"/>
                        <a:pt x="1236353" y="71979"/>
                        <a:pt x="1258024" y="81266"/>
                      </a:cubicBezTo>
                      <a:cubicBezTo>
                        <a:pt x="1265764" y="84362"/>
                        <a:pt x="1268860" y="88490"/>
                        <a:pt x="1267312" y="96746"/>
                      </a:cubicBezTo>
                      <a:cubicBezTo>
                        <a:pt x="1260604" y="128736"/>
                        <a:pt x="1254928" y="160727"/>
                        <a:pt x="1247705" y="192718"/>
                      </a:cubicBezTo>
                      <a:cubicBezTo>
                        <a:pt x="1245125" y="203553"/>
                        <a:pt x="1238417" y="213873"/>
                        <a:pt x="1233258" y="224192"/>
                      </a:cubicBezTo>
                      <a:cubicBezTo>
                        <a:pt x="1229646" y="230384"/>
                        <a:pt x="1230678" y="233996"/>
                        <a:pt x="1237385" y="237608"/>
                      </a:cubicBezTo>
                      <a:cubicBezTo>
                        <a:pt x="1273504" y="256699"/>
                        <a:pt x="1307558" y="279402"/>
                        <a:pt x="1340065" y="304169"/>
                      </a:cubicBezTo>
                      <a:cubicBezTo>
                        <a:pt x="1345741" y="308812"/>
                        <a:pt x="1349868" y="309328"/>
                        <a:pt x="1354512" y="302621"/>
                      </a:cubicBezTo>
                      <a:cubicBezTo>
                        <a:pt x="1381343" y="264954"/>
                        <a:pt x="1424169" y="246379"/>
                        <a:pt x="1459771" y="218516"/>
                      </a:cubicBezTo>
                      <a:cubicBezTo>
                        <a:pt x="1464415" y="214905"/>
                        <a:pt x="1468027" y="216452"/>
                        <a:pt x="1472155" y="220064"/>
                      </a:cubicBezTo>
                      <a:cubicBezTo>
                        <a:pt x="1496406" y="241219"/>
                        <a:pt x="1519109" y="264438"/>
                        <a:pt x="1541296" y="287657"/>
                      </a:cubicBezTo>
                      <a:cubicBezTo>
                        <a:pt x="1545424" y="292301"/>
                        <a:pt x="1545940" y="296429"/>
                        <a:pt x="1542328" y="301073"/>
                      </a:cubicBezTo>
                      <a:cubicBezTo>
                        <a:pt x="1523237" y="329452"/>
                        <a:pt x="1505177" y="357830"/>
                        <a:pt x="1485570" y="385693"/>
                      </a:cubicBezTo>
                      <a:cubicBezTo>
                        <a:pt x="1479895" y="393949"/>
                        <a:pt x="1470607" y="400140"/>
                        <a:pt x="1462868" y="406332"/>
                      </a:cubicBezTo>
                      <a:cubicBezTo>
                        <a:pt x="1456676" y="411492"/>
                        <a:pt x="1455644" y="416136"/>
                        <a:pt x="1460803" y="422327"/>
                      </a:cubicBezTo>
                      <a:cubicBezTo>
                        <a:pt x="1486086" y="453802"/>
                        <a:pt x="1509305" y="487341"/>
                        <a:pt x="1529428" y="522427"/>
                      </a:cubicBezTo>
                      <a:cubicBezTo>
                        <a:pt x="1534072" y="530167"/>
                        <a:pt x="1538716" y="529135"/>
                        <a:pt x="1544908" y="525007"/>
                      </a:cubicBezTo>
                      <a:cubicBezTo>
                        <a:pt x="1584122" y="500756"/>
                        <a:pt x="1630044" y="500240"/>
                        <a:pt x="1672870" y="488373"/>
                      </a:cubicBezTo>
                      <a:cubicBezTo>
                        <a:pt x="1678546" y="486825"/>
                        <a:pt x="1681642" y="489921"/>
                        <a:pt x="1683706" y="495080"/>
                      </a:cubicBezTo>
                      <a:cubicBezTo>
                        <a:pt x="1697637" y="523975"/>
                        <a:pt x="1710537" y="553902"/>
                        <a:pt x="1721888" y="583828"/>
                      </a:cubicBezTo>
                      <a:cubicBezTo>
                        <a:pt x="1723952" y="590020"/>
                        <a:pt x="1722404" y="593632"/>
                        <a:pt x="1717244" y="596728"/>
                      </a:cubicBezTo>
                      <a:cubicBezTo>
                        <a:pt x="1689381" y="615303"/>
                        <a:pt x="1662035" y="634394"/>
                        <a:pt x="1633140" y="652453"/>
                      </a:cubicBezTo>
                      <a:cubicBezTo>
                        <a:pt x="1623852" y="658129"/>
                        <a:pt x="1612501" y="660709"/>
                        <a:pt x="1601665" y="663805"/>
                      </a:cubicBezTo>
                      <a:cubicBezTo>
                        <a:pt x="1594958" y="665869"/>
                        <a:pt x="1592894" y="668965"/>
                        <a:pt x="1594958" y="676188"/>
                      </a:cubicBezTo>
                      <a:cubicBezTo>
                        <a:pt x="1606309" y="715403"/>
                        <a:pt x="1615081" y="755133"/>
                        <a:pt x="1620241" y="795895"/>
                      </a:cubicBezTo>
                      <a:cubicBezTo>
                        <a:pt x="1621272" y="803119"/>
                        <a:pt x="1624368" y="805699"/>
                        <a:pt x="1631076" y="804667"/>
                      </a:cubicBezTo>
                      <a:cubicBezTo>
                        <a:pt x="1676482" y="797959"/>
                        <a:pt x="1719308" y="814470"/>
                        <a:pt x="1763682" y="819630"/>
                      </a:cubicBezTo>
                      <a:cubicBezTo>
                        <a:pt x="1769874" y="820146"/>
                        <a:pt x="1772454" y="823758"/>
                        <a:pt x="1773486" y="829950"/>
                      </a:cubicBezTo>
                      <a:cubicBezTo>
                        <a:pt x="1776582" y="862456"/>
                        <a:pt x="1775034" y="895479"/>
                        <a:pt x="1775034" y="927985"/>
                      </a:cubicBezTo>
                      <a:cubicBezTo>
                        <a:pt x="1775034" y="933661"/>
                        <a:pt x="1771422" y="936241"/>
                        <a:pt x="1766262" y="937273"/>
                      </a:cubicBezTo>
                      <a:cubicBezTo>
                        <a:pt x="1732207" y="943981"/>
                        <a:pt x="1698153" y="951204"/>
                        <a:pt x="1663583" y="957396"/>
                      </a:cubicBezTo>
                      <a:cubicBezTo>
                        <a:pt x="1654811" y="958944"/>
                        <a:pt x="1645523" y="956364"/>
                        <a:pt x="1636752" y="955332"/>
                      </a:cubicBezTo>
                      <a:cubicBezTo>
                        <a:pt x="1627980" y="954300"/>
                        <a:pt x="1623336" y="956364"/>
                        <a:pt x="1622304" y="966684"/>
                      </a:cubicBezTo>
                      <a:cubicBezTo>
                        <a:pt x="1618177" y="1005382"/>
                        <a:pt x="1610953" y="1044080"/>
                        <a:pt x="1601149" y="1081746"/>
                      </a:cubicBezTo>
                      <a:cubicBezTo>
                        <a:pt x="1598569" y="1091034"/>
                        <a:pt x="1601665" y="1095678"/>
                        <a:pt x="1610437" y="1097742"/>
                      </a:cubicBezTo>
                      <a:cubicBezTo>
                        <a:pt x="1654811" y="1108577"/>
                        <a:pt x="1687318" y="1140568"/>
                        <a:pt x="1726016" y="1161723"/>
                      </a:cubicBezTo>
                      <a:cubicBezTo>
                        <a:pt x="1731176" y="1164819"/>
                        <a:pt x="1731176" y="1168947"/>
                        <a:pt x="1729112" y="1174107"/>
                      </a:cubicBezTo>
                      <a:cubicBezTo>
                        <a:pt x="1718792" y="1204549"/>
                        <a:pt x="1706409" y="1234476"/>
                        <a:pt x="1693509" y="1263887"/>
                      </a:cubicBezTo>
                      <a:cubicBezTo>
                        <a:pt x="1690929" y="1269562"/>
                        <a:pt x="1687318" y="1271626"/>
                        <a:pt x="1681126" y="1270078"/>
                      </a:cubicBezTo>
                      <a:cubicBezTo>
                        <a:pt x="1648103" y="1263371"/>
                        <a:pt x="1614565" y="1257179"/>
                        <a:pt x="1581542" y="1249955"/>
                      </a:cubicBezTo>
                      <a:cubicBezTo>
                        <a:pt x="1571223" y="1247375"/>
                        <a:pt x="1561935" y="1241184"/>
                        <a:pt x="1552647" y="1236024"/>
                      </a:cubicBezTo>
                      <a:cubicBezTo>
                        <a:pt x="1545940" y="1232412"/>
                        <a:pt x="1542328" y="1232928"/>
                        <a:pt x="1538200" y="1240152"/>
                      </a:cubicBezTo>
                      <a:cubicBezTo>
                        <a:pt x="1519109" y="1275238"/>
                        <a:pt x="1497954" y="1309293"/>
                        <a:pt x="1473187" y="1340767"/>
                      </a:cubicBezTo>
                      <a:cubicBezTo>
                        <a:pt x="1467511" y="1347991"/>
                        <a:pt x="1466479" y="1352635"/>
                        <a:pt x="1475251" y="1358310"/>
                      </a:cubicBezTo>
                      <a:cubicBezTo>
                        <a:pt x="1502598" y="1375854"/>
                        <a:pt x="1516013" y="1405264"/>
                        <a:pt x="1535104" y="1430031"/>
                      </a:cubicBezTo>
                      <a:cubicBezTo>
                        <a:pt x="1538716" y="1434675"/>
                        <a:pt x="1541812" y="1439835"/>
                        <a:pt x="1545424" y="1444995"/>
                      </a:cubicBezTo>
                      <a:cubicBezTo>
                        <a:pt x="1566063" y="1474921"/>
                        <a:pt x="1565031" y="1464602"/>
                        <a:pt x="1542844" y="1489885"/>
                      </a:cubicBezTo>
                      <a:cubicBezTo>
                        <a:pt x="1526849" y="1508460"/>
                        <a:pt x="1508273" y="1524971"/>
                        <a:pt x="1491246" y="1542514"/>
                      </a:cubicBezTo>
                      <a:cubicBezTo>
                        <a:pt x="1485054" y="1549222"/>
                        <a:pt x="1479895" y="1549222"/>
                        <a:pt x="1472155" y="1544062"/>
                      </a:cubicBezTo>
                      <a:cubicBezTo>
                        <a:pt x="1446356" y="1526519"/>
                        <a:pt x="1420041" y="1508976"/>
                        <a:pt x="1393726" y="1491948"/>
                      </a:cubicBezTo>
                      <a:cubicBezTo>
                        <a:pt x="1383923" y="1485241"/>
                        <a:pt x="1377215" y="1475437"/>
                        <a:pt x="1369992" y="1466666"/>
                      </a:cubicBezTo>
                      <a:cubicBezTo>
                        <a:pt x="1364316" y="1459958"/>
                        <a:pt x="1359672" y="1458926"/>
                        <a:pt x="1352964" y="1464602"/>
                      </a:cubicBezTo>
                      <a:cubicBezTo>
                        <a:pt x="1322005" y="1489885"/>
                        <a:pt x="1288983" y="1512588"/>
                        <a:pt x="1254413" y="1532711"/>
                      </a:cubicBezTo>
                      <a:cubicBezTo>
                        <a:pt x="1249769" y="1535291"/>
                        <a:pt x="1244609" y="1537871"/>
                        <a:pt x="1248737" y="1544578"/>
                      </a:cubicBezTo>
                      <a:cubicBezTo>
                        <a:pt x="1272472" y="1580181"/>
                        <a:pt x="1274020" y="1622491"/>
                        <a:pt x="1284339" y="1662221"/>
                      </a:cubicBezTo>
                      <a:cubicBezTo>
                        <a:pt x="1290531" y="1685440"/>
                        <a:pt x="1292079" y="1682344"/>
                        <a:pt x="1268860" y="1693180"/>
                      </a:cubicBezTo>
                      <a:cubicBezTo>
                        <a:pt x="1244609" y="1704531"/>
                        <a:pt x="1219842" y="1714335"/>
                        <a:pt x="1195591" y="1724654"/>
                      </a:cubicBezTo>
                      <a:cubicBezTo>
                        <a:pt x="1187851" y="1727750"/>
                        <a:pt x="1183208" y="1726718"/>
                        <a:pt x="1178564" y="1719495"/>
                      </a:cubicBezTo>
                      <a:cubicBezTo>
                        <a:pt x="1161021" y="1692664"/>
                        <a:pt x="1142962" y="1666865"/>
                        <a:pt x="1125418" y="1640034"/>
                      </a:cubicBezTo>
                      <a:cubicBezTo>
                        <a:pt x="1118711" y="1629715"/>
                        <a:pt x="1116131" y="1617847"/>
                        <a:pt x="1113035" y="1606496"/>
                      </a:cubicBezTo>
                      <a:cubicBezTo>
                        <a:pt x="1110971" y="1599272"/>
                        <a:pt x="1107359" y="1597208"/>
                        <a:pt x="1099619" y="1599272"/>
                      </a:cubicBezTo>
                      <a:cubicBezTo>
                        <a:pt x="1060405" y="1611139"/>
                        <a:pt x="1020675" y="1619395"/>
                        <a:pt x="979913" y="1624555"/>
                      </a:cubicBezTo>
                      <a:cubicBezTo>
                        <a:pt x="973205" y="1625587"/>
                        <a:pt x="971141" y="1628682"/>
                        <a:pt x="972173" y="1634874"/>
                      </a:cubicBezTo>
                      <a:cubicBezTo>
                        <a:pt x="979397" y="1680280"/>
                        <a:pt x="962885" y="1723106"/>
                        <a:pt x="957726" y="1767481"/>
                      </a:cubicBezTo>
                      <a:cubicBezTo>
                        <a:pt x="956694" y="1775220"/>
                        <a:pt x="952566" y="1777800"/>
                        <a:pt x="945858" y="1777800"/>
                      </a:cubicBezTo>
                      <a:cubicBezTo>
                        <a:pt x="929347" y="1778316"/>
                        <a:pt x="912320" y="1779348"/>
                        <a:pt x="895808" y="1779864"/>
                      </a:cubicBezTo>
                      <a:cubicBezTo>
                        <a:pt x="894776" y="1776252"/>
                        <a:pt x="894776" y="1776252"/>
                        <a:pt x="894776" y="1775736"/>
                      </a:cubicBezTo>
                      <a:close/>
                      <a:moveTo>
                        <a:pt x="890648" y="1454798"/>
                      </a:moveTo>
                      <a:cubicBezTo>
                        <a:pt x="1199203" y="1449638"/>
                        <a:pt x="1454096" y="1207645"/>
                        <a:pt x="1452548" y="884127"/>
                      </a:cubicBezTo>
                      <a:cubicBezTo>
                        <a:pt x="1451516" y="575057"/>
                        <a:pt x="1205395" y="320164"/>
                        <a:pt x="881361" y="322228"/>
                      </a:cubicBezTo>
                      <a:cubicBezTo>
                        <a:pt x="571775" y="324292"/>
                        <a:pt x="318429" y="570929"/>
                        <a:pt x="320494" y="893415"/>
                      </a:cubicBezTo>
                      <a:cubicBezTo>
                        <a:pt x="323073" y="1202485"/>
                        <a:pt x="569195" y="1452218"/>
                        <a:pt x="890648" y="1454798"/>
                      </a:cubicBezTo>
                      <a:close/>
                    </a:path>
                  </a:pathLst>
                </a:custGeom>
                <a:grpFill/>
                <a:ln w="515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CC131B02-5DBE-4634-A680-3DE71C853BD5}"/>
                    </a:ext>
                  </a:extLst>
                </p:cNvPr>
                <p:cNvSpPr/>
                <p:nvPr/>
              </p:nvSpPr>
              <p:spPr>
                <a:xfrm>
                  <a:off x="3733675" y="2339591"/>
                  <a:ext cx="835883" cy="835883"/>
                </a:xfrm>
                <a:custGeom>
                  <a:avLst/>
                  <a:gdLst>
                    <a:gd name="connsiteX0" fmla="*/ 836916 w 835883"/>
                    <a:gd name="connsiteY0" fmla="*/ 418458 h 835883"/>
                    <a:gd name="connsiteX1" fmla="*/ 418459 w 835883"/>
                    <a:gd name="connsiteY1" fmla="*/ 836399 h 835883"/>
                    <a:gd name="connsiteX2" fmla="*/ 1 w 835883"/>
                    <a:gd name="connsiteY2" fmla="*/ 417426 h 835883"/>
                    <a:gd name="connsiteX3" fmla="*/ 418975 w 835883"/>
                    <a:gd name="connsiteY3" fmla="*/ 0 h 835883"/>
                    <a:gd name="connsiteX4" fmla="*/ 836916 w 835883"/>
                    <a:gd name="connsiteY4" fmla="*/ 418458 h 835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883" h="835883">
                      <a:moveTo>
                        <a:pt x="836916" y="418458"/>
                      </a:moveTo>
                      <a:cubicBezTo>
                        <a:pt x="833821" y="651679"/>
                        <a:pt x="651165" y="836915"/>
                        <a:pt x="418459" y="836399"/>
                      </a:cubicBezTo>
                      <a:cubicBezTo>
                        <a:pt x="182657" y="836399"/>
                        <a:pt x="-515" y="649615"/>
                        <a:pt x="1" y="417426"/>
                      </a:cubicBezTo>
                      <a:cubicBezTo>
                        <a:pt x="517" y="181624"/>
                        <a:pt x="187301" y="0"/>
                        <a:pt x="418975" y="0"/>
                      </a:cubicBezTo>
                      <a:cubicBezTo>
                        <a:pt x="651680" y="516"/>
                        <a:pt x="833821" y="186268"/>
                        <a:pt x="836916" y="418458"/>
                      </a:cubicBezTo>
                      <a:close/>
                    </a:path>
                  </a:pathLst>
                </a:custGeom>
                <a:grpFill/>
                <a:ln w="5155" cap="flat">
                  <a:noFill/>
                  <a:prstDash val="solid"/>
                  <a:miter/>
                </a:ln>
              </p:spPr>
              <p:txBody>
                <a:bodyPr rtlCol="0" anchor="ctr"/>
                <a:lstStyle/>
                <a:p>
                  <a:endParaRPr lang="en-US"/>
                </a:p>
              </p:txBody>
            </p:sp>
          </p:grpSp>
          <p:sp>
            <p:nvSpPr>
              <p:cNvPr id="32" name="Freeform: Shape 31">
                <a:extLst>
                  <a:ext uri="{FF2B5EF4-FFF2-40B4-BE49-F238E27FC236}">
                    <a16:creationId xmlns:a16="http://schemas.microsoft.com/office/drawing/2014/main" id="{0D8BF0D2-0FDC-4959-85DD-F748038440E1}"/>
                  </a:ext>
                </a:extLst>
              </p:cNvPr>
              <p:cNvSpPr/>
              <p:nvPr/>
            </p:nvSpPr>
            <p:spPr>
              <a:xfrm>
                <a:off x="1727363" y="4086481"/>
                <a:ext cx="683882" cy="686216"/>
              </a:xfrm>
              <a:custGeom>
                <a:avLst/>
                <a:gdLst>
                  <a:gd name="connsiteX0" fmla="*/ 817500 w 1511813"/>
                  <a:gd name="connsiteY0" fmla="*/ 1518710 h 1516973"/>
                  <a:gd name="connsiteX1" fmla="*/ 802537 w 1511813"/>
                  <a:gd name="connsiteY1" fmla="*/ 1507875 h 1516973"/>
                  <a:gd name="connsiteX2" fmla="*/ 780866 w 1511813"/>
                  <a:gd name="connsiteY2" fmla="*/ 1442862 h 1516973"/>
                  <a:gd name="connsiteX3" fmla="*/ 776738 w 1511813"/>
                  <a:gd name="connsiteY3" fmla="*/ 1385072 h 1516973"/>
                  <a:gd name="connsiteX4" fmla="*/ 760227 w 1511813"/>
                  <a:gd name="connsiteY4" fmla="*/ 1369593 h 1516973"/>
                  <a:gd name="connsiteX5" fmla="*/ 694698 w 1511813"/>
                  <a:gd name="connsiteY5" fmla="*/ 1366497 h 1516973"/>
                  <a:gd name="connsiteX6" fmla="*/ 676638 w 1511813"/>
                  <a:gd name="connsiteY6" fmla="*/ 1379912 h 1516973"/>
                  <a:gd name="connsiteX7" fmla="*/ 637940 w 1511813"/>
                  <a:gd name="connsiteY7" fmla="*/ 1501683 h 1516973"/>
                  <a:gd name="connsiteX8" fmla="*/ 622977 w 1511813"/>
                  <a:gd name="connsiteY8" fmla="*/ 1508907 h 1516973"/>
                  <a:gd name="connsiteX9" fmla="*/ 430517 w 1511813"/>
                  <a:gd name="connsiteY9" fmla="*/ 1447505 h 1516973"/>
                  <a:gd name="connsiteX10" fmla="*/ 422262 w 1511813"/>
                  <a:gd name="connsiteY10" fmla="*/ 1431510 h 1516973"/>
                  <a:gd name="connsiteX11" fmla="*/ 435677 w 1511813"/>
                  <a:gd name="connsiteY11" fmla="*/ 1364433 h 1516973"/>
                  <a:gd name="connsiteX12" fmla="*/ 461992 w 1511813"/>
                  <a:gd name="connsiteY12" fmla="*/ 1310255 h 1516973"/>
                  <a:gd name="connsiteX13" fmla="*/ 456316 w 1511813"/>
                  <a:gd name="connsiteY13" fmla="*/ 1290132 h 1516973"/>
                  <a:gd name="connsiteX14" fmla="*/ 395431 w 1511813"/>
                  <a:gd name="connsiteY14" fmla="*/ 1251434 h 1516973"/>
                  <a:gd name="connsiteX15" fmla="*/ 378919 w 1511813"/>
                  <a:gd name="connsiteY15" fmla="*/ 1254014 h 1516973"/>
                  <a:gd name="connsiteX16" fmla="*/ 283464 w 1511813"/>
                  <a:gd name="connsiteY16" fmla="*/ 1342246 h 1516973"/>
                  <a:gd name="connsiteX17" fmla="*/ 265920 w 1511813"/>
                  <a:gd name="connsiteY17" fmla="*/ 1341214 h 1516973"/>
                  <a:gd name="connsiteX18" fmla="*/ 130218 w 1511813"/>
                  <a:gd name="connsiteY18" fmla="*/ 1191580 h 1516973"/>
                  <a:gd name="connsiteX19" fmla="*/ 130734 w 1511813"/>
                  <a:gd name="connsiteY19" fmla="*/ 1174553 h 1516973"/>
                  <a:gd name="connsiteX20" fmla="*/ 177688 w 1511813"/>
                  <a:gd name="connsiteY20" fmla="*/ 1121408 h 1516973"/>
                  <a:gd name="connsiteX21" fmla="*/ 225674 w 1511813"/>
                  <a:gd name="connsiteY21" fmla="*/ 1089417 h 1516973"/>
                  <a:gd name="connsiteX22" fmla="*/ 230834 w 1511813"/>
                  <a:gd name="connsiteY22" fmla="*/ 1067230 h 1516973"/>
                  <a:gd name="connsiteX23" fmla="*/ 198327 w 1511813"/>
                  <a:gd name="connsiteY23" fmla="*/ 1004281 h 1516973"/>
                  <a:gd name="connsiteX24" fmla="*/ 183880 w 1511813"/>
                  <a:gd name="connsiteY24" fmla="*/ 998089 h 1516973"/>
                  <a:gd name="connsiteX25" fmla="*/ 67269 w 1511813"/>
                  <a:gd name="connsiteY25" fmla="*/ 1025952 h 1516973"/>
                  <a:gd name="connsiteX26" fmla="*/ 55918 w 1511813"/>
                  <a:gd name="connsiteY26" fmla="*/ 1027500 h 1516973"/>
                  <a:gd name="connsiteX27" fmla="*/ 41470 w 1511813"/>
                  <a:gd name="connsiteY27" fmla="*/ 1018212 h 1516973"/>
                  <a:gd name="connsiteX28" fmla="*/ 1224 w 1511813"/>
                  <a:gd name="connsiteY28" fmla="*/ 841748 h 1516973"/>
                  <a:gd name="connsiteX29" fmla="*/ 30635 w 1511813"/>
                  <a:gd name="connsiteY29" fmla="*/ 797374 h 1516973"/>
                  <a:gd name="connsiteX30" fmla="*/ 134862 w 1511813"/>
                  <a:gd name="connsiteY30" fmla="*/ 778799 h 1516973"/>
                  <a:gd name="connsiteX31" fmla="*/ 147246 w 1511813"/>
                  <a:gd name="connsiteY31" fmla="*/ 765899 h 1516973"/>
                  <a:gd name="connsiteX32" fmla="*/ 150342 w 1511813"/>
                  <a:gd name="connsiteY32" fmla="*/ 696242 h 1516973"/>
                  <a:gd name="connsiteX33" fmla="*/ 137442 w 1511813"/>
                  <a:gd name="connsiteY33" fmla="*/ 678699 h 1516973"/>
                  <a:gd name="connsiteX34" fmla="*/ 14639 w 1511813"/>
                  <a:gd name="connsiteY34" fmla="*/ 639485 h 1516973"/>
                  <a:gd name="connsiteX35" fmla="*/ 7932 w 1511813"/>
                  <a:gd name="connsiteY35" fmla="*/ 625037 h 1516973"/>
                  <a:gd name="connsiteX36" fmla="*/ 69333 w 1511813"/>
                  <a:gd name="connsiteY36" fmla="*/ 432578 h 1516973"/>
                  <a:gd name="connsiteX37" fmla="*/ 86360 w 1511813"/>
                  <a:gd name="connsiteY37" fmla="*/ 423806 h 1516973"/>
                  <a:gd name="connsiteX38" fmla="*/ 150858 w 1511813"/>
                  <a:gd name="connsiteY38" fmla="*/ 436706 h 1516973"/>
                  <a:gd name="connsiteX39" fmla="*/ 206583 w 1511813"/>
                  <a:gd name="connsiteY39" fmla="*/ 463536 h 1516973"/>
                  <a:gd name="connsiteX40" fmla="*/ 227738 w 1511813"/>
                  <a:gd name="connsiteY40" fmla="*/ 457345 h 1516973"/>
                  <a:gd name="connsiteX41" fmla="*/ 266952 w 1511813"/>
                  <a:gd name="connsiteY41" fmla="*/ 396459 h 1516973"/>
                  <a:gd name="connsiteX42" fmla="*/ 264373 w 1511813"/>
                  <a:gd name="connsiteY42" fmla="*/ 380980 h 1516973"/>
                  <a:gd name="connsiteX43" fmla="*/ 175108 w 1511813"/>
                  <a:gd name="connsiteY43" fmla="*/ 284492 h 1516973"/>
                  <a:gd name="connsiteX44" fmla="*/ 176140 w 1511813"/>
                  <a:gd name="connsiteY44" fmla="*/ 267981 h 1516973"/>
                  <a:gd name="connsiteX45" fmla="*/ 325258 w 1511813"/>
                  <a:gd name="connsiteY45" fmla="*/ 132279 h 1516973"/>
                  <a:gd name="connsiteX46" fmla="*/ 343317 w 1511813"/>
                  <a:gd name="connsiteY46" fmla="*/ 132795 h 1516973"/>
                  <a:gd name="connsiteX47" fmla="*/ 395431 w 1511813"/>
                  <a:gd name="connsiteY47" fmla="*/ 178717 h 1516973"/>
                  <a:gd name="connsiteX48" fmla="*/ 426389 w 1511813"/>
                  <a:gd name="connsiteY48" fmla="*/ 224639 h 1516973"/>
                  <a:gd name="connsiteX49" fmla="*/ 451156 w 1511813"/>
                  <a:gd name="connsiteY49" fmla="*/ 231347 h 1516973"/>
                  <a:gd name="connsiteX50" fmla="*/ 512042 w 1511813"/>
                  <a:gd name="connsiteY50" fmla="*/ 200388 h 1516973"/>
                  <a:gd name="connsiteX51" fmla="*/ 518233 w 1511813"/>
                  <a:gd name="connsiteY51" fmla="*/ 183877 h 1516973"/>
                  <a:gd name="connsiteX52" fmla="*/ 491403 w 1511813"/>
                  <a:gd name="connsiteY52" fmla="*/ 69846 h 1516973"/>
                  <a:gd name="connsiteX53" fmla="*/ 489855 w 1511813"/>
                  <a:gd name="connsiteY53" fmla="*/ 58494 h 1516973"/>
                  <a:gd name="connsiteX54" fmla="*/ 499658 w 1511813"/>
                  <a:gd name="connsiteY54" fmla="*/ 43015 h 1516973"/>
                  <a:gd name="connsiteX55" fmla="*/ 695730 w 1511813"/>
                  <a:gd name="connsiteY55" fmla="*/ 189 h 1516973"/>
                  <a:gd name="connsiteX56" fmla="*/ 713273 w 1511813"/>
                  <a:gd name="connsiteY56" fmla="*/ 12056 h 1516973"/>
                  <a:gd name="connsiteX57" fmla="*/ 721012 w 1511813"/>
                  <a:gd name="connsiteY57" fmla="*/ 35275 h 1516973"/>
                  <a:gd name="connsiteX58" fmla="*/ 738556 w 1511813"/>
                  <a:gd name="connsiteY58" fmla="*/ 134343 h 1516973"/>
                  <a:gd name="connsiteX59" fmla="*/ 753519 w 1511813"/>
                  <a:gd name="connsiteY59" fmla="*/ 148790 h 1516973"/>
                  <a:gd name="connsiteX60" fmla="*/ 820596 w 1511813"/>
                  <a:gd name="connsiteY60" fmla="*/ 151886 h 1516973"/>
                  <a:gd name="connsiteX61" fmla="*/ 838655 w 1511813"/>
                  <a:gd name="connsiteY61" fmla="*/ 138471 h 1516973"/>
                  <a:gd name="connsiteX62" fmla="*/ 877354 w 1511813"/>
                  <a:gd name="connsiteY62" fmla="*/ 16700 h 1516973"/>
                  <a:gd name="connsiteX63" fmla="*/ 892317 w 1511813"/>
                  <a:gd name="connsiteY63" fmla="*/ 9476 h 1516973"/>
                  <a:gd name="connsiteX64" fmla="*/ 1084777 w 1511813"/>
                  <a:gd name="connsiteY64" fmla="*/ 70878 h 1516973"/>
                  <a:gd name="connsiteX65" fmla="*/ 1093032 w 1511813"/>
                  <a:gd name="connsiteY65" fmla="*/ 86873 h 1516973"/>
                  <a:gd name="connsiteX66" fmla="*/ 1079617 w 1511813"/>
                  <a:gd name="connsiteY66" fmla="*/ 152402 h 1516973"/>
                  <a:gd name="connsiteX67" fmla="*/ 1053302 w 1511813"/>
                  <a:gd name="connsiteY67" fmla="*/ 206580 h 1516973"/>
                  <a:gd name="connsiteX68" fmla="*/ 1060010 w 1511813"/>
                  <a:gd name="connsiteY68" fmla="*/ 228251 h 1516973"/>
                  <a:gd name="connsiteX69" fmla="*/ 1118315 w 1511813"/>
                  <a:gd name="connsiteY69" fmla="*/ 265917 h 1516973"/>
                  <a:gd name="connsiteX70" fmla="*/ 1136374 w 1511813"/>
                  <a:gd name="connsiteY70" fmla="*/ 262821 h 1516973"/>
                  <a:gd name="connsiteX71" fmla="*/ 1232346 w 1511813"/>
                  <a:gd name="connsiteY71" fmla="*/ 174589 h 1516973"/>
                  <a:gd name="connsiteX72" fmla="*/ 1247825 w 1511813"/>
                  <a:gd name="connsiteY72" fmla="*/ 175621 h 1516973"/>
                  <a:gd name="connsiteX73" fmla="*/ 1384559 w 1511813"/>
                  <a:gd name="connsiteY73" fmla="*/ 325770 h 1516973"/>
                  <a:gd name="connsiteX74" fmla="*/ 1384043 w 1511813"/>
                  <a:gd name="connsiteY74" fmla="*/ 342798 h 1516973"/>
                  <a:gd name="connsiteX75" fmla="*/ 1336057 w 1511813"/>
                  <a:gd name="connsiteY75" fmla="*/ 396975 h 1516973"/>
                  <a:gd name="connsiteX76" fmla="*/ 1291167 w 1511813"/>
                  <a:gd name="connsiteY76" fmla="*/ 426902 h 1516973"/>
                  <a:gd name="connsiteX77" fmla="*/ 1284976 w 1511813"/>
                  <a:gd name="connsiteY77" fmla="*/ 451153 h 1516973"/>
                  <a:gd name="connsiteX78" fmla="*/ 1316450 w 1511813"/>
                  <a:gd name="connsiteY78" fmla="*/ 513070 h 1516973"/>
                  <a:gd name="connsiteX79" fmla="*/ 1330898 w 1511813"/>
                  <a:gd name="connsiteY79" fmla="*/ 519262 h 1516973"/>
                  <a:gd name="connsiteX80" fmla="*/ 1447509 w 1511813"/>
                  <a:gd name="connsiteY80" fmla="*/ 491399 h 1516973"/>
                  <a:gd name="connsiteX81" fmla="*/ 1458860 w 1511813"/>
                  <a:gd name="connsiteY81" fmla="*/ 489851 h 1516973"/>
                  <a:gd name="connsiteX82" fmla="*/ 1473307 w 1511813"/>
                  <a:gd name="connsiteY82" fmla="*/ 499139 h 1516973"/>
                  <a:gd name="connsiteX83" fmla="*/ 1513554 w 1511813"/>
                  <a:gd name="connsiteY83" fmla="*/ 675603 h 1516973"/>
                  <a:gd name="connsiteX84" fmla="*/ 1514070 w 1511813"/>
                  <a:gd name="connsiteY84" fmla="*/ 679215 h 1516973"/>
                  <a:gd name="connsiteX85" fmla="*/ 1490335 w 1511813"/>
                  <a:gd name="connsiteY85" fmla="*/ 717397 h 1516973"/>
                  <a:gd name="connsiteX86" fmla="*/ 1379916 w 1511813"/>
                  <a:gd name="connsiteY86" fmla="*/ 738036 h 1516973"/>
                  <a:gd name="connsiteX87" fmla="*/ 1367532 w 1511813"/>
                  <a:gd name="connsiteY87" fmla="*/ 749904 h 1516973"/>
                  <a:gd name="connsiteX88" fmla="*/ 1363920 w 1511813"/>
                  <a:gd name="connsiteY88" fmla="*/ 822141 h 1516973"/>
                  <a:gd name="connsiteX89" fmla="*/ 1375788 w 1511813"/>
                  <a:gd name="connsiteY89" fmla="*/ 838136 h 1516973"/>
                  <a:gd name="connsiteX90" fmla="*/ 1498590 w 1511813"/>
                  <a:gd name="connsiteY90" fmla="*/ 876834 h 1516973"/>
                  <a:gd name="connsiteX91" fmla="*/ 1506330 w 1511813"/>
                  <a:gd name="connsiteY91" fmla="*/ 891798 h 1516973"/>
                  <a:gd name="connsiteX92" fmla="*/ 1444413 w 1511813"/>
                  <a:gd name="connsiteY92" fmla="*/ 1085289 h 1516973"/>
                  <a:gd name="connsiteX93" fmla="*/ 1429449 w 1511813"/>
                  <a:gd name="connsiteY93" fmla="*/ 1093029 h 1516973"/>
                  <a:gd name="connsiteX94" fmla="*/ 1306647 w 1511813"/>
                  <a:gd name="connsiteY94" fmla="*/ 1052783 h 1516973"/>
                  <a:gd name="connsiteX95" fmla="*/ 1287556 w 1511813"/>
                  <a:gd name="connsiteY95" fmla="*/ 1057942 h 1516973"/>
                  <a:gd name="connsiteX96" fmla="*/ 1248857 w 1511813"/>
                  <a:gd name="connsiteY96" fmla="*/ 1118828 h 1516973"/>
                  <a:gd name="connsiteX97" fmla="*/ 1250405 w 1511813"/>
                  <a:gd name="connsiteY97" fmla="*/ 1135339 h 1516973"/>
                  <a:gd name="connsiteX98" fmla="*/ 1339153 w 1511813"/>
                  <a:gd name="connsiteY98" fmla="*/ 1230795 h 1516973"/>
                  <a:gd name="connsiteX99" fmla="*/ 1337605 w 1511813"/>
                  <a:gd name="connsiteY99" fmla="*/ 1249370 h 1516973"/>
                  <a:gd name="connsiteX100" fmla="*/ 1189004 w 1511813"/>
                  <a:gd name="connsiteY100" fmla="*/ 1384040 h 1516973"/>
                  <a:gd name="connsiteX101" fmla="*/ 1170945 w 1511813"/>
                  <a:gd name="connsiteY101" fmla="*/ 1383524 h 1516973"/>
                  <a:gd name="connsiteX102" fmla="*/ 1118831 w 1511813"/>
                  <a:gd name="connsiteY102" fmla="*/ 1337602 h 1516973"/>
                  <a:gd name="connsiteX103" fmla="*/ 1086840 w 1511813"/>
                  <a:gd name="connsiteY103" fmla="*/ 1289616 h 1516973"/>
                  <a:gd name="connsiteX104" fmla="*/ 1064137 w 1511813"/>
                  <a:gd name="connsiteY104" fmla="*/ 1284456 h 1516973"/>
                  <a:gd name="connsiteX105" fmla="*/ 1002220 w 1511813"/>
                  <a:gd name="connsiteY105" fmla="*/ 1316447 h 1516973"/>
                  <a:gd name="connsiteX106" fmla="*/ 996028 w 1511813"/>
                  <a:gd name="connsiteY106" fmla="*/ 1332958 h 1516973"/>
                  <a:gd name="connsiteX107" fmla="*/ 1022859 w 1511813"/>
                  <a:gd name="connsiteY107" fmla="*/ 1446989 h 1516973"/>
                  <a:gd name="connsiteX108" fmla="*/ 1024407 w 1511813"/>
                  <a:gd name="connsiteY108" fmla="*/ 1459889 h 1516973"/>
                  <a:gd name="connsiteX109" fmla="*/ 1015636 w 1511813"/>
                  <a:gd name="connsiteY109" fmla="*/ 1473304 h 1516973"/>
                  <a:gd name="connsiteX110" fmla="*/ 817500 w 1511813"/>
                  <a:gd name="connsiteY110" fmla="*/ 1518710 h 1516973"/>
                  <a:gd name="connsiteX111" fmla="*/ 758163 w 1511813"/>
                  <a:gd name="connsiteY111" fmla="*/ 1148238 h 1516973"/>
                  <a:gd name="connsiteX112" fmla="*/ 1145146 w 1511813"/>
                  <a:gd name="connsiteY112" fmla="*/ 758675 h 1516973"/>
                  <a:gd name="connsiteX113" fmla="*/ 757131 w 1511813"/>
                  <a:gd name="connsiteY113" fmla="*/ 371176 h 1516973"/>
                  <a:gd name="connsiteX114" fmla="*/ 368600 w 1511813"/>
                  <a:gd name="connsiteY114" fmla="*/ 759707 h 1516973"/>
                  <a:gd name="connsiteX115" fmla="*/ 758163 w 1511813"/>
                  <a:gd name="connsiteY115" fmla="*/ 1148238 h 1516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511813" h="1516973">
                    <a:moveTo>
                      <a:pt x="817500" y="1518710"/>
                    </a:moveTo>
                    <a:cubicBezTo>
                      <a:pt x="809245" y="1520774"/>
                      <a:pt x="805633" y="1516130"/>
                      <a:pt x="802537" y="1507875"/>
                    </a:cubicBezTo>
                    <a:cubicBezTo>
                      <a:pt x="795829" y="1486204"/>
                      <a:pt x="788090" y="1464532"/>
                      <a:pt x="780866" y="1442862"/>
                    </a:cubicBezTo>
                    <a:cubicBezTo>
                      <a:pt x="774674" y="1424286"/>
                      <a:pt x="777770" y="1404679"/>
                      <a:pt x="776738" y="1385072"/>
                    </a:cubicBezTo>
                    <a:cubicBezTo>
                      <a:pt x="776222" y="1369593"/>
                      <a:pt x="775706" y="1370109"/>
                      <a:pt x="760227" y="1369593"/>
                    </a:cubicBezTo>
                    <a:cubicBezTo>
                      <a:pt x="738556" y="1369593"/>
                      <a:pt x="716369" y="1368045"/>
                      <a:pt x="694698" y="1366497"/>
                    </a:cubicBezTo>
                    <a:cubicBezTo>
                      <a:pt x="683346" y="1365465"/>
                      <a:pt x="676638" y="1365981"/>
                      <a:pt x="676638" y="1379912"/>
                    </a:cubicBezTo>
                    <a:cubicBezTo>
                      <a:pt x="676638" y="1424286"/>
                      <a:pt x="655483" y="1462469"/>
                      <a:pt x="637940" y="1501683"/>
                    </a:cubicBezTo>
                    <a:cubicBezTo>
                      <a:pt x="634844" y="1508907"/>
                      <a:pt x="630716" y="1510454"/>
                      <a:pt x="622977" y="1508907"/>
                    </a:cubicBezTo>
                    <a:cubicBezTo>
                      <a:pt x="556416" y="1496523"/>
                      <a:pt x="492434" y="1475368"/>
                      <a:pt x="430517" y="1447505"/>
                    </a:cubicBezTo>
                    <a:cubicBezTo>
                      <a:pt x="423294" y="1443893"/>
                      <a:pt x="420198" y="1440282"/>
                      <a:pt x="422262" y="1431510"/>
                    </a:cubicBezTo>
                    <a:cubicBezTo>
                      <a:pt x="427421" y="1409323"/>
                      <a:pt x="431033" y="1386620"/>
                      <a:pt x="435677" y="1364433"/>
                    </a:cubicBezTo>
                    <a:cubicBezTo>
                      <a:pt x="439805" y="1344310"/>
                      <a:pt x="452704" y="1327798"/>
                      <a:pt x="461992" y="1310255"/>
                    </a:cubicBezTo>
                    <a:cubicBezTo>
                      <a:pt x="467152" y="1300452"/>
                      <a:pt x="466120" y="1295808"/>
                      <a:pt x="456316" y="1290132"/>
                    </a:cubicBezTo>
                    <a:cubicBezTo>
                      <a:pt x="435677" y="1278265"/>
                      <a:pt x="415554" y="1264849"/>
                      <a:pt x="395431" y="1251434"/>
                    </a:cubicBezTo>
                    <a:cubicBezTo>
                      <a:pt x="388207" y="1246274"/>
                      <a:pt x="383563" y="1246274"/>
                      <a:pt x="378919" y="1254014"/>
                    </a:cubicBezTo>
                    <a:cubicBezTo>
                      <a:pt x="356216" y="1293228"/>
                      <a:pt x="319066" y="1317479"/>
                      <a:pt x="283464" y="1342246"/>
                    </a:cubicBezTo>
                    <a:cubicBezTo>
                      <a:pt x="276240" y="1346890"/>
                      <a:pt x="272112" y="1346374"/>
                      <a:pt x="265920" y="1341214"/>
                    </a:cubicBezTo>
                    <a:cubicBezTo>
                      <a:pt x="214323" y="1297356"/>
                      <a:pt x="169433" y="1246790"/>
                      <a:pt x="130218" y="1191580"/>
                    </a:cubicBezTo>
                    <a:cubicBezTo>
                      <a:pt x="125575" y="1185389"/>
                      <a:pt x="125059" y="1180745"/>
                      <a:pt x="130734" y="1174553"/>
                    </a:cubicBezTo>
                    <a:cubicBezTo>
                      <a:pt x="146730" y="1157010"/>
                      <a:pt x="161177" y="1138435"/>
                      <a:pt x="177688" y="1121408"/>
                    </a:cubicBezTo>
                    <a:cubicBezTo>
                      <a:pt x="191104" y="1107476"/>
                      <a:pt x="209163" y="1099221"/>
                      <a:pt x="225674" y="1089417"/>
                    </a:cubicBezTo>
                    <a:cubicBezTo>
                      <a:pt x="236510" y="1083225"/>
                      <a:pt x="237026" y="1078065"/>
                      <a:pt x="230834" y="1067230"/>
                    </a:cubicBezTo>
                    <a:cubicBezTo>
                      <a:pt x="218967" y="1047107"/>
                      <a:pt x="208647" y="1025436"/>
                      <a:pt x="198327" y="1004281"/>
                    </a:cubicBezTo>
                    <a:cubicBezTo>
                      <a:pt x="194716" y="997057"/>
                      <a:pt x="192136" y="993445"/>
                      <a:pt x="183880" y="998089"/>
                    </a:cubicBezTo>
                    <a:cubicBezTo>
                      <a:pt x="147246" y="1017180"/>
                      <a:pt x="108031" y="1024920"/>
                      <a:pt x="67269" y="1025952"/>
                    </a:cubicBezTo>
                    <a:cubicBezTo>
                      <a:pt x="63657" y="1025952"/>
                      <a:pt x="59529" y="1026984"/>
                      <a:pt x="55918" y="1027500"/>
                    </a:cubicBezTo>
                    <a:cubicBezTo>
                      <a:pt x="48694" y="1028532"/>
                      <a:pt x="44050" y="1025952"/>
                      <a:pt x="41470" y="1018212"/>
                    </a:cubicBezTo>
                    <a:cubicBezTo>
                      <a:pt x="21347" y="960939"/>
                      <a:pt x="6384" y="902117"/>
                      <a:pt x="1224" y="841748"/>
                    </a:cubicBezTo>
                    <a:cubicBezTo>
                      <a:pt x="-1872" y="808725"/>
                      <a:pt x="-1356" y="809241"/>
                      <a:pt x="30635" y="797374"/>
                    </a:cubicBezTo>
                    <a:cubicBezTo>
                      <a:pt x="64173" y="784474"/>
                      <a:pt x="98744" y="775703"/>
                      <a:pt x="134862" y="778799"/>
                    </a:cubicBezTo>
                    <a:cubicBezTo>
                      <a:pt x="144150" y="779315"/>
                      <a:pt x="147246" y="775187"/>
                      <a:pt x="147246" y="765899"/>
                    </a:cubicBezTo>
                    <a:cubicBezTo>
                      <a:pt x="147246" y="742680"/>
                      <a:pt x="148278" y="719461"/>
                      <a:pt x="150342" y="696242"/>
                    </a:cubicBezTo>
                    <a:cubicBezTo>
                      <a:pt x="151373" y="685923"/>
                      <a:pt x="150858" y="678699"/>
                      <a:pt x="137442" y="678699"/>
                    </a:cubicBezTo>
                    <a:cubicBezTo>
                      <a:pt x="92552" y="678699"/>
                      <a:pt x="53854" y="657544"/>
                      <a:pt x="14639" y="639485"/>
                    </a:cubicBezTo>
                    <a:cubicBezTo>
                      <a:pt x="7932" y="636389"/>
                      <a:pt x="6384" y="632261"/>
                      <a:pt x="7932" y="625037"/>
                    </a:cubicBezTo>
                    <a:cubicBezTo>
                      <a:pt x="20315" y="558476"/>
                      <a:pt x="40954" y="494495"/>
                      <a:pt x="69333" y="432578"/>
                    </a:cubicBezTo>
                    <a:cubicBezTo>
                      <a:pt x="72945" y="424838"/>
                      <a:pt x="77073" y="421742"/>
                      <a:pt x="86360" y="423806"/>
                    </a:cubicBezTo>
                    <a:cubicBezTo>
                      <a:pt x="107515" y="428450"/>
                      <a:pt x="129186" y="432578"/>
                      <a:pt x="150858" y="436706"/>
                    </a:cubicBezTo>
                    <a:cubicBezTo>
                      <a:pt x="171497" y="440833"/>
                      <a:pt x="188008" y="453733"/>
                      <a:pt x="206583" y="463536"/>
                    </a:cubicBezTo>
                    <a:cubicBezTo>
                      <a:pt x="216903" y="468696"/>
                      <a:pt x="221546" y="467664"/>
                      <a:pt x="227738" y="457345"/>
                    </a:cubicBezTo>
                    <a:cubicBezTo>
                      <a:pt x="239606" y="436706"/>
                      <a:pt x="253021" y="416582"/>
                      <a:pt x="266952" y="396459"/>
                    </a:cubicBezTo>
                    <a:cubicBezTo>
                      <a:pt x="271596" y="389752"/>
                      <a:pt x="271596" y="385108"/>
                      <a:pt x="264373" y="380980"/>
                    </a:cubicBezTo>
                    <a:cubicBezTo>
                      <a:pt x="225158" y="357761"/>
                      <a:pt x="200391" y="320611"/>
                      <a:pt x="175108" y="284492"/>
                    </a:cubicBezTo>
                    <a:cubicBezTo>
                      <a:pt x="170465" y="277785"/>
                      <a:pt x="170981" y="273657"/>
                      <a:pt x="176140" y="267981"/>
                    </a:cubicBezTo>
                    <a:cubicBezTo>
                      <a:pt x="219998" y="216383"/>
                      <a:pt x="270048" y="171493"/>
                      <a:pt x="325258" y="132279"/>
                    </a:cubicBezTo>
                    <a:cubicBezTo>
                      <a:pt x="331966" y="127635"/>
                      <a:pt x="336609" y="126603"/>
                      <a:pt x="343317" y="132795"/>
                    </a:cubicBezTo>
                    <a:cubicBezTo>
                      <a:pt x="360344" y="148274"/>
                      <a:pt x="378404" y="162722"/>
                      <a:pt x="395431" y="178717"/>
                    </a:cubicBezTo>
                    <a:cubicBezTo>
                      <a:pt x="409362" y="191616"/>
                      <a:pt x="416070" y="209160"/>
                      <a:pt x="426389" y="224639"/>
                    </a:cubicBezTo>
                    <a:cubicBezTo>
                      <a:pt x="437741" y="241666"/>
                      <a:pt x="435161" y="240634"/>
                      <a:pt x="451156" y="231347"/>
                    </a:cubicBezTo>
                    <a:cubicBezTo>
                      <a:pt x="470763" y="219995"/>
                      <a:pt x="491403" y="209676"/>
                      <a:pt x="512042" y="200388"/>
                    </a:cubicBezTo>
                    <a:cubicBezTo>
                      <a:pt x="521329" y="196260"/>
                      <a:pt x="522361" y="192132"/>
                      <a:pt x="518233" y="183877"/>
                    </a:cubicBezTo>
                    <a:cubicBezTo>
                      <a:pt x="499142" y="148274"/>
                      <a:pt x="492434" y="109576"/>
                      <a:pt x="491403" y="69846"/>
                    </a:cubicBezTo>
                    <a:cubicBezTo>
                      <a:pt x="491403" y="66234"/>
                      <a:pt x="490371" y="62106"/>
                      <a:pt x="489855" y="58494"/>
                    </a:cubicBezTo>
                    <a:cubicBezTo>
                      <a:pt x="488307" y="50239"/>
                      <a:pt x="491403" y="46111"/>
                      <a:pt x="499658" y="43015"/>
                    </a:cubicBezTo>
                    <a:cubicBezTo>
                      <a:pt x="563123" y="20312"/>
                      <a:pt x="628653" y="6380"/>
                      <a:pt x="695730" y="189"/>
                    </a:cubicBezTo>
                    <a:cubicBezTo>
                      <a:pt x="706049" y="-843"/>
                      <a:pt x="710693" y="2253"/>
                      <a:pt x="713273" y="12056"/>
                    </a:cubicBezTo>
                    <a:cubicBezTo>
                      <a:pt x="715337" y="19796"/>
                      <a:pt x="717917" y="27536"/>
                      <a:pt x="721012" y="35275"/>
                    </a:cubicBezTo>
                    <a:cubicBezTo>
                      <a:pt x="734428" y="67266"/>
                      <a:pt x="741136" y="99772"/>
                      <a:pt x="738556" y="134343"/>
                    </a:cubicBezTo>
                    <a:cubicBezTo>
                      <a:pt x="737524" y="145694"/>
                      <a:pt x="742168" y="148790"/>
                      <a:pt x="753519" y="148790"/>
                    </a:cubicBezTo>
                    <a:cubicBezTo>
                      <a:pt x="775706" y="148274"/>
                      <a:pt x="797893" y="149822"/>
                      <a:pt x="820596" y="151886"/>
                    </a:cubicBezTo>
                    <a:cubicBezTo>
                      <a:pt x="831948" y="152918"/>
                      <a:pt x="838655" y="152402"/>
                      <a:pt x="838655" y="138471"/>
                    </a:cubicBezTo>
                    <a:cubicBezTo>
                      <a:pt x="838655" y="94097"/>
                      <a:pt x="859810" y="55914"/>
                      <a:pt x="877354" y="16700"/>
                    </a:cubicBezTo>
                    <a:cubicBezTo>
                      <a:pt x="880449" y="9476"/>
                      <a:pt x="885093" y="7928"/>
                      <a:pt x="892317" y="9476"/>
                    </a:cubicBezTo>
                    <a:cubicBezTo>
                      <a:pt x="958878" y="21860"/>
                      <a:pt x="1022859" y="42499"/>
                      <a:pt x="1084777" y="70878"/>
                    </a:cubicBezTo>
                    <a:cubicBezTo>
                      <a:pt x="1092000" y="74489"/>
                      <a:pt x="1095096" y="78617"/>
                      <a:pt x="1093032" y="86873"/>
                    </a:cubicBezTo>
                    <a:cubicBezTo>
                      <a:pt x="1088388" y="108544"/>
                      <a:pt x="1084261" y="130731"/>
                      <a:pt x="1079617" y="152402"/>
                    </a:cubicBezTo>
                    <a:cubicBezTo>
                      <a:pt x="1075489" y="172525"/>
                      <a:pt x="1062590" y="189036"/>
                      <a:pt x="1053302" y="206580"/>
                    </a:cubicBezTo>
                    <a:cubicBezTo>
                      <a:pt x="1047626" y="217415"/>
                      <a:pt x="1048658" y="222575"/>
                      <a:pt x="1060010" y="228251"/>
                    </a:cubicBezTo>
                    <a:cubicBezTo>
                      <a:pt x="1080133" y="239602"/>
                      <a:pt x="1099740" y="252502"/>
                      <a:pt x="1118315" y="265917"/>
                    </a:cubicBezTo>
                    <a:cubicBezTo>
                      <a:pt x="1126571" y="272109"/>
                      <a:pt x="1131214" y="271593"/>
                      <a:pt x="1136374" y="262821"/>
                    </a:cubicBezTo>
                    <a:cubicBezTo>
                      <a:pt x="1159077" y="223607"/>
                      <a:pt x="1196744" y="199872"/>
                      <a:pt x="1232346" y="174589"/>
                    </a:cubicBezTo>
                    <a:cubicBezTo>
                      <a:pt x="1238538" y="170461"/>
                      <a:pt x="1242666" y="170977"/>
                      <a:pt x="1247825" y="175621"/>
                    </a:cubicBezTo>
                    <a:cubicBezTo>
                      <a:pt x="1299939" y="219995"/>
                      <a:pt x="1345345" y="270045"/>
                      <a:pt x="1384559" y="325770"/>
                    </a:cubicBezTo>
                    <a:cubicBezTo>
                      <a:pt x="1389203" y="331962"/>
                      <a:pt x="1389719" y="336606"/>
                      <a:pt x="1384043" y="342798"/>
                    </a:cubicBezTo>
                    <a:cubicBezTo>
                      <a:pt x="1368048" y="360857"/>
                      <a:pt x="1352569" y="379432"/>
                      <a:pt x="1336057" y="396975"/>
                    </a:cubicBezTo>
                    <a:cubicBezTo>
                      <a:pt x="1323674" y="409875"/>
                      <a:pt x="1306131" y="417098"/>
                      <a:pt x="1291167" y="426902"/>
                    </a:cubicBezTo>
                    <a:cubicBezTo>
                      <a:pt x="1276720" y="436706"/>
                      <a:pt x="1276720" y="436190"/>
                      <a:pt x="1284976" y="451153"/>
                    </a:cubicBezTo>
                    <a:cubicBezTo>
                      <a:pt x="1295811" y="471792"/>
                      <a:pt x="1306647" y="492431"/>
                      <a:pt x="1316450" y="513070"/>
                    </a:cubicBezTo>
                    <a:cubicBezTo>
                      <a:pt x="1320062" y="520294"/>
                      <a:pt x="1323158" y="523390"/>
                      <a:pt x="1330898" y="519262"/>
                    </a:cubicBezTo>
                    <a:cubicBezTo>
                      <a:pt x="1367532" y="500171"/>
                      <a:pt x="1406746" y="492431"/>
                      <a:pt x="1447509" y="491399"/>
                    </a:cubicBezTo>
                    <a:cubicBezTo>
                      <a:pt x="1451120" y="491399"/>
                      <a:pt x="1455248" y="490367"/>
                      <a:pt x="1458860" y="489851"/>
                    </a:cubicBezTo>
                    <a:cubicBezTo>
                      <a:pt x="1466600" y="488819"/>
                      <a:pt x="1470728" y="491399"/>
                      <a:pt x="1473307" y="499139"/>
                    </a:cubicBezTo>
                    <a:cubicBezTo>
                      <a:pt x="1493431" y="556412"/>
                      <a:pt x="1508394" y="615234"/>
                      <a:pt x="1513554" y="675603"/>
                    </a:cubicBezTo>
                    <a:cubicBezTo>
                      <a:pt x="1513554" y="676635"/>
                      <a:pt x="1513554" y="678183"/>
                      <a:pt x="1514070" y="679215"/>
                    </a:cubicBezTo>
                    <a:cubicBezTo>
                      <a:pt x="1518713" y="714301"/>
                      <a:pt x="1519745" y="706046"/>
                      <a:pt x="1490335" y="717397"/>
                    </a:cubicBezTo>
                    <a:cubicBezTo>
                      <a:pt x="1454732" y="730813"/>
                      <a:pt x="1418614" y="741648"/>
                      <a:pt x="1379916" y="738036"/>
                    </a:cubicBezTo>
                    <a:cubicBezTo>
                      <a:pt x="1371144" y="737004"/>
                      <a:pt x="1368048" y="740616"/>
                      <a:pt x="1367532" y="749904"/>
                    </a:cubicBezTo>
                    <a:cubicBezTo>
                      <a:pt x="1367016" y="774155"/>
                      <a:pt x="1365984" y="797890"/>
                      <a:pt x="1363920" y="822141"/>
                    </a:cubicBezTo>
                    <a:cubicBezTo>
                      <a:pt x="1363404" y="831944"/>
                      <a:pt x="1363920" y="838136"/>
                      <a:pt x="1375788" y="838136"/>
                    </a:cubicBezTo>
                    <a:cubicBezTo>
                      <a:pt x="1420678" y="838136"/>
                      <a:pt x="1459376" y="858775"/>
                      <a:pt x="1498590" y="876834"/>
                    </a:cubicBezTo>
                    <a:cubicBezTo>
                      <a:pt x="1505298" y="879930"/>
                      <a:pt x="1507878" y="883542"/>
                      <a:pt x="1506330" y="891798"/>
                    </a:cubicBezTo>
                    <a:cubicBezTo>
                      <a:pt x="1493947" y="958875"/>
                      <a:pt x="1472791" y="1023372"/>
                      <a:pt x="1444413" y="1085289"/>
                    </a:cubicBezTo>
                    <a:cubicBezTo>
                      <a:pt x="1441317" y="1092513"/>
                      <a:pt x="1437189" y="1094577"/>
                      <a:pt x="1429449" y="1093029"/>
                    </a:cubicBezTo>
                    <a:cubicBezTo>
                      <a:pt x="1386623" y="1085289"/>
                      <a:pt x="1343797" y="1078581"/>
                      <a:pt x="1306647" y="1052783"/>
                    </a:cubicBezTo>
                    <a:cubicBezTo>
                      <a:pt x="1297875" y="1046591"/>
                      <a:pt x="1293231" y="1048655"/>
                      <a:pt x="1287556" y="1057942"/>
                    </a:cubicBezTo>
                    <a:cubicBezTo>
                      <a:pt x="1275688" y="1078581"/>
                      <a:pt x="1262273" y="1098705"/>
                      <a:pt x="1248857" y="1118828"/>
                    </a:cubicBezTo>
                    <a:cubicBezTo>
                      <a:pt x="1244214" y="1125535"/>
                      <a:pt x="1242150" y="1130179"/>
                      <a:pt x="1250405" y="1135339"/>
                    </a:cubicBezTo>
                    <a:cubicBezTo>
                      <a:pt x="1289620" y="1158558"/>
                      <a:pt x="1313871" y="1194676"/>
                      <a:pt x="1339153" y="1230795"/>
                    </a:cubicBezTo>
                    <a:cubicBezTo>
                      <a:pt x="1344313" y="1238018"/>
                      <a:pt x="1343797" y="1242662"/>
                      <a:pt x="1337605" y="1249370"/>
                    </a:cubicBezTo>
                    <a:cubicBezTo>
                      <a:pt x="1293747" y="1300968"/>
                      <a:pt x="1244214" y="1345342"/>
                      <a:pt x="1189004" y="1384040"/>
                    </a:cubicBezTo>
                    <a:cubicBezTo>
                      <a:pt x="1182296" y="1388684"/>
                      <a:pt x="1177652" y="1389716"/>
                      <a:pt x="1170945" y="1383524"/>
                    </a:cubicBezTo>
                    <a:cubicBezTo>
                      <a:pt x="1153918" y="1368045"/>
                      <a:pt x="1135858" y="1353597"/>
                      <a:pt x="1118831" y="1337602"/>
                    </a:cubicBezTo>
                    <a:cubicBezTo>
                      <a:pt x="1104384" y="1324187"/>
                      <a:pt x="1096644" y="1306128"/>
                      <a:pt x="1086840" y="1289616"/>
                    </a:cubicBezTo>
                    <a:cubicBezTo>
                      <a:pt x="1080133" y="1278265"/>
                      <a:pt x="1074973" y="1277749"/>
                      <a:pt x="1064137" y="1284456"/>
                    </a:cubicBezTo>
                    <a:cubicBezTo>
                      <a:pt x="1044530" y="1296324"/>
                      <a:pt x="1023375" y="1306643"/>
                      <a:pt x="1002220" y="1316447"/>
                    </a:cubicBezTo>
                    <a:cubicBezTo>
                      <a:pt x="993449" y="1320575"/>
                      <a:pt x="991385" y="1324703"/>
                      <a:pt x="996028" y="1332958"/>
                    </a:cubicBezTo>
                    <a:cubicBezTo>
                      <a:pt x="1015120" y="1368561"/>
                      <a:pt x="1021827" y="1407259"/>
                      <a:pt x="1022859" y="1446989"/>
                    </a:cubicBezTo>
                    <a:cubicBezTo>
                      <a:pt x="1022859" y="1451117"/>
                      <a:pt x="1023891" y="1455245"/>
                      <a:pt x="1024407" y="1459889"/>
                    </a:cubicBezTo>
                    <a:cubicBezTo>
                      <a:pt x="1025439" y="1466596"/>
                      <a:pt x="1022859" y="1470724"/>
                      <a:pt x="1015636" y="1473304"/>
                    </a:cubicBezTo>
                    <a:cubicBezTo>
                      <a:pt x="970745" y="1493943"/>
                      <a:pt x="870646" y="1516130"/>
                      <a:pt x="817500" y="1518710"/>
                    </a:cubicBezTo>
                    <a:close/>
                    <a:moveTo>
                      <a:pt x="758163" y="1148238"/>
                    </a:moveTo>
                    <a:cubicBezTo>
                      <a:pt x="974357" y="1144627"/>
                      <a:pt x="1145146" y="976418"/>
                      <a:pt x="1145146" y="758675"/>
                    </a:cubicBezTo>
                    <a:cubicBezTo>
                      <a:pt x="1145146" y="542481"/>
                      <a:pt x="974357" y="371176"/>
                      <a:pt x="757131" y="371176"/>
                    </a:cubicBezTo>
                    <a:cubicBezTo>
                      <a:pt x="539904" y="371176"/>
                      <a:pt x="368600" y="542481"/>
                      <a:pt x="368600" y="759707"/>
                    </a:cubicBezTo>
                    <a:cubicBezTo>
                      <a:pt x="369116" y="977966"/>
                      <a:pt x="541452" y="1145659"/>
                      <a:pt x="758163" y="1148238"/>
                    </a:cubicBezTo>
                    <a:close/>
                  </a:path>
                </a:pathLst>
              </a:custGeom>
              <a:grpFill/>
              <a:ln w="5155" cap="flat">
                <a:noFill/>
                <a:prstDash val="solid"/>
                <a:miter/>
              </a:ln>
            </p:spPr>
            <p:txBody>
              <a:bodyPr rtlCol="0" anchor="ctr"/>
              <a:lstStyle/>
              <a:p>
                <a:endParaRPr lang="en-US"/>
              </a:p>
            </p:txBody>
          </p:sp>
        </p:grpSp>
        <p:grpSp>
          <p:nvGrpSpPr>
            <p:cNvPr id="11" name="Group 10">
              <a:extLst>
                <a:ext uri="{FF2B5EF4-FFF2-40B4-BE49-F238E27FC236}">
                  <a16:creationId xmlns:a16="http://schemas.microsoft.com/office/drawing/2014/main" id="{3C9083CC-CC13-4BCC-8521-7079F8EBE42B}"/>
                </a:ext>
              </a:extLst>
            </p:cNvPr>
            <p:cNvGrpSpPr/>
            <p:nvPr/>
          </p:nvGrpSpPr>
          <p:grpSpPr>
            <a:xfrm>
              <a:off x="6486650" y="2648852"/>
              <a:ext cx="2745260" cy="2471860"/>
              <a:chOff x="6486650" y="2648852"/>
              <a:chExt cx="2745260" cy="2471860"/>
            </a:xfrm>
            <a:grpFill/>
          </p:grpSpPr>
          <p:sp>
            <p:nvSpPr>
              <p:cNvPr id="26" name="Freeform: Shape 25">
                <a:extLst>
                  <a:ext uri="{FF2B5EF4-FFF2-40B4-BE49-F238E27FC236}">
                    <a16:creationId xmlns:a16="http://schemas.microsoft.com/office/drawing/2014/main" id="{7CC45CD8-C56F-467E-BEF3-DF307BE9C4B4}"/>
                  </a:ext>
                </a:extLst>
              </p:cNvPr>
              <p:cNvSpPr/>
              <p:nvPr/>
            </p:nvSpPr>
            <p:spPr>
              <a:xfrm>
                <a:off x="6486650" y="3806165"/>
                <a:ext cx="1318090" cy="1314547"/>
              </a:xfrm>
              <a:custGeom>
                <a:avLst/>
                <a:gdLst>
                  <a:gd name="connsiteX0" fmla="*/ 0 w 1919435"/>
                  <a:gd name="connsiteY0" fmla="*/ 987194 h 1914275"/>
                  <a:gd name="connsiteX1" fmla="*/ 37667 w 1919435"/>
                  <a:gd name="connsiteY1" fmla="*/ 959846 h 1914275"/>
                  <a:gd name="connsiteX2" fmla="*/ 169757 w 1919435"/>
                  <a:gd name="connsiteY2" fmla="*/ 922696 h 1914275"/>
                  <a:gd name="connsiteX3" fmla="*/ 215163 w 1919435"/>
                  <a:gd name="connsiteY3" fmla="*/ 872130 h 1914275"/>
                  <a:gd name="connsiteX4" fmla="*/ 217743 w 1919435"/>
                  <a:gd name="connsiteY4" fmla="*/ 850459 h 1914275"/>
                  <a:gd name="connsiteX5" fmla="*/ 189364 w 1919435"/>
                  <a:gd name="connsiteY5" fmla="*/ 797830 h 1914275"/>
                  <a:gd name="connsiteX6" fmla="*/ 69657 w 1919435"/>
                  <a:gd name="connsiteY6" fmla="*/ 727657 h 1914275"/>
                  <a:gd name="connsiteX7" fmla="*/ 43858 w 1919435"/>
                  <a:gd name="connsiteY7" fmla="*/ 664708 h 1914275"/>
                  <a:gd name="connsiteX8" fmla="*/ 46438 w 1919435"/>
                  <a:gd name="connsiteY8" fmla="*/ 655936 h 1914275"/>
                  <a:gd name="connsiteX9" fmla="*/ 114547 w 1919435"/>
                  <a:gd name="connsiteY9" fmla="*/ 608982 h 1914275"/>
                  <a:gd name="connsiteX10" fmla="*/ 241478 w 1919435"/>
                  <a:gd name="connsiteY10" fmla="*/ 623429 h 1914275"/>
                  <a:gd name="connsiteX11" fmla="*/ 306491 w 1919435"/>
                  <a:gd name="connsiteY11" fmla="*/ 593503 h 1914275"/>
                  <a:gd name="connsiteX12" fmla="*/ 301331 w 1919435"/>
                  <a:gd name="connsiteY12" fmla="*/ 505271 h 1914275"/>
                  <a:gd name="connsiteX13" fmla="*/ 222386 w 1919435"/>
                  <a:gd name="connsiteY13" fmla="*/ 400527 h 1914275"/>
                  <a:gd name="connsiteX14" fmla="*/ 222386 w 1919435"/>
                  <a:gd name="connsiteY14" fmla="*/ 342222 h 1914275"/>
                  <a:gd name="connsiteX15" fmla="*/ 248185 w 1919435"/>
                  <a:gd name="connsiteY15" fmla="*/ 313327 h 1914275"/>
                  <a:gd name="connsiteX16" fmla="*/ 303395 w 1919435"/>
                  <a:gd name="connsiteY16" fmla="*/ 307135 h 1914275"/>
                  <a:gd name="connsiteX17" fmla="*/ 420522 w 1919435"/>
                  <a:gd name="connsiteY17" fmla="*/ 373180 h 1914275"/>
                  <a:gd name="connsiteX18" fmla="*/ 525265 w 1919435"/>
                  <a:gd name="connsiteY18" fmla="*/ 343770 h 1914275"/>
                  <a:gd name="connsiteX19" fmla="*/ 527845 w 1919435"/>
                  <a:gd name="connsiteY19" fmla="*/ 298364 h 1914275"/>
                  <a:gd name="connsiteX20" fmla="*/ 493791 w 1919435"/>
                  <a:gd name="connsiteY20" fmla="*/ 166789 h 1914275"/>
                  <a:gd name="connsiteX21" fmla="*/ 518557 w 1919435"/>
                  <a:gd name="connsiteY21" fmla="*/ 105904 h 1914275"/>
                  <a:gd name="connsiteX22" fmla="*/ 537649 w 1919435"/>
                  <a:gd name="connsiteY22" fmla="*/ 95585 h 1914275"/>
                  <a:gd name="connsiteX23" fmla="*/ 608853 w 1919435"/>
                  <a:gd name="connsiteY23" fmla="*/ 113128 h 1914275"/>
                  <a:gd name="connsiteX24" fmla="*/ 690894 w 1919435"/>
                  <a:gd name="connsiteY24" fmla="*/ 217355 h 1914275"/>
                  <a:gd name="connsiteX25" fmla="*/ 802861 w 1919435"/>
                  <a:gd name="connsiteY25" fmla="*/ 216839 h 1914275"/>
                  <a:gd name="connsiteX26" fmla="*/ 816277 w 1919435"/>
                  <a:gd name="connsiteY26" fmla="*/ 169369 h 1914275"/>
                  <a:gd name="connsiteX27" fmla="*/ 832788 w 1919435"/>
                  <a:gd name="connsiteY27" fmla="*/ 48631 h 1914275"/>
                  <a:gd name="connsiteX28" fmla="*/ 877677 w 1919435"/>
                  <a:gd name="connsiteY28" fmla="*/ 2193 h 1914275"/>
                  <a:gd name="connsiteX29" fmla="*/ 917924 w 1919435"/>
                  <a:gd name="connsiteY29" fmla="*/ 645 h 1914275"/>
                  <a:gd name="connsiteX30" fmla="*/ 956106 w 1919435"/>
                  <a:gd name="connsiteY30" fmla="*/ 31603 h 1914275"/>
                  <a:gd name="connsiteX31" fmla="*/ 993772 w 1919435"/>
                  <a:gd name="connsiteY31" fmla="*/ 163693 h 1914275"/>
                  <a:gd name="connsiteX32" fmla="*/ 1089745 w 1919435"/>
                  <a:gd name="connsiteY32" fmla="*/ 217871 h 1914275"/>
                  <a:gd name="connsiteX33" fmla="*/ 1120703 w 1919435"/>
                  <a:gd name="connsiteY33" fmla="*/ 191040 h 1914275"/>
                  <a:gd name="connsiteX34" fmla="*/ 1192940 w 1919435"/>
                  <a:gd name="connsiteY34" fmla="*/ 68754 h 1914275"/>
                  <a:gd name="connsiteX35" fmla="*/ 1251245 w 1919435"/>
                  <a:gd name="connsiteY35" fmla="*/ 44503 h 1914275"/>
                  <a:gd name="connsiteX36" fmla="*/ 1309035 w 1919435"/>
                  <a:gd name="connsiteY36" fmla="*/ 137895 h 1914275"/>
                  <a:gd name="connsiteX37" fmla="*/ 1294587 w 1919435"/>
                  <a:gd name="connsiteY37" fmla="*/ 255538 h 1914275"/>
                  <a:gd name="connsiteX38" fmla="*/ 1294587 w 1919435"/>
                  <a:gd name="connsiteY38" fmla="*/ 267921 h 1914275"/>
                  <a:gd name="connsiteX39" fmla="*/ 1399331 w 1919435"/>
                  <a:gd name="connsiteY39" fmla="*/ 314359 h 1914275"/>
                  <a:gd name="connsiteX40" fmla="*/ 1514394 w 1919435"/>
                  <a:gd name="connsiteY40" fmla="*/ 228191 h 1914275"/>
                  <a:gd name="connsiteX41" fmla="*/ 1584050 w 1919435"/>
                  <a:gd name="connsiteY41" fmla="*/ 229223 h 1914275"/>
                  <a:gd name="connsiteX42" fmla="*/ 1594886 w 1919435"/>
                  <a:gd name="connsiteY42" fmla="*/ 238510 h 1914275"/>
                  <a:gd name="connsiteX43" fmla="*/ 1606754 w 1919435"/>
                  <a:gd name="connsiteY43" fmla="*/ 317971 h 1914275"/>
                  <a:gd name="connsiteX44" fmla="*/ 1543288 w 1919435"/>
                  <a:gd name="connsiteY44" fmla="*/ 430970 h 1914275"/>
                  <a:gd name="connsiteX45" fmla="*/ 1552060 w 1919435"/>
                  <a:gd name="connsiteY45" fmla="*/ 504239 h 1914275"/>
                  <a:gd name="connsiteX46" fmla="*/ 1619137 w 1919435"/>
                  <a:gd name="connsiteY46" fmla="*/ 531069 h 1914275"/>
                  <a:gd name="connsiteX47" fmla="*/ 1754839 w 1919435"/>
                  <a:gd name="connsiteY47" fmla="*/ 495467 h 1914275"/>
                  <a:gd name="connsiteX48" fmla="*/ 1812629 w 1919435"/>
                  <a:gd name="connsiteY48" fmla="*/ 517654 h 1914275"/>
                  <a:gd name="connsiteX49" fmla="*/ 1830172 w 1919435"/>
                  <a:gd name="connsiteY49" fmla="*/ 552225 h 1914275"/>
                  <a:gd name="connsiteX50" fmla="*/ 1815724 w 1919435"/>
                  <a:gd name="connsiteY50" fmla="*/ 603306 h 1914275"/>
                  <a:gd name="connsiteX51" fmla="*/ 1699630 w 1919435"/>
                  <a:gd name="connsiteY51" fmla="*/ 695666 h 1914275"/>
                  <a:gd name="connsiteX52" fmla="*/ 1678990 w 1919435"/>
                  <a:gd name="connsiteY52" fmla="*/ 751908 h 1914275"/>
                  <a:gd name="connsiteX53" fmla="*/ 1685182 w 1919435"/>
                  <a:gd name="connsiteY53" fmla="*/ 774611 h 1914275"/>
                  <a:gd name="connsiteX54" fmla="*/ 1732652 w 1919435"/>
                  <a:gd name="connsiteY54" fmla="*/ 815373 h 1914275"/>
                  <a:gd name="connsiteX55" fmla="*/ 1872998 w 1919435"/>
                  <a:gd name="connsiteY55" fmla="*/ 834464 h 1914275"/>
                  <a:gd name="connsiteX56" fmla="*/ 1918404 w 1919435"/>
                  <a:gd name="connsiteY56" fmla="*/ 879354 h 1914275"/>
                  <a:gd name="connsiteX57" fmla="*/ 1919952 w 1919435"/>
                  <a:gd name="connsiteY57" fmla="*/ 919600 h 1914275"/>
                  <a:gd name="connsiteX58" fmla="*/ 1886930 w 1919435"/>
                  <a:gd name="connsiteY58" fmla="*/ 958299 h 1914275"/>
                  <a:gd name="connsiteX59" fmla="*/ 1754839 w 1919435"/>
                  <a:gd name="connsiteY59" fmla="*/ 995965 h 1914275"/>
                  <a:gd name="connsiteX60" fmla="*/ 1701178 w 1919435"/>
                  <a:gd name="connsiteY60" fmla="*/ 1085229 h 1914275"/>
                  <a:gd name="connsiteX61" fmla="*/ 1728524 w 1919435"/>
                  <a:gd name="connsiteY61" fmla="*/ 1121348 h 1914275"/>
                  <a:gd name="connsiteX62" fmla="*/ 1849779 w 1919435"/>
                  <a:gd name="connsiteY62" fmla="*/ 1192552 h 1914275"/>
                  <a:gd name="connsiteX63" fmla="*/ 1876094 w 1919435"/>
                  <a:gd name="connsiteY63" fmla="*/ 1253954 h 1914275"/>
                  <a:gd name="connsiteX64" fmla="*/ 1875062 w 1919435"/>
                  <a:gd name="connsiteY64" fmla="*/ 1260145 h 1914275"/>
                  <a:gd name="connsiteX65" fmla="*/ 1802309 w 1919435"/>
                  <a:gd name="connsiteY65" fmla="*/ 1312259 h 1914275"/>
                  <a:gd name="connsiteX66" fmla="*/ 1675379 w 1919435"/>
                  <a:gd name="connsiteY66" fmla="*/ 1296264 h 1914275"/>
                  <a:gd name="connsiteX67" fmla="*/ 1611398 w 1919435"/>
                  <a:gd name="connsiteY67" fmla="*/ 1329286 h 1914275"/>
                  <a:gd name="connsiteX68" fmla="*/ 1610365 w 1919435"/>
                  <a:gd name="connsiteY68" fmla="*/ 1405651 h 1914275"/>
                  <a:gd name="connsiteX69" fmla="*/ 1692406 w 1919435"/>
                  <a:gd name="connsiteY69" fmla="*/ 1514006 h 1914275"/>
                  <a:gd name="connsiteX70" fmla="*/ 1692406 w 1919435"/>
                  <a:gd name="connsiteY70" fmla="*/ 1584695 h 1914275"/>
                  <a:gd name="connsiteX71" fmla="*/ 1689310 w 1919435"/>
                  <a:gd name="connsiteY71" fmla="*/ 1588307 h 1914275"/>
                  <a:gd name="connsiteX72" fmla="*/ 1600562 w 1919435"/>
                  <a:gd name="connsiteY72" fmla="*/ 1605850 h 1914275"/>
                  <a:gd name="connsiteX73" fmla="*/ 1490659 w 1919435"/>
                  <a:gd name="connsiteY73" fmla="*/ 1543933 h 1914275"/>
                  <a:gd name="connsiteX74" fmla="*/ 1415326 w 1919435"/>
                  <a:gd name="connsiteY74" fmla="*/ 1554769 h 1914275"/>
                  <a:gd name="connsiteX75" fmla="*/ 1391075 w 1919435"/>
                  <a:gd name="connsiteY75" fmla="*/ 1622877 h 1914275"/>
                  <a:gd name="connsiteX76" fmla="*/ 1426677 w 1919435"/>
                  <a:gd name="connsiteY76" fmla="*/ 1760128 h 1914275"/>
                  <a:gd name="connsiteX77" fmla="*/ 1406554 w 1919435"/>
                  <a:gd name="connsiteY77" fmla="*/ 1811725 h 1914275"/>
                  <a:gd name="connsiteX78" fmla="*/ 1370436 w 1919435"/>
                  <a:gd name="connsiteY78" fmla="*/ 1830300 h 1914275"/>
                  <a:gd name="connsiteX79" fmla="*/ 1316258 w 1919435"/>
                  <a:gd name="connsiteY79" fmla="*/ 1815337 h 1914275"/>
                  <a:gd name="connsiteX80" fmla="*/ 1231122 w 1919435"/>
                  <a:gd name="connsiteY80" fmla="*/ 1707498 h 1914275"/>
                  <a:gd name="connsiteX81" fmla="*/ 1121219 w 1919435"/>
                  <a:gd name="connsiteY81" fmla="*/ 1698210 h 1914275"/>
                  <a:gd name="connsiteX82" fmla="*/ 1106771 w 1919435"/>
                  <a:gd name="connsiteY82" fmla="*/ 1727105 h 1914275"/>
                  <a:gd name="connsiteX83" fmla="*/ 1087165 w 1919435"/>
                  <a:gd name="connsiteY83" fmla="*/ 1868999 h 1914275"/>
                  <a:gd name="connsiteX84" fmla="*/ 1050014 w 1919435"/>
                  <a:gd name="connsiteY84" fmla="*/ 1919049 h 1914275"/>
                  <a:gd name="connsiteX85" fmla="*/ 987581 w 1919435"/>
                  <a:gd name="connsiteY85" fmla="*/ 1919049 h 1914275"/>
                  <a:gd name="connsiteX86" fmla="*/ 960234 w 1919435"/>
                  <a:gd name="connsiteY86" fmla="*/ 1880866 h 1914275"/>
                  <a:gd name="connsiteX87" fmla="*/ 921535 w 1919435"/>
                  <a:gd name="connsiteY87" fmla="*/ 1744132 h 1914275"/>
                  <a:gd name="connsiteX88" fmla="*/ 875614 w 1919435"/>
                  <a:gd name="connsiteY88" fmla="*/ 1703886 h 1914275"/>
                  <a:gd name="connsiteX89" fmla="*/ 847751 w 1919435"/>
                  <a:gd name="connsiteY89" fmla="*/ 1700790 h 1914275"/>
                  <a:gd name="connsiteX90" fmla="*/ 800281 w 1919435"/>
                  <a:gd name="connsiteY90" fmla="*/ 1727105 h 1914275"/>
                  <a:gd name="connsiteX91" fmla="*/ 788414 w 1919435"/>
                  <a:gd name="connsiteY91" fmla="*/ 1747228 h 1914275"/>
                  <a:gd name="connsiteX92" fmla="*/ 723401 w 1919435"/>
                  <a:gd name="connsiteY92" fmla="*/ 1857131 h 1914275"/>
                  <a:gd name="connsiteX93" fmla="*/ 674383 w 1919435"/>
                  <a:gd name="connsiteY93" fmla="*/ 1877254 h 1914275"/>
                  <a:gd name="connsiteX94" fmla="*/ 634652 w 1919435"/>
                  <a:gd name="connsiteY94" fmla="*/ 1863839 h 1914275"/>
                  <a:gd name="connsiteX95" fmla="*/ 607822 w 1919435"/>
                  <a:gd name="connsiteY95" fmla="*/ 1813789 h 1914275"/>
                  <a:gd name="connsiteX96" fmla="*/ 624848 w 1919435"/>
                  <a:gd name="connsiteY96" fmla="*/ 1672927 h 1914275"/>
                  <a:gd name="connsiteX97" fmla="*/ 586150 w 1919435"/>
                  <a:gd name="connsiteY97" fmla="*/ 1607398 h 1914275"/>
                  <a:gd name="connsiteX98" fmla="*/ 514430 w 1919435"/>
                  <a:gd name="connsiteY98" fmla="*/ 1611010 h 1914275"/>
                  <a:gd name="connsiteX99" fmla="*/ 413814 w 1919435"/>
                  <a:gd name="connsiteY99" fmla="*/ 1687375 h 1914275"/>
                  <a:gd name="connsiteX100" fmla="*/ 324550 w 1919435"/>
                  <a:gd name="connsiteY100" fmla="*/ 1682215 h 1914275"/>
                  <a:gd name="connsiteX101" fmla="*/ 316810 w 1919435"/>
                  <a:gd name="connsiteY101" fmla="*/ 1674475 h 1914275"/>
                  <a:gd name="connsiteX102" fmla="*/ 309071 w 1919435"/>
                  <a:gd name="connsiteY102" fmla="*/ 1612558 h 1914275"/>
                  <a:gd name="connsiteX103" fmla="*/ 376148 w 1919435"/>
                  <a:gd name="connsiteY103" fmla="*/ 1492851 h 1914275"/>
                  <a:gd name="connsiteX104" fmla="*/ 387499 w 1919435"/>
                  <a:gd name="connsiteY104" fmla="*/ 1456217 h 1914275"/>
                  <a:gd name="connsiteX105" fmla="*/ 297203 w 1919435"/>
                  <a:gd name="connsiteY105" fmla="*/ 1391720 h 1914275"/>
                  <a:gd name="connsiteX106" fmla="*/ 158405 w 1919435"/>
                  <a:gd name="connsiteY106" fmla="*/ 1427838 h 1914275"/>
                  <a:gd name="connsiteX107" fmla="*/ 114031 w 1919435"/>
                  <a:gd name="connsiteY107" fmla="*/ 1412875 h 1914275"/>
                  <a:gd name="connsiteX108" fmla="*/ 91844 w 1919435"/>
                  <a:gd name="connsiteY108" fmla="*/ 1373660 h 1914275"/>
                  <a:gd name="connsiteX109" fmla="*/ 106808 w 1919435"/>
                  <a:gd name="connsiteY109" fmla="*/ 1315871 h 1914275"/>
                  <a:gd name="connsiteX110" fmla="*/ 209487 w 1919435"/>
                  <a:gd name="connsiteY110" fmla="*/ 1234347 h 1914275"/>
                  <a:gd name="connsiteX111" fmla="*/ 236834 w 1919435"/>
                  <a:gd name="connsiteY111" fmla="*/ 1151274 h 1914275"/>
                  <a:gd name="connsiteX112" fmla="*/ 181624 w 1919435"/>
                  <a:gd name="connsiteY112" fmla="*/ 1104836 h 1914275"/>
                  <a:gd name="connsiteX113" fmla="*/ 52114 w 1919435"/>
                  <a:gd name="connsiteY113" fmla="*/ 1087293 h 1914275"/>
                  <a:gd name="connsiteX114" fmla="*/ 1032 w 1919435"/>
                  <a:gd name="connsiteY114" fmla="*/ 1051175 h 1914275"/>
                  <a:gd name="connsiteX115" fmla="*/ 0 w 1919435"/>
                  <a:gd name="connsiteY115" fmla="*/ 987194 h 1914275"/>
                  <a:gd name="connsiteX116" fmla="*/ 1198616 w 1919435"/>
                  <a:gd name="connsiteY116" fmla="*/ 960879 h 1914275"/>
                  <a:gd name="connsiteX117" fmla="*/ 958686 w 1919435"/>
                  <a:gd name="connsiteY117" fmla="*/ 720949 h 1914275"/>
                  <a:gd name="connsiteX118" fmla="*/ 720304 w 1919435"/>
                  <a:gd name="connsiteY118" fmla="*/ 959331 h 1914275"/>
                  <a:gd name="connsiteX119" fmla="*/ 957654 w 1919435"/>
                  <a:gd name="connsiteY119" fmla="*/ 1198744 h 1914275"/>
                  <a:gd name="connsiteX120" fmla="*/ 1198616 w 1919435"/>
                  <a:gd name="connsiteY120" fmla="*/ 960879 h 191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919435" h="1914275">
                    <a:moveTo>
                      <a:pt x="0" y="987194"/>
                    </a:moveTo>
                    <a:cubicBezTo>
                      <a:pt x="8256" y="971714"/>
                      <a:pt x="21155" y="963975"/>
                      <a:pt x="37667" y="959846"/>
                    </a:cubicBezTo>
                    <a:cubicBezTo>
                      <a:pt x="82041" y="947979"/>
                      <a:pt x="125383" y="934564"/>
                      <a:pt x="169757" y="922696"/>
                    </a:cubicBezTo>
                    <a:cubicBezTo>
                      <a:pt x="196587" y="915473"/>
                      <a:pt x="212583" y="900509"/>
                      <a:pt x="215163" y="872130"/>
                    </a:cubicBezTo>
                    <a:cubicBezTo>
                      <a:pt x="215679" y="864907"/>
                      <a:pt x="216710" y="857683"/>
                      <a:pt x="217743" y="850459"/>
                    </a:cubicBezTo>
                    <a:cubicBezTo>
                      <a:pt x="220323" y="826209"/>
                      <a:pt x="209487" y="809697"/>
                      <a:pt x="189364" y="797830"/>
                    </a:cubicBezTo>
                    <a:cubicBezTo>
                      <a:pt x="149118" y="774611"/>
                      <a:pt x="109388" y="750876"/>
                      <a:pt x="69657" y="727657"/>
                    </a:cubicBezTo>
                    <a:cubicBezTo>
                      <a:pt x="40246" y="710629"/>
                      <a:pt x="35087" y="697730"/>
                      <a:pt x="43858" y="664708"/>
                    </a:cubicBezTo>
                    <a:cubicBezTo>
                      <a:pt x="44890" y="661612"/>
                      <a:pt x="45406" y="658516"/>
                      <a:pt x="46438" y="655936"/>
                    </a:cubicBezTo>
                    <a:cubicBezTo>
                      <a:pt x="59337" y="613110"/>
                      <a:pt x="70689" y="604854"/>
                      <a:pt x="114547" y="608982"/>
                    </a:cubicBezTo>
                    <a:cubicBezTo>
                      <a:pt x="156857" y="613110"/>
                      <a:pt x="199167" y="617754"/>
                      <a:pt x="241478" y="623429"/>
                    </a:cubicBezTo>
                    <a:cubicBezTo>
                      <a:pt x="275016" y="627557"/>
                      <a:pt x="289463" y="621881"/>
                      <a:pt x="306491" y="593503"/>
                    </a:cubicBezTo>
                    <a:cubicBezTo>
                      <a:pt x="330741" y="554288"/>
                      <a:pt x="329710" y="541905"/>
                      <a:pt x="301331" y="505271"/>
                    </a:cubicBezTo>
                    <a:cubicBezTo>
                      <a:pt x="274500" y="470700"/>
                      <a:pt x="248185" y="435614"/>
                      <a:pt x="222386" y="400527"/>
                    </a:cubicBezTo>
                    <a:cubicBezTo>
                      <a:pt x="206907" y="379888"/>
                      <a:pt x="206907" y="362861"/>
                      <a:pt x="222386" y="342222"/>
                    </a:cubicBezTo>
                    <a:cubicBezTo>
                      <a:pt x="230126" y="331902"/>
                      <a:pt x="238382" y="321583"/>
                      <a:pt x="248185" y="313327"/>
                    </a:cubicBezTo>
                    <a:cubicBezTo>
                      <a:pt x="267792" y="296816"/>
                      <a:pt x="281208" y="294752"/>
                      <a:pt x="303395" y="307135"/>
                    </a:cubicBezTo>
                    <a:cubicBezTo>
                      <a:pt x="342609" y="328806"/>
                      <a:pt x="382856" y="348929"/>
                      <a:pt x="420522" y="373180"/>
                    </a:cubicBezTo>
                    <a:cubicBezTo>
                      <a:pt x="463864" y="401043"/>
                      <a:pt x="493791" y="382468"/>
                      <a:pt x="525265" y="343770"/>
                    </a:cubicBezTo>
                    <a:cubicBezTo>
                      <a:pt x="535585" y="330870"/>
                      <a:pt x="531973" y="313843"/>
                      <a:pt x="527845" y="298364"/>
                    </a:cubicBezTo>
                    <a:cubicBezTo>
                      <a:pt x="516493" y="254506"/>
                      <a:pt x="505142" y="210647"/>
                      <a:pt x="493791" y="166789"/>
                    </a:cubicBezTo>
                    <a:cubicBezTo>
                      <a:pt x="485535" y="135315"/>
                      <a:pt x="490694" y="122415"/>
                      <a:pt x="518557" y="105904"/>
                    </a:cubicBezTo>
                    <a:cubicBezTo>
                      <a:pt x="524749" y="102292"/>
                      <a:pt x="530941" y="98680"/>
                      <a:pt x="537649" y="95585"/>
                    </a:cubicBezTo>
                    <a:cubicBezTo>
                      <a:pt x="571187" y="80105"/>
                      <a:pt x="586150" y="83717"/>
                      <a:pt x="608853" y="113128"/>
                    </a:cubicBezTo>
                    <a:cubicBezTo>
                      <a:pt x="636200" y="147698"/>
                      <a:pt x="663547" y="182785"/>
                      <a:pt x="690894" y="217355"/>
                    </a:cubicBezTo>
                    <a:cubicBezTo>
                      <a:pt x="716693" y="249346"/>
                      <a:pt x="777062" y="249346"/>
                      <a:pt x="802861" y="216839"/>
                    </a:cubicBezTo>
                    <a:cubicBezTo>
                      <a:pt x="813697" y="202908"/>
                      <a:pt x="813697" y="185365"/>
                      <a:pt x="816277" y="169369"/>
                    </a:cubicBezTo>
                    <a:cubicBezTo>
                      <a:pt x="822468" y="129123"/>
                      <a:pt x="827628" y="88877"/>
                      <a:pt x="832788" y="48631"/>
                    </a:cubicBezTo>
                    <a:cubicBezTo>
                      <a:pt x="836916" y="16640"/>
                      <a:pt x="845687" y="7868"/>
                      <a:pt x="877677" y="2193"/>
                    </a:cubicBezTo>
                    <a:cubicBezTo>
                      <a:pt x="891093" y="-387"/>
                      <a:pt x="904509" y="-387"/>
                      <a:pt x="917924" y="645"/>
                    </a:cubicBezTo>
                    <a:cubicBezTo>
                      <a:pt x="937531" y="1677"/>
                      <a:pt x="950947" y="11996"/>
                      <a:pt x="956106" y="31603"/>
                    </a:cubicBezTo>
                    <a:cubicBezTo>
                      <a:pt x="968490" y="75461"/>
                      <a:pt x="981389" y="119835"/>
                      <a:pt x="993772" y="163693"/>
                    </a:cubicBezTo>
                    <a:cubicBezTo>
                      <a:pt x="1006672" y="208584"/>
                      <a:pt x="1043822" y="229739"/>
                      <a:pt x="1089745" y="217871"/>
                    </a:cubicBezTo>
                    <a:cubicBezTo>
                      <a:pt x="1104707" y="214259"/>
                      <a:pt x="1113479" y="203424"/>
                      <a:pt x="1120703" y="191040"/>
                    </a:cubicBezTo>
                    <a:cubicBezTo>
                      <a:pt x="1144438" y="150278"/>
                      <a:pt x="1168689" y="109516"/>
                      <a:pt x="1192940" y="68754"/>
                    </a:cubicBezTo>
                    <a:cubicBezTo>
                      <a:pt x="1208419" y="42439"/>
                      <a:pt x="1221835" y="36763"/>
                      <a:pt x="1251245" y="44503"/>
                    </a:cubicBezTo>
                    <a:cubicBezTo>
                      <a:pt x="1310067" y="59466"/>
                      <a:pt x="1317806" y="72366"/>
                      <a:pt x="1309035" y="137895"/>
                    </a:cubicBezTo>
                    <a:cubicBezTo>
                      <a:pt x="1303875" y="177109"/>
                      <a:pt x="1299231" y="216323"/>
                      <a:pt x="1294587" y="255538"/>
                    </a:cubicBezTo>
                    <a:cubicBezTo>
                      <a:pt x="1294071" y="259665"/>
                      <a:pt x="1294071" y="263793"/>
                      <a:pt x="1294587" y="267921"/>
                    </a:cubicBezTo>
                    <a:cubicBezTo>
                      <a:pt x="1301295" y="309715"/>
                      <a:pt x="1364760" y="338610"/>
                      <a:pt x="1399331" y="314359"/>
                    </a:cubicBezTo>
                    <a:cubicBezTo>
                      <a:pt x="1438545" y="286496"/>
                      <a:pt x="1476211" y="257085"/>
                      <a:pt x="1514394" y="228191"/>
                    </a:cubicBezTo>
                    <a:cubicBezTo>
                      <a:pt x="1542256" y="207036"/>
                      <a:pt x="1556188" y="207552"/>
                      <a:pt x="1584050" y="229223"/>
                    </a:cubicBezTo>
                    <a:cubicBezTo>
                      <a:pt x="1587663" y="232319"/>
                      <a:pt x="1591274" y="234898"/>
                      <a:pt x="1594886" y="238510"/>
                    </a:cubicBezTo>
                    <a:cubicBezTo>
                      <a:pt x="1627393" y="269469"/>
                      <a:pt x="1628941" y="278757"/>
                      <a:pt x="1606754" y="317971"/>
                    </a:cubicBezTo>
                    <a:cubicBezTo>
                      <a:pt x="1585599" y="355637"/>
                      <a:pt x="1565475" y="393819"/>
                      <a:pt x="1543288" y="430970"/>
                    </a:cubicBezTo>
                    <a:cubicBezTo>
                      <a:pt x="1527293" y="458317"/>
                      <a:pt x="1534517" y="481020"/>
                      <a:pt x="1552060" y="504239"/>
                    </a:cubicBezTo>
                    <a:cubicBezTo>
                      <a:pt x="1569604" y="527458"/>
                      <a:pt x="1589726" y="538809"/>
                      <a:pt x="1619137" y="531069"/>
                    </a:cubicBezTo>
                    <a:cubicBezTo>
                      <a:pt x="1664543" y="519202"/>
                      <a:pt x="1709949" y="507850"/>
                      <a:pt x="1754839" y="495467"/>
                    </a:cubicBezTo>
                    <a:cubicBezTo>
                      <a:pt x="1783734" y="487727"/>
                      <a:pt x="1796634" y="492371"/>
                      <a:pt x="1812629" y="517654"/>
                    </a:cubicBezTo>
                    <a:cubicBezTo>
                      <a:pt x="1819853" y="528490"/>
                      <a:pt x="1826044" y="539841"/>
                      <a:pt x="1830172" y="552225"/>
                    </a:cubicBezTo>
                    <a:cubicBezTo>
                      <a:pt x="1837912" y="574412"/>
                      <a:pt x="1834299" y="588343"/>
                      <a:pt x="1815724" y="603306"/>
                    </a:cubicBezTo>
                    <a:cubicBezTo>
                      <a:pt x="1777026" y="634265"/>
                      <a:pt x="1738844" y="665224"/>
                      <a:pt x="1699630" y="695666"/>
                    </a:cubicBezTo>
                    <a:cubicBezTo>
                      <a:pt x="1680022" y="710629"/>
                      <a:pt x="1674862" y="729205"/>
                      <a:pt x="1678990" y="751908"/>
                    </a:cubicBezTo>
                    <a:cubicBezTo>
                      <a:pt x="1680539" y="759647"/>
                      <a:pt x="1683119" y="766871"/>
                      <a:pt x="1685182" y="774611"/>
                    </a:cubicBezTo>
                    <a:cubicBezTo>
                      <a:pt x="1691890" y="798862"/>
                      <a:pt x="1707885" y="812277"/>
                      <a:pt x="1732652" y="815373"/>
                    </a:cubicBezTo>
                    <a:cubicBezTo>
                      <a:pt x="1779606" y="821565"/>
                      <a:pt x="1826560" y="828272"/>
                      <a:pt x="1872998" y="834464"/>
                    </a:cubicBezTo>
                    <a:cubicBezTo>
                      <a:pt x="1900861" y="838076"/>
                      <a:pt x="1915308" y="851491"/>
                      <a:pt x="1918404" y="879354"/>
                    </a:cubicBezTo>
                    <a:cubicBezTo>
                      <a:pt x="1919952" y="892770"/>
                      <a:pt x="1921500" y="906185"/>
                      <a:pt x="1919952" y="919600"/>
                    </a:cubicBezTo>
                    <a:cubicBezTo>
                      <a:pt x="1917372" y="940755"/>
                      <a:pt x="1906536" y="952623"/>
                      <a:pt x="1886930" y="958299"/>
                    </a:cubicBezTo>
                    <a:cubicBezTo>
                      <a:pt x="1843071" y="970682"/>
                      <a:pt x="1798697" y="983065"/>
                      <a:pt x="1754839" y="995965"/>
                    </a:cubicBezTo>
                    <a:cubicBezTo>
                      <a:pt x="1712013" y="1008348"/>
                      <a:pt x="1692406" y="1040855"/>
                      <a:pt x="1701178" y="1085229"/>
                    </a:cubicBezTo>
                    <a:cubicBezTo>
                      <a:pt x="1704273" y="1102256"/>
                      <a:pt x="1714077" y="1113092"/>
                      <a:pt x="1728524" y="1121348"/>
                    </a:cubicBezTo>
                    <a:cubicBezTo>
                      <a:pt x="1768771" y="1145083"/>
                      <a:pt x="1809016" y="1168817"/>
                      <a:pt x="1849779" y="1192552"/>
                    </a:cubicBezTo>
                    <a:cubicBezTo>
                      <a:pt x="1879706" y="1210096"/>
                      <a:pt x="1884350" y="1220415"/>
                      <a:pt x="1876094" y="1253954"/>
                    </a:cubicBezTo>
                    <a:cubicBezTo>
                      <a:pt x="1875578" y="1256018"/>
                      <a:pt x="1875578" y="1258082"/>
                      <a:pt x="1875062" y="1260145"/>
                    </a:cubicBezTo>
                    <a:cubicBezTo>
                      <a:pt x="1862678" y="1300908"/>
                      <a:pt x="1848747" y="1321031"/>
                      <a:pt x="1802309" y="1312259"/>
                    </a:cubicBezTo>
                    <a:cubicBezTo>
                      <a:pt x="1760515" y="1304003"/>
                      <a:pt x="1717689" y="1302456"/>
                      <a:pt x="1675379" y="1296264"/>
                    </a:cubicBezTo>
                    <a:cubicBezTo>
                      <a:pt x="1645452" y="1292136"/>
                      <a:pt x="1625845" y="1304003"/>
                      <a:pt x="1611398" y="1329286"/>
                    </a:cubicBezTo>
                    <a:cubicBezTo>
                      <a:pt x="1596434" y="1355085"/>
                      <a:pt x="1589726" y="1379336"/>
                      <a:pt x="1610365" y="1405651"/>
                    </a:cubicBezTo>
                    <a:cubicBezTo>
                      <a:pt x="1638228" y="1441254"/>
                      <a:pt x="1665059" y="1477888"/>
                      <a:pt x="1692406" y="1514006"/>
                    </a:cubicBezTo>
                    <a:cubicBezTo>
                      <a:pt x="1715109" y="1543417"/>
                      <a:pt x="1715109" y="1555285"/>
                      <a:pt x="1692406" y="1584695"/>
                    </a:cubicBezTo>
                    <a:cubicBezTo>
                      <a:pt x="1691374" y="1585727"/>
                      <a:pt x="1690342" y="1587275"/>
                      <a:pt x="1689310" y="1588307"/>
                    </a:cubicBezTo>
                    <a:cubicBezTo>
                      <a:pt x="1659383" y="1620298"/>
                      <a:pt x="1647516" y="1634229"/>
                      <a:pt x="1600562" y="1605850"/>
                    </a:cubicBezTo>
                    <a:cubicBezTo>
                      <a:pt x="1564444" y="1584179"/>
                      <a:pt x="1526261" y="1565604"/>
                      <a:pt x="1490659" y="1543933"/>
                    </a:cubicBezTo>
                    <a:cubicBezTo>
                      <a:pt x="1461248" y="1526390"/>
                      <a:pt x="1438545" y="1536709"/>
                      <a:pt x="1415326" y="1554769"/>
                    </a:cubicBezTo>
                    <a:cubicBezTo>
                      <a:pt x="1392107" y="1572312"/>
                      <a:pt x="1382819" y="1593467"/>
                      <a:pt x="1391075" y="1622877"/>
                    </a:cubicBezTo>
                    <a:cubicBezTo>
                      <a:pt x="1403974" y="1668284"/>
                      <a:pt x="1415326" y="1714205"/>
                      <a:pt x="1426677" y="1760128"/>
                    </a:cubicBezTo>
                    <a:cubicBezTo>
                      <a:pt x="1432870" y="1784894"/>
                      <a:pt x="1427710" y="1798310"/>
                      <a:pt x="1406554" y="1811725"/>
                    </a:cubicBezTo>
                    <a:cubicBezTo>
                      <a:pt x="1395203" y="1818949"/>
                      <a:pt x="1383335" y="1825657"/>
                      <a:pt x="1370436" y="1830300"/>
                    </a:cubicBezTo>
                    <a:cubicBezTo>
                      <a:pt x="1347733" y="1838556"/>
                      <a:pt x="1331222" y="1834428"/>
                      <a:pt x="1316258" y="1815337"/>
                    </a:cubicBezTo>
                    <a:cubicBezTo>
                      <a:pt x="1287879" y="1779735"/>
                      <a:pt x="1259501" y="1743616"/>
                      <a:pt x="1231122" y="1707498"/>
                    </a:cubicBezTo>
                    <a:cubicBezTo>
                      <a:pt x="1203775" y="1673443"/>
                      <a:pt x="1154242" y="1668800"/>
                      <a:pt x="1121219" y="1698210"/>
                    </a:cubicBezTo>
                    <a:cubicBezTo>
                      <a:pt x="1112447" y="1705950"/>
                      <a:pt x="1108320" y="1715753"/>
                      <a:pt x="1106771" y="1727105"/>
                    </a:cubicBezTo>
                    <a:cubicBezTo>
                      <a:pt x="1100064" y="1774575"/>
                      <a:pt x="1092324" y="1821529"/>
                      <a:pt x="1087165" y="1868999"/>
                    </a:cubicBezTo>
                    <a:cubicBezTo>
                      <a:pt x="1084068" y="1893766"/>
                      <a:pt x="1074265" y="1911309"/>
                      <a:pt x="1050014" y="1919049"/>
                    </a:cubicBezTo>
                    <a:cubicBezTo>
                      <a:pt x="1029375" y="1919049"/>
                      <a:pt x="1008220" y="1919049"/>
                      <a:pt x="987581" y="1919049"/>
                    </a:cubicBezTo>
                    <a:cubicBezTo>
                      <a:pt x="973133" y="1910277"/>
                      <a:pt x="964878" y="1897377"/>
                      <a:pt x="960234" y="1880866"/>
                    </a:cubicBezTo>
                    <a:cubicBezTo>
                      <a:pt x="947851" y="1835460"/>
                      <a:pt x="933919" y="1790054"/>
                      <a:pt x="921535" y="1744132"/>
                    </a:cubicBezTo>
                    <a:cubicBezTo>
                      <a:pt x="914828" y="1719881"/>
                      <a:pt x="899865" y="1706982"/>
                      <a:pt x="875614" y="1703886"/>
                    </a:cubicBezTo>
                    <a:cubicBezTo>
                      <a:pt x="866326" y="1702854"/>
                      <a:pt x="857038" y="1701306"/>
                      <a:pt x="847751" y="1700790"/>
                    </a:cubicBezTo>
                    <a:cubicBezTo>
                      <a:pt x="826080" y="1699242"/>
                      <a:pt x="811117" y="1709046"/>
                      <a:pt x="800281" y="1727105"/>
                    </a:cubicBezTo>
                    <a:cubicBezTo>
                      <a:pt x="796153" y="1733813"/>
                      <a:pt x="792541" y="1740520"/>
                      <a:pt x="788414" y="1747228"/>
                    </a:cubicBezTo>
                    <a:cubicBezTo>
                      <a:pt x="766742" y="1783862"/>
                      <a:pt x="745587" y="1821013"/>
                      <a:pt x="723401" y="1857131"/>
                    </a:cubicBezTo>
                    <a:cubicBezTo>
                      <a:pt x="711533" y="1877254"/>
                      <a:pt x="697085" y="1882414"/>
                      <a:pt x="674383" y="1877254"/>
                    </a:cubicBezTo>
                    <a:cubicBezTo>
                      <a:pt x="660451" y="1874158"/>
                      <a:pt x="647552" y="1869515"/>
                      <a:pt x="634652" y="1863839"/>
                    </a:cubicBezTo>
                    <a:cubicBezTo>
                      <a:pt x="611949" y="1853003"/>
                      <a:pt x="604726" y="1839072"/>
                      <a:pt x="607822" y="1813789"/>
                    </a:cubicBezTo>
                    <a:cubicBezTo>
                      <a:pt x="613497" y="1766835"/>
                      <a:pt x="618141" y="1719881"/>
                      <a:pt x="624848" y="1672927"/>
                    </a:cubicBezTo>
                    <a:cubicBezTo>
                      <a:pt x="629492" y="1639905"/>
                      <a:pt x="611949" y="1621846"/>
                      <a:pt x="586150" y="1607398"/>
                    </a:cubicBezTo>
                    <a:cubicBezTo>
                      <a:pt x="560868" y="1593467"/>
                      <a:pt x="538165" y="1591403"/>
                      <a:pt x="514430" y="1611010"/>
                    </a:cubicBezTo>
                    <a:cubicBezTo>
                      <a:pt x="481407" y="1637325"/>
                      <a:pt x="446836" y="1661576"/>
                      <a:pt x="413814" y="1687375"/>
                    </a:cubicBezTo>
                    <a:cubicBezTo>
                      <a:pt x="380276" y="1713690"/>
                      <a:pt x="365828" y="1719365"/>
                      <a:pt x="324550" y="1682215"/>
                    </a:cubicBezTo>
                    <a:cubicBezTo>
                      <a:pt x="321970" y="1679635"/>
                      <a:pt x="319390" y="1677055"/>
                      <a:pt x="316810" y="1674475"/>
                    </a:cubicBezTo>
                    <a:cubicBezTo>
                      <a:pt x="296687" y="1653836"/>
                      <a:pt x="294623" y="1637841"/>
                      <a:pt x="309071" y="1612558"/>
                    </a:cubicBezTo>
                    <a:cubicBezTo>
                      <a:pt x="331258" y="1572828"/>
                      <a:pt x="353960" y="1532581"/>
                      <a:pt x="376148" y="1492851"/>
                    </a:cubicBezTo>
                    <a:cubicBezTo>
                      <a:pt x="382339" y="1481500"/>
                      <a:pt x="389047" y="1470148"/>
                      <a:pt x="387499" y="1456217"/>
                    </a:cubicBezTo>
                    <a:cubicBezTo>
                      <a:pt x="383887" y="1414423"/>
                      <a:pt x="337449" y="1381400"/>
                      <a:pt x="297203" y="1391720"/>
                    </a:cubicBezTo>
                    <a:cubicBezTo>
                      <a:pt x="250765" y="1403587"/>
                      <a:pt x="204327" y="1415455"/>
                      <a:pt x="158405" y="1427838"/>
                    </a:cubicBezTo>
                    <a:cubicBezTo>
                      <a:pt x="139830" y="1432998"/>
                      <a:pt x="125899" y="1427322"/>
                      <a:pt x="114031" y="1412875"/>
                    </a:cubicBezTo>
                    <a:cubicBezTo>
                      <a:pt x="104228" y="1401007"/>
                      <a:pt x="98036" y="1387592"/>
                      <a:pt x="91844" y="1373660"/>
                    </a:cubicBezTo>
                    <a:cubicBezTo>
                      <a:pt x="81525" y="1349409"/>
                      <a:pt x="86169" y="1331866"/>
                      <a:pt x="106808" y="1315871"/>
                    </a:cubicBezTo>
                    <a:cubicBezTo>
                      <a:pt x="140862" y="1288524"/>
                      <a:pt x="175432" y="1261693"/>
                      <a:pt x="209487" y="1234347"/>
                    </a:cubicBezTo>
                    <a:cubicBezTo>
                      <a:pt x="245605" y="1206484"/>
                      <a:pt x="248701" y="1194616"/>
                      <a:pt x="236834" y="1151274"/>
                    </a:cubicBezTo>
                    <a:cubicBezTo>
                      <a:pt x="228578" y="1122896"/>
                      <a:pt x="211551" y="1107932"/>
                      <a:pt x="181624" y="1104836"/>
                    </a:cubicBezTo>
                    <a:cubicBezTo>
                      <a:pt x="138282" y="1100192"/>
                      <a:pt x="95456" y="1091937"/>
                      <a:pt x="52114" y="1087293"/>
                    </a:cubicBezTo>
                    <a:cubicBezTo>
                      <a:pt x="27347" y="1084713"/>
                      <a:pt x="9804" y="1074910"/>
                      <a:pt x="1032" y="1051175"/>
                    </a:cubicBezTo>
                    <a:cubicBezTo>
                      <a:pt x="0" y="1028988"/>
                      <a:pt x="0" y="1008348"/>
                      <a:pt x="0" y="987194"/>
                    </a:cubicBezTo>
                    <a:close/>
                    <a:moveTo>
                      <a:pt x="1198616" y="960879"/>
                    </a:moveTo>
                    <a:cubicBezTo>
                      <a:pt x="1200163" y="838592"/>
                      <a:pt x="1104192" y="720433"/>
                      <a:pt x="958686" y="720949"/>
                    </a:cubicBezTo>
                    <a:cubicBezTo>
                      <a:pt x="824016" y="721465"/>
                      <a:pt x="720821" y="824145"/>
                      <a:pt x="720304" y="959331"/>
                    </a:cubicBezTo>
                    <a:cubicBezTo>
                      <a:pt x="719788" y="1096581"/>
                      <a:pt x="827628" y="1197712"/>
                      <a:pt x="957654" y="1198744"/>
                    </a:cubicBezTo>
                    <a:cubicBezTo>
                      <a:pt x="1090776" y="1199776"/>
                      <a:pt x="1198100" y="1092969"/>
                      <a:pt x="1198616" y="960879"/>
                    </a:cubicBezTo>
                    <a:close/>
                  </a:path>
                </a:pathLst>
              </a:custGeom>
              <a:grpFill/>
              <a:ln w="5155" cap="flat">
                <a:noFill/>
                <a:prstDash val="solid"/>
                <a:miter/>
              </a:ln>
            </p:spPr>
            <p:txBody>
              <a:bodyPr rtlCol="0" anchor="ctr"/>
              <a:lstStyle/>
              <a:p>
                <a:endParaRPr lang="en-US"/>
              </a:p>
            </p:txBody>
          </p:sp>
          <p:grpSp>
            <p:nvGrpSpPr>
              <p:cNvPr id="27" name="Group 26">
                <a:extLst>
                  <a:ext uri="{FF2B5EF4-FFF2-40B4-BE49-F238E27FC236}">
                    <a16:creationId xmlns:a16="http://schemas.microsoft.com/office/drawing/2014/main" id="{A74DC46F-EE01-49F6-894A-71B37D0AC15C}"/>
                  </a:ext>
                </a:extLst>
              </p:cNvPr>
              <p:cNvGrpSpPr/>
              <p:nvPr/>
            </p:nvGrpSpPr>
            <p:grpSpPr>
              <a:xfrm>
                <a:off x="7392963" y="2648852"/>
                <a:ext cx="1838947" cy="1835405"/>
                <a:chOff x="7167947" y="1624190"/>
                <a:chExt cx="2677922" cy="2672763"/>
              </a:xfrm>
              <a:grpFill/>
            </p:grpSpPr>
            <p:sp>
              <p:nvSpPr>
                <p:cNvPr id="28" name="Freeform: Shape 27">
                  <a:extLst>
                    <a:ext uri="{FF2B5EF4-FFF2-40B4-BE49-F238E27FC236}">
                      <a16:creationId xmlns:a16="http://schemas.microsoft.com/office/drawing/2014/main" id="{1AB69D80-C161-41AB-A5DD-3B118793A012}"/>
                    </a:ext>
                  </a:extLst>
                </p:cNvPr>
                <p:cNvSpPr/>
                <p:nvPr/>
              </p:nvSpPr>
              <p:spPr>
                <a:xfrm>
                  <a:off x="7167947" y="1624190"/>
                  <a:ext cx="2677922" cy="2672763"/>
                </a:xfrm>
                <a:custGeom>
                  <a:avLst/>
                  <a:gdLst>
                    <a:gd name="connsiteX0" fmla="*/ 2538684 w 2677922"/>
                    <a:gd name="connsiteY0" fmla="*/ 1897505 h 2672762"/>
                    <a:gd name="connsiteX1" fmla="*/ 2456643 w 2677922"/>
                    <a:gd name="connsiteY1" fmla="*/ 1879446 h 2672762"/>
                    <a:gd name="connsiteX2" fmla="*/ 2389566 w 2677922"/>
                    <a:gd name="connsiteY2" fmla="*/ 1863966 h 2672762"/>
                    <a:gd name="connsiteX3" fmla="*/ 2354479 w 2677922"/>
                    <a:gd name="connsiteY3" fmla="*/ 1874802 h 2672762"/>
                    <a:gd name="connsiteX4" fmla="*/ 2312170 w 2677922"/>
                    <a:gd name="connsiteY4" fmla="*/ 1950651 h 2672762"/>
                    <a:gd name="connsiteX5" fmla="*/ 2322489 w 2677922"/>
                    <a:gd name="connsiteY5" fmla="*/ 1983157 h 2672762"/>
                    <a:gd name="connsiteX6" fmla="*/ 2412785 w 2677922"/>
                    <a:gd name="connsiteY6" fmla="*/ 2080161 h 2672762"/>
                    <a:gd name="connsiteX7" fmla="*/ 2418461 w 2677922"/>
                    <a:gd name="connsiteY7" fmla="*/ 2146722 h 2672762"/>
                    <a:gd name="connsiteX8" fmla="*/ 2414849 w 2677922"/>
                    <a:gd name="connsiteY8" fmla="*/ 2151882 h 2672762"/>
                    <a:gd name="connsiteX9" fmla="*/ 2324037 w 2677922"/>
                    <a:gd name="connsiteY9" fmla="*/ 2174585 h 2672762"/>
                    <a:gd name="connsiteX10" fmla="*/ 2219294 w 2677922"/>
                    <a:gd name="connsiteY10" fmla="*/ 2118859 h 2672762"/>
                    <a:gd name="connsiteX11" fmla="*/ 2178531 w 2677922"/>
                    <a:gd name="connsiteY11" fmla="*/ 2120407 h 2672762"/>
                    <a:gd name="connsiteX12" fmla="*/ 2125386 w 2677922"/>
                    <a:gd name="connsiteY12" fmla="*/ 2172521 h 2672762"/>
                    <a:gd name="connsiteX13" fmla="*/ 2122806 w 2677922"/>
                    <a:gd name="connsiteY13" fmla="*/ 2217411 h 2672762"/>
                    <a:gd name="connsiteX14" fmla="*/ 2184723 w 2677922"/>
                    <a:gd name="connsiteY14" fmla="*/ 2334538 h 2672762"/>
                    <a:gd name="connsiteX15" fmla="*/ 2174404 w 2677922"/>
                    <a:gd name="connsiteY15" fmla="*/ 2395423 h 2672762"/>
                    <a:gd name="connsiteX16" fmla="*/ 2164084 w 2677922"/>
                    <a:gd name="connsiteY16" fmla="*/ 2404711 h 2672762"/>
                    <a:gd name="connsiteX17" fmla="*/ 2075336 w 2677922"/>
                    <a:gd name="connsiteY17" fmla="*/ 2401615 h 2672762"/>
                    <a:gd name="connsiteX18" fmla="*/ 1988652 w 2677922"/>
                    <a:gd name="connsiteY18" fmla="*/ 2320606 h 2672762"/>
                    <a:gd name="connsiteX19" fmla="*/ 1944277 w 2677922"/>
                    <a:gd name="connsiteY19" fmla="*/ 2311835 h 2672762"/>
                    <a:gd name="connsiteX20" fmla="*/ 1883392 w 2677922"/>
                    <a:gd name="connsiteY20" fmla="*/ 2346405 h 2672762"/>
                    <a:gd name="connsiteX21" fmla="*/ 1868429 w 2677922"/>
                    <a:gd name="connsiteY21" fmla="*/ 2391811 h 2672762"/>
                    <a:gd name="connsiteX22" fmla="*/ 1899388 w 2677922"/>
                    <a:gd name="connsiteY22" fmla="*/ 2526997 h 2672762"/>
                    <a:gd name="connsiteX23" fmla="*/ 1879264 w 2677922"/>
                    <a:gd name="connsiteY23" fmla="*/ 2571887 h 2672762"/>
                    <a:gd name="connsiteX24" fmla="*/ 1841082 w 2677922"/>
                    <a:gd name="connsiteY24" fmla="*/ 2588915 h 2672762"/>
                    <a:gd name="connsiteX25" fmla="*/ 1782777 w 2677922"/>
                    <a:gd name="connsiteY25" fmla="*/ 2568276 h 2672762"/>
                    <a:gd name="connsiteX26" fmla="*/ 1715184 w 2677922"/>
                    <a:gd name="connsiteY26" fmla="*/ 2459404 h 2672762"/>
                    <a:gd name="connsiteX27" fmla="*/ 1664618 w 2677922"/>
                    <a:gd name="connsiteY27" fmla="*/ 2435669 h 2672762"/>
                    <a:gd name="connsiteX28" fmla="*/ 1610440 w 2677922"/>
                    <a:gd name="connsiteY28" fmla="*/ 2450117 h 2672762"/>
                    <a:gd name="connsiteX29" fmla="*/ 1577418 w 2677922"/>
                    <a:gd name="connsiteY29" fmla="*/ 2495007 h 2672762"/>
                    <a:gd name="connsiteX30" fmla="*/ 1573806 w 2677922"/>
                    <a:gd name="connsiteY30" fmla="*/ 2616777 h 2672762"/>
                    <a:gd name="connsiteX31" fmla="*/ 1526852 w 2677922"/>
                    <a:gd name="connsiteY31" fmla="*/ 2672503 h 2672762"/>
                    <a:gd name="connsiteX32" fmla="*/ 1497441 w 2677922"/>
                    <a:gd name="connsiteY32" fmla="*/ 2676115 h 2672762"/>
                    <a:gd name="connsiteX33" fmla="*/ 1449972 w 2677922"/>
                    <a:gd name="connsiteY33" fmla="*/ 2644124 h 2672762"/>
                    <a:gd name="connsiteX34" fmla="*/ 1410241 w 2677922"/>
                    <a:gd name="connsiteY34" fmla="*/ 2514614 h 2672762"/>
                    <a:gd name="connsiteX35" fmla="*/ 1373091 w 2677922"/>
                    <a:gd name="connsiteY35" fmla="*/ 2482623 h 2672762"/>
                    <a:gd name="connsiteX36" fmla="*/ 1304982 w 2677922"/>
                    <a:gd name="connsiteY36" fmla="*/ 2483139 h 2672762"/>
                    <a:gd name="connsiteX37" fmla="*/ 1271959 w 2677922"/>
                    <a:gd name="connsiteY37" fmla="*/ 2511518 h 2672762"/>
                    <a:gd name="connsiteX38" fmla="*/ 1234293 w 2677922"/>
                    <a:gd name="connsiteY38" fmla="*/ 2633805 h 2672762"/>
                    <a:gd name="connsiteX39" fmla="*/ 1170828 w 2677922"/>
                    <a:gd name="connsiteY39" fmla="*/ 2674567 h 2672762"/>
                    <a:gd name="connsiteX40" fmla="*/ 1106847 w 2677922"/>
                    <a:gd name="connsiteY40" fmla="*/ 2602330 h 2672762"/>
                    <a:gd name="connsiteX41" fmla="*/ 1103751 w 2677922"/>
                    <a:gd name="connsiteY41" fmla="*/ 2491395 h 2672762"/>
                    <a:gd name="connsiteX42" fmla="*/ 1080532 w 2677922"/>
                    <a:gd name="connsiteY42" fmla="*/ 2454244 h 2672762"/>
                    <a:gd name="connsiteX43" fmla="*/ 1005199 w 2677922"/>
                    <a:gd name="connsiteY43" fmla="*/ 2435153 h 2672762"/>
                    <a:gd name="connsiteX44" fmla="*/ 969080 w 2677922"/>
                    <a:gd name="connsiteY44" fmla="*/ 2454244 h 2672762"/>
                    <a:gd name="connsiteX45" fmla="*/ 900456 w 2677922"/>
                    <a:gd name="connsiteY45" fmla="*/ 2564148 h 2672762"/>
                    <a:gd name="connsiteX46" fmla="*/ 836474 w 2677922"/>
                    <a:gd name="connsiteY46" fmla="*/ 2587367 h 2672762"/>
                    <a:gd name="connsiteX47" fmla="*/ 831830 w 2677922"/>
                    <a:gd name="connsiteY47" fmla="*/ 2585819 h 2672762"/>
                    <a:gd name="connsiteX48" fmla="*/ 785392 w 2677922"/>
                    <a:gd name="connsiteY48" fmla="*/ 2504810 h 2672762"/>
                    <a:gd name="connsiteX49" fmla="*/ 811707 w 2677922"/>
                    <a:gd name="connsiteY49" fmla="*/ 2390779 h 2672762"/>
                    <a:gd name="connsiteX50" fmla="*/ 794680 w 2677922"/>
                    <a:gd name="connsiteY50" fmla="*/ 2344341 h 2672762"/>
                    <a:gd name="connsiteX51" fmla="*/ 739470 w 2677922"/>
                    <a:gd name="connsiteY51" fmla="*/ 2312351 h 2672762"/>
                    <a:gd name="connsiteX52" fmla="*/ 689421 w 2677922"/>
                    <a:gd name="connsiteY52" fmla="*/ 2321638 h 2672762"/>
                    <a:gd name="connsiteX53" fmla="*/ 596029 w 2677922"/>
                    <a:gd name="connsiteY53" fmla="*/ 2408838 h 2672762"/>
                    <a:gd name="connsiteX54" fmla="*/ 530500 w 2677922"/>
                    <a:gd name="connsiteY54" fmla="*/ 2415030 h 2672762"/>
                    <a:gd name="connsiteX55" fmla="*/ 521212 w 2677922"/>
                    <a:gd name="connsiteY55" fmla="*/ 2408838 h 2672762"/>
                    <a:gd name="connsiteX56" fmla="*/ 500573 w 2677922"/>
                    <a:gd name="connsiteY56" fmla="*/ 2322670 h 2672762"/>
                    <a:gd name="connsiteX57" fmla="*/ 556298 w 2677922"/>
                    <a:gd name="connsiteY57" fmla="*/ 2217927 h 2672762"/>
                    <a:gd name="connsiteX58" fmla="*/ 552171 w 2677922"/>
                    <a:gd name="connsiteY58" fmla="*/ 2168909 h 2672762"/>
                    <a:gd name="connsiteX59" fmla="*/ 505733 w 2677922"/>
                    <a:gd name="connsiteY59" fmla="*/ 2122987 h 2672762"/>
                    <a:gd name="connsiteX60" fmla="*/ 457747 w 2677922"/>
                    <a:gd name="connsiteY60" fmla="*/ 2119375 h 2672762"/>
                    <a:gd name="connsiteX61" fmla="*/ 341652 w 2677922"/>
                    <a:gd name="connsiteY61" fmla="*/ 2180777 h 2672762"/>
                    <a:gd name="connsiteX62" fmla="*/ 278187 w 2677922"/>
                    <a:gd name="connsiteY62" fmla="*/ 2168909 h 2672762"/>
                    <a:gd name="connsiteX63" fmla="*/ 274059 w 2677922"/>
                    <a:gd name="connsiteY63" fmla="*/ 2164265 h 2672762"/>
                    <a:gd name="connsiteX64" fmla="*/ 276639 w 2677922"/>
                    <a:gd name="connsiteY64" fmla="*/ 2069325 h 2672762"/>
                    <a:gd name="connsiteX65" fmla="*/ 354551 w 2677922"/>
                    <a:gd name="connsiteY65" fmla="*/ 1986253 h 2672762"/>
                    <a:gd name="connsiteX66" fmla="*/ 363839 w 2677922"/>
                    <a:gd name="connsiteY66" fmla="*/ 1940847 h 2672762"/>
                    <a:gd name="connsiteX67" fmla="*/ 328237 w 2677922"/>
                    <a:gd name="connsiteY67" fmla="*/ 1878930 h 2672762"/>
                    <a:gd name="connsiteX68" fmla="*/ 283347 w 2677922"/>
                    <a:gd name="connsiteY68" fmla="*/ 1866030 h 2672762"/>
                    <a:gd name="connsiteX69" fmla="*/ 170864 w 2677922"/>
                    <a:gd name="connsiteY69" fmla="*/ 1891829 h 2672762"/>
                    <a:gd name="connsiteX70" fmla="*/ 155900 w 2677922"/>
                    <a:gd name="connsiteY70" fmla="*/ 1895441 h 2672762"/>
                    <a:gd name="connsiteX71" fmla="*/ 100175 w 2677922"/>
                    <a:gd name="connsiteY71" fmla="*/ 1868094 h 2672762"/>
                    <a:gd name="connsiteX72" fmla="*/ 87275 w 2677922"/>
                    <a:gd name="connsiteY72" fmla="*/ 1838168 h 2672762"/>
                    <a:gd name="connsiteX73" fmla="*/ 107915 w 2677922"/>
                    <a:gd name="connsiteY73" fmla="*/ 1779862 h 2672762"/>
                    <a:gd name="connsiteX74" fmla="*/ 213690 w 2677922"/>
                    <a:gd name="connsiteY74" fmla="*/ 1713817 h 2672762"/>
                    <a:gd name="connsiteX75" fmla="*/ 238972 w 2677922"/>
                    <a:gd name="connsiteY75" fmla="*/ 1654480 h 2672762"/>
                    <a:gd name="connsiteX76" fmla="*/ 222977 w 2677922"/>
                    <a:gd name="connsiteY76" fmla="*/ 1600818 h 2672762"/>
                    <a:gd name="connsiteX77" fmla="*/ 184279 w 2677922"/>
                    <a:gd name="connsiteY77" fmla="*/ 1575019 h 2672762"/>
                    <a:gd name="connsiteX78" fmla="*/ 59413 w 2677922"/>
                    <a:gd name="connsiteY78" fmla="*/ 1571407 h 2672762"/>
                    <a:gd name="connsiteX79" fmla="*/ 3687 w 2677922"/>
                    <a:gd name="connsiteY79" fmla="*/ 1524453 h 2672762"/>
                    <a:gd name="connsiteX80" fmla="*/ 1623 w 2677922"/>
                    <a:gd name="connsiteY80" fmla="*/ 1513618 h 2672762"/>
                    <a:gd name="connsiteX81" fmla="*/ 48577 w 2677922"/>
                    <a:gd name="connsiteY81" fmla="*/ 1442413 h 2672762"/>
                    <a:gd name="connsiteX82" fmla="*/ 160544 w 2677922"/>
                    <a:gd name="connsiteY82" fmla="*/ 1408358 h 2672762"/>
                    <a:gd name="connsiteX83" fmla="*/ 194083 w 2677922"/>
                    <a:gd name="connsiteY83" fmla="*/ 1370692 h 2672762"/>
                    <a:gd name="connsiteX84" fmla="*/ 192534 w 2677922"/>
                    <a:gd name="connsiteY84" fmla="*/ 1298971 h 2672762"/>
                    <a:gd name="connsiteX85" fmla="*/ 166220 w 2677922"/>
                    <a:gd name="connsiteY85" fmla="*/ 1269560 h 2672762"/>
                    <a:gd name="connsiteX86" fmla="*/ 47029 w 2677922"/>
                    <a:gd name="connsiteY86" fmla="*/ 1232926 h 2672762"/>
                    <a:gd name="connsiteX87" fmla="*/ 1623 w 2677922"/>
                    <a:gd name="connsiteY87" fmla="*/ 1166881 h 2672762"/>
                    <a:gd name="connsiteX88" fmla="*/ 6267 w 2677922"/>
                    <a:gd name="connsiteY88" fmla="*/ 1139534 h 2672762"/>
                    <a:gd name="connsiteX89" fmla="*/ 49093 w 2677922"/>
                    <a:gd name="connsiteY89" fmla="*/ 1105480 h 2672762"/>
                    <a:gd name="connsiteX90" fmla="*/ 164672 w 2677922"/>
                    <a:gd name="connsiteY90" fmla="*/ 1101868 h 2672762"/>
                    <a:gd name="connsiteX91" fmla="*/ 181699 w 2677922"/>
                    <a:gd name="connsiteY91" fmla="*/ 1101352 h 2672762"/>
                    <a:gd name="connsiteX92" fmla="*/ 227621 w 2677922"/>
                    <a:gd name="connsiteY92" fmla="*/ 1065233 h 2672762"/>
                    <a:gd name="connsiteX93" fmla="*/ 241036 w 2677922"/>
                    <a:gd name="connsiteY93" fmla="*/ 1014152 h 2672762"/>
                    <a:gd name="connsiteX94" fmla="*/ 219366 w 2677922"/>
                    <a:gd name="connsiteY94" fmla="*/ 965650 h 2672762"/>
                    <a:gd name="connsiteX95" fmla="*/ 113590 w 2677922"/>
                    <a:gd name="connsiteY95" fmla="*/ 899605 h 2672762"/>
                    <a:gd name="connsiteX96" fmla="*/ 89855 w 2677922"/>
                    <a:gd name="connsiteY96" fmla="*/ 832012 h 2672762"/>
                    <a:gd name="connsiteX97" fmla="*/ 104818 w 2677922"/>
                    <a:gd name="connsiteY97" fmla="*/ 799505 h 2672762"/>
                    <a:gd name="connsiteX98" fmla="*/ 151256 w 2677922"/>
                    <a:gd name="connsiteY98" fmla="*/ 779898 h 2672762"/>
                    <a:gd name="connsiteX99" fmla="*/ 283347 w 2677922"/>
                    <a:gd name="connsiteY99" fmla="*/ 810341 h 2672762"/>
                    <a:gd name="connsiteX100" fmla="*/ 331332 w 2677922"/>
                    <a:gd name="connsiteY100" fmla="*/ 794345 h 2672762"/>
                    <a:gd name="connsiteX101" fmla="*/ 363839 w 2677922"/>
                    <a:gd name="connsiteY101" fmla="*/ 737588 h 2672762"/>
                    <a:gd name="connsiteX102" fmla="*/ 354551 w 2677922"/>
                    <a:gd name="connsiteY102" fmla="*/ 689086 h 2672762"/>
                    <a:gd name="connsiteX103" fmla="*/ 266835 w 2677922"/>
                    <a:gd name="connsiteY103" fmla="*/ 595694 h 2672762"/>
                    <a:gd name="connsiteX104" fmla="*/ 261675 w 2677922"/>
                    <a:gd name="connsiteY104" fmla="*/ 529133 h 2672762"/>
                    <a:gd name="connsiteX105" fmla="*/ 270447 w 2677922"/>
                    <a:gd name="connsiteY105" fmla="*/ 516233 h 2672762"/>
                    <a:gd name="connsiteX106" fmla="*/ 349907 w 2677922"/>
                    <a:gd name="connsiteY106" fmla="*/ 498690 h 2672762"/>
                    <a:gd name="connsiteX107" fmla="*/ 457231 w 2677922"/>
                    <a:gd name="connsiteY107" fmla="*/ 555964 h 2672762"/>
                    <a:gd name="connsiteX108" fmla="*/ 507797 w 2677922"/>
                    <a:gd name="connsiteY108" fmla="*/ 551320 h 2672762"/>
                    <a:gd name="connsiteX109" fmla="*/ 551139 w 2677922"/>
                    <a:gd name="connsiteY109" fmla="*/ 508494 h 2672762"/>
                    <a:gd name="connsiteX110" fmla="*/ 556815 w 2677922"/>
                    <a:gd name="connsiteY110" fmla="*/ 456896 h 2672762"/>
                    <a:gd name="connsiteX111" fmla="*/ 494381 w 2677922"/>
                    <a:gd name="connsiteY111" fmla="*/ 339769 h 2672762"/>
                    <a:gd name="connsiteX112" fmla="*/ 505217 w 2677922"/>
                    <a:gd name="connsiteY112" fmla="*/ 280432 h 2672762"/>
                    <a:gd name="connsiteX113" fmla="*/ 537723 w 2677922"/>
                    <a:gd name="connsiteY113" fmla="*/ 256181 h 2672762"/>
                    <a:gd name="connsiteX114" fmla="*/ 590353 w 2677922"/>
                    <a:gd name="connsiteY114" fmla="*/ 261857 h 2672762"/>
                    <a:gd name="connsiteX115" fmla="*/ 679617 w 2677922"/>
                    <a:gd name="connsiteY115" fmla="*/ 344929 h 2672762"/>
                    <a:gd name="connsiteX116" fmla="*/ 754950 w 2677922"/>
                    <a:gd name="connsiteY116" fmla="*/ 355765 h 2672762"/>
                    <a:gd name="connsiteX117" fmla="*/ 797260 w 2677922"/>
                    <a:gd name="connsiteY117" fmla="*/ 329450 h 2672762"/>
                    <a:gd name="connsiteX118" fmla="*/ 811707 w 2677922"/>
                    <a:gd name="connsiteY118" fmla="*/ 285076 h 2672762"/>
                    <a:gd name="connsiteX119" fmla="*/ 781781 w 2677922"/>
                    <a:gd name="connsiteY119" fmla="*/ 156081 h 2672762"/>
                    <a:gd name="connsiteX120" fmla="*/ 807064 w 2677922"/>
                    <a:gd name="connsiteY120" fmla="*/ 100872 h 2672762"/>
                    <a:gd name="connsiteX121" fmla="*/ 841634 w 2677922"/>
                    <a:gd name="connsiteY121" fmla="*/ 86424 h 2672762"/>
                    <a:gd name="connsiteX122" fmla="*/ 896328 w 2677922"/>
                    <a:gd name="connsiteY122" fmla="*/ 106031 h 2672762"/>
                    <a:gd name="connsiteX123" fmla="*/ 965469 w 2677922"/>
                    <a:gd name="connsiteY123" fmla="*/ 217483 h 2672762"/>
                    <a:gd name="connsiteX124" fmla="*/ 1013455 w 2677922"/>
                    <a:gd name="connsiteY124" fmla="*/ 240702 h 2672762"/>
                    <a:gd name="connsiteX125" fmla="*/ 1077952 w 2677922"/>
                    <a:gd name="connsiteY125" fmla="*/ 222642 h 2672762"/>
                    <a:gd name="connsiteX126" fmla="*/ 1101687 w 2677922"/>
                    <a:gd name="connsiteY126" fmla="*/ 188072 h 2672762"/>
                    <a:gd name="connsiteX127" fmla="*/ 1106847 w 2677922"/>
                    <a:gd name="connsiteY127" fmla="*/ 53918 h 2672762"/>
                    <a:gd name="connsiteX128" fmla="*/ 1145029 w 2677922"/>
                    <a:gd name="connsiteY128" fmla="*/ 4900 h 2672762"/>
                    <a:gd name="connsiteX129" fmla="*/ 1158960 w 2677922"/>
                    <a:gd name="connsiteY129" fmla="*/ 1804 h 2672762"/>
                    <a:gd name="connsiteX130" fmla="*/ 1235841 w 2677922"/>
                    <a:gd name="connsiteY130" fmla="*/ 48758 h 2672762"/>
                    <a:gd name="connsiteX131" fmla="*/ 1269895 w 2677922"/>
                    <a:gd name="connsiteY131" fmla="*/ 162273 h 2672762"/>
                    <a:gd name="connsiteX132" fmla="*/ 1303434 w 2677922"/>
                    <a:gd name="connsiteY132" fmla="*/ 192716 h 2672762"/>
                    <a:gd name="connsiteX133" fmla="*/ 1376702 w 2677922"/>
                    <a:gd name="connsiteY133" fmla="*/ 192716 h 2672762"/>
                    <a:gd name="connsiteX134" fmla="*/ 1409209 w 2677922"/>
                    <a:gd name="connsiteY134" fmla="*/ 163305 h 2672762"/>
                    <a:gd name="connsiteX135" fmla="*/ 1447392 w 2677922"/>
                    <a:gd name="connsiteY135" fmla="*/ 37922 h 2672762"/>
                    <a:gd name="connsiteX136" fmla="*/ 1499505 w 2677922"/>
                    <a:gd name="connsiteY136" fmla="*/ 256 h 2672762"/>
                    <a:gd name="connsiteX137" fmla="*/ 1513436 w 2677922"/>
                    <a:gd name="connsiteY137" fmla="*/ 772 h 2672762"/>
                    <a:gd name="connsiteX138" fmla="*/ 1573290 w 2677922"/>
                    <a:gd name="connsiteY138" fmla="*/ 65269 h 2672762"/>
                    <a:gd name="connsiteX139" fmla="*/ 1576902 w 2677922"/>
                    <a:gd name="connsiteY139" fmla="*/ 185492 h 2672762"/>
                    <a:gd name="connsiteX140" fmla="*/ 1598057 w 2677922"/>
                    <a:gd name="connsiteY140" fmla="*/ 220578 h 2672762"/>
                    <a:gd name="connsiteX141" fmla="*/ 1674422 w 2677922"/>
                    <a:gd name="connsiteY141" fmla="*/ 240702 h 2672762"/>
                    <a:gd name="connsiteX142" fmla="*/ 1710540 w 2677922"/>
                    <a:gd name="connsiteY142" fmla="*/ 221610 h 2672762"/>
                    <a:gd name="connsiteX143" fmla="*/ 1779165 w 2677922"/>
                    <a:gd name="connsiteY143" fmla="*/ 111707 h 2672762"/>
                    <a:gd name="connsiteX144" fmla="*/ 1845726 w 2677922"/>
                    <a:gd name="connsiteY144" fmla="*/ 88488 h 2672762"/>
                    <a:gd name="connsiteX145" fmla="*/ 1857594 w 2677922"/>
                    <a:gd name="connsiteY145" fmla="*/ 92616 h 2672762"/>
                    <a:gd name="connsiteX146" fmla="*/ 1895260 w 2677922"/>
                    <a:gd name="connsiteY146" fmla="*/ 166401 h 2672762"/>
                    <a:gd name="connsiteX147" fmla="*/ 1868429 w 2677922"/>
                    <a:gd name="connsiteY147" fmla="*/ 281980 h 2672762"/>
                    <a:gd name="connsiteX148" fmla="*/ 1887004 w 2677922"/>
                    <a:gd name="connsiteY148" fmla="*/ 332030 h 2672762"/>
                    <a:gd name="connsiteX149" fmla="*/ 1946857 w 2677922"/>
                    <a:gd name="connsiteY149" fmla="*/ 365052 h 2672762"/>
                    <a:gd name="connsiteX150" fmla="*/ 1986588 w 2677922"/>
                    <a:gd name="connsiteY150" fmla="*/ 355765 h 2672762"/>
                    <a:gd name="connsiteX151" fmla="*/ 2081528 w 2677922"/>
                    <a:gd name="connsiteY151" fmla="*/ 267532 h 2672762"/>
                    <a:gd name="connsiteX152" fmla="*/ 2151701 w 2677922"/>
                    <a:gd name="connsiteY152" fmla="*/ 261857 h 2672762"/>
                    <a:gd name="connsiteX153" fmla="*/ 2155312 w 2677922"/>
                    <a:gd name="connsiteY153" fmla="*/ 264437 h 2672762"/>
                    <a:gd name="connsiteX154" fmla="*/ 2177500 w 2677922"/>
                    <a:gd name="connsiteY154" fmla="*/ 353701 h 2672762"/>
                    <a:gd name="connsiteX155" fmla="*/ 2122290 w 2677922"/>
                    <a:gd name="connsiteY155" fmla="*/ 456896 h 2672762"/>
                    <a:gd name="connsiteX156" fmla="*/ 2126934 w 2677922"/>
                    <a:gd name="connsiteY156" fmla="*/ 505914 h 2672762"/>
                    <a:gd name="connsiteX157" fmla="*/ 2173372 w 2677922"/>
                    <a:gd name="connsiteY157" fmla="*/ 551836 h 2672762"/>
                    <a:gd name="connsiteX158" fmla="*/ 2219810 w 2677922"/>
                    <a:gd name="connsiteY158" fmla="*/ 555964 h 2672762"/>
                    <a:gd name="connsiteX159" fmla="*/ 2336937 w 2677922"/>
                    <a:gd name="connsiteY159" fmla="*/ 494046 h 2672762"/>
                    <a:gd name="connsiteX160" fmla="*/ 2400917 w 2677922"/>
                    <a:gd name="connsiteY160" fmla="*/ 507462 h 2672762"/>
                    <a:gd name="connsiteX161" fmla="*/ 2420525 w 2677922"/>
                    <a:gd name="connsiteY161" fmla="*/ 533777 h 2672762"/>
                    <a:gd name="connsiteX162" fmla="*/ 2415365 w 2677922"/>
                    <a:gd name="connsiteY162" fmla="*/ 591566 h 2672762"/>
                    <a:gd name="connsiteX163" fmla="*/ 2321973 w 2677922"/>
                    <a:gd name="connsiteY163" fmla="*/ 692182 h 2672762"/>
                    <a:gd name="connsiteX164" fmla="*/ 2313718 w 2677922"/>
                    <a:gd name="connsiteY164" fmla="*/ 733460 h 2672762"/>
                    <a:gd name="connsiteX165" fmla="*/ 2349320 w 2677922"/>
                    <a:gd name="connsiteY165" fmla="*/ 795377 h 2672762"/>
                    <a:gd name="connsiteX166" fmla="*/ 2394726 w 2677922"/>
                    <a:gd name="connsiteY166" fmla="*/ 810341 h 2672762"/>
                    <a:gd name="connsiteX167" fmla="*/ 2526816 w 2677922"/>
                    <a:gd name="connsiteY167" fmla="*/ 780414 h 2672762"/>
                    <a:gd name="connsiteX168" fmla="*/ 2575834 w 2677922"/>
                    <a:gd name="connsiteY168" fmla="*/ 803117 h 2672762"/>
                    <a:gd name="connsiteX169" fmla="*/ 2591313 w 2677922"/>
                    <a:gd name="connsiteY169" fmla="*/ 838719 h 2672762"/>
                    <a:gd name="connsiteX170" fmla="*/ 2570158 w 2677922"/>
                    <a:gd name="connsiteY170" fmla="*/ 896509 h 2672762"/>
                    <a:gd name="connsiteX171" fmla="*/ 2461287 w 2677922"/>
                    <a:gd name="connsiteY171" fmla="*/ 964102 h 2672762"/>
                    <a:gd name="connsiteX172" fmla="*/ 2438068 w 2677922"/>
                    <a:gd name="connsiteY172" fmla="*/ 1014668 h 2672762"/>
                    <a:gd name="connsiteX173" fmla="*/ 2454063 w 2677922"/>
                    <a:gd name="connsiteY173" fmla="*/ 1073489 h 2672762"/>
                    <a:gd name="connsiteX174" fmla="*/ 2492762 w 2677922"/>
                    <a:gd name="connsiteY174" fmla="*/ 1100836 h 2672762"/>
                    <a:gd name="connsiteX175" fmla="*/ 2628464 w 2677922"/>
                    <a:gd name="connsiteY175" fmla="*/ 1105996 h 2672762"/>
                    <a:gd name="connsiteX176" fmla="*/ 2672322 w 2677922"/>
                    <a:gd name="connsiteY176" fmla="*/ 1140566 h 2672762"/>
                    <a:gd name="connsiteX177" fmla="*/ 2677998 w 2677922"/>
                    <a:gd name="connsiteY177" fmla="*/ 1182360 h 2672762"/>
                    <a:gd name="connsiteX178" fmla="*/ 2644459 w 2677922"/>
                    <a:gd name="connsiteY178" fmla="*/ 1229830 h 2672762"/>
                    <a:gd name="connsiteX179" fmla="*/ 2522172 w 2677922"/>
                    <a:gd name="connsiteY179" fmla="*/ 1267497 h 2672762"/>
                    <a:gd name="connsiteX180" fmla="*/ 2483990 w 2677922"/>
                    <a:gd name="connsiteY180" fmla="*/ 1315998 h 2672762"/>
                    <a:gd name="connsiteX181" fmla="*/ 2486570 w 2677922"/>
                    <a:gd name="connsiteY181" fmla="*/ 1379980 h 2672762"/>
                    <a:gd name="connsiteX182" fmla="*/ 2512885 w 2677922"/>
                    <a:gd name="connsiteY182" fmla="*/ 1407842 h 2672762"/>
                    <a:gd name="connsiteX183" fmla="*/ 2641363 w 2677922"/>
                    <a:gd name="connsiteY183" fmla="*/ 1447057 h 2672762"/>
                    <a:gd name="connsiteX184" fmla="*/ 2677998 w 2677922"/>
                    <a:gd name="connsiteY184" fmla="*/ 1498138 h 2672762"/>
                    <a:gd name="connsiteX185" fmla="*/ 2677998 w 2677922"/>
                    <a:gd name="connsiteY185" fmla="*/ 1507426 h 2672762"/>
                    <a:gd name="connsiteX186" fmla="*/ 2611952 w 2677922"/>
                    <a:gd name="connsiteY186" fmla="*/ 1572955 h 2672762"/>
                    <a:gd name="connsiteX187" fmla="*/ 2490182 w 2677922"/>
                    <a:gd name="connsiteY187" fmla="*/ 1576567 h 2672762"/>
                    <a:gd name="connsiteX188" fmla="*/ 2457675 w 2677922"/>
                    <a:gd name="connsiteY188" fmla="*/ 1596690 h 2672762"/>
                    <a:gd name="connsiteX189" fmla="*/ 2437036 w 2677922"/>
                    <a:gd name="connsiteY189" fmla="*/ 1673055 h 2672762"/>
                    <a:gd name="connsiteX190" fmla="*/ 2457159 w 2677922"/>
                    <a:gd name="connsiteY190" fmla="*/ 1710205 h 2672762"/>
                    <a:gd name="connsiteX191" fmla="*/ 2564483 w 2677922"/>
                    <a:gd name="connsiteY191" fmla="*/ 1777282 h 2672762"/>
                    <a:gd name="connsiteX192" fmla="*/ 2588733 w 2677922"/>
                    <a:gd name="connsiteY192" fmla="*/ 1845907 h 2672762"/>
                    <a:gd name="connsiteX193" fmla="*/ 2571706 w 2677922"/>
                    <a:gd name="connsiteY193" fmla="*/ 1880994 h 2672762"/>
                    <a:gd name="connsiteX194" fmla="*/ 2538684 w 2677922"/>
                    <a:gd name="connsiteY194" fmla="*/ 1897505 h 2672762"/>
                    <a:gd name="connsiteX195" fmla="*/ 1338521 w 2677922"/>
                    <a:gd name="connsiteY195" fmla="*/ 2312867 h 2672762"/>
                    <a:gd name="connsiteX196" fmla="*/ 2316814 w 2677922"/>
                    <a:gd name="connsiteY196" fmla="*/ 1335605 h 2672762"/>
                    <a:gd name="connsiteX197" fmla="*/ 1340068 w 2677922"/>
                    <a:gd name="connsiteY197" fmla="*/ 359376 h 2672762"/>
                    <a:gd name="connsiteX198" fmla="*/ 361775 w 2677922"/>
                    <a:gd name="connsiteY198" fmla="*/ 1331994 h 2672762"/>
                    <a:gd name="connsiteX199" fmla="*/ 1338521 w 2677922"/>
                    <a:gd name="connsiteY199" fmla="*/ 2312867 h 267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2677922" h="2672762">
                      <a:moveTo>
                        <a:pt x="2538684" y="1897505"/>
                      </a:moveTo>
                      <a:cubicBezTo>
                        <a:pt x="2511337" y="1891313"/>
                        <a:pt x="2483990" y="1885121"/>
                        <a:pt x="2456643" y="1879446"/>
                      </a:cubicBezTo>
                      <a:cubicBezTo>
                        <a:pt x="2434456" y="1874286"/>
                        <a:pt x="2411753" y="1869642"/>
                        <a:pt x="2389566" y="1863966"/>
                      </a:cubicBezTo>
                      <a:cubicBezTo>
                        <a:pt x="2375119" y="1860354"/>
                        <a:pt x="2363767" y="1864482"/>
                        <a:pt x="2354479" y="1874802"/>
                      </a:cubicBezTo>
                      <a:cubicBezTo>
                        <a:pt x="2335389" y="1896989"/>
                        <a:pt x="2320425" y="1922272"/>
                        <a:pt x="2312170" y="1950651"/>
                      </a:cubicBezTo>
                      <a:cubicBezTo>
                        <a:pt x="2308042" y="1964066"/>
                        <a:pt x="2314234" y="1973869"/>
                        <a:pt x="2322489" y="1983157"/>
                      </a:cubicBezTo>
                      <a:cubicBezTo>
                        <a:pt x="2352416" y="2015664"/>
                        <a:pt x="2382858" y="2048170"/>
                        <a:pt x="2412785" y="2080161"/>
                      </a:cubicBezTo>
                      <a:cubicBezTo>
                        <a:pt x="2435488" y="2104412"/>
                        <a:pt x="2436520" y="2118859"/>
                        <a:pt x="2418461" y="2146722"/>
                      </a:cubicBezTo>
                      <a:cubicBezTo>
                        <a:pt x="2417429" y="2148270"/>
                        <a:pt x="2416397" y="2150334"/>
                        <a:pt x="2414849" y="2151882"/>
                      </a:cubicBezTo>
                      <a:cubicBezTo>
                        <a:pt x="2380795" y="2197804"/>
                        <a:pt x="2365831" y="2198320"/>
                        <a:pt x="2324037" y="2174585"/>
                      </a:cubicBezTo>
                      <a:cubicBezTo>
                        <a:pt x="2289982" y="2154978"/>
                        <a:pt x="2253864" y="2137434"/>
                        <a:pt x="2219294" y="2118859"/>
                      </a:cubicBezTo>
                      <a:cubicBezTo>
                        <a:pt x="2204846" y="2111120"/>
                        <a:pt x="2191431" y="2111120"/>
                        <a:pt x="2178531" y="2120407"/>
                      </a:cubicBezTo>
                      <a:cubicBezTo>
                        <a:pt x="2157892" y="2134855"/>
                        <a:pt x="2140349" y="2152398"/>
                        <a:pt x="2125386" y="2172521"/>
                      </a:cubicBezTo>
                      <a:cubicBezTo>
                        <a:pt x="2114550" y="2186968"/>
                        <a:pt x="2114034" y="2201416"/>
                        <a:pt x="2122806" y="2217411"/>
                      </a:cubicBezTo>
                      <a:cubicBezTo>
                        <a:pt x="2143961" y="2256109"/>
                        <a:pt x="2164600" y="2295323"/>
                        <a:pt x="2184723" y="2334538"/>
                      </a:cubicBezTo>
                      <a:cubicBezTo>
                        <a:pt x="2198655" y="2361885"/>
                        <a:pt x="2196591" y="2374268"/>
                        <a:pt x="2174404" y="2395423"/>
                      </a:cubicBezTo>
                      <a:cubicBezTo>
                        <a:pt x="2170792" y="2398519"/>
                        <a:pt x="2167696" y="2402131"/>
                        <a:pt x="2164084" y="2404711"/>
                      </a:cubicBezTo>
                      <a:cubicBezTo>
                        <a:pt x="2131062" y="2428962"/>
                        <a:pt x="2114034" y="2440829"/>
                        <a:pt x="2075336" y="2401615"/>
                      </a:cubicBezTo>
                      <a:cubicBezTo>
                        <a:pt x="2047473" y="2373236"/>
                        <a:pt x="2017547" y="2347953"/>
                        <a:pt x="1988652" y="2320606"/>
                      </a:cubicBezTo>
                      <a:cubicBezTo>
                        <a:pt x="1975236" y="2307707"/>
                        <a:pt x="1960789" y="2305127"/>
                        <a:pt x="1944277" y="2311835"/>
                      </a:cubicBezTo>
                      <a:cubicBezTo>
                        <a:pt x="1922607" y="2320606"/>
                        <a:pt x="1901968" y="2331958"/>
                        <a:pt x="1883392" y="2346405"/>
                      </a:cubicBezTo>
                      <a:cubicBezTo>
                        <a:pt x="1867913" y="2358273"/>
                        <a:pt x="1863785" y="2373236"/>
                        <a:pt x="1868429" y="2391811"/>
                      </a:cubicBezTo>
                      <a:cubicBezTo>
                        <a:pt x="1879264" y="2436701"/>
                        <a:pt x="1889584" y="2482107"/>
                        <a:pt x="1899388" y="2526997"/>
                      </a:cubicBezTo>
                      <a:cubicBezTo>
                        <a:pt x="1903516" y="2546604"/>
                        <a:pt x="1896808" y="2561568"/>
                        <a:pt x="1879264" y="2571887"/>
                      </a:cubicBezTo>
                      <a:cubicBezTo>
                        <a:pt x="1867397" y="2579111"/>
                        <a:pt x="1854498" y="2584787"/>
                        <a:pt x="1841082" y="2588915"/>
                      </a:cubicBezTo>
                      <a:cubicBezTo>
                        <a:pt x="1813736" y="2597686"/>
                        <a:pt x="1798256" y="2592526"/>
                        <a:pt x="1782777" y="2568276"/>
                      </a:cubicBezTo>
                      <a:cubicBezTo>
                        <a:pt x="1760074" y="2532157"/>
                        <a:pt x="1736855" y="2496555"/>
                        <a:pt x="1715184" y="2459404"/>
                      </a:cubicBezTo>
                      <a:cubicBezTo>
                        <a:pt x="1703316" y="2439281"/>
                        <a:pt x="1687837" y="2431542"/>
                        <a:pt x="1664618" y="2435669"/>
                      </a:cubicBezTo>
                      <a:cubicBezTo>
                        <a:pt x="1646043" y="2439281"/>
                        <a:pt x="1627984" y="2443925"/>
                        <a:pt x="1610440" y="2450117"/>
                      </a:cubicBezTo>
                      <a:cubicBezTo>
                        <a:pt x="1586190" y="2458888"/>
                        <a:pt x="1578450" y="2469208"/>
                        <a:pt x="1577418" y="2495007"/>
                      </a:cubicBezTo>
                      <a:cubicBezTo>
                        <a:pt x="1575870" y="2535769"/>
                        <a:pt x="1574838" y="2576015"/>
                        <a:pt x="1573806" y="2616777"/>
                      </a:cubicBezTo>
                      <a:cubicBezTo>
                        <a:pt x="1572774" y="2653928"/>
                        <a:pt x="1563487" y="2665795"/>
                        <a:pt x="1526852" y="2672503"/>
                      </a:cubicBezTo>
                      <a:cubicBezTo>
                        <a:pt x="1517049" y="2674567"/>
                        <a:pt x="1507245" y="2675599"/>
                        <a:pt x="1497441" y="2676115"/>
                      </a:cubicBezTo>
                      <a:cubicBezTo>
                        <a:pt x="1473191" y="2677663"/>
                        <a:pt x="1457711" y="2667859"/>
                        <a:pt x="1449972" y="2644124"/>
                      </a:cubicBezTo>
                      <a:cubicBezTo>
                        <a:pt x="1436040" y="2600782"/>
                        <a:pt x="1422624" y="2557956"/>
                        <a:pt x="1410241" y="2514614"/>
                      </a:cubicBezTo>
                      <a:cubicBezTo>
                        <a:pt x="1404565" y="2495007"/>
                        <a:pt x="1392698" y="2485719"/>
                        <a:pt x="1373091" y="2482623"/>
                      </a:cubicBezTo>
                      <a:cubicBezTo>
                        <a:pt x="1350388" y="2479527"/>
                        <a:pt x="1327685" y="2479527"/>
                        <a:pt x="1304982" y="2483139"/>
                      </a:cubicBezTo>
                      <a:cubicBezTo>
                        <a:pt x="1287955" y="2485719"/>
                        <a:pt x="1277119" y="2494491"/>
                        <a:pt x="1271959" y="2511518"/>
                      </a:cubicBezTo>
                      <a:cubicBezTo>
                        <a:pt x="1260092" y="2552280"/>
                        <a:pt x="1247192" y="2593042"/>
                        <a:pt x="1234293" y="2633805"/>
                      </a:cubicBezTo>
                      <a:cubicBezTo>
                        <a:pt x="1222941" y="2670439"/>
                        <a:pt x="1208494" y="2679727"/>
                        <a:pt x="1170828" y="2674567"/>
                      </a:cubicBezTo>
                      <a:cubicBezTo>
                        <a:pt x="1114070" y="2666827"/>
                        <a:pt x="1107362" y="2659087"/>
                        <a:pt x="1106847" y="2602330"/>
                      </a:cubicBezTo>
                      <a:cubicBezTo>
                        <a:pt x="1106331" y="2565180"/>
                        <a:pt x="1104783" y="2528545"/>
                        <a:pt x="1103751" y="2491395"/>
                      </a:cubicBezTo>
                      <a:cubicBezTo>
                        <a:pt x="1103234" y="2474368"/>
                        <a:pt x="1096527" y="2460952"/>
                        <a:pt x="1080532" y="2454244"/>
                      </a:cubicBezTo>
                      <a:cubicBezTo>
                        <a:pt x="1056281" y="2443925"/>
                        <a:pt x="1031514" y="2436701"/>
                        <a:pt x="1005199" y="2435153"/>
                      </a:cubicBezTo>
                      <a:cubicBezTo>
                        <a:pt x="989203" y="2434121"/>
                        <a:pt x="977852" y="2440313"/>
                        <a:pt x="969080" y="2454244"/>
                      </a:cubicBezTo>
                      <a:cubicBezTo>
                        <a:pt x="946894" y="2491395"/>
                        <a:pt x="923159" y="2527513"/>
                        <a:pt x="900456" y="2564148"/>
                      </a:cubicBezTo>
                      <a:cubicBezTo>
                        <a:pt x="882396" y="2593042"/>
                        <a:pt x="868465" y="2598202"/>
                        <a:pt x="836474" y="2587367"/>
                      </a:cubicBezTo>
                      <a:cubicBezTo>
                        <a:pt x="834926" y="2586851"/>
                        <a:pt x="833379" y="2586335"/>
                        <a:pt x="831830" y="2585819"/>
                      </a:cubicBezTo>
                      <a:cubicBezTo>
                        <a:pt x="782297" y="2565696"/>
                        <a:pt x="772493" y="2554344"/>
                        <a:pt x="785392" y="2504810"/>
                      </a:cubicBezTo>
                      <a:cubicBezTo>
                        <a:pt x="795196" y="2467144"/>
                        <a:pt x="802420" y="2428962"/>
                        <a:pt x="811707" y="2390779"/>
                      </a:cubicBezTo>
                      <a:cubicBezTo>
                        <a:pt x="816351" y="2371172"/>
                        <a:pt x="811191" y="2356209"/>
                        <a:pt x="794680" y="2344341"/>
                      </a:cubicBezTo>
                      <a:cubicBezTo>
                        <a:pt x="777137" y="2331958"/>
                        <a:pt x="759078" y="2321122"/>
                        <a:pt x="739470" y="2312351"/>
                      </a:cubicBezTo>
                      <a:cubicBezTo>
                        <a:pt x="720895" y="2304095"/>
                        <a:pt x="704900" y="2307191"/>
                        <a:pt x="689421" y="2321638"/>
                      </a:cubicBezTo>
                      <a:cubicBezTo>
                        <a:pt x="658462" y="2351049"/>
                        <a:pt x="626988" y="2379944"/>
                        <a:pt x="596029" y="2408838"/>
                      </a:cubicBezTo>
                      <a:cubicBezTo>
                        <a:pt x="572810" y="2431026"/>
                        <a:pt x="557847" y="2432057"/>
                        <a:pt x="530500" y="2415030"/>
                      </a:cubicBezTo>
                      <a:cubicBezTo>
                        <a:pt x="527404" y="2412966"/>
                        <a:pt x="524308" y="2410902"/>
                        <a:pt x="521212" y="2408838"/>
                      </a:cubicBezTo>
                      <a:cubicBezTo>
                        <a:pt x="481482" y="2380460"/>
                        <a:pt x="477870" y="2365496"/>
                        <a:pt x="500573" y="2322670"/>
                      </a:cubicBezTo>
                      <a:cubicBezTo>
                        <a:pt x="519148" y="2287584"/>
                        <a:pt x="537207" y="2252497"/>
                        <a:pt x="556298" y="2217927"/>
                      </a:cubicBezTo>
                      <a:cubicBezTo>
                        <a:pt x="566102" y="2199868"/>
                        <a:pt x="564555" y="2184388"/>
                        <a:pt x="552171" y="2168909"/>
                      </a:cubicBezTo>
                      <a:cubicBezTo>
                        <a:pt x="538756" y="2151882"/>
                        <a:pt x="523276" y="2136402"/>
                        <a:pt x="505733" y="2122987"/>
                      </a:cubicBezTo>
                      <a:cubicBezTo>
                        <a:pt x="490254" y="2111120"/>
                        <a:pt x="474774" y="2110088"/>
                        <a:pt x="457747" y="2119375"/>
                      </a:cubicBezTo>
                      <a:cubicBezTo>
                        <a:pt x="419564" y="2140014"/>
                        <a:pt x="380866" y="2160653"/>
                        <a:pt x="341652" y="2180777"/>
                      </a:cubicBezTo>
                      <a:cubicBezTo>
                        <a:pt x="314305" y="2195224"/>
                        <a:pt x="298310" y="2191612"/>
                        <a:pt x="278187" y="2168909"/>
                      </a:cubicBezTo>
                      <a:cubicBezTo>
                        <a:pt x="276639" y="2167361"/>
                        <a:pt x="275607" y="2165813"/>
                        <a:pt x="274059" y="2164265"/>
                      </a:cubicBezTo>
                      <a:cubicBezTo>
                        <a:pt x="238456" y="2122987"/>
                        <a:pt x="238972" y="2108540"/>
                        <a:pt x="276639" y="2069325"/>
                      </a:cubicBezTo>
                      <a:cubicBezTo>
                        <a:pt x="302954" y="2041463"/>
                        <a:pt x="327721" y="2013084"/>
                        <a:pt x="354551" y="1986253"/>
                      </a:cubicBezTo>
                      <a:cubicBezTo>
                        <a:pt x="367967" y="1972322"/>
                        <a:pt x="370547" y="1957874"/>
                        <a:pt x="363839" y="1940847"/>
                      </a:cubicBezTo>
                      <a:cubicBezTo>
                        <a:pt x="355067" y="1918660"/>
                        <a:pt x="342684" y="1898021"/>
                        <a:pt x="328237" y="1878930"/>
                      </a:cubicBezTo>
                      <a:cubicBezTo>
                        <a:pt x="316369" y="1863450"/>
                        <a:pt x="300374" y="1861902"/>
                        <a:pt x="283347" y="1866030"/>
                      </a:cubicBezTo>
                      <a:cubicBezTo>
                        <a:pt x="245680" y="1874802"/>
                        <a:pt x="208530" y="1883573"/>
                        <a:pt x="170864" y="1891829"/>
                      </a:cubicBezTo>
                      <a:cubicBezTo>
                        <a:pt x="165704" y="1892861"/>
                        <a:pt x="160544" y="1894409"/>
                        <a:pt x="155900" y="1895441"/>
                      </a:cubicBezTo>
                      <a:cubicBezTo>
                        <a:pt x="127521" y="1900601"/>
                        <a:pt x="113074" y="1893893"/>
                        <a:pt x="100175" y="1868094"/>
                      </a:cubicBezTo>
                      <a:cubicBezTo>
                        <a:pt x="95531" y="1858291"/>
                        <a:pt x="90887" y="1848487"/>
                        <a:pt x="87275" y="1838168"/>
                      </a:cubicBezTo>
                      <a:cubicBezTo>
                        <a:pt x="77988" y="1810821"/>
                        <a:pt x="83147" y="1795341"/>
                        <a:pt x="107915" y="1779862"/>
                      </a:cubicBezTo>
                      <a:cubicBezTo>
                        <a:pt x="143001" y="1757675"/>
                        <a:pt x="178603" y="1735488"/>
                        <a:pt x="213690" y="1713817"/>
                      </a:cubicBezTo>
                      <a:cubicBezTo>
                        <a:pt x="241552" y="1696274"/>
                        <a:pt x="245680" y="1686470"/>
                        <a:pt x="238972" y="1654480"/>
                      </a:cubicBezTo>
                      <a:cubicBezTo>
                        <a:pt x="234845" y="1636420"/>
                        <a:pt x="230201" y="1617845"/>
                        <a:pt x="222977" y="1600818"/>
                      </a:cubicBezTo>
                      <a:cubicBezTo>
                        <a:pt x="215753" y="1583791"/>
                        <a:pt x="203370" y="1575535"/>
                        <a:pt x="184279" y="1575019"/>
                      </a:cubicBezTo>
                      <a:cubicBezTo>
                        <a:pt x="142485" y="1574503"/>
                        <a:pt x="101207" y="1572955"/>
                        <a:pt x="59413" y="1571407"/>
                      </a:cubicBezTo>
                      <a:cubicBezTo>
                        <a:pt x="21746" y="1570375"/>
                        <a:pt x="10395" y="1560572"/>
                        <a:pt x="3687" y="1524453"/>
                      </a:cubicBezTo>
                      <a:cubicBezTo>
                        <a:pt x="3171" y="1520841"/>
                        <a:pt x="2139" y="1517230"/>
                        <a:pt x="1623" y="1513618"/>
                      </a:cubicBezTo>
                      <a:cubicBezTo>
                        <a:pt x="-4053" y="1467696"/>
                        <a:pt x="3687" y="1455828"/>
                        <a:pt x="48577" y="1442413"/>
                      </a:cubicBezTo>
                      <a:cubicBezTo>
                        <a:pt x="85727" y="1431061"/>
                        <a:pt x="122877" y="1418678"/>
                        <a:pt x="160544" y="1408358"/>
                      </a:cubicBezTo>
                      <a:cubicBezTo>
                        <a:pt x="181183" y="1402683"/>
                        <a:pt x="192018" y="1390815"/>
                        <a:pt x="194083" y="1370692"/>
                      </a:cubicBezTo>
                      <a:cubicBezTo>
                        <a:pt x="196147" y="1346957"/>
                        <a:pt x="197178" y="1322706"/>
                        <a:pt x="192534" y="1298971"/>
                      </a:cubicBezTo>
                      <a:cubicBezTo>
                        <a:pt x="189954" y="1283492"/>
                        <a:pt x="181183" y="1274204"/>
                        <a:pt x="166220" y="1269560"/>
                      </a:cubicBezTo>
                      <a:cubicBezTo>
                        <a:pt x="126490" y="1257693"/>
                        <a:pt x="86759" y="1245310"/>
                        <a:pt x="47029" y="1232926"/>
                      </a:cubicBezTo>
                      <a:cubicBezTo>
                        <a:pt x="3687" y="1219511"/>
                        <a:pt x="-957" y="1212287"/>
                        <a:pt x="1623" y="1166881"/>
                      </a:cubicBezTo>
                      <a:cubicBezTo>
                        <a:pt x="2139" y="1157593"/>
                        <a:pt x="4203" y="1148306"/>
                        <a:pt x="6267" y="1139534"/>
                      </a:cubicBezTo>
                      <a:cubicBezTo>
                        <a:pt x="12459" y="1116831"/>
                        <a:pt x="25358" y="1106512"/>
                        <a:pt x="49093" y="1105480"/>
                      </a:cubicBezTo>
                      <a:cubicBezTo>
                        <a:pt x="87791" y="1103932"/>
                        <a:pt x="125974" y="1102900"/>
                        <a:pt x="164672" y="1101868"/>
                      </a:cubicBezTo>
                      <a:cubicBezTo>
                        <a:pt x="170348" y="1101868"/>
                        <a:pt x="176023" y="1101352"/>
                        <a:pt x="181699" y="1101352"/>
                      </a:cubicBezTo>
                      <a:cubicBezTo>
                        <a:pt x="207498" y="1102384"/>
                        <a:pt x="220913" y="1087936"/>
                        <a:pt x="227621" y="1065233"/>
                      </a:cubicBezTo>
                      <a:cubicBezTo>
                        <a:pt x="232781" y="1048206"/>
                        <a:pt x="237425" y="1031179"/>
                        <a:pt x="241036" y="1014152"/>
                      </a:cubicBezTo>
                      <a:cubicBezTo>
                        <a:pt x="245680" y="990417"/>
                        <a:pt x="240005" y="979065"/>
                        <a:pt x="219366" y="965650"/>
                      </a:cubicBezTo>
                      <a:cubicBezTo>
                        <a:pt x="184279" y="943463"/>
                        <a:pt x="148676" y="921276"/>
                        <a:pt x="113590" y="899605"/>
                      </a:cubicBezTo>
                      <a:cubicBezTo>
                        <a:pt x="82116" y="879997"/>
                        <a:pt x="77472" y="867614"/>
                        <a:pt x="89855" y="832012"/>
                      </a:cubicBezTo>
                      <a:cubicBezTo>
                        <a:pt x="93467" y="820660"/>
                        <a:pt x="98111" y="809309"/>
                        <a:pt x="104818" y="799505"/>
                      </a:cubicBezTo>
                      <a:cubicBezTo>
                        <a:pt x="115654" y="782994"/>
                        <a:pt x="130617" y="774738"/>
                        <a:pt x="151256" y="779898"/>
                      </a:cubicBezTo>
                      <a:cubicBezTo>
                        <a:pt x="195114" y="790217"/>
                        <a:pt x="239489" y="799505"/>
                        <a:pt x="283347" y="810341"/>
                      </a:cubicBezTo>
                      <a:cubicBezTo>
                        <a:pt x="303469" y="815500"/>
                        <a:pt x="318949" y="810857"/>
                        <a:pt x="331332" y="794345"/>
                      </a:cubicBezTo>
                      <a:cubicBezTo>
                        <a:pt x="344232" y="776802"/>
                        <a:pt x="355584" y="757711"/>
                        <a:pt x="363839" y="737588"/>
                      </a:cubicBezTo>
                      <a:cubicBezTo>
                        <a:pt x="371063" y="719529"/>
                        <a:pt x="368999" y="704049"/>
                        <a:pt x="354551" y="689086"/>
                      </a:cubicBezTo>
                      <a:cubicBezTo>
                        <a:pt x="324625" y="658643"/>
                        <a:pt x="296246" y="627169"/>
                        <a:pt x="266835" y="595694"/>
                      </a:cubicBezTo>
                      <a:cubicBezTo>
                        <a:pt x="244132" y="570927"/>
                        <a:pt x="243100" y="556996"/>
                        <a:pt x="261675" y="529133"/>
                      </a:cubicBezTo>
                      <a:cubicBezTo>
                        <a:pt x="264771" y="525005"/>
                        <a:pt x="267351" y="520361"/>
                        <a:pt x="270447" y="516233"/>
                      </a:cubicBezTo>
                      <a:cubicBezTo>
                        <a:pt x="296762" y="481663"/>
                        <a:pt x="311209" y="478567"/>
                        <a:pt x="349907" y="498690"/>
                      </a:cubicBezTo>
                      <a:cubicBezTo>
                        <a:pt x="386026" y="517781"/>
                        <a:pt x="422144" y="536357"/>
                        <a:pt x="457231" y="555964"/>
                      </a:cubicBezTo>
                      <a:cubicBezTo>
                        <a:pt x="475806" y="566283"/>
                        <a:pt x="492318" y="564219"/>
                        <a:pt x="507797" y="551320"/>
                      </a:cubicBezTo>
                      <a:cubicBezTo>
                        <a:pt x="523276" y="538421"/>
                        <a:pt x="537723" y="523973"/>
                        <a:pt x="551139" y="508494"/>
                      </a:cubicBezTo>
                      <a:cubicBezTo>
                        <a:pt x="564555" y="492499"/>
                        <a:pt x="567650" y="476503"/>
                        <a:pt x="556815" y="456896"/>
                      </a:cubicBezTo>
                      <a:cubicBezTo>
                        <a:pt x="535143" y="418198"/>
                        <a:pt x="515020" y="378983"/>
                        <a:pt x="494381" y="339769"/>
                      </a:cubicBezTo>
                      <a:cubicBezTo>
                        <a:pt x="480966" y="313970"/>
                        <a:pt x="484062" y="300039"/>
                        <a:pt x="505217" y="280432"/>
                      </a:cubicBezTo>
                      <a:cubicBezTo>
                        <a:pt x="515020" y="271144"/>
                        <a:pt x="525856" y="263405"/>
                        <a:pt x="537723" y="256181"/>
                      </a:cubicBezTo>
                      <a:cubicBezTo>
                        <a:pt x="558362" y="244313"/>
                        <a:pt x="572810" y="245861"/>
                        <a:pt x="590353" y="261857"/>
                      </a:cubicBezTo>
                      <a:cubicBezTo>
                        <a:pt x="620280" y="289203"/>
                        <a:pt x="650207" y="317066"/>
                        <a:pt x="679617" y="344929"/>
                      </a:cubicBezTo>
                      <a:cubicBezTo>
                        <a:pt x="710576" y="374340"/>
                        <a:pt x="717284" y="375372"/>
                        <a:pt x="754950" y="355765"/>
                      </a:cubicBezTo>
                      <a:cubicBezTo>
                        <a:pt x="769913" y="348025"/>
                        <a:pt x="783845" y="339769"/>
                        <a:pt x="797260" y="329450"/>
                      </a:cubicBezTo>
                      <a:cubicBezTo>
                        <a:pt x="811707" y="317582"/>
                        <a:pt x="816351" y="303651"/>
                        <a:pt x="811707" y="285076"/>
                      </a:cubicBezTo>
                      <a:cubicBezTo>
                        <a:pt x="800872" y="242249"/>
                        <a:pt x="791585" y="198907"/>
                        <a:pt x="781781" y="156081"/>
                      </a:cubicBezTo>
                      <a:cubicBezTo>
                        <a:pt x="775589" y="128218"/>
                        <a:pt x="782297" y="114287"/>
                        <a:pt x="807064" y="100872"/>
                      </a:cubicBezTo>
                      <a:cubicBezTo>
                        <a:pt x="818415" y="95196"/>
                        <a:pt x="829766" y="90552"/>
                        <a:pt x="841634" y="86424"/>
                      </a:cubicBezTo>
                      <a:cubicBezTo>
                        <a:pt x="866917" y="78685"/>
                        <a:pt x="881364" y="83328"/>
                        <a:pt x="896328" y="106031"/>
                      </a:cubicBezTo>
                      <a:cubicBezTo>
                        <a:pt x="920062" y="142666"/>
                        <a:pt x="943798" y="179300"/>
                        <a:pt x="965469" y="217483"/>
                      </a:cubicBezTo>
                      <a:cubicBezTo>
                        <a:pt x="976820" y="237090"/>
                        <a:pt x="992299" y="243797"/>
                        <a:pt x="1013455" y="240702"/>
                      </a:cubicBezTo>
                      <a:cubicBezTo>
                        <a:pt x="1035641" y="237090"/>
                        <a:pt x="1057313" y="231414"/>
                        <a:pt x="1077952" y="222642"/>
                      </a:cubicBezTo>
                      <a:cubicBezTo>
                        <a:pt x="1092915" y="215935"/>
                        <a:pt x="1101171" y="205615"/>
                        <a:pt x="1101687" y="188072"/>
                      </a:cubicBezTo>
                      <a:cubicBezTo>
                        <a:pt x="1102719" y="143182"/>
                        <a:pt x="1105298" y="98808"/>
                        <a:pt x="1106847" y="53918"/>
                      </a:cubicBezTo>
                      <a:cubicBezTo>
                        <a:pt x="1107878" y="25023"/>
                        <a:pt x="1117166" y="12640"/>
                        <a:pt x="1145029" y="4900"/>
                      </a:cubicBezTo>
                      <a:cubicBezTo>
                        <a:pt x="1149672" y="3868"/>
                        <a:pt x="1154316" y="2320"/>
                        <a:pt x="1158960" y="1804"/>
                      </a:cubicBezTo>
                      <a:cubicBezTo>
                        <a:pt x="1210042" y="-3872"/>
                        <a:pt x="1222426" y="1804"/>
                        <a:pt x="1235841" y="48758"/>
                      </a:cubicBezTo>
                      <a:cubicBezTo>
                        <a:pt x="1246676" y="86940"/>
                        <a:pt x="1259576" y="124091"/>
                        <a:pt x="1269895" y="162273"/>
                      </a:cubicBezTo>
                      <a:cubicBezTo>
                        <a:pt x="1275055" y="180332"/>
                        <a:pt x="1285890" y="190136"/>
                        <a:pt x="1303434" y="192716"/>
                      </a:cubicBezTo>
                      <a:cubicBezTo>
                        <a:pt x="1327685" y="195812"/>
                        <a:pt x="1352452" y="195812"/>
                        <a:pt x="1376702" y="192716"/>
                      </a:cubicBezTo>
                      <a:cubicBezTo>
                        <a:pt x="1393730" y="190652"/>
                        <a:pt x="1404049" y="180332"/>
                        <a:pt x="1409209" y="163305"/>
                      </a:cubicBezTo>
                      <a:cubicBezTo>
                        <a:pt x="1421593" y="121511"/>
                        <a:pt x="1434492" y="79717"/>
                        <a:pt x="1447392" y="37922"/>
                      </a:cubicBezTo>
                      <a:cubicBezTo>
                        <a:pt x="1457195" y="6964"/>
                        <a:pt x="1466998" y="-260"/>
                        <a:pt x="1499505" y="256"/>
                      </a:cubicBezTo>
                      <a:cubicBezTo>
                        <a:pt x="1504149" y="256"/>
                        <a:pt x="1508793" y="256"/>
                        <a:pt x="1513436" y="772"/>
                      </a:cubicBezTo>
                      <a:cubicBezTo>
                        <a:pt x="1559358" y="5416"/>
                        <a:pt x="1572258" y="19347"/>
                        <a:pt x="1573290" y="65269"/>
                      </a:cubicBezTo>
                      <a:cubicBezTo>
                        <a:pt x="1574322" y="105515"/>
                        <a:pt x="1575870" y="145246"/>
                        <a:pt x="1576902" y="185492"/>
                      </a:cubicBezTo>
                      <a:cubicBezTo>
                        <a:pt x="1577418" y="201487"/>
                        <a:pt x="1583093" y="213871"/>
                        <a:pt x="1598057" y="220578"/>
                      </a:cubicBezTo>
                      <a:cubicBezTo>
                        <a:pt x="1622308" y="231414"/>
                        <a:pt x="1647590" y="238638"/>
                        <a:pt x="1674422" y="240702"/>
                      </a:cubicBezTo>
                      <a:cubicBezTo>
                        <a:pt x="1690933" y="241733"/>
                        <a:pt x="1702285" y="235026"/>
                        <a:pt x="1710540" y="221610"/>
                      </a:cubicBezTo>
                      <a:cubicBezTo>
                        <a:pt x="1733243" y="184976"/>
                        <a:pt x="1756462" y="148342"/>
                        <a:pt x="1779165" y="111707"/>
                      </a:cubicBezTo>
                      <a:cubicBezTo>
                        <a:pt x="1798772" y="80749"/>
                        <a:pt x="1810640" y="76621"/>
                        <a:pt x="1845726" y="88488"/>
                      </a:cubicBezTo>
                      <a:cubicBezTo>
                        <a:pt x="1849854" y="90036"/>
                        <a:pt x="1853466" y="91068"/>
                        <a:pt x="1857594" y="92616"/>
                      </a:cubicBezTo>
                      <a:cubicBezTo>
                        <a:pt x="1898356" y="110159"/>
                        <a:pt x="1905063" y="123059"/>
                        <a:pt x="1895260" y="166401"/>
                      </a:cubicBezTo>
                      <a:cubicBezTo>
                        <a:pt x="1886488" y="205099"/>
                        <a:pt x="1877717" y="243281"/>
                        <a:pt x="1868429" y="281980"/>
                      </a:cubicBezTo>
                      <a:cubicBezTo>
                        <a:pt x="1863269" y="303135"/>
                        <a:pt x="1868429" y="319646"/>
                        <a:pt x="1887004" y="332030"/>
                      </a:cubicBezTo>
                      <a:cubicBezTo>
                        <a:pt x="1906096" y="344929"/>
                        <a:pt x="1925187" y="356796"/>
                        <a:pt x="1946857" y="365052"/>
                      </a:cubicBezTo>
                      <a:cubicBezTo>
                        <a:pt x="1962337" y="370728"/>
                        <a:pt x="1974720" y="367116"/>
                        <a:pt x="1986588" y="355765"/>
                      </a:cubicBezTo>
                      <a:cubicBezTo>
                        <a:pt x="2018062" y="325838"/>
                        <a:pt x="2049537" y="296943"/>
                        <a:pt x="2081528" y="267532"/>
                      </a:cubicBezTo>
                      <a:cubicBezTo>
                        <a:pt x="2107843" y="242765"/>
                        <a:pt x="2122290" y="241733"/>
                        <a:pt x="2151701" y="261857"/>
                      </a:cubicBezTo>
                      <a:cubicBezTo>
                        <a:pt x="2153248" y="262889"/>
                        <a:pt x="2154281" y="263405"/>
                        <a:pt x="2155312" y="264437"/>
                      </a:cubicBezTo>
                      <a:cubicBezTo>
                        <a:pt x="2205363" y="300555"/>
                        <a:pt x="2198139" y="316034"/>
                        <a:pt x="2177500" y="353701"/>
                      </a:cubicBezTo>
                      <a:cubicBezTo>
                        <a:pt x="2158925" y="387755"/>
                        <a:pt x="2141381" y="422842"/>
                        <a:pt x="2122290" y="456896"/>
                      </a:cubicBezTo>
                      <a:cubicBezTo>
                        <a:pt x="2112487" y="474955"/>
                        <a:pt x="2114550" y="490435"/>
                        <a:pt x="2126934" y="505914"/>
                      </a:cubicBezTo>
                      <a:cubicBezTo>
                        <a:pt x="2140865" y="522941"/>
                        <a:pt x="2156345" y="538421"/>
                        <a:pt x="2173372" y="551836"/>
                      </a:cubicBezTo>
                      <a:cubicBezTo>
                        <a:pt x="2187819" y="563187"/>
                        <a:pt x="2202783" y="564735"/>
                        <a:pt x="2219810" y="555964"/>
                      </a:cubicBezTo>
                      <a:cubicBezTo>
                        <a:pt x="2258508" y="534809"/>
                        <a:pt x="2297722" y="514170"/>
                        <a:pt x="2336937" y="494046"/>
                      </a:cubicBezTo>
                      <a:cubicBezTo>
                        <a:pt x="2364799" y="479599"/>
                        <a:pt x="2380795" y="482695"/>
                        <a:pt x="2400917" y="507462"/>
                      </a:cubicBezTo>
                      <a:cubicBezTo>
                        <a:pt x="2408141" y="515717"/>
                        <a:pt x="2414849" y="524489"/>
                        <a:pt x="2420525" y="533777"/>
                      </a:cubicBezTo>
                      <a:cubicBezTo>
                        <a:pt x="2434972" y="556480"/>
                        <a:pt x="2433424" y="571443"/>
                        <a:pt x="2415365" y="591566"/>
                      </a:cubicBezTo>
                      <a:cubicBezTo>
                        <a:pt x="2384406" y="625105"/>
                        <a:pt x="2353448" y="659159"/>
                        <a:pt x="2321973" y="692182"/>
                      </a:cubicBezTo>
                      <a:cubicBezTo>
                        <a:pt x="2310106" y="704565"/>
                        <a:pt x="2307526" y="717981"/>
                        <a:pt x="2313718" y="733460"/>
                      </a:cubicBezTo>
                      <a:cubicBezTo>
                        <a:pt x="2323005" y="755647"/>
                        <a:pt x="2334357" y="776286"/>
                        <a:pt x="2349320" y="795377"/>
                      </a:cubicBezTo>
                      <a:cubicBezTo>
                        <a:pt x="2361187" y="810857"/>
                        <a:pt x="2375635" y="814984"/>
                        <a:pt x="2394726" y="810341"/>
                      </a:cubicBezTo>
                      <a:cubicBezTo>
                        <a:pt x="2438584" y="799505"/>
                        <a:pt x="2482958" y="789701"/>
                        <a:pt x="2526816" y="780414"/>
                      </a:cubicBezTo>
                      <a:cubicBezTo>
                        <a:pt x="2550035" y="775254"/>
                        <a:pt x="2563967" y="781962"/>
                        <a:pt x="2575834" y="803117"/>
                      </a:cubicBezTo>
                      <a:cubicBezTo>
                        <a:pt x="2582026" y="814468"/>
                        <a:pt x="2587186" y="826336"/>
                        <a:pt x="2591313" y="838719"/>
                      </a:cubicBezTo>
                      <a:cubicBezTo>
                        <a:pt x="2600085" y="867098"/>
                        <a:pt x="2595441" y="880514"/>
                        <a:pt x="2570158" y="896509"/>
                      </a:cubicBezTo>
                      <a:cubicBezTo>
                        <a:pt x="2534040" y="919212"/>
                        <a:pt x="2498437" y="942947"/>
                        <a:pt x="2461287" y="964102"/>
                      </a:cubicBezTo>
                      <a:cubicBezTo>
                        <a:pt x="2440132" y="976485"/>
                        <a:pt x="2434456" y="992997"/>
                        <a:pt x="2438068" y="1014668"/>
                      </a:cubicBezTo>
                      <a:cubicBezTo>
                        <a:pt x="2441164" y="1034791"/>
                        <a:pt x="2446840" y="1054398"/>
                        <a:pt x="2454063" y="1073489"/>
                      </a:cubicBezTo>
                      <a:cubicBezTo>
                        <a:pt x="2460771" y="1091032"/>
                        <a:pt x="2472638" y="1100320"/>
                        <a:pt x="2492762" y="1100836"/>
                      </a:cubicBezTo>
                      <a:cubicBezTo>
                        <a:pt x="2538168" y="1101352"/>
                        <a:pt x="2583058" y="1104448"/>
                        <a:pt x="2628464" y="1105996"/>
                      </a:cubicBezTo>
                      <a:cubicBezTo>
                        <a:pt x="2653230" y="1107028"/>
                        <a:pt x="2665614" y="1116831"/>
                        <a:pt x="2672322" y="1140566"/>
                      </a:cubicBezTo>
                      <a:cubicBezTo>
                        <a:pt x="2676449" y="1153982"/>
                        <a:pt x="2677998" y="1167913"/>
                        <a:pt x="2677998" y="1182360"/>
                      </a:cubicBezTo>
                      <a:cubicBezTo>
                        <a:pt x="2677998" y="1210223"/>
                        <a:pt x="2670258" y="1221575"/>
                        <a:pt x="2644459" y="1229830"/>
                      </a:cubicBezTo>
                      <a:cubicBezTo>
                        <a:pt x="2603697" y="1242730"/>
                        <a:pt x="2562934" y="1255113"/>
                        <a:pt x="2522172" y="1267497"/>
                      </a:cubicBezTo>
                      <a:cubicBezTo>
                        <a:pt x="2492762" y="1276268"/>
                        <a:pt x="2485022" y="1285556"/>
                        <a:pt x="2483990" y="1315998"/>
                      </a:cubicBezTo>
                      <a:cubicBezTo>
                        <a:pt x="2483474" y="1337153"/>
                        <a:pt x="2481926" y="1358824"/>
                        <a:pt x="2486570" y="1379980"/>
                      </a:cubicBezTo>
                      <a:cubicBezTo>
                        <a:pt x="2489666" y="1394427"/>
                        <a:pt x="2498437" y="1403199"/>
                        <a:pt x="2512885" y="1407842"/>
                      </a:cubicBezTo>
                      <a:cubicBezTo>
                        <a:pt x="2555711" y="1420742"/>
                        <a:pt x="2598537" y="1433641"/>
                        <a:pt x="2641363" y="1447057"/>
                      </a:cubicBezTo>
                      <a:cubicBezTo>
                        <a:pt x="2671290" y="1456344"/>
                        <a:pt x="2678514" y="1466664"/>
                        <a:pt x="2677998" y="1498138"/>
                      </a:cubicBezTo>
                      <a:cubicBezTo>
                        <a:pt x="2677998" y="1501234"/>
                        <a:pt x="2677998" y="1504330"/>
                        <a:pt x="2677998" y="1507426"/>
                      </a:cubicBezTo>
                      <a:cubicBezTo>
                        <a:pt x="2675934" y="1555928"/>
                        <a:pt x="2660454" y="1571407"/>
                        <a:pt x="2611952" y="1572955"/>
                      </a:cubicBezTo>
                      <a:cubicBezTo>
                        <a:pt x="2571190" y="1573987"/>
                        <a:pt x="2530944" y="1576051"/>
                        <a:pt x="2490182" y="1576567"/>
                      </a:cubicBezTo>
                      <a:cubicBezTo>
                        <a:pt x="2474702" y="1577083"/>
                        <a:pt x="2463867" y="1583791"/>
                        <a:pt x="2457675" y="1596690"/>
                      </a:cubicBezTo>
                      <a:cubicBezTo>
                        <a:pt x="2446324" y="1620941"/>
                        <a:pt x="2439100" y="1646224"/>
                        <a:pt x="2437036" y="1673055"/>
                      </a:cubicBezTo>
                      <a:cubicBezTo>
                        <a:pt x="2435488" y="1690082"/>
                        <a:pt x="2442712" y="1701434"/>
                        <a:pt x="2457159" y="1710205"/>
                      </a:cubicBezTo>
                      <a:cubicBezTo>
                        <a:pt x="2493278" y="1732392"/>
                        <a:pt x="2528880" y="1754579"/>
                        <a:pt x="2564483" y="1777282"/>
                      </a:cubicBezTo>
                      <a:cubicBezTo>
                        <a:pt x="2596989" y="1797405"/>
                        <a:pt x="2601117" y="1809789"/>
                        <a:pt x="2588733" y="1845907"/>
                      </a:cubicBezTo>
                      <a:cubicBezTo>
                        <a:pt x="2584606" y="1858291"/>
                        <a:pt x="2578930" y="1870158"/>
                        <a:pt x="2571706" y="1880994"/>
                      </a:cubicBezTo>
                      <a:cubicBezTo>
                        <a:pt x="2564998" y="1890797"/>
                        <a:pt x="2554163" y="1897505"/>
                        <a:pt x="2538684" y="1897505"/>
                      </a:cubicBezTo>
                      <a:close/>
                      <a:moveTo>
                        <a:pt x="1338521" y="2312867"/>
                      </a:moveTo>
                      <a:cubicBezTo>
                        <a:pt x="1869461" y="2314931"/>
                        <a:pt x="2317329" y="1887701"/>
                        <a:pt x="2316814" y="1335605"/>
                      </a:cubicBezTo>
                      <a:cubicBezTo>
                        <a:pt x="2316298" y="792797"/>
                        <a:pt x="1880813" y="359892"/>
                        <a:pt x="1340068" y="359376"/>
                      </a:cubicBezTo>
                      <a:cubicBezTo>
                        <a:pt x="796228" y="358860"/>
                        <a:pt x="363839" y="794861"/>
                        <a:pt x="361775" y="1331994"/>
                      </a:cubicBezTo>
                      <a:cubicBezTo>
                        <a:pt x="359711" y="1882026"/>
                        <a:pt x="806032" y="2314415"/>
                        <a:pt x="1338521" y="2312867"/>
                      </a:cubicBezTo>
                      <a:close/>
                    </a:path>
                  </a:pathLst>
                </a:custGeom>
                <a:grpFill/>
                <a:ln w="5155"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718FFC3D-130E-4587-9FAD-F134E15CA98A}"/>
                    </a:ext>
                  </a:extLst>
                </p:cNvPr>
                <p:cNvSpPr/>
                <p:nvPr/>
              </p:nvSpPr>
              <p:spPr>
                <a:xfrm>
                  <a:off x="7558586" y="2011427"/>
                  <a:ext cx="1898797" cy="1893637"/>
                </a:xfrm>
                <a:custGeom>
                  <a:avLst/>
                  <a:gdLst>
                    <a:gd name="connsiteX0" fmla="*/ 30 w 1898796"/>
                    <a:gd name="connsiteY0" fmla="*/ 947852 h 1893636"/>
                    <a:gd name="connsiteX1" fmla="*/ 950461 w 1898796"/>
                    <a:gd name="connsiteY1" fmla="*/ 2 h 1893636"/>
                    <a:gd name="connsiteX2" fmla="*/ 1898827 w 1898796"/>
                    <a:gd name="connsiteY2" fmla="*/ 950948 h 1893636"/>
                    <a:gd name="connsiteX3" fmla="*/ 946849 w 1898796"/>
                    <a:gd name="connsiteY3" fmla="*/ 1898283 h 1893636"/>
                    <a:gd name="connsiteX4" fmla="*/ 30 w 1898796"/>
                    <a:gd name="connsiteY4" fmla="*/ 947852 h 1893636"/>
                    <a:gd name="connsiteX5" fmla="*/ 1187811 w 1898796"/>
                    <a:gd name="connsiteY5" fmla="*/ 949916 h 1893636"/>
                    <a:gd name="connsiteX6" fmla="*/ 949429 w 1898796"/>
                    <a:gd name="connsiteY6" fmla="*/ 710503 h 1893636"/>
                    <a:gd name="connsiteX7" fmla="*/ 710532 w 1898796"/>
                    <a:gd name="connsiteY7" fmla="*/ 948368 h 1893636"/>
                    <a:gd name="connsiteX8" fmla="*/ 948397 w 1898796"/>
                    <a:gd name="connsiteY8" fmla="*/ 1188298 h 1893636"/>
                    <a:gd name="connsiteX9" fmla="*/ 1187811 w 1898796"/>
                    <a:gd name="connsiteY9" fmla="*/ 949916 h 1893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8796" h="1893636">
                      <a:moveTo>
                        <a:pt x="30" y="947852"/>
                      </a:moveTo>
                      <a:cubicBezTo>
                        <a:pt x="-3065" y="428263"/>
                        <a:pt x="426228" y="-1030"/>
                        <a:pt x="950461" y="2"/>
                      </a:cubicBezTo>
                      <a:cubicBezTo>
                        <a:pt x="1472114" y="1034"/>
                        <a:pt x="1899859" y="427747"/>
                        <a:pt x="1898827" y="950948"/>
                      </a:cubicBezTo>
                      <a:cubicBezTo>
                        <a:pt x="1897795" y="1468473"/>
                        <a:pt x="1477790" y="1899315"/>
                        <a:pt x="946849" y="1898283"/>
                      </a:cubicBezTo>
                      <a:cubicBezTo>
                        <a:pt x="411781" y="1896735"/>
                        <a:pt x="-4097" y="1460218"/>
                        <a:pt x="30" y="947852"/>
                      </a:cubicBezTo>
                      <a:close/>
                      <a:moveTo>
                        <a:pt x="1187811" y="949916"/>
                      </a:moveTo>
                      <a:cubicBezTo>
                        <a:pt x="1188327" y="817310"/>
                        <a:pt x="1084099" y="710503"/>
                        <a:pt x="949429" y="710503"/>
                      </a:cubicBezTo>
                      <a:cubicBezTo>
                        <a:pt x="805987" y="710503"/>
                        <a:pt x="710015" y="828146"/>
                        <a:pt x="710532" y="948368"/>
                      </a:cubicBezTo>
                      <a:cubicBezTo>
                        <a:pt x="711048" y="1081490"/>
                        <a:pt x="815791" y="1188298"/>
                        <a:pt x="948397" y="1188298"/>
                      </a:cubicBezTo>
                      <a:cubicBezTo>
                        <a:pt x="1081003" y="1188298"/>
                        <a:pt x="1187294" y="1083038"/>
                        <a:pt x="1187811" y="949916"/>
                      </a:cubicBezTo>
                      <a:close/>
                    </a:path>
                  </a:pathLst>
                </a:custGeom>
                <a:grpFill/>
                <a:ln w="5155"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4AE715F5-3FF5-4CC0-99F7-2396CA9783A9}"/>
                </a:ext>
              </a:extLst>
            </p:cNvPr>
            <p:cNvGrpSpPr/>
            <p:nvPr/>
          </p:nvGrpSpPr>
          <p:grpSpPr>
            <a:xfrm rot="18655185">
              <a:off x="7923365" y="4809769"/>
              <a:ext cx="1639387" cy="985059"/>
              <a:chOff x="2753518" y="3556278"/>
              <a:chExt cx="2028524" cy="1218879"/>
            </a:xfrm>
            <a:grpFill/>
          </p:grpSpPr>
          <p:sp>
            <p:nvSpPr>
              <p:cNvPr id="22" name="Freeform: Shape 21">
                <a:extLst>
                  <a:ext uri="{FF2B5EF4-FFF2-40B4-BE49-F238E27FC236}">
                    <a16:creationId xmlns:a16="http://schemas.microsoft.com/office/drawing/2014/main" id="{D307BAC0-5062-49C4-A10C-F15443D0B43E}"/>
                  </a:ext>
                </a:extLst>
              </p:cNvPr>
              <p:cNvSpPr/>
              <p:nvPr/>
            </p:nvSpPr>
            <p:spPr>
              <a:xfrm>
                <a:off x="2753518" y="3683131"/>
                <a:ext cx="796648" cy="799367"/>
              </a:xfrm>
              <a:custGeom>
                <a:avLst/>
                <a:gdLst>
                  <a:gd name="connsiteX0" fmla="*/ 817500 w 1511813"/>
                  <a:gd name="connsiteY0" fmla="*/ 1518710 h 1516973"/>
                  <a:gd name="connsiteX1" fmla="*/ 802537 w 1511813"/>
                  <a:gd name="connsiteY1" fmla="*/ 1507875 h 1516973"/>
                  <a:gd name="connsiteX2" fmla="*/ 780866 w 1511813"/>
                  <a:gd name="connsiteY2" fmla="*/ 1442862 h 1516973"/>
                  <a:gd name="connsiteX3" fmla="*/ 776738 w 1511813"/>
                  <a:gd name="connsiteY3" fmla="*/ 1385072 h 1516973"/>
                  <a:gd name="connsiteX4" fmla="*/ 760227 w 1511813"/>
                  <a:gd name="connsiteY4" fmla="*/ 1369593 h 1516973"/>
                  <a:gd name="connsiteX5" fmla="*/ 694698 w 1511813"/>
                  <a:gd name="connsiteY5" fmla="*/ 1366497 h 1516973"/>
                  <a:gd name="connsiteX6" fmla="*/ 676638 w 1511813"/>
                  <a:gd name="connsiteY6" fmla="*/ 1379912 h 1516973"/>
                  <a:gd name="connsiteX7" fmla="*/ 637940 w 1511813"/>
                  <a:gd name="connsiteY7" fmla="*/ 1501683 h 1516973"/>
                  <a:gd name="connsiteX8" fmla="*/ 622977 w 1511813"/>
                  <a:gd name="connsiteY8" fmla="*/ 1508907 h 1516973"/>
                  <a:gd name="connsiteX9" fmla="*/ 430517 w 1511813"/>
                  <a:gd name="connsiteY9" fmla="*/ 1447505 h 1516973"/>
                  <a:gd name="connsiteX10" fmla="*/ 422262 w 1511813"/>
                  <a:gd name="connsiteY10" fmla="*/ 1431510 h 1516973"/>
                  <a:gd name="connsiteX11" fmla="*/ 435677 w 1511813"/>
                  <a:gd name="connsiteY11" fmla="*/ 1364433 h 1516973"/>
                  <a:gd name="connsiteX12" fmla="*/ 461992 w 1511813"/>
                  <a:gd name="connsiteY12" fmla="*/ 1310255 h 1516973"/>
                  <a:gd name="connsiteX13" fmla="*/ 456316 w 1511813"/>
                  <a:gd name="connsiteY13" fmla="*/ 1290132 h 1516973"/>
                  <a:gd name="connsiteX14" fmla="*/ 395431 w 1511813"/>
                  <a:gd name="connsiteY14" fmla="*/ 1251434 h 1516973"/>
                  <a:gd name="connsiteX15" fmla="*/ 378919 w 1511813"/>
                  <a:gd name="connsiteY15" fmla="*/ 1254014 h 1516973"/>
                  <a:gd name="connsiteX16" fmla="*/ 283464 w 1511813"/>
                  <a:gd name="connsiteY16" fmla="*/ 1342246 h 1516973"/>
                  <a:gd name="connsiteX17" fmla="*/ 265920 w 1511813"/>
                  <a:gd name="connsiteY17" fmla="*/ 1341214 h 1516973"/>
                  <a:gd name="connsiteX18" fmla="*/ 130218 w 1511813"/>
                  <a:gd name="connsiteY18" fmla="*/ 1191580 h 1516973"/>
                  <a:gd name="connsiteX19" fmla="*/ 130734 w 1511813"/>
                  <a:gd name="connsiteY19" fmla="*/ 1174553 h 1516973"/>
                  <a:gd name="connsiteX20" fmla="*/ 177688 w 1511813"/>
                  <a:gd name="connsiteY20" fmla="*/ 1121408 h 1516973"/>
                  <a:gd name="connsiteX21" fmla="*/ 225674 w 1511813"/>
                  <a:gd name="connsiteY21" fmla="*/ 1089417 h 1516973"/>
                  <a:gd name="connsiteX22" fmla="*/ 230834 w 1511813"/>
                  <a:gd name="connsiteY22" fmla="*/ 1067230 h 1516973"/>
                  <a:gd name="connsiteX23" fmla="*/ 198327 w 1511813"/>
                  <a:gd name="connsiteY23" fmla="*/ 1004281 h 1516973"/>
                  <a:gd name="connsiteX24" fmla="*/ 183880 w 1511813"/>
                  <a:gd name="connsiteY24" fmla="*/ 998089 h 1516973"/>
                  <a:gd name="connsiteX25" fmla="*/ 67269 w 1511813"/>
                  <a:gd name="connsiteY25" fmla="*/ 1025952 h 1516973"/>
                  <a:gd name="connsiteX26" fmla="*/ 55918 w 1511813"/>
                  <a:gd name="connsiteY26" fmla="*/ 1027500 h 1516973"/>
                  <a:gd name="connsiteX27" fmla="*/ 41470 w 1511813"/>
                  <a:gd name="connsiteY27" fmla="*/ 1018212 h 1516973"/>
                  <a:gd name="connsiteX28" fmla="*/ 1224 w 1511813"/>
                  <a:gd name="connsiteY28" fmla="*/ 841748 h 1516973"/>
                  <a:gd name="connsiteX29" fmla="*/ 30635 w 1511813"/>
                  <a:gd name="connsiteY29" fmla="*/ 797374 h 1516973"/>
                  <a:gd name="connsiteX30" fmla="*/ 134862 w 1511813"/>
                  <a:gd name="connsiteY30" fmla="*/ 778799 h 1516973"/>
                  <a:gd name="connsiteX31" fmla="*/ 147246 w 1511813"/>
                  <a:gd name="connsiteY31" fmla="*/ 765899 h 1516973"/>
                  <a:gd name="connsiteX32" fmla="*/ 150342 w 1511813"/>
                  <a:gd name="connsiteY32" fmla="*/ 696242 h 1516973"/>
                  <a:gd name="connsiteX33" fmla="*/ 137442 w 1511813"/>
                  <a:gd name="connsiteY33" fmla="*/ 678699 h 1516973"/>
                  <a:gd name="connsiteX34" fmla="*/ 14639 w 1511813"/>
                  <a:gd name="connsiteY34" fmla="*/ 639485 h 1516973"/>
                  <a:gd name="connsiteX35" fmla="*/ 7932 w 1511813"/>
                  <a:gd name="connsiteY35" fmla="*/ 625037 h 1516973"/>
                  <a:gd name="connsiteX36" fmla="*/ 69333 w 1511813"/>
                  <a:gd name="connsiteY36" fmla="*/ 432578 h 1516973"/>
                  <a:gd name="connsiteX37" fmla="*/ 86360 w 1511813"/>
                  <a:gd name="connsiteY37" fmla="*/ 423806 h 1516973"/>
                  <a:gd name="connsiteX38" fmla="*/ 150858 w 1511813"/>
                  <a:gd name="connsiteY38" fmla="*/ 436706 h 1516973"/>
                  <a:gd name="connsiteX39" fmla="*/ 206583 w 1511813"/>
                  <a:gd name="connsiteY39" fmla="*/ 463536 h 1516973"/>
                  <a:gd name="connsiteX40" fmla="*/ 227738 w 1511813"/>
                  <a:gd name="connsiteY40" fmla="*/ 457345 h 1516973"/>
                  <a:gd name="connsiteX41" fmla="*/ 266952 w 1511813"/>
                  <a:gd name="connsiteY41" fmla="*/ 396459 h 1516973"/>
                  <a:gd name="connsiteX42" fmla="*/ 264373 w 1511813"/>
                  <a:gd name="connsiteY42" fmla="*/ 380980 h 1516973"/>
                  <a:gd name="connsiteX43" fmla="*/ 175108 w 1511813"/>
                  <a:gd name="connsiteY43" fmla="*/ 284492 h 1516973"/>
                  <a:gd name="connsiteX44" fmla="*/ 176140 w 1511813"/>
                  <a:gd name="connsiteY44" fmla="*/ 267981 h 1516973"/>
                  <a:gd name="connsiteX45" fmla="*/ 325258 w 1511813"/>
                  <a:gd name="connsiteY45" fmla="*/ 132279 h 1516973"/>
                  <a:gd name="connsiteX46" fmla="*/ 343317 w 1511813"/>
                  <a:gd name="connsiteY46" fmla="*/ 132795 h 1516973"/>
                  <a:gd name="connsiteX47" fmla="*/ 395431 w 1511813"/>
                  <a:gd name="connsiteY47" fmla="*/ 178717 h 1516973"/>
                  <a:gd name="connsiteX48" fmla="*/ 426389 w 1511813"/>
                  <a:gd name="connsiteY48" fmla="*/ 224639 h 1516973"/>
                  <a:gd name="connsiteX49" fmla="*/ 451156 w 1511813"/>
                  <a:gd name="connsiteY49" fmla="*/ 231347 h 1516973"/>
                  <a:gd name="connsiteX50" fmla="*/ 512042 w 1511813"/>
                  <a:gd name="connsiteY50" fmla="*/ 200388 h 1516973"/>
                  <a:gd name="connsiteX51" fmla="*/ 518233 w 1511813"/>
                  <a:gd name="connsiteY51" fmla="*/ 183877 h 1516973"/>
                  <a:gd name="connsiteX52" fmla="*/ 491403 w 1511813"/>
                  <a:gd name="connsiteY52" fmla="*/ 69846 h 1516973"/>
                  <a:gd name="connsiteX53" fmla="*/ 489855 w 1511813"/>
                  <a:gd name="connsiteY53" fmla="*/ 58494 h 1516973"/>
                  <a:gd name="connsiteX54" fmla="*/ 499658 w 1511813"/>
                  <a:gd name="connsiteY54" fmla="*/ 43015 h 1516973"/>
                  <a:gd name="connsiteX55" fmla="*/ 695730 w 1511813"/>
                  <a:gd name="connsiteY55" fmla="*/ 189 h 1516973"/>
                  <a:gd name="connsiteX56" fmla="*/ 713273 w 1511813"/>
                  <a:gd name="connsiteY56" fmla="*/ 12056 h 1516973"/>
                  <a:gd name="connsiteX57" fmla="*/ 721012 w 1511813"/>
                  <a:gd name="connsiteY57" fmla="*/ 35275 h 1516973"/>
                  <a:gd name="connsiteX58" fmla="*/ 738556 w 1511813"/>
                  <a:gd name="connsiteY58" fmla="*/ 134343 h 1516973"/>
                  <a:gd name="connsiteX59" fmla="*/ 753519 w 1511813"/>
                  <a:gd name="connsiteY59" fmla="*/ 148790 h 1516973"/>
                  <a:gd name="connsiteX60" fmla="*/ 820596 w 1511813"/>
                  <a:gd name="connsiteY60" fmla="*/ 151886 h 1516973"/>
                  <a:gd name="connsiteX61" fmla="*/ 838655 w 1511813"/>
                  <a:gd name="connsiteY61" fmla="*/ 138471 h 1516973"/>
                  <a:gd name="connsiteX62" fmla="*/ 877354 w 1511813"/>
                  <a:gd name="connsiteY62" fmla="*/ 16700 h 1516973"/>
                  <a:gd name="connsiteX63" fmla="*/ 892317 w 1511813"/>
                  <a:gd name="connsiteY63" fmla="*/ 9476 h 1516973"/>
                  <a:gd name="connsiteX64" fmla="*/ 1084777 w 1511813"/>
                  <a:gd name="connsiteY64" fmla="*/ 70878 h 1516973"/>
                  <a:gd name="connsiteX65" fmla="*/ 1093032 w 1511813"/>
                  <a:gd name="connsiteY65" fmla="*/ 86873 h 1516973"/>
                  <a:gd name="connsiteX66" fmla="*/ 1079617 w 1511813"/>
                  <a:gd name="connsiteY66" fmla="*/ 152402 h 1516973"/>
                  <a:gd name="connsiteX67" fmla="*/ 1053302 w 1511813"/>
                  <a:gd name="connsiteY67" fmla="*/ 206580 h 1516973"/>
                  <a:gd name="connsiteX68" fmla="*/ 1060010 w 1511813"/>
                  <a:gd name="connsiteY68" fmla="*/ 228251 h 1516973"/>
                  <a:gd name="connsiteX69" fmla="*/ 1118315 w 1511813"/>
                  <a:gd name="connsiteY69" fmla="*/ 265917 h 1516973"/>
                  <a:gd name="connsiteX70" fmla="*/ 1136374 w 1511813"/>
                  <a:gd name="connsiteY70" fmla="*/ 262821 h 1516973"/>
                  <a:gd name="connsiteX71" fmla="*/ 1232346 w 1511813"/>
                  <a:gd name="connsiteY71" fmla="*/ 174589 h 1516973"/>
                  <a:gd name="connsiteX72" fmla="*/ 1247825 w 1511813"/>
                  <a:gd name="connsiteY72" fmla="*/ 175621 h 1516973"/>
                  <a:gd name="connsiteX73" fmla="*/ 1384559 w 1511813"/>
                  <a:gd name="connsiteY73" fmla="*/ 325770 h 1516973"/>
                  <a:gd name="connsiteX74" fmla="*/ 1384043 w 1511813"/>
                  <a:gd name="connsiteY74" fmla="*/ 342798 h 1516973"/>
                  <a:gd name="connsiteX75" fmla="*/ 1336057 w 1511813"/>
                  <a:gd name="connsiteY75" fmla="*/ 396975 h 1516973"/>
                  <a:gd name="connsiteX76" fmla="*/ 1291167 w 1511813"/>
                  <a:gd name="connsiteY76" fmla="*/ 426902 h 1516973"/>
                  <a:gd name="connsiteX77" fmla="*/ 1284976 w 1511813"/>
                  <a:gd name="connsiteY77" fmla="*/ 451153 h 1516973"/>
                  <a:gd name="connsiteX78" fmla="*/ 1316450 w 1511813"/>
                  <a:gd name="connsiteY78" fmla="*/ 513070 h 1516973"/>
                  <a:gd name="connsiteX79" fmla="*/ 1330898 w 1511813"/>
                  <a:gd name="connsiteY79" fmla="*/ 519262 h 1516973"/>
                  <a:gd name="connsiteX80" fmla="*/ 1447509 w 1511813"/>
                  <a:gd name="connsiteY80" fmla="*/ 491399 h 1516973"/>
                  <a:gd name="connsiteX81" fmla="*/ 1458860 w 1511813"/>
                  <a:gd name="connsiteY81" fmla="*/ 489851 h 1516973"/>
                  <a:gd name="connsiteX82" fmla="*/ 1473307 w 1511813"/>
                  <a:gd name="connsiteY82" fmla="*/ 499139 h 1516973"/>
                  <a:gd name="connsiteX83" fmla="*/ 1513554 w 1511813"/>
                  <a:gd name="connsiteY83" fmla="*/ 675603 h 1516973"/>
                  <a:gd name="connsiteX84" fmla="*/ 1514070 w 1511813"/>
                  <a:gd name="connsiteY84" fmla="*/ 679215 h 1516973"/>
                  <a:gd name="connsiteX85" fmla="*/ 1490335 w 1511813"/>
                  <a:gd name="connsiteY85" fmla="*/ 717397 h 1516973"/>
                  <a:gd name="connsiteX86" fmla="*/ 1379916 w 1511813"/>
                  <a:gd name="connsiteY86" fmla="*/ 738036 h 1516973"/>
                  <a:gd name="connsiteX87" fmla="*/ 1367532 w 1511813"/>
                  <a:gd name="connsiteY87" fmla="*/ 749904 h 1516973"/>
                  <a:gd name="connsiteX88" fmla="*/ 1363920 w 1511813"/>
                  <a:gd name="connsiteY88" fmla="*/ 822141 h 1516973"/>
                  <a:gd name="connsiteX89" fmla="*/ 1375788 w 1511813"/>
                  <a:gd name="connsiteY89" fmla="*/ 838136 h 1516973"/>
                  <a:gd name="connsiteX90" fmla="*/ 1498590 w 1511813"/>
                  <a:gd name="connsiteY90" fmla="*/ 876834 h 1516973"/>
                  <a:gd name="connsiteX91" fmla="*/ 1506330 w 1511813"/>
                  <a:gd name="connsiteY91" fmla="*/ 891798 h 1516973"/>
                  <a:gd name="connsiteX92" fmla="*/ 1444413 w 1511813"/>
                  <a:gd name="connsiteY92" fmla="*/ 1085289 h 1516973"/>
                  <a:gd name="connsiteX93" fmla="*/ 1429449 w 1511813"/>
                  <a:gd name="connsiteY93" fmla="*/ 1093029 h 1516973"/>
                  <a:gd name="connsiteX94" fmla="*/ 1306647 w 1511813"/>
                  <a:gd name="connsiteY94" fmla="*/ 1052783 h 1516973"/>
                  <a:gd name="connsiteX95" fmla="*/ 1287556 w 1511813"/>
                  <a:gd name="connsiteY95" fmla="*/ 1057942 h 1516973"/>
                  <a:gd name="connsiteX96" fmla="*/ 1248857 w 1511813"/>
                  <a:gd name="connsiteY96" fmla="*/ 1118828 h 1516973"/>
                  <a:gd name="connsiteX97" fmla="*/ 1250405 w 1511813"/>
                  <a:gd name="connsiteY97" fmla="*/ 1135339 h 1516973"/>
                  <a:gd name="connsiteX98" fmla="*/ 1339153 w 1511813"/>
                  <a:gd name="connsiteY98" fmla="*/ 1230795 h 1516973"/>
                  <a:gd name="connsiteX99" fmla="*/ 1337605 w 1511813"/>
                  <a:gd name="connsiteY99" fmla="*/ 1249370 h 1516973"/>
                  <a:gd name="connsiteX100" fmla="*/ 1189004 w 1511813"/>
                  <a:gd name="connsiteY100" fmla="*/ 1384040 h 1516973"/>
                  <a:gd name="connsiteX101" fmla="*/ 1170945 w 1511813"/>
                  <a:gd name="connsiteY101" fmla="*/ 1383524 h 1516973"/>
                  <a:gd name="connsiteX102" fmla="*/ 1118831 w 1511813"/>
                  <a:gd name="connsiteY102" fmla="*/ 1337602 h 1516973"/>
                  <a:gd name="connsiteX103" fmla="*/ 1086840 w 1511813"/>
                  <a:gd name="connsiteY103" fmla="*/ 1289616 h 1516973"/>
                  <a:gd name="connsiteX104" fmla="*/ 1064137 w 1511813"/>
                  <a:gd name="connsiteY104" fmla="*/ 1284456 h 1516973"/>
                  <a:gd name="connsiteX105" fmla="*/ 1002220 w 1511813"/>
                  <a:gd name="connsiteY105" fmla="*/ 1316447 h 1516973"/>
                  <a:gd name="connsiteX106" fmla="*/ 996028 w 1511813"/>
                  <a:gd name="connsiteY106" fmla="*/ 1332958 h 1516973"/>
                  <a:gd name="connsiteX107" fmla="*/ 1022859 w 1511813"/>
                  <a:gd name="connsiteY107" fmla="*/ 1446989 h 1516973"/>
                  <a:gd name="connsiteX108" fmla="*/ 1024407 w 1511813"/>
                  <a:gd name="connsiteY108" fmla="*/ 1459889 h 1516973"/>
                  <a:gd name="connsiteX109" fmla="*/ 1015636 w 1511813"/>
                  <a:gd name="connsiteY109" fmla="*/ 1473304 h 1516973"/>
                  <a:gd name="connsiteX110" fmla="*/ 817500 w 1511813"/>
                  <a:gd name="connsiteY110" fmla="*/ 1518710 h 1516973"/>
                  <a:gd name="connsiteX111" fmla="*/ 758163 w 1511813"/>
                  <a:gd name="connsiteY111" fmla="*/ 1148238 h 1516973"/>
                  <a:gd name="connsiteX112" fmla="*/ 1145146 w 1511813"/>
                  <a:gd name="connsiteY112" fmla="*/ 758675 h 1516973"/>
                  <a:gd name="connsiteX113" fmla="*/ 757131 w 1511813"/>
                  <a:gd name="connsiteY113" fmla="*/ 371176 h 1516973"/>
                  <a:gd name="connsiteX114" fmla="*/ 368600 w 1511813"/>
                  <a:gd name="connsiteY114" fmla="*/ 759707 h 1516973"/>
                  <a:gd name="connsiteX115" fmla="*/ 758163 w 1511813"/>
                  <a:gd name="connsiteY115" fmla="*/ 1148238 h 1516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511813" h="1516973">
                    <a:moveTo>
                      <a:pt x="817500" y="1518710"/>
                    </a:moveTo>
                    <a:cubicBezTo>
                      <a:pt x="809245" y="1520774"/>
                      <a:pt x="805633" y="1516130"/>
                      <a:pt x="802537" y="1507875"/>
                    </a:cubicBezTo>
                    <a:cubicBezTo>
                      <a:pt x="795829" y="1486204"/>
                      <a:pt x="788090" y="1464532"/>
                      <a:pt x="780866" y="1442862"/>
                    </a:cubicBezTo>
                    <a:cubicBezTo>
                      <a:pt x="774674" y="1424286"/>
                      <a:pt x="777770" y="1404679"/>
                      <a:pt x="776738" y="1385072"/>
                    </a:cubicBezTo>
                    <a:cubicBezTo>
                      <a:pt x="776222" y="1369593"/>
                      <a:pt x="775706" y="1370109"/>
                      <a:pt x="760227" y="1369593"/>
                    </a:cubicBezTo>
                    <a:cubicBezTo>
                      <a:pt x="738556" y="1369593"/>
                      <a:pt x="716369" y="1368045"/>
                      <a:pt x="694698" y="1366497"/>
                    </a:cubicBezTo>
                    <a:cubicBezTo>
                      <a:pt x="683346" y="1365465"/>
                      <a:pt x="676638" y="1365981"/>
                      <a:pt x="676638" y="1379912"/>
                    </a:cubicBezTo>
                    <a:cubicBezTo>
                      <a:pt x="676638" y="1424286"/>
                      <a:pt x="655483" y="1462469"/>
                      <a:pt x="637940" y="1501683"/>
                    </a:cubicBezTo>
                    <a:cubicBezTo>
                      <a:pt x="634844" y="1508907"/>
                      <a:pt x="630716" y="1510454"/>
                      <a:pt x="622977" y="1508907"/>
                    </a:cubicBezTo>
                    <a:cubicBezTo>
                      <a:pt x="556416" y="1496523"/>
                      <a:pt x="492434" y="1475368"/>
                      <a:pt x="430517" y="1447505"/>
                    </a:cubicBezTo>
                    <a:cubicBezTo>
                      <a:pt x="423294" y="1443893"/>
                      <a:pt x="420198" y="1440282"/>
                      <a:pt x="422262" y="1431510"/>
                    </a:cubicBezTo>
                    <a:cubicBezTo>
                      <a:pt x="427421" y="1409323"/>
                      <a:pt x="431033" y="1386620"/>
                      <a:pt x="435677" y="1364433"/>
                    </a:cubicBezTo>
                    <a:cubicBezTo>
                      <a:pt x="439805" y="1344310"/>
                      <a:pt x="452704" y="1327798"/>
                      <a:pt x="461992" y="1310255"/>
                    </a:cubicBezTo>
                    <a:cubicBezTo>
                      <a:pt x="467152" y="1300452"/>
                      <a:pt x="466120" y="1295808"/>
                      <a:pt x="456316" y="1290132"/>
                    </a:cubicBezTo>
                    <a:cubicBezTo>
                      <a:pt x="435677" y="1278265"/>
                      <a:pt x="415554" y="1264849"/>
                      <a:pt x="395431" y="1251434"/>
                    </a:cubicBezTo>
                    <a:cubicBezTo>
                      <a:pt x="388207" y="1246274"/>
                      <a:pt x="383563" y="1246274"/>
                      <a:pt x="378919" y="1254014"/>
                    </a:cubicBezTo>
                    <a:cubicBezTo>
                      <a:pt x="356216" y="1293228"/>
                      <a:pt x="319066" y="1317479"/>
                      <a:pt x="283464" y="1342246"/>
                    </a:cubicBezTo>
                    <a:cubicBezTo>
                      <a:pt x="276240" y="1346890"/>
                      <a:pt x="272112" y="1346374"/>
                      <a:pt x="265920" y="1341214"/>
                    </a:cubicBezTo>
                    <a:cubicBezTo>
                      <a:pt x="214323" y="1297356"/>
                      <a:pt x="169433" y="1246790"/>
                      <a:pt x="130218" y="1191580"/>
                    </a:cubicBezTo>
                    <a:cubicBezTo>
                      <a:pt x="125575" y="1185389"/>
                      <a:pt x="125059" y="1180745"/>
                      <a:pt x="130734" y="1174553"/>
                    </a:cubicBezTo>
                    <a:cubicBezTo>
                      <a:pt x="146730" y="1157010"/>
                      <a:pt x="161177" y="1138435"/>
                      <a:pt x="177688" y="1121408"/>
                    </a:cubicBezTo>
                    <a:cubicBezTo>
                      <a:pt x="191104" y="1107476"/>
                      <a:pt x="209163" y="1099221"/>
                      <a:pt x="225674" y="1089417"/>
                    </a:cubicBezTo>
                    <a:cubicBezTo>
                      <a:pt x="236510" y="1083225"/>
                      <a:pt x="237026" y="1078065"/>
                      <a:pt x="230834" y="1067230"/>
                    </a:cubicBezTo>
                    <a:cubicBezTo>
                      <a:pt x="218967" y="1047107"/>
                      <a:pt x="208647" y="1025436"/>
                      <a:pt x="198327" y="1004281"/>
                    </a:cubicBezTo>
                    <a:cubicBezTo>
                      <a:pt x="194716" y="997057"/>
                      <a:pt x="192136" y="993445"/>
                      <a:pt x="183880" y="998089"/>
                    </a:cubicBezTo>
                    <a:cubicBezTo>
                      <a:pt x="147246" y="1017180"/>
                      <a:pt x="108031" y="1024920"/>
                      <a:pt x="67269" y="1025952"/>
                    </a:cubicBezTo>
                    <a:cubicBezTo>
                      <a:pt x="63657" y="1025952"/>
                      <a:pt x="59529" y="1026984"/>
                      <a:pt x="55918" y="1027500"/>
                    </a:cubicBezTo>
                    <a:cubicBezTo>
                      <a:pt x="48694" y="1028532"/>
                      <a:pt x="44050" y="1025952"/>
                      <a:pt x="41470" y="1018212"/>
                    </a:cubicBezTo>
                    <a:cubicBezTo>
                      <a:pt x="21347" y="960939"/>
                      <a:pt x="6384" y="902117"/>
                      <a:pt x="1224" y="841748"/>
                    </a:cubicBezTo>
                    <a:cubicBezTo>
                      <a:pt x="-1872" y="808725"/>
                      <a:pt x="-1356" y="809241"/>
                      <a:pt x="30635" y="797374"/>
                    </a:cubicBezTo>
                    <a:cubicBezTo>
                      <a:pt x="64173" y="784474"/>
                      <a:pt x="98744" y="775703"/>
                      <a:pt x="134862" y="778799"/>
                    </a:cubicBezTo>
                    <a:cubicBezTo>
                      <a:pt x="144150" y="779315"/>
                      <a:pt x="147246" y="775187"/>
                      <a:pt x="147246" y="765899"/>
                    </a:cubicBezTo>
                    <a:cubicBezTo>
                      <a:pt x="147246" y="742680"/>
                      <a:pt x="148278" y="719461"/>
                      <a:pt x="150342" y="696242"/>
                    </a:cubicBezTo>
                    <a:cubicBezTo>
                      <a:pt x="151373" y="685923"/>
                      <a:pt x="150858" y="678699"/>
                      <a:pt x="137442" y="678699"/>
                    </a:cubicBezTo>
                    <a:cubicBezTo>
                      <a:pt x="92552" y="678699"/>
                      <a:pt x="53854" y="657544"/>
                      <a:pt x="14639" y="639485"/>
                    </a:cubicBezTo>
                    <a:cubicBezTo>
                      <a:pt x="7932" y="636389"/>
                      <a:pt x="6384" y="632261"/>
                      <a:pt x="7932" y="625037"/>
                    </a:cubicBezTo>
                    <a:cubicBezTo>
                      <a:pt x="20315" y="558476"/>
                      <a:pt x="40954" y="494495"/>
                      <a:pt x="69333" y="432578"/>
                    </a:cubicBezTo>
                    <a:cubicBezTo>
                      <a:pt x="72945" y="424838"/>
                      <a:pt x="77073" y="421742"/>
                      <a:pt x="86360" y="423806"/>
                    </a:cubicBezTo>
                    <a:cubicBezTo>
                      <a:pt x="107515" y="428450"/>
                      <a:pt x="129186" y="432578"/>
                      <a:pt x="150858" y="436706"/>
                    </a:cubicBezTo>
                    <a:cubicBezTo>
                      <a:pt x="171497" y="440833"/>
                      <a:pt x="188008" y="453733"/>
                      <a:pt x="206583" y="463536"/>
                    </a:cubicBezTo>
                    <a:cubicBezTo>
                      <a:pt x="216903" y="468696"/>
                      <a:pt x="221546" y="467664"/>
                      <a:pt x="227738" y="457345"/>
                    </a:cubicBezTo>
                    <a:cubicBezTo>
                      <a:pt x="239606" y="436706"/>
                      <a:pt x="253021" y="416582"/>
                      <a:pt x="266952" y="396459"/>
                    </a:cubicBezTo>
                    <a:cubicBezTo>
                      <a:pt x="271596" y="389752"/>
                      <a:pt x="271596" y="385108"/>
                      <a:pt x="264373" y="380980"/>
                    </a:cubicBezTo>
                    <a:cubicBezTo>
                      <a:pt x="225158" y="357761"/>
                      <a:pt x="200391" y="320611"/>
                      <a:pt x="175108" y="284492"/>
                    </a:cubicBezTo>
                    <a:cubicBezTo>
                      <a:pt x="170465" y="277785"/>
                      <a:pt x="170981" y="273657"/>
                      <a:pt x="176140" y="267981"/>
                    </a:cubicBezTo>
                    <a:cubicBezTo>
                      <a:pt x="219998" y="216383"/>
                      <a:pt x="270048" y="171493"/>
                      <a:pt x="325258" y="132279"/>
                    </a:cubicBezTo>
                    <a:cubicBezTo>
                      <a:pt x="331966" y="127635"/>
                      <a:pt x="336609" y="126603"/>
                      <a:pt x="343317" y="132795"/>
                    </a:cubicBezTo>
                    <a:cubicBezTo>
                      <a:pt x="360344" y="148274"/>
                      <a:pt x="378404" y="162722"/>
                      <a:pt x="395431" y="178717"/>
                    </a:cubicBezTo>
                    <a:cubicBezTo>
                      <a:pt x="409362" y="191616"/>
                      <a:pt x="416070" y="209160"/>
                      <a:pt x="426389" y="224639"/>
                    </a:cubicBezTo>
                    <a:cubicBezTo>
                      <a:pt x="437741" y="241666"/>
                      <a:pt x="435161" y="240634"/>
                      <a:pt x="451156" y="231347"/>
                    </a:cubicBezTo>
                    <a:cubicBezTo>
                      <a:pt x="470763" y="219995"/>
                      <a:pt x="491403" y="209676"/>
                      <a:pt x="512042" y="200388"/>
                    </a:cubicBezTo>
                    <a:cubicBezTo>
                      <a:pt x="521329" y="196260"/>
                      <a:pt x="522361" y="192132"/>
                      <a:pt x="518233" y="183877"/>
                    </a:cubicBezTo>
                    <a:cubicBezTo>
                      <a:pt x="499142" y="148274"/>
                      <a:pt x="492434" y="109576"/>
                      <a:pt x="491403" y="69846"/>
                    </a:cubicBezTo>
                    <a:cubicBezTo>
                      <a:pt x="491403" y="66234"/>
                      <a:pt x="490371" y="62106"/>
                      <a:pt x="489855" y="58494"/>
                    </a:cubicBezTo>
                    <a:cubicBezTo>
                      <a:pt x="488307" y="50239"/>
                      <a:pt x="491403" y="46111"/>
                      <a:pt x="499658" y="43015"/>
                    </a:cubicBezTo>
                    <a:cubicBezTo>
                      <a:pt x="563123" y="20312"/>
                      <a:pt x="628653" y="6380"/>
                      <a:pt x="695730" y="189"/>
                    </a:cubicBezTo>
                    <a:cubicBezTo>
                      <a:pt x="706049" y="-843"/>
                      <a:pt x="710693" y="2253"/>
                      <a:pt x="713273" y="12056"/>
                    </a:cubicBezTo>
                    <a:cubicBezTo>
                      <a:pt x="715337" y="19796"/>
                      <a:pt x="717917" y="27536"/>
                      <a:pt x="721012" y="35275"/>
                    </a:cubicBezTo>
                    <a:cubicBezTo>
                      <a:pt x="734428" y="67266"/>
                      <a:pt x="741136" y="99772"/>
                      <a:pt x="738556" y="134343"/>
                    </a:cubicBezTo>
                    <a:cubicBezTo>
                      <a:pt x="737524" y="145694"/>
                      <a:pt x="742168" y="148790"/>
                      <a:pt x="753519" y="148790"/>
                    </a:cubicBezTo>
                    <a:cubicBezTo>
                      <a:pt x="775706" y="148274"/>
                      <a:pt x="797893" y="149822"/>
                      <a:pt x="820596" y="151886"/>
                    </a:cubicBezTo>
                    <a:cubicBezTo>
                      <a:pt x="831948" y="152918"/>
                      <a:pt x="838655" y="152402"/>
                      <a:pt x="838655" y="138471"/>
                    </a:cubicBezTo>
                    <a:cubicBezTo>
                      <a:pt x="838655" y="94097"/>
                      <a:pt x="859810" y="55914"/>
                      <a:pt x="877354" y="16700"/>
                    </a:cubicBezTo>
                    <a:cubicBezTo>
                      <a:pt x="880449" y="9476"/>
                      <a:pt x="885093" y="7928"/>
                      <a:pt x="892317" y="9476"/>
                    </a:cubicBezTo>
                    <a:cubicBezTo>
                      <a:pt x="958878" y="21860"/>
                      <a:pt x="1022859" y="42499"/>
                      <a:pt x="1084777" y="70878"/>
                    </a:cubicBezTo>
                    <a:cubicBezTo>
                      <a:pt x="1092000" y="74489"/>
                      <a:pt x="1095096" y="78617"/>
                      <a:pt x="1093032" y="86873"/>
                    </a:cubicBezTo>
                    <a:cubicBezTo>
                      <a:pt x="1088388" y="108544"/>
                      <a:pt x="1084261" y="130731"/>
                      <a:pt x="1079617" y="152402"/>
                    </a:cubicBezTo>
                    <a:cubicBezTo>
                      <a:pt x="1075489" y="172525"/>
                      <a:pt x="1062590" y="189036"/>
                      <a:pt x="1053302" y="206580"/>
                    </a:cubicBezTo>
                    <a:cubicBezTo>
                      <a:pt x="1047626" y="217415"/>
                      <a:pt x="1048658" y="222575"/>
                      <a:pt x="1060010" y="228251"/>
                    </a:cubicBezTo>
                    <a:cubicBezTo>
                      <a:pt x="1080133" y="239602"/>
                      <a:pt x="1099740" y="252502"/>
                      <a:pt x="1118315" y="265917"/>
                    </a:cubicBezTo>
                    <a:cubicBezTo>
                      <a:pt x="1126571" y="272109"/>
                      <a:pt x="1131214" y="271593"/>
                      <a:pt x="1136374" y="262821"/>
                    </a:cubicBezTo>
                    <a:cubicBezTo>
                      <a:pt x="1159077" y="223607"/>
                      <a:pt x="1196744" y="199872"/>
                      <a:pt x="1232346" y="174589"/>
                    </a:cubicBezTo>
                    <a:cubicBezTo>
                      <a:pt x="1238538" y="170461"/>
                      <a:pt x="1242666" y="170977"/>
                      <a:pt x="1247825" y="175621"/>
                    </a:cubicBezTo>
                    <a:cubicBezTo>
                      <a:pt x="1299939" y="219995"/>
                      <a:pt x="1345345" y="270045"/>
                      <a:pt x="1384559" y="325770"/>
                    </a:cubicBezTo>
                    <a:cubicBezTo>
                      <a:pt x="1389203" y="331962"/>
                      <a:pt x="1389719" y="336606"/>
                      <a:pt x="1384043" y="342798"/>
                    </a:cubicBezTo>
                    <a:cubicBezTo>
                      <a:pt x="1368048" y="360857"/>
                      <a:pt x="1352569" y="379432"/>
                      <a:pt x="1336057" y="396975"/>
                    </a:cubicBezTo>
                    <a:cubicBezTo>
                      <a:pt x="1323674" y="409875"/>
                      <a:pt x="1306131" y="417098"/>
                      <a:pt x="1291167" y="426902"/>
                    </a:cubicBezTo>
                    <a:cubicBezTo>
                      <a:pt x="1276720" y="436706"/>
                      <a:pt x="1276720" y="436190"/>
                      <a:pt x="1284976" y="451153"/>
                    </a:cubicBezTo>
                    <a:cubicBezTo>
                      <a:pt x="1295811" y="471792"/>
                      <a:pt x="1306647" y="492431"/>
                      <a:pt x="1316450" y="513070"/>
                    </a:cubicBezTo>
                    <a:cubicBezTo>
                      <a:pt x="1320062" y="520294"/>
                      <a:pt x="1323158" y="523390"/>
                      <a:pt x="1330898" y="519262"/>
                    </a:cubicBezTo>
                    <a:cubicBezTo>
                      <a:pt x="1367532" y="500171"/>
                      <a:pt x="1406746" y="492431"/>
                      <a:pt x="1447509" y="491399"/>
                    </a:cubicBezTo>
                    <a:cubicBezTo>
                      <a:pt x="1451120" y="491399"/>
                      <a:pt x="1455248" y="490367"/>
                      <a:pt x="1458860" y="489851"/>
                    </a:cubicBezTo>
                    <a:cubicBezTo>
                      <a:pt x="1466600" y="488819"/>
                      <a:pt x="1470728" y="491399"/>
                      <a:pt x="1473307" y="499139"/>
                    </a:cubicBezTo>
                    <a:cubicBezTo>
                      <a:pt x="1493431" y="556412"/>
                      <a:pt x="1508394" y="615234"/>
                      <a:pt x="1513554" y="675603"/>
                    </a:cubicBezTo>
                    <a:cubicBezTo>
                      <a:pt x="1513554" y="676635"/>
                      <a:pt x="1513554" y="678183"/>
                      <a:pt x="1514070" y="679215"/>
                    </a:cubicBezTo>
                    <a:cubicBezTo>
                      <a:pt x="1518713" y="714301"/>
                      <a:pt x="1519745" y="706046"/>
                      <a:pt x="1490335" y="717397"/>
                    </a:cubicBezTo>
                    <a:cubicBezTo>
                      <a:pt x="1454732" y="730813"/>
                      <a:pt x="1418614" y="741648"/>
                      <a:pt x="1379916" y="738036"/>
                    </a:cubicBezTo>
                    <a:cubicBezTo>
                      <a:pt x="1371144" y="737004"/>
                      <a:pt x="1368048" y="740616"/>
                      <a:pt x="1367532" y="749904"/>
                    </a:cubicBezTo>
                    <a:cubicBezTo>
                      <a:pt x="1367016" y="774155"/>
                      <a:pt x="1365984" y="797890"/>
                      <a:pt x="1363920" y="822141"/>
                    </a:cubicBezTo>
                    <a:cubicBezTo>
                      <a:pt x="1363404" y="831944"/>
                      <a:pt x="1363920" y="838136"/>
                      <a:pt x="1375788" y="838136"/>
                    </a:cubicBezTo>
                    <a:cubicBezTo>
                      <a:pt x="1420678" y="838136"/>
                      <a:pt x="1459376" y="858775"/>
                      <a:pt x="1498590" y="876834"/>
                    </a:cubicBezTo>
                    <a:cubicBezTo>
                      <a:pt x="1505298" y="879930"/>
                      <a:pt x="1507878" y="883542"/>
                      <a:pt x="1506330" y="891798"/>
                    </a:cubicBezTo>
                    <a:cubicBezTo>
                      <a:pt x="1493947" y="958875"/>
                      <a:pt x="1472791" y="1023372"/>
                      <a:pt x="1444413" y="1085289"/>
                    </a:cubicBezTo>
                    <a:cubicBezTo>
                      <a:pt x="1441317" y="1092513"/>
                      <a:pt x="1437189" y="1094577"/>
                      <a:pt x="1429449" y="1093029"/>
                    </a:cubicBezTo>
                    <a:cubicBezTo>
                      <a:pt x="1386623" y="1085289"/>
                      <a:pt x="1343797" y="1078581"/>
                      <a:pt x="1306647" y="1052783"/>
                    </a:cubicBezTo>
                    <a:cubicBezTo>
                      <a:pt x="1297875" y="1046591"/>
                      <a:pt x="1293231" y="1048655"/>
                      <a:pt x="1287556" y="1057942"/>
                    </a:cubicBezTo>
                    <a:cubicBezTo>
                      <a:pt x="1275688" y="1078581"/>
                      <a:pt x="1262273" y="1098705"/>
                      <a:pt x="1248857" y="1118828"/>
                    </a:cubicBezTo>
                    <a:cubicBezTo>
                      <a:pt x="1244214" y="1125535"/>
                      <a:pt x="1242150" y="1130179"/>
                      <a:pt x="1250405" y="1135339"/>
                    </a:cubicBezTo>
                    <a:cubicBezTo>
                      <a:pt x="1289620" y="1158558"/>
                      <a:pt x="1313871" y="1194676"/>
                      <a:pt x="1339153" y="1230795"/>
                    </a:cubicBezTo>
                    <a:cubicBezTo>
                      <a:pt x="1344313" y="1238018"/>
                      <a:pt x="1343797" y="1242662"/>
                      <a:pt x="1337605" y="1249370"/>
                    </a:cubicBezTo>
                    <a:cubicBezTo>
                      <a:pt x="1293747" y="1300968"/>
                      <a:pt x="1244214" y="1345342"/>
                      <a:pt x="1189004" y="1384040"/>
                    </a:cubicBezTo>
                    <a:cubicBezTo>
                      <a:pt x="1182296" y="1388684"/>
                      <a:pt x="1177652" y="1389716"/>
                      <a:pt x="1170945" y="1383524"/>
                    </a:cubicBezTo>
                    <a:cubicBezTo>
                      <a:pt x="1153918" y="1368045"/>
                      <a:pt x="1135858" y="1353597"/>
                      <a:pt x="1118831" y="1337602"/>
                    </a:cubicBezTo>
                    <a:cubicBezTo>
                      <a:pt x="1104384" y="1324187"/>
                      <a:pt x="1096644" y="1306128"/>
                      <a:pt x="1086840" y="1289616"/>
                    </a:cubicBezTo>
                    <a:cubicBezTo>
                      <a:pt x="1080133" y="1278265"/>
                      <a:pt x="1074973" y="1277749"/>
                      <a:pt x="1064137" y="1284456"/>
                    </a:cubicBezTo>
                    <a:cubicBezTo>
                      <a:pt x="1044530" y="1296324"/>
                      <a:pt x="1023375" y="1306643"/>
                      <a:pt x="1002220" y="1316447"/>
                    </a:cubicBezTo>
                    <a:cubicBezTo>
                      <a:pt x="993449" y="1320575"/>
                      <a:pt x="991385" y="1324703"/>
                      <a:pt x="996028" y="1332958"/>
                    </a:cubicBezTo>
                    <a:cubicBezTo>
                      <a:pt x="1015120" y="1368561"/>
                      <a:pt x="1021827" y="1407259"/>
                      <a:pt x="1022859" y="1446989"/>
                    </a:cubicBezTo>
                    <a:cubicBezTo>
                      <a:pt x="1022859" y="1451117"/>
                      <a:pt x="1023891" y="1455245"/>
                      <a:pt x="1024407" y="1459889"/>
                    </a:cubicBezTo>
                    <a:cubicBezTo>
                      <a:pt x="1025439" y="1466596"/>
                      <a:pt x="1022859" y="1470724"/>
                      <a:pt x="1015636" y="1473304"/>
                    </a:cubicBezTo>
                    <a:cubicBezTo>
                      <a:pt x="970745" y="1493943"/>
                      <a:pt x="870646" y="1516130"/>
                      <a:pt x="817500" y="1518710"/>
                    </a:cubicBezTo>
                    <a:close/>
                    <a:moveTo>
                      <a:pt x="758163" y="1148238"/>
                    </a:moveTo>
                    <a:cubicBezTo>
                      <a:pt x="974357" y="1144627"/>
                      <a:pt x="1145146" y="976418"/>
                      <a:pt x="1145146" y="758675"/>
                    </a:cubicBezTo>
                    <a:cubicBezTo>
                      <a:pt x="1145146" y="542481"/>
                      <a:pt x="974357" y="371176"/>
                      <a:pt x="757131" y="371176"/>
                    </a:cubicBezTo>
                    <a:cubicBezTo>
                      <a:pt x="539904" y="371176"/>
                      <a:pt x="368600" y="542481"/>
                      <a:pt x="368600" y="759707"/>
                    </a:cubicBezTo>
                    <a:cubicBezTo>
                      <a:pt x="369116" y="977966"/>
                      <a:pt x="541452" y="1145659"/>
                      <a:pt x="758163" y="1148238"/>
                    </a:cubicBezTo>
                    <a:close/>
                  </a:path>
                </a:pathLst>
              </a:custGeom>
              <a:grpFill/>
              <a:ln w="5155"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1CF69320-9037-483C-B337-9C3798F9516C}"/>
                  </a:ext>
                </a:extLst>
              </p:cNvPr>
              <p:cNvGrpSpPr/>
              <p:nvPr/>
            </p:nvGrpSpPr>
            <p:grpSpPr>
              <a:xfrm>
                <a:off x="3563163" y="3556278"/>
                <a:ext cx="1218879" cy="1218879"/>
                <a:chOff x="3264582" y="1870309"/>
                <a:chExt cx="1774962" cy="1774962"/>
              </a:xfrm>
              <a:grpFill/>
            </p:grpSpPr>
            <p:sp>
              <p:nvSpPr>
                <p:cNvPr id="24" name="Freeform: Shape 23">
                  <a:extLst>
                    <a:ext uri="{FF2B5EF4-FFF2-40B4-BE49-F238E27FC236}">
                      <a16:creationId xmlns:a16="http://schemas.microsoft.com/office/drawing/2014/main" id="{E8FAEED8-8E0A-4D16-BC31-1DD02EB1FE84}"/>
                    </a:ext>
                  </a:extLst>
                </p:cNvPr>
                <p:cNvSpPr/>
                <p:nvPr/>
              </p:nvSpPr>
              <p:spPr>
                <a:xfrm>
                  <a:off x="3264582" y="1870309"/>
                  <a:ext cx="1774962" cy="1774962"/>
                </a:xfrm>
                <a:custGeom>
                  <a:avLst/>
                  <a:gdLst>
                    <a:gd name="connsiteX0" fmla="*/ 894776 w 1774962"/>
                    <a:gd name="connsiteY0" fmla="*/ 1775736 h 1774962"/>
                    <a:gd name="connsiteX1" fmla="*/ 852466 w 1774962"/>
                    <a:gd name="connsiteY1" fmla="*/ 1775736 h 1774962"/>
                    <a:gd name="connsiteX2" fmla="*/ 839567 w 1774962"/>
                    <a:gd name="connsiteY2" fmla="*/ 1764901 h 1774962"/>
                    <a:gd name="connsiteX3" fmla="*/ 819960 w 1774962"/>
                    <a:gd name="connsiteY3" fmla="*/ 1666349 h 1774962"/>
                    <a:gd name="connsiteX4" fmla="*/ 822024 w 1774962"/>
                    <a:gd name="connsiteY4" fmla="*/ 1636938 h 1774962"/>
                    <a:gd name="connsiteX5" fmla="*/ 811704 w 1774962"/>
                    <a:gd name="connsiteY5" fmla="*/ 1623523 h 1774962"/>
                    <a:gd name="connsiteX6" fmla="*/ 695093 w 1774962"/>
                    <a:gd name="connsiteY6" fmla="*/ 1601852 h 1774962"/>
                    <a:gd name="connsiteX7" fmla="*/ 680130 w 1774962"/>
                    <a:gd name="connsiteY7" fmla="*/ 1610623 h 1774962"/>
                    <a:gd name="connsiteX8" fmla="*/ 615116 w 1774962"/>
                    <a:gd name="connsiteY8" fmla="*/ 1727234 h 1774962"/>
                    <a:gd name="connsiteX9" fmla="*/ 603765 w 1774962"/>
                    <a:gd name="connsiteY9" fmla="*/ 1730330 h 1774962"/>
                    <a:gd name="connsiteX10" fmla="*/ 512953 w 1774962"/>
                    <a:gd name="connsiteY10" fmla="*/ 1694212 h 1774962"/>
                    <a:gd name="connsiteX11" fmla="*/ 507277 w 1774962"/>
                    <a:gd name="connsiteY11" fmla="*/ 1681828 h 1774962"/>
                    <a:gd name="connsiteX12" fmla="*/ 527400 w 1774962"/>
                    <a:gd name="connsiteY12" fmla="*/ 1583277 h 1774962"/>
                    <a:gd name="connsiteX13" fmla="*/ 541848 w 1774962"/>
                    <a:gd name="connsiteY13" fmla="*/ 1552834 h 1774962"/>
                    <a:gd name="connsiteX14" fmla="*/ 537720 w 1774962"/>
                    <a:gd name="connsiteY14" fmla="*/ 1539418 h 1774962"/>
                    <a:gd name="connsiteX15" fmla="*/ 435041 w 1774962"/>
                    <a:gd name="connsiteY15" fmla="*/ 1472857 h 1774962"/>
                    <a:gd name="connsiteX16" fmla="*/ 420593 w 1774962"/>
                    <a:gd name="connsiteY16" fmla="*/ 1474921 h 1774962"/>
                    <a:gd name="connsiteX17" fmla="*/ 315334 w 1774962"/>
                    <a:gd name="connsiteY17" fmla="*/ 1559026 h 1774962"/>
                    <a:gd name="connsiteX18" fmla="*/ 302950 w 1774962"/>
                    <a:gd name="connsiteY18" fmla="*/ 1557478 h 1774962"/>
                    <a:gd name="connsiteX19" fmla="*/ 233809 w 1774962"/>
                    <a:gd name="connsiteY19" fmla="*/ 1490401 h 1774962"/>
                    <a:gd name="connsiteX20" fmla="*/ 232777 w 1774962"/>
                    <a:gd name="connsiteY20" fmla="*/ 1476985 h 1774962"/>
                    <a:gd name="connsiteX21" fmla="*/ 289019 w 1774962"/>
                    <a:gd name="connsiteY21" fmla="*/ 1393397 h 1774962"/>
                    <a:gd name="connsiteX22" fmla="*/ 312754 w 1774962"/>
                    <a:gd name="connsiteY22" fmla="*/ 1371726 h 1774962"/>
                    <a:gd name="connsiteX23" fmla="*/ 314818 w 1774962"/>
                    <a:gd name="connsiteY23" fmla="*/ 1355731 h 1774962"/>
                    <a:gd name="connsiteX24" fmla="*/ 246193 w 1774962"/>
                    <a:gd name="connsiteY24" fmla="*/ 1255631 h 1774962"/>
                    <a:gd name="connsiteX25" fmla="*/ 230713 w 1774962"/>
                    <a:gd name="connsiteY25" fmla="*/ 1253051 h 1774962"/>
                    <a:gd name="connsiteX26" fmla="*/ 102751 w 1774962"/>
                    <a:gd name="connsiteY26" fmla="*/ 1289685 h 1774962"/>
                    <a:gd name="connsiteX27" fmla="*/ 91916 w 1774962"/>
                    <a:gd name="connsiteY27" fmla="*/ 1282978 h 1774962"/>
                    <a:gd name="connsiteX28" fmla="*/ 53733 w 1774962"/>
                    <a:gd name="connsiteY28" fmla="*/ 1194230 h 1774962"/>
                    <a:gd name="connsiteX29" fmla="*/ 58377 w 1774962"/>
                    <a:gd name="connsiteY29" fmla="*/ 1181330 h 1774962"/>
                    <a:gd name="connsiteX30" fmla="*/ 142481 w 1774962"/>
                    <a:gd name="connsiteY30" fmla="*/ 1125605 h 1774962"/>
                    <a:gd name="connsiteX31" fmla="*/ 173956 w 1774962"/>
                    <a:gd name="connsiteY31" fmla="*/ 1114253 h 1774962"/>
                    <a:gd name="connsiteX32" fmla="*/ 180664 w 1774962"/>
                    <a:gd name="connsiteY32" fmla="*/ 1101870 h 1774962"/>
                    <a:gd name="connsiteX33" fmla="*/ 154865 w 1774962"/>
                    <a:gd name="connsiteY33" fmla="*/ 981131 h 1774962"/>
                    <a:gd name="connsiteX34" fmla="*/ 144029 w 1774962"/>
                    <a:gd name="connsiteY34" fmla="*/ 973391 h 1774962"/>
                    <a:gd name="connsiteX35" fmla="*/ 10391 w 1774962"/>
                    <a:gd name="connsiteY35" fmla="*/ 958428 h 1774962"/>
                    <a:gd name="connsiteX36" fmla="*/ 2135 w 1774962"/>
                    <a:gd name="connsiteY36" fmla="*/ 948624 h 1774962"/>
                    <a:gd name="connsiteX37" fmla="*/ 588 w 1774962"/>
                    <a:gd name="connsiteY37" fmla="*/ 850589 h 1774962"/>
                    <a:gd name="connsiteX38" fmla="*/ 10391 w 1774962"/>
                    <a:gd name="connsiteY38" fmla="*/ 840785 h 1774962"/>
                    <a:gd name="connsiteX39" fmla="*/ 110491 w 1774962"/>
                    <a:gd name="connsiteY39" fmla="*/ 820662 h 1774962"/>
                    <a:gd name="connsiteX40" fmla="*/ 139901 w 1774962"/>
                    <a:gd name="connsiteY40" fmla="*/ 822726 h 1774962"/>
                    <a:gd name="connsiteX41" fmla="*/ 153317 w 1774962"/>
                    <a:gd name="connsiteY41" fmla="*/ 811890 h 1774962"/>
                    <a:gd name="connsiteX42" fmla="*/ 174472 w 1774962"/>
                    <a:gd name="connsiteY42" fmla="*/ 696827 h 1774962"/>
                    <a:gd name="connsiteX43" fmla="*/ 164152 w 1774962"/>
                    <a:gd name="connsiteY43" fmla="*/ 680316 h 1774962"/>
                    <a:gd name="connsiteX44" fmla="*/ 49090 w 1774962"/>
                    <a:gd name="connsiteY44" fmla="*/ 615819 h 1774962"/>
                    <a:gd name="connsiteX45" fmla="*/ 45993 w 1774962"/>
                    <a:gd name="connsiteY45" fmla="*/ 606015 h 1774962"/>
                    <a:gd name="connsiteX46" fmla="*/ 82628 w 1774962"/>
                    <a:gd name="connsiteY46" fmla="*/ 513655 h 1774962"/>
                    <a:gd name="connsiteX47" fmla="*/ 93979 w 1774962"/>
                    <a:gd name="connsiteY47" fmla="*/ 508496 h 1774962"/>
                    <a:gd name="connsiteX48" fmla="*/ 224006 w 1774962"/>
                    <a:gd name="connsiteY48" fmla="*/ 543066 h 1774962"/>
                    <a:gd name="connsiteX49" fmla="*/ 236905 w 1774962"/>
                    <a:gd name="connsiteY49" fmla="*/ 538938 h 1774962"/>
                    <a:gd name="connsiteX50" fmla="*/ 302434 w 1774962"/>
                    <a:gd name="connsiteY50" fmla="*/ 437291 h 1774962"/>
                    <a:gd name="connsiteX51" fmla="*/ 302950 w 1774962"/>
                    <a:gd name="connsiteY51" fmla="*/ 423359 h 1774962"/>
                    <a:gd name="connsiteX52" fmla="*/ 238453 w 1774962"/>
                    <a:gd name="connsiteY52" fmla="*/ 346995 h 1774962"/>
                    <a:gd name="connsiteX53" fmla="*/ 228650 w 1774962"/>
                    <a:gd name="connsiteY53" fmla="*/ 333063 h 1774962"/>
                    <a:gd name="connsiteX54" fmla="*/ 230713 w 1774962"/>
                    <a:gd name="connsiteY54" fmla="*/ 290237 h 1774962"/>
                    <a:gd name="connsiteX55" fmla="*/ 283859 w 1774962"/>
                    <a:gd name="connsiteY55" fmla="*/ 236060 h 1774962"/>
                    <a:gd name="connsiteX56" fmla="*/ 300370 w 1774962"/>
                    <a:gd name="connsiteY56" fmla="*/ 234512 h 1774962"/>
                    <a:gd name="connsiteX57" fmla="*/ 380863 w 1774962"/>
                    <a:gd name="connsiteY57" fmla="*/ 288173 h 1774962"/>
                    <a:gd name="connsiteX58" fmla="*/ 403050 w 1774962"/>
                    <a:gd name="connsiteY58" fmla="*/ 311392 h 1774962"/>
                    <a:gd name="connsiteX59" fmla="*/ 422141 w 1774962"/>
                    <a:gd name="connsiteY59" fmla="*/ 313972 h 1774962"/>
                    <a:gd name="connsiteX60" fmla="*/ 519661 w 1774962"/>
                    <a:gd name="connsiteY60" fmla="*/ 246895 h 1774962"/>
                    <a:gd name="connsiteX61" fmla="*/ 524820 w 1774962"/>
                    <a:gd name="connsiteY61" fmla="*/ 233996 h 1774962"/>
                    <a:gd name="connsiteX62" fmla="*/ 492314 w 1774962"/>
                    <a:gd name="connsiteY62" fmla="*/ 127704 h 1774962"/>
                    <a:gd name="connsiteX63" fmla="*/ 514501 w 1774962"/>
                    <a:gd name="connsiteY63" fmla="*/ 82298 h 1774962"/>
                    <a:gd name="connsiteX64" fmla="*/ 578482 w 1774962"/>
                    <a:gd name="connsiteY64" fmla="*/ 55468 h 1774962"/>
                    <a:gd name="connsiteX65" fmla="*/ 595509 w 1774962"/>
                    <a:gd name="connsiteY65" fmla="*/ 60111 h 1774962"/>
                    <a:gd name="connsiteX66" fmla="*/ 648655 w 1774962"/>
                    <a:gd name="connsiteY66" fmla="*/ 139572 h 1774962"/>
                    <a:gd name="connsiteX67" fmla="*/ 661039 w 1774962"/>
                    <a:gd name="connsiteY67" fmla="*/ 172078 h 1774962"/>
                    <a:gd name="connsiteX68" fmla="*/ 675486 w 1774962"/>
                    <a:gd name="connsiteY68" fmla="*/ 180334 h 1774962"/>
                    <a:gd name="connsiteX69" fmla="*/ 792613 w 1774962"/>
                    <a:gd name="connsiteY69" fmla="*/ 155567 h 1774962"/>
                    <a:gd name="connsiteX70" fmla="*/ 801900 w 1774962"/>
                    <a:gd name="connsiteY70" fmla="*/ 143700 h 1774962"/>
                    <a:gd name="connsiteX71" fmla="*/ 816864 w 1774962"/>
                    <a:gd name="connsiteY71" fmla="*/ 11094 h 1774962"/>
                    <a:gd name="connsiteX72" fmla="*/ 826151 w 1774962"/>
                    <a:gd name="connsiteY72" fmla="*/ 2322 h 1774962"/>
                    <a:gd name="connsiteX73" fmla="*/ 925219 w 1774962"/>
                    <a:gd name="connsiteY73" fmla="*/ 774 h 1774962"/>
                    <a:gd name="connsiteX74" fmla="*/ 934507 w 1774962"/>
                    <a:gd name="connsiteY74" fmla="*/ 10062 h 1774962"/>
                    <a:gd name="connsiteX75" fmla="*/ 954114 w 1774962"/>
                    <a:gd name="connsiteY75" fmla="*/ 111193 h 1774962"/>
                    <a:gd name="connsiteX76" fmla="*/ 952050 w 1774962"/>
                    <a:gd name="connsiteY76" fmla="*/ 140604 h 1774962"/>
                    <a:gd name="connsiteX77" fmla="*/ 962369 w 1774962"/>
                    <a:gd name="connsiteY77" fmla="*/ 152987 h 1774962"/>
                    <a:gd name="connsiteX78" fmla="*/ 1078980 w 1774962"/>
                    <a:gd name="connsiteY78" fmla="*/ 174658 h 1774962"/>
                    <a:gd name="connsiteX79" fmla="*/ 1093428 w 1774962"/>
                    <a:gd name="connsiteY79" fmla="*/ 168467 h 1774962"/>
                    <a:gd name="connsiteX80" fmla="*/ 1147089 w 1774962"/>
                    <a:gd name="connsiteY80" fmla="*/ 69399 h 1774962"/>
                    <a:gd name="connsiteX81" fmla="*/ 1192495 w 1774962"/>
                    <a:gd name="connsiteY81" fmla="*/ 54436 h 1774962"/>
                    <a:gd name="connsiteX82" fmla="*/ 1258024 w 1774962"/>
                    <a:gd name="connsiteY82" fmla="*/ 81266 h 1774962"/>
                    <a:gd name="connsiteX83" fmla="*/ 1267312 w 1774962"/>
                    <a:gd name="connsiteY83" fmla="*/ 96746 h 1774962"/>
                    <a:gd name="connsiteX84" fmla="*/ 1247705 w 1774962"/>
                    <a:gd name="connsiteY84" fmla="*/ 192718 h 1774962"/>
                    <a:gd name="connsiteX85" fmla="*/ 1233258 w 1774962"/>
                    <a:gd name="connsiteY85" fmla="*/ 224192 h 1774962"/>
                    <a:gd name="connsiteX86" fmla="*/ 1237385 w 1774962"/>
                    <a:gd name="connsiteY86" fmla="*/ 237608 h 1774962"/>
                    <a:gd name="connsiteX87" fmla="*/ 1340065 w 1774962"/>
                    <a:gd name="connsiteY87" fmla="*/ 304169 h 1774962"/>
                    <a:gd name="connsiteX88" fmla="*/ 1354512 w 1774962"/>
                    <a:gd name="connsiteY88" fmla="*/ 302621 h 1774962"/>
                    <a:gd name="connsiteX89" fmla="*/ 1459771 w 1774962"/>
                    <a:gd name="connsiteY89" fmla="*/ 218516 h 1774962"/>
                    <a:gd name="connsiteX90" fmla="*/ 1472155 w 1774962"/>
                    <a:gd name="connsiteY90" fmla="*/ 220064 h 1774962"/>
                    <a:gd name="connsiteX91" fmla="*/ 1541296 w 1774962"/>
                    <a:gd name="connsiteY91" fmla="*/ 287657 h 1774962"/>
                    <a:gd name="connsiteX92" fmla="*/ 1542328 w 1774962"/>
                    <a:gd name="connsiteY92" fmla="*/ 301073 h 1774962"/>
                    <a:gd name="connsiteX93" fmla="*/ 1485570 w 1774962"/>
                    <a:gd name="connsiteY93" fmla="*/ 385693 h 1774962"/>
                    <a:gd name="connsiteX94" fmla="*/ 1462868 w 1774962"/>
                    <a:gd name="connsiteY94" fmla="*/ 406332 h 1774962"/>
                    <a:gd name="connsiteX95" fmla="*/ 1460803 w 1774962"/>
                    <a:gd name="connsiteY95" fmla="*/ 422327 h 1774962"/>
                    <a:gd name="connsiteX96" fmla="*/ 1529428 w 1774962"/>
                    <a:gd name="connsiteY96" fmla="*/ 522427 h 1774962"/>
                    <a:gd name="connsiteX97" fmla="*/ 1544908 w 1774962"/>
                    <a:gd name="connsiteY97" fmla="*/ 525007 h 1774962"/>
                    <a:gd name="connsiteX98" fmla="*/ 1672870 w 1774962"/>
                    <a:gd name="connsiteY98" fmla="*/ 488373 h 1774962"/>
                    <a:gd name="connsiteX99" fmla="*/ 1683706 w 1774962"/>
                    <a:gd name="connsiteY99" fmla="*/ 495080 h 1774962"/>
                    <a:gd name="connsiteX100" fmla="*/ 1721888 w 1774962"/>
                    <a:gd name="connsiteY100" fmla="*/ 583828 h 1774962"/>
                    <a:gd name="connsiteX101" fmla="*/ 1717244 w 1774962"/>
                    <a:gd name="connsiteY101" fmla="*/ 596728 h 1774962"/>
                    <a:gd name="connsiteX102" fmla="*/ 1633140 w 1774962"/>
                    <a:gd name="connsiteY102" fmla="*/ 652453 h 1774962"/>
                    <a:gd name="connsiteX103" fmla="*/ 1601665 w 1774962"/>
                    <a:gd name="connsiteY103" fmla="*/ 663805 h 1774962"/>
                    <a:gd name="connsiteX104" fmla="*/ 1594958 w 1774962"/>
                    <a:gd name="connsiteY104" fmla="*/ 676188 h 1774962"/>
                    <a:gd name="connsiteX105" fmla="*/ 1620241 w 1774962"/>
                    <a:gd name="connsiteY105" fmla="*/ 795895 h 1774962"/>
                    <a:gd name="connsiteX106" fmla="*/ 1631076 w 1774962"/>
                    <a:gd name="connsiteY106" fmla="*/ 804667 h 1774962"/>
                    <a:gd name="connsiteX107" fmla="*/ 1763682 w 1774962"/>
                    <a:gd name="connsiteY107" fmla="*/ 819630 h 1774962"/>
                    <a:gd name="connsiteX108" fmla="*/ 1773486 w 1774962"/>
                    <a:gd name="connsiteY108" fmla="*/ 829950 h 1774962"/>
                    <a:gd name="connsiteX109" fmla="*/ 1775034 w 1774962"/>
                    <a:gd name="connsiteY109" fmla="*/ 927985 h 1774962"/>
                    <a:gd name="connsiteX110" fmla="*/ 1766262 w 1774962"/>
                    <a:gd name="connsiteY110" fmla="*/ 937273 h 1774962"/>
                    <a:gd name="connsiteX111" fmla="*/ 1663583 w 1774962"/>
                    <a:gd name="connsiteY111" fmla="*/ 957396 h 1774962"/>
                    <a:gd name="connsiteX112" fmla="*/ 1636752 w 1774962"/>
                    <a:gd name="connsiteY112" fmla="*/ 955332 h 1774962"/>
                    <a:gd name="connsiteX113" fmla="*/ 1622304 w 1774962"/>
                    <a:gd name="connsiteY113" fmla="*/ 966684 h 1774962"/>
                    <a:gd name="connsiteX114" fmla="*/ 1601149 w 1774962"/>
                    <a:gd name="connsiteY114" fmla="*/ 1081746 h 1774962"/>
                    <a:gd name="connsiteX115" fmla="*/ 1610437 w 1774962"/>
                    <a:gd name="connsiteY115" fmla="*/ 1097742 h 1774962"/>
                    <a:gd name="connsiteX116" fmla="*/ 1726016 w 1774962"/>
                    <a:gd name="connsiteY116" fmla="*/ 1161723 h 1774962"/>
                    <a:gd name="connsiteX117" fmla="*/ 1729112 w 1774962"/>
                    <a:gd name="connsiteY117" fmla="*/ 1174107 h 1774962"/>
                    <a:gd name="connsiteX118" fmla="*/ 1693509 w 1774962"/>
                    <a:gd name="connsiteY118" fmla="*/ 1263887 h 1774962"/>
                    <a:gd name="connsiteX119" fmla="*/ 1681126 w 1774962"/>
                    <a:gd name="connsiteY119" fmla="*/ 1270078 h 1774962"/>
                    <a:gd name="connsiteX120" fmla="*/ 1581542 w 1774962"/>
                    <a:gd name="connsiteY120" fmla="*/ 1249955 h 1774962"/>
                    <a:gd name="connsiteX121" fmla="*/ 1552647 w 1774962"/>
                    <a:gd name="connsiteY121" fmla="*/ 1236024 h 1774962"/>
                    <a:gd name="connsiteX122" fmla="*/ 1538200 w 1774962"/>
                    <a:gd name="connsiteY122" fmla="*/ 1240152 h 1774962"/>
                    <a:gd name="connsiteX123" fmla="*/ 1473187 w 1774962"/>
                    <a:gd name="connsiteY123" fmla="*/ 1340767 h 1774962"/>
                    <a:gd name="connsiteX124" fmla="*/ 1475251 w 1774962"/>
                    <a:gd name="connsiteY124" fmla="*/ 1358310 h 1774962"/>
                    <a:gd name="connsiteX125" fmla="*/ 1535104 w 1774962"/>
                    <a:gd name="connsiteY125" fmla="*/ 1430031 h 1774962"/>
                    <a:gd name="connsiteX126" fmla="*/ 1545424 w 1774962"/>
                    <a:gd name="connsiteY126" fmla="*/ 1444995 h 1774962"/>
                    <a:gd name="connsiteX127" fmla="*/ 1542844 w 1774962"/>
                    <a:gd name="connsiteY127" fmla="*/ 1489885 h 1774962"/>
                    <a:gd name="connsiteX128" fmla="*/ 1491246 w 1774962"/>
                    <a:gd name="connsiteY128" fmla="*/ 1542514 h 1774962"/>
                    <a:gd name="connsiteX129" fmla="*/ 1472155 w 1774962"/>
                    <a:gd name="connsiteY129" fmla="*/ 1544062 h 1774962"/>
                    <a:gd name="connsiteX130" fmla="*/ 1393726 w 1774962"/>
                    <a:gd name="connsiteY130" fmla="*/ 1491948 h 1774962"/>
                    <a:gd name="connsiteX131" fmla="*/ 1369992 w 1774962"/>
                    <a:gd name="connsiteY131" fmla="*/ 1466666 h 1774962"/>
                    <a:gd name="connsiteX132" fmla="*/ 1352964 w 1774962"/>
                    <a:gd name="connsiteY132" fmla="*/ 1464602 h 1774962"/>
                    <a:gd name="connsiteX133" fmla="*/ 1254413 w 1774962"/>
                    <a:gd name="connsiteY133" fmla="*/ 1532711 h 1774962"/>
                    <a:gd name="connsiteX134" fmla="*/ 1248737 w 1774962"/>
                    <a:gd name="connsiteY134" fmla="*/ 1544578 h 1774962"/>
                    <a:gd name="connsiteX135" fmla="*/ 1284339 w 1774962"/>
                    <a:gd name="connsiteY135" fmla="*/ 1662221 h 1774962"/>
                    <a:gd name="connsiteX136" fmla="*/ 1268860 w 1774962"/>
                    <a:gd name="connsiteY136" fmla="*/ 1693180 h 1774962"/>
                    <a:gd name="connsiteX137" fmla="*/ 1195591 w 1774962"/>
                    <a:gd name="connsiteY137" fmla="*/ 1724654 h 1774962"/>
                    <a:gd name="connsiteX138" fmla="*/ 1178564 w 1774962"/>
                    <a:gd name="connsiteY138" fmla="*/ 1719495 h 1774962"/>
                    <a:gd name="connsiteX139" fmla="*/ 1125418 w 1774962"/>
                    <a:gd name="connsiteY139" fmla="*/ 1640034 h 1774962"/>
                    <a:gd name="connsiteX140" fmla="*/ 1113035 w 1774962"/>
                    <a:gd name="connsiteY140" fmla="*/ 1606496 h 1774962"/>
                    <a:gd name="connsiteX141" fmla="*/ 1099619 w 1774962"/>
                    <a:gd name="connsiteY141" fmla="*/ 1599272 h 1774962"/>
                    <a:gd name="connsiteX142" fmla="*/ 979913 w 1774962"/>
                    <a:gd name="connsiteY142" fmla="*/ 1624555 h 1774962"/>
                    <a:gd name="connsiteX143" fmla="*/ 972173 w 1774962"/>
                    <a:gd name="connsiteY143" fmla="*/ 1634874 h 1774962"/>
                    <a:gd name="connsiteX144" fmla="*/ 957726 w 1774962"/>
                    <a:gd name="connsiteY144" fmla="*/ 1767481 h 1774962"/>
                    <a:gd name="connsiteX145" fmla="*/ 945858 w 1774962"/>
                    <a:gd name="connsiteY145" fmla="*/ 1777800 h 1774962"/>
                    <a:gd name="connsiteX146" fmla="*/ 895808 w 1774962"/>
                    <a:gd name="connsiteY146" fmla="*/ 1779864 h 1774962"/>
                    <a:gd name="connsiteX147" fmla="*/ 894776 w 1774962"/>
                    <a:gd name="connsiteY147" fmla="*/ 1775736 h 1774962"/>
                    <a:gd name="connsiteX148" fmla="*/ 890648 w 1774962"/>
                    <a:gd name="connsiteY148" fmla="*/ 1454798 h 1774962"/>
                    <a:gd name="connsiteX149" fmla="*/ 1452548 w 1774962"/>
                    <a:gd name="connsiteY149" fmla="*/ 884127 h 1774962"/>
                    <a:gd name="connsiteX150" fmla="*/ 881361 w 1774962"/>
                    <a:gd name="connsiteY150" fmla="*/ 322228 h 1774962"/>
                    <a:gd name="connsiteX151" fmla="*/ 320494 w 1774962"/>
                    <a:gd name="connsiteY151" fmla="*/ 893415 h 1774962"/>
                    <a:gd name="connsiteX152" fmla="*/ 890648 w 1774962"/>
                    <a:gd name="connsiteY152" fmla="*/ 1454798 h 1774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774962" h="1774962">
                      <a:moveTo>
                        <a:pt x="894776" y="1775736"/>
                      </a:moveTo>
                      <a:cubicBezTo>
                        <a:pt x="880845" y="1775736"/>
                        <a:pt x="866397" y="1775736"/>
                        <a:pt x="852466" y="1775736"/>
                      </a:cubicBezTo>
                      <a:cubicBezTo>
                        <a:pt x="844726" y="1775736"/>
                        <a:pt x="840599" y="1772640"/>
                        <a:pt x="839567" y="1764901"/>
                      </a:cubicBezTo>
                      <a:cubicBezTo>
                        <a:pt x="833375" y="1731878"/>
                        <a:pt x="826151" y="1699371"/>
                        <a:pt x="819960" y="1666349"/>
                      </a:cubicBezTo>
                      <a:cubicBezTo>
                        <a:pt x="817896" y="1656545"/>
                        <a:pt x="820992" y="1646742"/>
                        <a:pt x="822024" y="1636938"/>
                      </a:cubicBezTo>
                      <a:cubicBezTo>
                        <a:pt x="823056" y="1628682"/>
                        <a:pt x="820992" y="1624555"/>
                        <a:pt x="811704" y="1623523"/>
                      </a:cubicBezTo>
                      <a:cubicBezTo>
                        <a:pt x="772490" y="1619395"/>
                        <a:pt x="733275" y="1612171"/>
                        <a:pt x="695093" y="1601852"/>
                      </a:cubicBezTo>
                      <a:cubicBezTo>
                        <a:pt x="686837" y="1599788"/>
                        <a:pt x="682194" y="1602368"/>
                        <a:pt x="680130" y="1610623"/>
                      </a:cubicBezTo>
                      <a:cubicBezTo>
                        <a:pt x="669294" y="1655513"/>
                        <a:pt x="636788" y="1688020"/>
                        <a:pt x="615116" y="1727234"/>
                      </a:cubicBezTo>
                      <a:cubicBezTo>
                        <a:pt x="612537" y="1731878"/>
                        <a:pt x="608409" y="1731878"/>
                        <a:pt x="603765" y="1730330"/>
                      </a:cubicBezTo>
                      <a:cubicBezTo>
                        <a:pt x="572807" y="1720011"/>
                        <a:pt x="542364" y="1707627"/>
                        <a:pt x="512953" y="1694212"/>
                      </a:cubicBezTo>
                      <a:cubicBezTo>
                        <a:pt x="506761" y="1691632"/>
                        <a:pt x="506245" y="1686988"/>
                        <a:pt x="507277" y="1681828"/>
                      </a:cubicBezTo>
                      <a:cubicBezTo>
                        <a:pt x="513985" y="1648806"/>
                        <a:pt x="519661" y="1615783"/>
                        <a:pt x="527400" y="1583277"/>
                      </a:cubicBezTo>
                      <a:cubicBezTo>
                        <a:pt x="529980" y="1572441"/>
                        <a:pt x="536172" y="1562637"/>
                        <a:pt x="541848" y="1552834"/>
                      </a:cubicBezTo>
                      <a:cubicBezTo>
                        <a:pt x="545460" y="1546642"/>
                        <a:pt x="544428" y="1543030"/>
                        <a:pt x="537720" y="1539418"/>
                      </a:cubicBezTo>
                      <a:cubicBezTo>
                        <a:pt x="501601" y="1520327"/>
                        <a:pt x="467547" y="1497624"/>
                        <a:pt x="435041" y="1472857"/>
                      </a:cubicBezTo>
                      <a:cubicBezTo>
                        <a:pt x="429365" y="1468214"/>
                        <a:pt x="425237" y="1468214"/>
                        <a:pt x="420593" y="1474921"/>
                      </a:cubicBezTo>
                      <a:cubicBezTo>
                        <a:pt x="393762" y="1512588"/>
                        <a:pt x="350936" y="1531163"/>
                        <a:pt x="315334" y="1559026"/>
                      </a:cubicBezTo>
                      <a:cubicBezTo>
                        <a:pt x="310690" y="1562637"/>
                        <a:pt x="307078" y="1561090"/>
                        <a:pt x="302950" y="1557478"/>
                      </a:cubicBezTo>
                      <a:cubicBezTo>
                        <a:pt x="278699" y="1536323"/>
                        <a:pt x="255996" y="1513104"/>
                        <a:pt x="233809" y="1490401"/>
                      </a:cubicBezTo>
                      <a:cubicBezTo>
                        <a:pt x="229682" y="1485757"/>
                        <a:pt x="229165" y="1482145"/>
                        <a:pt x="232777" y="1476985"/>
                      </a:cubicBezTo>
                      <a:cubicBezTo>
                        <a:pt x="251352" y="1449122"/>
                        <a:pt x="269928" y="1421260"/>
                        <a:pt x="289019" y="1393397"/>
                      </a:cubicBezTo>
                      <a:cubicBezTo>
                        <a:pt x="295210" y="1384625"/>
                        <a:pt x="304498" y="1378949"/>
                        <a:pt x="312754" y="1371726"/>
                      </a:cubicBezTo>
                      <a:cubicBezTo>
                        <a:pt x="318946" y="1366566"/>
                        <a:pt x="319978" y="1361922"/>
                        <a:pt x="314818" y="1355731"/>
                      </a:cubicBezTo>
                      <a:cubicBezTo>
                        <a:pt x="289535" y="1324256"/>
                        <a:pt x="266316" y="1291233"/>
                        <a:pt x="246193" y="1255631"/>
                      </a:cubicBezTo>
                      <a:cubicBezTo>
                        <a:pt x="241549" y="1247375"/>
                        <a:pt x="236905" y="1248923"/>
                        <a:pt x="230713" y="1253051"/>
                      </a:cubicBezTo>
                      <a:cubicBezTo>
                        <a:pt x="191499" y="1277302"/>
                        <a:pt x="145577" y="1277818"/>
                        <a:pt x="102751" y="1289685"/>
                      </a:cubicBezTo>
                      <a:cubicBezTo>
                        <a:pt x="97075" y="1291233"/>
                        <a:pt x="93979" y="1288137"/>
                        <a:pt x="91916" y="1282978"/>
                      </a:cubicBezTo>
                      <a:cubicBezTo>
                        <a:pt x="77984" y="1254083"/>
                        <a:pt x="65085" y="1224156"/>
                        <a:pt x="53733" y="1194230"/>
                      </a:cubicBezTo>
                      <a:cubicBezTo>
                        <a:pt x="51669" y="1188038"/>
                        <a:pt x="53217" y="1184426"/>
                        <a:pt x="58377" y="1181330"/>
                      </a:cubicBezTo>
                      <a:cubicBezTo>
                        <a:pt x="86240" y="1162755"/>
                        <a:pt x="113587" y="1143664"/>
                        <a:pt x="142481" y="1125605"/>
                      </a:cubicBezTo>
                      <a:cubicBezTo>
                        <a:pt x="151769" y="1119929"/>
                        <a:pt x="163120" y="1117349"/>
                        <a:pt x="173956" y="1114253"/>
                      </a:cubicBezTo>
                      <a:cubicBezTo>
                        <a:pt x="180664" y="1112189"/>
                        <a:pt x="182727" y="1109093"/>
                        <a:pt x="180664" y="1101870"/>
                      </a:cubicBezTo>
                      <a:cubicBezTo>
                        <a:pt x="168796" y="1062139"/>
                        <a:pt x="160541" y="1021893"/>
                        <a:pt x="154865" y="981131"/>
                      </a:cubicBezTo>
                      <a:cubicBezTo>
                        <a:pt x="153833" y="974423"/>
                        <a:pt x="150737" y="972359"/>
                        <a:pt x="144029" y="973391"/>
                      </a:cubicBezTo>
                      <a:cubicBezTo>
                        <a:pt x="98107" y="981131"/>
                        <a:pt x="54765" y="963588"/>
                        <a:pt x="10391" y="958428"/>
                      </a:cubicBezTo>
                      <a:cubicBezTo>
                        <a:pt x="4715" y="957912"/>
                        <a:pt x="2652" y="954300"/>
                        <a:pt x="2135" y="948624"/>
                      </a:cubicBezTo>
                      <a:cubicBezTo>
                        <a:pt x="-960" y="916118"/>
                        <a:pt x="72" y="883611"/>
                        <a:pt x="588" y="850589"/>
                      </a:cubicBezTo>
                      <a:cubicBezTo>
                        <a:pt x="588" y="844397"/>
                        <a:pt x="4715" y="841817"/>
                        <a:pt x="10391" y="840785"/>
                      </a:cubicBezTo>
                      <a:cubicBezTo>
                        <a:pt x="43930" y="834077"/>
                        <a:pt x="76952" y="827370"/>
                        <a:pt x="110491" y="820662"/>
                      </a:cubicBezTo>
                      <a:cubicBezTo>
                        <a:pt x="120294" y="818598"/>
                        <a:pt x="130098" y="821694"/>
                        <a:pt x="139901" y="822726"/>
                      </a:cubicBezTo>
                      <a:cubicBezTo>
                        <a:pt x="148157" y="823758"/>
                        <a:pt x="152285" y="820662"/>
                        <a:pt x="153317" y="811890"/>
                      </a:cubicBezTo>
                      <a:cubicBezTo>
                        <a:pt x="157445" y="773192"/>
                        <a:pt x="164668" y="734494"/>
                        <a:pt x="174472" y="696827"/>
                      </a:cubicBezTo>
                      <a:cubicBezTo>
                        <a:pt x="177052" y="687024"/>
                        <a:pt x="173440" y="682380"/>
                        <a:pt x="164152" y="680316"/>
                      </a:cubicBezTo>
                      <a:cubicBezTo>
                        <a:pt x="120294" y="668965"/>
                        <a:pt x="87272" y="636974"/>
                        <a:pt x="49090" y="615819"/>
                      </a:cubicBezTo>
                      <a:cubicBezTo>
                        <a:pt x="44961" y="613755"/>
                        <a:pt x="44961" y="610143"/>
                        <a:pt x="45993" y="606015"/>
                      </a:cubicBezTo>
                      <a:cubicBezTo>
                        <a:pt x="56313" y="574541"/>
                        <a:pt x="69212" y="544098"/>
                        <a:pt x="82628" y="513655"/>
                      </a:cubicBezTo>
                      <a:cubicBezTo>
                        <a:pt x="85208" y="507980"/>
                        <a:pt x="89336" y="506948"/>
                        <a:pt x="93979" y="508496"/>
                      </a:cubicBezTo>
                      <a:cubicBezTo>
                        <a:pt x="137322" y="519847"/>
                        <a:pt x="183760" y="518815"/>
                        <a:pt x="224006" y="543066"/>
                      </a:cubicBezTo>
                      <a:cubicBezTo>
                        <a:pt x="230713" y="547194"/>
                        <a:pt x="233809" y="544614"/>
                        <a:pt x="236905" y="538938"/>
                      </a:cubicBezTo>
                      <a:cubicBezTo>
                        <a:pt x="255996" y="503336"/>
                        <a:pt x="278183" y="469281"/>
                        <a:pt x="302434" y="437291"/>
                      </a:cubicBezTo>
                      <a:cubicBezTo>
                        <a:pt x="305530" y="433163"/>
                        <a:pt x="310690" y="428519"/>
                        <a:pt x="302950" y="423359"/>
                      </a:cubicBezTo>
                      <a:cubicBezTo>
                        <a:pt x="273540" y="404268"/>
                        <a:pt x="258576" y="373826"/>
                        <a:pt x="238453" y="346995"/>
                      </a:cubicBezTo>
                      <a:cubicBezTo>
                        <a:pt x="234841" y="342351"/>
                        <a:pt x="232262" y="337707"/>
                        <a:pt x="228650" y="333063"/>
                      </a:cubicBezTo>
                      <a:cubicBezTo>
                        <a:pt x="212654" y="310360"/>
                        <a:pt x="212138" y="309844"/>
                        <a:pt x="230713" y="290237"/>
                      </a:cubicBezTo>
                      <a:cubicBezTo>
                        <a:pt x="248257" y="271662"/>
                        <a:pt x="266316" y="254119"/>
                        <a:pt x="283859" y="236060"/>
                      </a:cubicBezTo>
                      <a:cubicBezTo>
                        <a:pt x="289535" y="230384"/>
                        <a:pt x="294179" y="229868"/>
                        <a:pt x="300370" y="234512"/>
                      </a:cubicBezTo>
                      <a:cubicBezTo>
                        <a:pt x="327201" y="252571"/>
                        <a:pt x="354032" y="270114"/>
                        <a:pt x="380863" y="288173"/>
                      </a:cubicBezTo>
                      <a:cubicBezTo>
                        <a:pt x="390150" y="294365"/>
                        <a:pt x="396342" y="303137"/>
                        <a:pt x="403050" y="311392"/>
                      </a:cubicBezTo>
                      <a:cubicBezTo>
                        <a:pt x="408726" y="319132"/>
                        <a:pt x="413885" y="320680"/>
                        <a:pt x="422141" y="313972"/>
                      </a:cubicBezTo>
                      <a:cubicBezTo>
                        <a:pt x="452584" y="288689"/>
                        <a:pt x="485606" y="266502"/>
                        <a:pt x="519661" y="246895"/>
                      </a:cubicBezTo>
                      <a:cubicBezTo>
                        <a:pt x="524820" y="243799"/>
                        <a:pt x="529464" y="240703"/>
                        <a:pt x="524820" y="233996"/>
                      </a:cubicBezTo>
                      <a:cubicBezTo>
                        <a:pt x="502633" y="202005"/>
                        <a:pt x="501086" y="163823"/>
                        <a:pt x="492314" y="127704"/>
                      </a:cubicBezTo>
                      <a:cubicBezTo>
                        <a:pt x="484574" y="96230"/>
                        <a:pt x="485606" y="96746"/>
                        <a:pt x="514501" y="82298"/>
                      </a:cubicBezTo>
                      <a:cubicBezTo>
                        <a:pt x="535140" y="71979"/>
                        <a:pt x="557327" y="64239"/>
                        <a:pt x="578482" y="55468"/>
                      </a:cubicBezTo>
                      <a:cubicBezTo>
                        <a:pt x="586222" y="52372"/>
                        <a:pt x="590866" y="52888"/>
                        <a:pt x="595509" y="60111"/>
                      </a:cubicBezTo>
                      <a:cubicBezTo>
                        <a:pt x="613053" y="86942"/>
                        <a:pt x="630596" y="113257"/>
                        <a:pt x="648655" y="139572"/>
                      </a:cubicBezTo>
                      <a:cubicBezTo>
                        <a:pt x="655363" y="149375"/>
                        <a:pt x="657427" y="160727"/>
                        <a:pt x="661039" y="172078"/>
                      </a:cubicBezTo>
                      <a:cubicBezTo>
                        <a:pt x="663618" y="180334"/>
                        <a:pt x="667230" y="182914"/>
                        <a:pt x="675486" y="180334"/>
                      </a:cubicBezTo>
                      <a:cubicBezTo>
                        <a:pt x="713668" y="168983"/>
                        <a:pt x="752882" y="160727"/>
                        <a:pt x="792613" y="155567"/>
                      </a:cubicBezTo>
                      <a:cubicBezTo>
                        <a:pt x="800352" y="154535"/>
                        <a:pt x="802932" y="151439"/>
                        <a:pt x="801900" y="143700"/>
                      </a:cubicBezTo>
                      <a:cubicBezTo>
                        <a:pt x="795193" y="98294"/>
                        <a:pt x="811704" y="55468"/>
                        <a:pt x="816864" y="11094"/>
                      </a:cubicBezTo>
                      <a:cubicBezTo>
                        <a:pt x="817380" y="5934"/>
                        <a:pt x="820476" y="2838"/>
                        <a:pt x="826151" y="2322"/>
                      </a:cubicBezTo>
                      <a:cubicBezTo>
                        <a:pt x="859174" y="-1290"/>
                        <a:pt x="892196" y="258"/>
                        <a:pt x="925219" y="774"/>
                      </a:cubicBezTo>
                      <a:cubicBezTo>
                        <a:pt x="930895" y="774"/>
                        <a:pt x="933475" y="4902"/>
                        <a:pt x="934507" y="10062"/>
                      </a:cubicBezTo>
                      <a:cubicBezTo>
                        <a:pt x="941214" y="43600"/>
                        <a:pt x="948438" y="77139"/>
                        <a:pt x="954114" y="111193"/>
                      </a:cubicBezTo>
                      <a:cubicBezTo>
                        <a:pt x="955662" y="120481"/>
                        <a:pt x="953082" y="130800"/>
                        <a:pt x="952050" y="140604"/>
                      </a:cubicBezTo>
                      <a:cubicBezTo>
                        <a:pt x="951018" y="148343"/>
                        <a:pt x="954114" y="151955"/>
                        <a:pt x="962369" y="152987"/>
                      </a:cubicBezTo>
                      <a:cubicBezTo>
                        <a:pt x="1001584" y="157115"/>
                        <a:pt x="1040798" y="164339"/>
                        <a:pt x="1078980" y="174658"/>
                      </a:cubicBezTo>
                      <a:cubicBezTo>
                        <a:pt x="1085172" y="176206"/>
                        <a:pt x="1091364" y="176722"/>
                        <a:pt x="1093428" y="168467"/>
                      </a:cubicBezTo>
                      <a:cubicBezTo>
                        <a:pt x="1101683" y="130284"/>
                        <a:pt x="1127482" y="101390"/>
                        <a:pt x="1147089" y="69399"/>
                      </a:cubicBezTo>
                      <a:cubicBezTo>
                        <a:pt x="1162569" y="43084"/>
                        <a:pt x="1163601" y="43600"/>
                        <a:pt x="1192495" y="54436"/>
                      </a:cubicBezTo>
                      <a:cubicBezTo>
                        <a:pt x="1214682" y="62691"/>
                        <a:pt x="1236353" y="71979"/>
                        <a:pt x="1258024" y="81266"/>
                      </a:cubicBezTo>
                      <a:cubicBezTo>
                        <a:pt x="1265764" y="84362"/>
                        <a:pt x="1268860" y="88490"/>
                        <a:pt x="1267312" y="96746"/>
                      </a:cubicBezTo>
                      <a:cubicBezTo>
                        <a:pt x="1260604" y="128736"/>
                        <a:pt x="1254928" y="160727"/>
                        <a:pt x="1247705" y="192718"/>
                      </a:cubicBezTo>
                      <a:cubicBezTo>
                        <a:pt x="1245125" y="203553"/>
                        <a:pt x="1238417" y="213873"/>
                        <a:pt x="1233258" y="224192"/>
                      </a:cubicBezTo>
                      <a:cubicBezTo>
                        <a:pt x="1229646" y="230384"/>
                        <a:pt x="1230678" y="233996"/>
                        <a:pt x="1237385" y="237608"/>
                      </a:cubicBezTo>
                      <a:cubicBezTo>
                        <a:pt x="1273504" y="256699"/>
                        <a:pt x="1307558" y="279402"/>
                        <a:pt x="1340065" y="304169"/>
                      </a:cubicBezTo>
                      <a:cubicBezTo>
                        <a:pt x="1345741" y="308812"/>
                        <a:pt x="1349868" y="309328"/>
                        <a:pt x="1354512" y="302621"/>
                      </a:cubicBezTo>
                      <a:cubicBezTo>
                        <a:pt x="1381343" y="264954"/>
                        <a:pt x="1424169" y="246379"/>
                        <a:pt x="1459771" y="218516"/>
                      </a:cubicBezTo>
                      <a:cubicBezTo>
                        <a:pt x="1464415" y="214905"/>
                        <a:pt x="1468027" y="216452"/>
                        <a:pt x="1472155" y="220064"/>
                      </a:cubicBezTo>
                      <a:cubicBezTo>
                        <a:pt x="1496406" y="241219"/>
                        <a:pt x="1519109" y="264438"/>
                        <a:pt x="1541296" y="287657"/>
                      </a:cubicBezTo>
                      <a:cubicBezTo>
                        <a:pt x="1545424" y="292301"/>
                        <a:pt x="1545940" y="296429"/>
                        <a:pt x="1542328" y="301073"/>
                      </a:cubicBezTo>
                      <a:cubicBezTo>
                        <a:pt x="1523237" y="329452"/>
                        <a:pt x="1505177" y="357830"/>
                        <a:pt x="1485570" y="385693"/>
                      </a:cubicBezTo>
                      <a:cubicBezTo>
                        <a:pt x="1479895" y="393949"/>
                        <a:pt x="1470607" y="400140"/>
                        <a:pt x="1462868" y="406332"/>
                      </a:cubicBezTo>
                      <a:cubicBezTo>
                        <a:pt x="1456676" y="411492"/>
                        <a:pt x="1455644" y="416136"/>
                        <a:pt x="1460803" y="422327"/>
                      </a:cubicBezTo>
                      <a:cubicBezTo>
                        <a:pt x="1486086" y="453802"/>
                        <a:pt x="1509305" y="487341"/>
                        <a:pt x="1529428" y="522427"/>
                      </a:cubicBezTo>
                      <a:cubicBezTo>
                        <a:pt x="1534072" y="530167"/>
                        <a:pt x="1538716" y="529135"/>
                        <a:pt x="1544908" y="525007"/>
                      </a:cubicBezTo>
                      <a:cubicBezTo>
                        <a:pt x="1584122" y="500756"/>
                        <a:pt x="1630044" y="500240"/>
                        <a:pt x="1672870" y="488373"/>
                      </a:cubicBezTo>
                      <a:cubicBezTo>
                        <a:pt x="1678546" y="486825"/>
                        <a:pt x="1681642" y="489921"/>
                        <a:pt x="1683706" y="495080"/>
                      </a:cubicBezTo>
                      <a:cubicBezTo>
                        <a:pt x="1697637" y="523975"/>
                        <a:pt x="1710537" y="553902"/>
                        <a:pt x="1721888" y="583828"/>
                      </a:cubicBezTo>
                      <a:cubicBezTo>
                        <a:pt x="1723952" y="590020"/>
                        <a:pt x="1722404" y="593632"/>
                        <a:pt x="1717244" y="596728"/>
                      </a:cubicBezTo>
                      <a:cubicBezTo>
                        <a:pt x="1689381" y="615303"/>
                        <a:pt x="1662035" y="634394"/>
                        <a:pt x="1633140" y="652453"/>
                      </a:cubicBezTo>
                      <a:cubicBezTo>
                        <a:pt x="1623852" y="658129"/>
                        <a:pt x="1612501" y="660709"/>
                        <a:pt x="1601665" y="663805"/>
                      </a:cubicBezTo>
                      <a:cubicBezTo>
                        <a:pt x="1594958" y="665869"/>
                        <a:pt x="1592894" y="668965"/>
                        <a:pt x="1594958" y="676188"/>
                      </a:cubicBezTo>
                      <a:cubicBezTo>
                        <a:pt x="1606309" y="715403"/>
                        <a:pt x="1615081" y="755133"/>
                        <a:pt x="1620241" y="795895"/>
                      </a:cubicBezTo>
                      <a:cubicBezTo>
                        <a:pt x="1621272" y="803119"/>
                        <a:pt x="1624368" y="805699"/>
                        <a:pt x="1631076" y="804667"/>
                      </a:cubicBezTo>
                      <a:cubicBezTo>
                        <a:pt x="1676482" y="797959"/>
                        <a:pt x="1719308" y="814470"/>
                        <a:pt x="1763682" y="819630"/>
                      </a:cubicBezTo>
                      <a:cubicBezTo>
                        <a:pt x="1769874" y="820146"/>
                        <a:pt x="1772454" y="823758"/>
                        <a:pt x="1773486" y="829950"/>
                      </a:cubicBezTo>
                      <a:cubicBezTo>
                        <a:pt x="1776582" y="862456"/>
                        <a:pt x="1775034" y="895479"/>
                        <a:pt x="1775034" y="927985"/>
                      </a:cubicBezTo>
                      <a:cubicBezTo>
                        <a:pt x="1775034" y="933661"/>
                        <a:pt x="1771422" y="936241"/>
                        <a:pt x="1766262" y="937273"/>
                      </a:cubicBezTo>
                      <a:cubicBezTo>
                        <a:pt x="1732207" y="943981"/>
                        <a:pt x="1698153" y="951204"/>
                        <a:pt x="1663583" y="957396"/>
                      </a:cubicBezTo>
                      <a:cubicBezTo>
                        <a:pt x="1654811" y="958944"/>
                        <a:pt x="1645523" y="956364"/>
                        <a:pt x="1636752" y="955332"/>
                      </a:cubicBezTo>
                      <a:cubicBezTo>
                        <a:pt x="1627980" y="954300"/>
                        <a:pt x="1623336" y="956364"/>
                        <a:pt x="1622304" y="966684"/>
                      </a:cubicBezTo>
                      <a:cubicBezTo>
                        <a:pt x="1618177" y="1005382"/>
                        <a:pt x="1610953" y="1044080"/>
                        <a:pt x="1601149" y="1081746"/>
                      </a:cubicBezTo>
                      <a:cubicBezTo>
                        <a:pt x="1598569" y="1091034"/>
                        <a:pt x="1601665" y="1095678"/>
                        <a:pt x="1610437" y="1097742"/>
                      </a:cubicBezTo>
                      <a:cubicBezTo>
                        <a:pt x="1654811" y="1108577"/>
                        <a:pt x="1687318" y="1140568"/>
                        <a:pt x="1726016" y="1161723"/>
                      </a:cubicBezTo>
                      <a:cubicBezTo>
                        <a:pt x="1731176" y="1164819"/>
                        <a:pt x="1731176" y="1168947"/>
                        <a:pt x="1729112" y="1174107"/>
                      </a:cubicBezTo>
                      <a:cubicBezTo>
                        <a:pt x="1718792" y="1204549"/>
                        <a:pt x="1706409" y="1234476"/>
                        <a:pt x="1693509" y="1263887"/>
                      </a:cubicBezTo>
                      <a:cubicBezTo>
                        <a:pt x="1690929" y="1269562"/>
                        <a:pt x="1687318" y="1271626"/>
                        <a:pt x="1681126" y="1270078"/>
                      </a:cubicBezTo>
                      <a:cubicBezTo>
                        <a:pt x="1648103" y="1263371"/>
                        <a:pt x="1614565" y="1257179"/>
                        <a:pt x="1581542" y="1249955"/>
                      </a:cubicBezTo>
                      <a:cubicBezTo>
                        <a:pt x="1571223" y="1247375"/>
                        <a:pt x="1561935" y="1241184"/>
                        <a:pt x="1552647" y="1236024"/>
                      </a:cubicBezTo>
                      <a:cubicBezTo>
                        <a:pt x="1545940" y="1232412"/>
                        <a:pt x="1542328" y="1232928"/>
                        <a:pt x="1538200" y="1240152"/>
                      </a:cubicBezTo>
                      <a:cubicBezTo>
                        <a:pt x="1519109" y="1275238"/>
                        <a:pt x="1497954" y="1309293"/>
                        <a:pt x="1473187" y="1340767"/>
                      </a:cubicBezTo>
                      <a:cubicBezTo>
                        <a:pt x="1467511" y="1347991"/>
                        <a:pt x="1466479" y="1352635"/>
                        <a:pt x="1475251" y="1358310"/>
                      </a:cubicBezTo>
                      <a:cubicBezTo>
                        <a:pt x="1502598" y="1375854"/>
                        <a:pt x="1516013" y="1405264"/>
                        <a:pt x="1535104" y="1430031"/>
                      </a:cubicBezTo>
                      <a:cubicBezTo>
                        <a:pt x="1538716" y="1434675"/>
                        <a:pt x="1541812" y="1439835"/>
                        <a:pt x="1545424" y="1444995"/>
                      </a:cubicBezTo>
                      <a:cubicBezTo>
                        <a:pt x="1566063" y="1474921"/>
                        <a:pt x="1565031" y="1464602"/>
                        <a:pt x="1542844" y="1489885"/>
                      </a:cubicBezTo>
                      <a:cubicBezTo>
                        <a:pt x="1526849" y="1508460"/>
                        <a:pt x="1508273" y="1524971"/>
                        <a:pt x="1491246" y="1542514"/>
                      </a:cubicBezTo>
                      <a:cubicBezTo>
                        <a:pt x="1485054" y="1549222"/>
                        <a:pt x="1479895" y="1549222"/>
                        <a:pt x="1472155" y="1544062"/>
                      </a:cubicBezTo>
                      <a:cubicBezTo>
                        <a:pt x="1446356" y="1526519"/>
                        <a:pt x="1420041" y="1508976"/>
                        <a:pt x="1393726" y="1491948"/>
                      </a:cubicBezTo>
                      <a:cubicBezTo>
                        <a:pt x="1383923" y="1485241"/>
                        <a:pt x="1377215" y="1475437"/>
                        <a:pt x="1369992" y="1466666"/>
                      </a:cubicBezTo>
                      <a:cubicBezTo>
                        <a:pt x="1364316" y="1459958"/>
                        <a:pt x="1359672" y="1458926"/>
                        <a:pt x="1352964" y="1464602"/>
                      </a:cubicBezTo>
                      <a:cubicBezTo>
                        <a:pt x="1322005" y="1489885"/>
                        <a:pt x="1288983" y="1512588"/>
                        <a:pt x="1254413" y="1532711"/>
                      </a:cubicBezTo>
                      <a:cubicBezTo>
                        <a:pt x="1249769" y="1535291"/>
                        <a:pt x="1244609" y="1537871"/>
                        <a:pt x="1248737" y="1544578"/>
                      </a:cubicBezTo>
                      <a:cubicBezTo>
                        <a:pt x="1272472" y="1580181"/>
                        <a:pt x="1274020" y="1622491"/>
                        <a:pt x="1284339" y="1662221"/>
                      </a:cubicBezTo>
                      <a:cubicBezTo>
                        <a:pt x="1290531" y="1685440"/>
                        <a:pt x="1292079" y="1682344"/>
                        <a:pt x="1268860" y="1693180"/>
                      </a:cubicBezTo>
                      <a:cubicBezTo>
                        <a:pt x="1244609" y="1704531"/>
                        <a:pt x="1219842" y="1714335"/>
                        <a:pt x="1195591" y="1724654"/>
                      </a:cubicBezTo>
                      <a:cubicBezTo>
                        <a:pt x="1187851" y="1727750"/>
                        <a:pt x="1183208" y="1726718"/>
                        <a:pt x="1178564" y="1719495"/>
                      </a:cubicBezTo>
                      <a:cubicBezTo>
                        <a:pt x="1161021" y="1692664"/>
                        <a:pt x="1142962" y="1666865"/>
                        <a:pt x="1125418" y="1640034"/>
                      </a:cubicBezTo>
                      <a:cubicBezTo>
                        <a:pt x="1118711" y="1629715"/>
                        <a:pt x="1116131" y="1617847"/>
                        <a:pt x="1113035" y="1606496"/>
                      </a:cubicBezTo>
                      <a:cubicBezTo>
                        <a:pt x="1110971" y="1599272"/>
                        <a:pt x="1107359" y="1597208"/>
                        <a:pt x="1099619" y="1599272"/>
                      </a:cubicBezTo>
                      <a:cubicBezTo>
                        <a:pt x="1060405" y="1611139"/>
                        <a:pt x="1020675" y="1619395"/>
                        <a:pt x="979913" y="1624555"/>
                      </a:cubicBezTo>
                      <a:cubicBezTo>
                        <a:pt x="973205" y="1625587"/>
                        <a:pt x="971141" y="1628682"/>
                        <a:pt x="972173" y="1634874"/>
                      </a:cubicBezTo>
                      <a:cubicBezTo>
                        <a:pt x="979397" y="1680280"/>
                        <a:pt x="962885" y="1723106"/>
                        <a:pt x="957726" y="1767481"/>
                      </a:cubicBezTo>
                      <a:cubicBezTo>
                        <a:pt x="956694" y="1775220"/>
                        <a:pt x="952566" y="1777800"/>
                        <a:pt x="945858" y="1777800"/>
                      </a:cubicBezTo>
                      <a:cubicBezTo>
                        <a:pt x="929347" y="1778316"/>
                        <a:pt x="912320" y="1779348"/>
                        <a:pt x="895808" y="1779864"/>
                      </a:cubicBezTo>
                      <a:cubicBezTo>
                        <a:pt x="894776" y="1776252"/>
                        <a:pt x="894776" y="1776252"/>
                        <a:pt x="894776" y="1775736"/>
                      </a:cubicBezTo>
                      <a:close/>
                      <a:moveTo>
                        <a:pt x="890648" y="1454798"/>
                      </a:moveTo>
                      <a:cubicBezTo>
                        <a:pt x="1199203" y="1449638"/>
                        <a:pt x="1454096" y="1207645"/>
                        <a:pt x="1452548" y="884127"/>
                      </a:cubicBezTo>
                      <a:cubicBezTo>
                        <a:pt x="1451516" y="575057"/>
                        <a:pt x="1205395" y="320164"/>
                        <a:pt x="881361" y="322228"/>
                      </a:cubicBezTo>
                      <a:cubicBezTo>
                        <a:pt x="571775" y="324292"/>
                        <a:pt x="318429" y="570929"/>
                        <a:pt x="320494" y="893415"/>
                      </a:cubicBezTo>
                      <a:cubicBezTo>
                        <a:pt x="323073" y="1202485"/>
                        <a:pt x="569195" y="1452218"/>
                        <a:pt x="890648" y="1454798"/>
                      </a:cubicBezTo>
                      <a:close/>
                    </a:path>
                  </a:pathLst>
                </a:custGeom>
                <a:grpFill/>
                <a:ln w="515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ABEF1D94-1333-4CA0-B29B-49A00AFB5E03}"/>
                    </a:ext>
                  </a:extLst>
                </p:cNvPr>
                <p:cNvSpPr/>
                <p:nvPr/>
              </p:nvSpPr>
              <p:spPr>
                <a:xfrm>
                  <a:off x="3733675" y="2339591"/>
                  <a:ext cx="835883" cy="835883"/>
                </a:xfrm>
                <a:custGeom>
                  <a:avLst/>
                  <a:gdLst>
                    <a:gd name="connsiteX0" fmla="*/ 836916 w 835883"/>
                    <a:gd name="connsiteY0" fmla="*/ 418458 h 835883"/>
                    <a:gd name="connsiteX1" fmla="*/ 418459 w 835883"/>
                    <a:gd name="connsiteY1" fmla="*/ 836399 h 835883"/>
                    <a:gd name="connsiteX2" fmla="*/ 1 w 835883"/>
                    <a:gd name="connsiteY2" fmla="*/ 417426 h 835883"/>
                    <a:gd name="connsiteX3" fmla="*/ 418975 w 835883"/>
                    <a:gd name="connsiteY3" fmla="*/ 0 h 835883"/>
                    <a:gd name="connsiteX4" fmla="*/ 836916 w 835883"/>
                    <a:gd name="connsiteY4" fmla="*/ 418458 h 835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883" h="835883">
                      <a:moveTo>
                        <a:pt x="836916" y="418458"/>
                      </a:moveTo>
                      <a:cubicBezTo>
                        <a:pt x="833821" y="651679"/>
                        <a:pt x="651165" y="836915"/>
                        <a:pt x="418459" y="836399"/>
                      </a:cubicBezTo>
                      <a:cubicBezTo>
                        <a:pt x="182657" y="836399"/>
                        <a:pt x="-515" y="649615"/>
                        <a:pt x="1" y="417426"/>
                      </a:cubicBezTo>
                      <a:cubicBezTo>
                        <a:pt x="517" y="181624"/>
                        <a:pt x="187301" y="0"/>
                        <a:pt x="418975" y="0"/>
                      </a:cubicBezTo>
                      <a:cubicBezTo>
                        <a:pt x="651680" y="516"/>
                        <a:pt x="833821" y="186268"/>
                        <a:pt x="836916" y="418458"/>
                      </a:cubicBezTo>
                      <a:close/>
                    </a:path>
                  </a:pathLst>
                </a:custGeom>
                <a:grpFill/>
                <a:ln w="5155"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A6943520-8E50-4DAD-A59E-7A5A1DEE2133}"/>
                </a:ext>
              </a:extLst>
            </p:cNvPr>
            <p:cNvGrpSpPr/>
            <p:nvPr/>
          </p:nvGrpSpPr>
          <p:grpSpPr>
            <a:xfrm>
              <a:off x="218787" y="4076953"/>
              <a:ext cx="2745260" cy="2471860"/>
              <a:chOff x="6486650" y="2648852"/>
              <a:chExt cx="2745260" cy="2471860"/>
            </a:xfrm>
            <a:grpFill/>
          </p:grpSpPr>
          <p:sp>
            <p:nvSpPr>
              <p:cNvPr id="18" name="Freeform: Shape 17">
                <a:extLst>
                  <a:ext uri="{FF2B5EF4-FFF2-40B4-BE49-F238E27FC236}">
                    <a16:creationId xmlns:a16="http://schemas.microsoft.com/office/drawing/2014/main" id="{CA826ACA-0EB1-4F7B-86EA-A2622410F84A}"/>
                  </a:ext>
                </a:extLst>
              </p:cNvPr>
              <p:cNvSpPr/>
              <p:nvPr/>
            </p:nvSpPr>
            <p:spPr>
              <a:xfrm>
                <a:off x="6486650" y="3806165"/>
                <a:ext cx="1318090" cy="1314547"/>
              </a:xfrm>
              <a:custGeom>
                <a:avLst/>
                <a:gdLst>
                  <a:gd name="connsiteX0" fmla="*/ 0 w 1919435"/>
                  <a:gd name="connsiteY0" fmla="*/ 987194 h 1914275"/>
                  <a:gd name="connsiteX1" fmla="*/ 37667 w 1919435"/>
                  <a:gd name="connsiteY1" fmla="*/ 959846 h 1914275"/>
                  <a:gd name="connsiteX2" fmla="*/ 169757 w 1919435"/>
                  <a:gd name="connsiteY2" fmla="*/ 922696 h 1914275"/>
                  <a:gd name="connsiteX3" fmla="*/ 215163 w 1919435"/>
                  <a:gd name="connsiteY3" fmla="*/ 872130 h 1914275"/>
                  <a:gd name="connsiteX4" fmla="*/ 217743 w 1919435"/>
                  <a:gd name="connsiteY4" fmla="*/ 850459 h 1914275"/>
                  <a:gd name="connsiteX5" fmla="*/ 189364 w 1919435"/>
                  <a:gd name="connsiteY5" fmla="*/ 797830 h 1914275"/>
                  <a:gd name="connsiteX6" fmla="*/ 69657 w 1919435"/>
                  <a:gd name="connsiteY6" fmla="*/ 727657 h 1914275"/>
                  <a:gd name="connsiteX7" fmla="*/ 43858 w 1919435"/>
                  <a:gd name="connsiteY7" fmla="*/ 664708 h 1914275"/>
                  <a:gd name="connsiteX8" fmla="*/ 46438 w 1919435"/>
                  <a:gd name="connsiteY8" fmla="*/ 655936 h 1914275"/>
                  <a:gd name="connsiteX9" fmla="*/ 114547 w 1919435"/>
                  <a:gd name="connsiteY9" fmla="*/ 608982 h 1914275"/>
                  <a:gd name="connsiteX10" fmla="*/ 241478 w 1919435"/>
                  <a:gd name="connsiteY10" fmla="*/ 623429 h 1914275"/>
                  <a:gd name="connsiteX11" fmla="*/ 306491 w 1919435"/>
                  <a:gd name="connsiteY11" fmla="*/ 593503 h 1914275"/>
                  <a:gd name="connsiteX12" fmla="*/ 301331 w 1919435"/>
                  <a:gd name="connsiteY12" fmla="*/ 505271 h 1914275"/>
                  <a:gd name="connsiteX13" fmla="*/ 222386 w 1919435"/>
                  <a:gd name="connsiteY13" fmla="*/ 400527 h 1914275"/>
                  <a:gd name="connsiteX14" fmla="*/ 222386 w 1919435"/>
                  <a:gd name="connsiteY14" fmla="*/ 342222 h 1914275"/>
                  <a:gd name="connsiteX15" fmla="*/ 248185 w 1919435"/>
                  <a:gd name="connsiteY15" fmla="*/ 313327 h 1914275"/>
                  <a:gd name="connsiteX16" fmla="*/ 303395 w 1919435"/>
                  <a:gd name="connsiteY16" fmla="*/ 307135 h 1914275"/>
                  <a:gd name="connsiteX17" fmla="*/ 420522 w 1919435"/>
                  <a:gd name="connsiteY17" fmla="*/ 373180 h 1914275"/>
                  <a:gd name="connsiteX18" fmla="*/ 525265 w 1919435"/>
                  <a:gd name="connsiteY18" fmla="*/ 343770 h 1914275"/>
                  <a:gd name="connsiteX19" fmla="*/ 527845 w 1919435"/>
                  <a:gd name="connsiteY19" fmla="*/ 298364 h 1914275"/>
                  <a:gd name="connsiteX20" fmla="*/ 493791 w 1919435"/>
                  <a:gd name="connsiteY20" fmla="*/ 166789 h 1914275"/>
                  <a:gd name="connsiteX21" fmla="*/ 518557 w 1919435"/>
                  <a:gd name="connsiteY21" fmla="*/ 105904 h 1914275"/>
                  <a:gd name="connsiteX22" fmla="*/ 537649 w 1919435"/>
                  <a:gd name="connsiteY22" fmla="*/ 95585 h 1914275"/>
                  <a:gd name="connsiteX23" fmla="*/ 608853 w 1919435"/>
                  <a:gd name="connsiteY23" fmla="*/ 113128 h 1914275"/>
                  <a:gd name="connsiteX24" fmla="*/ 690894 w 1919435"/>
                  <a:gd name="connsiteY24" fmla="*/ 217355 h 1914275"/>
                  <a:gd name="connsiteX25" fmla="*/ 802861 w 1919435"/>
                  <a:gd name="connsiteY25" fmla="*/ 216839 h 1914275"/>
                  <a:gd name="connsiteX26" fmla="*/ 816277 w 1919435"/>
                  <a:gd name="connsiteY26" fmla="*/ 169369 h 1914275"/>
                  <a:gd name="connsiteX27" fmla="*/ 832788 w 1919435"/>
                  <a:gd name="connsiteY27" fmla="*/ 48631 h 1914275"/>
                  <a:gd name="connsiteX28" fmla="*/ 877677 w 1919435"/>
                  <a:gd name="connsiteY28" fmla="*/ 2193 h 1914275"/>
                  <a:gd name="connsiteX29" fmla="*/ 917924 w 1919435"/>
                  <a:gd name="connsiteY29" fmla="*/ 645 h 1914275"/>
                  <a:gd name="connsiteX30" fmla="*/ 956106 w 1919435"/>
                  <a:gd name="connsiteY30" fmla="*/ 31603 h 1914275"/>
                  <a:gd name="connsiteX31" fmla="*/ 993772 w 1919435"/>
                  <a:gd name="connsiteY31" fmla="*/ 163693 h 1914275"/>
                  <a:gd name="connsiteX32" fmla="*/ 1089745 w 1919435"/>
                  <a:gd name="connsiteY32" fmla="*/ 217871 h 1914275"/>
                  <a:gd name="connsiteX33" fmla="*/ 1120703 w 1919435"/>
                  <a:gd name="connsiteY33" fmla="*/ 191040 h 1914275"/>
                  <a:gd name="connsiteX34" fmla="*/ 1192940 w 1919435"/>
                  <a:gd name="connsiteY34" fmla="*/ 68754 h 1914275"/>
                  <a:gd name="connsiteX35" fmla="*/ 1251245 w 1919435"/>
                  <a:gd name="connsiteY35" fmla="*/ 44503 h 1914275"/>
                  <a:gd name="connsiteX36" fmla="*/ 1309035 w 1919435"/>
                  <a:gd name="connsiteY36" fmla="*/ 137895 h 1914275"/>
                  <a:gd name="connsiteX37" fmla="*/ 1294587 w 1919435"/>
                  <a:gd name="connsiteY37" fmla="*/ 255538 h 1914275"/>
                  <a:gd name="connsiteX38" fmla="*/ 1294587 w 1919435"/>
                  <a:gd name="connsiteY38" fmla="*/ 267921 h 1914275"/>
                  <a:gd name="connsiteX39" fmla="*/ 1399331 w 1919435"/>
                  <a:gd name="connsiteY39" fmla="*/ 314359 h 1914275"/>
                  <a:gd name="connsiteX40" fmla="*/ 1514394 w 1919435"/>
                  <a:gd name="connsiteY40" fmla="*/ 228191 h 1914275"/>
                  <a:gd name="connsiteX41" fmla="*/ 1584050 w 1919435"/>
                  <a:gd name="connsiteY41" fmla="*/ 229223 h 1914275"/>
                  <a:gd name="connsiteX42" fmla="*/ 1594886 w 1919435"/>
                  <a:gd name="connsiteY42" fmla="*/ 238510 h 1914275"/>
                  <a:gd name="connsiteX43" fmla="*/ 1606754 w 1919435"/>
                  <a:gd name="connsiteY43" fmla="*/ 317971 h 1914275"/>
                  <a:gd name="connsiteX44" fmla="*/ 1543288 w 1919435"/>
                  <a:gd name="connsiteY44" fmla="*/ 430970 h 1914275"/>
                  <a:gd name="connsiteX45" fmla="*/ 1552060 w 1919435"/>
                  <a:gd name="connsiteY45" fmla="*/ 504239 h 1914275"/>
                  <a:gd name="connsiteX46" fmla="*/ 1619137 w 1919435"/>
                  <a:gd name="connsiteY46" fmla="*/ 531069 h 1914275"/>
                  <a:gd name="connsiteX47" fmla="*/ 1754839 w 1919435"/>
                  <a:gd name="connsiteY47" fmla="*/ 495467 h 1914275"/>
                  <a:gd name="connsiteX48" fmla="*/ 1812629 w 1919435"/>
                  <a:gd name="connsiteY48" fmla="*/ 517654 h 1914275"/>
                  <a:gd name="connsiteX49" fmla="*/ 1830172 w 1919435"/>
                  <a:gd name="connsiteY49" fmla="*/ 552225 h 1914275"/>
                  <a:gd name="connsiteX50" fmla="*/ 1815724 w 1919435"/>
                  <a:gd name="connsiteY50" fmla="*/ 603306 h 1914275"/>
                  <a:gd name="connsiteX51" fmla="*/ 1699630 w 1919435"/>
                  <a:gd name="connsiteY51" fmla="*/ 695666 h 1914275"/>
                  <a:gd name="connsiteX52" fmla="*/ 1678990 w 1919435"/>
                  <a:gd name="connsiteY52" fmla="*/ 751908 h 1914275"/>
                  <a:gd name="connsiteX53" fmla="*/ 1685182 w 1919435"/>
                  <a:gd name="connsiteY53" fmla="*/ 774611 h 1914275"/>
                  <a:gd name="connsiteX54" fmla="*/ 1732652 w 1919435"/>
                  <a:gd name="connsiteY54" fmla="*/ 815373 h 1914275"/>
                  <a:gd name="connsiteX55" fmla="*/ 1872998 w 1919435"/>
                  <a:gd name="connsiteY55" fmla="*/ 834464 h 1914275"/>
                  <a:gd name="connsiteX56" fmla="*/ 1918404 w 1919435"/>
                  <a:gd name="connsiteY56" fmla="*/ 879354 h 1914275"/>
                  <a:gd name="connsiteX57" fmla="*/ 1919952 w 1919435"/>
                  <a:gd name="connsiteY57" fmla="*/ 919600 h 1914275"/>
                  <a:gd name="connsiteX58" fmla="*/ 1886930 w 1919435"/>
                  <a:gd name="connsiteY58" fmla="*/ 958299 h 1914275"/>
                  <a:gd name="connsiteX59" fmla="*/ 1754839 w 1919435"/>
                  <a:gd name="connsiteY59" fmla="*/ 995965 h 1914275"/>
                  <a:gd name="connsiteX60" fmla="*/ 1701178 w 1919435"/>
                  <a:gd name="connsiteY60" fmla="*/ 1085229 h 1914275"/>
                  <a:gd name="connsiteX61" fmla="*/ 1728524 w 1919435"/>
                  <a:gd name="connsiteY61" fmla="*/ 1121348 h 1914275"/>
                  <a:gd name="connsiteX62" fmla="*/ 1849779 w 1919435"/>
                  <a:gd name="connsiteY62" fmla="*/ 1192552 h 1914275"/>
                  <a:gd name="connsiteX63" fmla="*/ 1876094 w 1919435"/>
                  <a:gd name="connsiteY63" fmla="*/ 1253954 h 1914275"/>
                  <a:gd name="connsiteX64" fmla="*/ 1875062 w 1919435"/>
                  <a:gd name="connsiteY64" fmla="*/ 1260145 h 1914275"/>
                  <a:gd name="connsiteX65" fmla="*/ 1802309 w 1919435"/>
                  <a:gd name="connsiteY65" fmla="*/ 1312259 h 1914275"/>
                  <a:gd name="connsiteX66" fmla="*/ 1675379 w 1919435"/>
                  <a:gd name="connsiteY66" fmla="*/ 1296264 h 1914275"/>
                  <a:gd name="connsiteX67" fmla="*/ 1611398 w 1919435"/>
                  <a:gd name="connsiteY67" fmla="*/ 1329286 h 1914275"/>
                  <a:gd name="connsiteX68" fmla="*/ 1610365 w 1919435"/>
                  <a:gd name="connsiteY68" fmla="*/ 1405651 h 1914275"/>
                  <a:gd name="connsiteX69" fmla="*/ 1692406 w 1919435"/>
                  <a:gd name="connsiteY69" fmla="*/ 1514006 h 1914275"/>
                  <a:gd name="connsiteX70" fmla="*/ 1692406 w 1919435"/>
                  <a:gd name="connsiteY70" fmla="*/ 1584695 h 1914275"/>
                  <a:gd name="connsiteX71" fmla="*/ 1689310 w 1919435"/>
                  <a:gd name="connsiteY71" fmla="*/ 1588307 h 1914275"/>
                  <a:gd name="connsiteX72" fmla="*/ 1600562 w 1919435"/>
                  <a:gd name="connsiteY72" fmla="*/ 1605850 h 1914275"/>
                  <a:gd name="connsiteX73" fmla="*/ 1490659 w 1919435"/>
                  <a:gd name="connsiteY73" fmla="*/ 1543933 h 1914275"/>
                  <a:gd name="connsiteX74" fmla="*/ 1415326 w 1919435"/>
                  <a:gd name="connsiteY74" fmla="*/ 1554769 h 1914275"/>
                  <a:gd name="connsiteX75" fmla="*/ 1391075 w 1919435"/>
                  <a:gd name="connsiteY75" fmla="*/ 1622877 h 1914275"/>
                  <a:gd name="connsiteX76" fmla="*/ 1426677 w 1919435"/>
                  <a:gd name="connsiteY76" fmla="*/ 1760128 h 1914275"/>
                  <a:gd name="connsiteX77" fmla="*/ 1406554 w 1919435"/>
                  <a:gd name="connsiteY77" fmla="*/ 1811725 h 1914275"/>
                  <a:gd name="connsiteX78" fmla="*/ 1370436 w 1919435"/>
                  <a:gd name="connsiteY78" fmla="*/ 1830300 h 1914275"/>
                  <a:gd name="connsiteX79" fmla="*/ 1316258 w 1919435"/>
                  <a:gd name="connsiteY79" fmla="*/ 1815337 h 1914275"/>
                  <a:gd name="connsiteX80" fmla="*/ 1231122 w 1919435"/>
                  <a:gd name="connsiteY80" fmla="*/ 1707498 h 1914275"/>
                  <a:gd name="connsiteX81" fmla="*/ 1121219 w 1919435"/>
                  <a:gd name="connsiteY81" fmla="*/ 1698210 h 1914275"/>
                  <a:gd name="connsiteX82" fmla="*/ 1106771 w 1919435"/>
                  <a:gd name="connsiteY82" fmla="*/ 1727105 h 1914275"/>
                  <a:gd name="connsiteX83" fmla="*/ 1087165 w 1919435"/>
                  <a:gd name="connsiteY83" fmla="*/ 1868999 h 1914275"/>
                  <a:gd name="connsiteX84" fmla="*/ 1050014 w 1919435"/>
                  <a:gd name="connsiteY84" fmla="*/ 1919049 h 1914275"/>
                  <a:gd name="connsiteX85" fmla="*/ 987581 w 1919435"/>
                  <a:gd name="connsiteY85" fmla="*/ 1919049 h 1914275"/>
                  <a:gd name="connsiteX86" fmla="*/ 960234 w 1919435"/>
                  <a:gd name="connsiteY86" fmla="*/ 1880866 h 1914275"/>
                  <a:gd name="connsiteX87" fmla="*/ 921535 w 1919435"/>
                  <a:gd name="connsiteY87" fmla="*/ 1744132 h 1914275"/>
                  <a:gd name="connsiteX88" fmla="*/ 875614 w 1919435"/>
                  <a:gd name="connsiteY88" fmla="*/ 1703886 h 1914275"/>
                  <a:gd name="connsiteX89" fmla="*/ 847751 w 1919435"/>
                  <a:gd name="connsiteY89" fmla="*/ 1700790 h 1914275"/>
                  <a:gd name="connsiteX90" fmla="*/ 800281 w 1919435"/>
                  <a:gd name="connsiteY90" fmla="*/ 1727105 h 1914275"/>
                  <a:gd name="connsiteX91" fmla="*/ 788414 w 1919435"/>
                  <a:gd name="connsiteY91" fmla="*/ 1747228 h 1914275"/>
                  <a:gd name="connsiteX92" fmla="*/ 723401 w 1919435"/>
                  <a:gd name="connsiteY92" fmla="*/ 1857131 h 1914275"/>
                  <a:gd name="connsiteX93" fmla="*/ 674383 w 1919435"/>
                  <a:gd name="connsiteY93" fmla="*/ 1877254 h 1914275"/>
                  <a:gd name="connsiteX94" fmla="*/ 634652 w 1919435"/>
                  <a:gd name="connsiteY94" fmla="*/ 1863839 h 1914275"/>
                  <a:gd name="connsiteX95" fmla="*/ 607822 w 1919435"/>
                  <a:gd name="connsiteY95" fmla="*/ 1813789 h 1914275"/>
                  <a:gd name="connsiteX96" fmla="*/ 624848 w 1919435"/>
                  <a:gd name="connsiteY96" fmla="*/ 1672927 h 1914275"/>
                  <a:gd name="connsiteX97" fmla="*/ 586150 w 1919435"/>
                  <a:gd name="connsiteY97" fmla="*/ 1607398 h 1914275"/>
                  <a:gd name="connsiteX98" fmla="*/ 514430 w 1919435"/>
                  <a:gd name="connsiteY98" fmla="*/ 1611010 h 1914275"/>
                  <a:gd name="connsiteX99" fmla="*/ 413814 w 1919435"/>
                  <a:gd name="connsiteY99" fmla="*/ 1687375 h 1914275"/>
                  <a:gd name="connsiteX100" fmla="*/ 324550 w 1919435"/>
                  <a:gd name="connsiteY100" fmla="*/ 1682215 h 1914275"/>
                  <a:gd name="connsiteX101" fmla="*/ 316810 w 1919435"/>
                  <a:gd name="connsiteY101" fmla="*/ 1674475 h 1914275"/>
                  <a:gd name="connsiteX102" fmla="*/ 309071 w 1919435"/>
                  <a:gd name="connsiteY102" fmla="*/ 1612558 h 1914275"/>
                  <a:gd name="connsiteX103" fmla="*/ 376148 w 1919435"/>
                  <a:gd name="connsiteY103" fmla="*/ 1492851 h 1914275"/>
                  <a:gd name="connsiteX104" fmla="*/ 387499 w 1919435"/>
                  <a:gd name="connsiteY104" fmla="*/ 1456217 h 1914275"/>
                  <a:gd name="connsiteX105" fmla="*/ 297203 w 1919435"/>
                  <a:gd name="connsiteY105" fmla="*/ 1391720 h 1914275"/>
                  <a:gd name="connsiteX106" fmla="*/ 158405 w 1919435"/>
                  <a:gd name="connsiteY106" fmla="*/ 1427838 h 1914275"/>
                  <a:gd name="connsiteX107" fmla="*/ 114031 w 1919435"/>
                  <a:gd name="connsiteY107" fmla="*/ 1412875 h 1914275"/>
                  <a:gd name="connsiteX108" fmla="*/ 91844 w 1919435"/>
                  <a:gd name="connsiteY108" fmla="*/ 1373660 h 1914275"/>
                  <a:gd name="connsiteX109" fmla="*/ 106808 w 1919435"/>
                  <a:gd name="connsiteY109" fmla="*/ 1315871 h 1914275"/>
                  <a:gd name="connsiteX110" fmla="*/ 209487 w 1919435"/>
                  <a:gd name="connsiteY110" fmla="*/ 1234347 h 1914275"/>
                  <a:gd name="connsiteX111" fmla="*/ 236834 w 1919435"/>
                  <a:gd name="connsiteY111" fmla="*/ 1151274 h 1914275"/>
                  <a:gd name="connsiteX112" fmla="*/ 181624 w 1919435"/>
                  <a:gd name="connsiteY112" fmla="*/ 1104836 h 1914275"/>
                  <a:gd name="connsiteX113" fmla="*/ 52114 w 1919435"/>
                  <a:gd name="connsiteY113" fmla="*/ 1087293 h 1914275"/>
                  <a:gd name="connsiteX114" fmla="*/ 1032 w 1919435"/>
                  <a:gd name="connsiteY114" fmla="*/ 1051175 h 1914275"/>
                  <a:gd name="connsiteX115" fmla="*/ 0 w 1919435"/>
                  <a:gd name="connsiteY115" fmla="*/ 987194 h 1914275"/>
                  <a:gd name="connsiteX116" fmla="*/ 1198616 w 1919435"/>
                  <a:gd name="connsiteY116" fmla="*/ 960879 h 1914275"/>
                  <a:gd name="connsiteX117" fmla="*/ 958686 w 1919435"/>
                  <a:gd name="connsiteY117" fmla="*/ 720949 h 1914275"/>
                  <a:gd name="connsiteX118" fmla="*/ 720304 w 1919435"/>
                  <a:gd name="connsiteY118" fmla="*/ 959331 h 1914275"/>
                  <a:gd name="connsiteX119" fmla="*/ 957654 w 1919435"/>
                  <a:gd name="connsiteY119" fmla="*/ 1198744 h 1914275"/>
                  <a:gd name="connsiteX120" fmla="*/ 1198616 w 1919435"/>
                  <a:gd name="connsiteY120" fmla="*/ 960879 h 191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919435" h="1914275">
                    <a:moveTo>
                      <a:pt x="0" y="987194"/>
                    </a:moveTo>
                    <a:cubicBezTo>
                      <a:pt x="8256" y="971714"/>
                      <a:pt x="21155" y="963975"/>
                      <a:pt x="37667" y="959846"/>
                    </a:cubicBezTo>
                    <a:cubicBezTo>
                      <a:pt x="82041" y="947979"/>
                      <a:pt x="125383" y="934564"/>
                      <a:pt x="169757" y="922696"/>
                    </a:cubicBezTo>
                    <a:cubicBezTo>
                      <a:pt x="196587" y="915473"/>
                      <a:pt x="212583" y="900509"/>
                      <a:pt x="215163" y="872130"/>
                    </a:cubicBezTo>
                    <a:cubicBezTo>
                      <a:pt x="215679" y="864907"/>
                      <a:pt x="216710" y="857683"/>
                      <a:pt x="217743" y="850459"/>
                    </a:cubicBezTo>
                    <a:cubicBezTo>
                      <a:pt x="220323" y="826209"/>
                      <a:pt x="209487" y="809697"/>
                      <a:pt x="189364" y="797830"/>
                    </a:cubicBezTo>
                    <a:cubicBezTo>
                      <a:pt x="149118" y="774611"/>
                      <a:pt x="109388" y="750876"/>
                      <a:pt x="69657" y="727657"/>
                    </a:cubicBezTo>
                    <a:cubicBezTo>
                      <a:pt x="40246" y="710629"/>
                      <a:pt x="35087" y="697730"/>
                      <a:pt x="43858" y="664708"/>
                    </a:cubicBezTo>
                    <a:cubicBezTo>
                      <a:pt x="44890" y="661612"/>
                      <a:pt x="45406" y="658516"/>
                      <a:pt x="46438" y="655936"/>
                    </a:cubicBezTo>
                    <a:cubicBezTo>
                      <a:pt x="59337" y="613110"/>
                      <a:pt x="70689" y="604854"/>
                      <a:pt x="114547" y="608982"/>
                    </a:cubicBezTo>
                    <a:cubicBezTo>
                      <a:pt x="156857" y="613110"/>
                      <a:pt x="199167" y="617754"/>
                      <a:pt x="241478" y="623429"/>
                    </a:cubicBezTo>
                    <a:cubicBezTo>
                      <a:pt x="275016" y="627557"/>
                      <a:pt x="289463" y="621881"/>
                      <a:pt x="306491" y="593503"/>
                    </a:cubicBezTo>
                    <a:cubicBezTo>
                      <a:pt x="330741" y="554288"/>
                      <a:pt x="329710" y="541905"/>
                      <a:pt x="301331" y="505271"/>
                    </a:cubicBezTo>
                    <a:cubicBezTo>
                      <a:pt x="274500" y="470700"/>
                      <a:pt x="248185" y="435614"/>
                      <a:pt x="222386" y="400527"/>
                    </a:cubicBezTo>
                    <a:cubicBezTo>
                      <a:pt x="206907" y="379888"/>
                      <a:pt x="206907" y="362861"/>
                      <a:pt x="222386" y="342222"/>
                    </a:cubicBezTo>
                    <a:cubicBezTo>
                      <a:pt x="230126" y="331902"/>
                      <a:pt x="238382" y="321583"/>
                      <a:pt x="248185" y="313327"/>
                    </a:cubicBezTo>
                    <a:cubicBezTo>
                      <a:pt x="267792" y="296816"/>
                      <a:pt x="281208" y="294752"/>
                      <a:pt x="303395" y="307135"/>
                    </a:cubicBezTo>
                    <a:cubicBezTo>
                      <a:pt x="342609" y="328806"/>
                      <a:pt x="382856" y="348929"/>
                      <a:pt x="420522" y="373180"/>
                    </a:cubicBezTo>
                    <a:cubicBezTo>
                      <a:pt x="463864" y="401043"/>
                      <a:pt x="493791" y="382468"/>
                      <a:pt x="525265" y="343770"/>
                    </a:cubicBezTo>
                    <a:cubicBezTo>
                      <a:pt x="535585" y="330870"/>
                      <a:pt x="531973" y="313843"/>
                      <a:pt x="527845" y="298364"/>
                    </a:cubicBezTo>
                    <a:cubicBezTo>
                      <a:pt x="516493" y="254506"/>
                      <a:pt x="505142" y="210647"/>
                      <a:pt x="493791" y="166789"/>
                    </a:cubicBezTo>
                    <a:cubicBezTo>
                      <a:pt x="485535" y="135315"/>
                      <a:pt x="490694" y="122415"/>
                      <a:pt x="518557" y="105904"/>
                    </a:cubicBezTo>
                    <a:cubicBezTo>
                      <a:pt x="524749" y="102292"/>
                      <a:pt x="530941" y="98680"/>
                      <a:pt x="537649" y="95585"/>
                    </a:cubicBezTo>
                    <a:cubicBezTo>
                      <a:pt x="571187" y="80105"/>
                      <a:pt x="586150" y="83717"/>
                      <a:pt x="608853" y="113128"/>
                    </a:cubicBezTo>
                    <a:cubicBezTo>
                      <a:pt x="636200" y="147698"/>
                      <a:pt x="663547" y="182785"/>
                      <a:pt x="690894" y="217355"/>
                    </a:cubicBezTo>
                    <a:cubicBezTo>
                      <a:pt x="716693" y="249346"/>
                      <a:pt x="777062" y="249346"/>
                      <a:pt x="802861" y="216839"/>
                    </a:cubicBezTo>
                    <a:cubicBezTo>
                      <a:pt x="813697" y="202908"/>
                      <a:pt x="813697" y="185365"/>
                      <a:pt x="816277" y="169369"/>
                    </a:cubicBezTo>
                    <a:cubicBezTo>
                      <a:pt x="822468" y="129123"/>
                      <a:pt x="827628" y="88877"/>
                      <a:pt x="832788" y="48631"/>
                    </a:cubicBezTo>
                    <a:cubicBezTo>
                      <a:pt x="836916" y="16640"/>
                      <a:pt x="845687" y="7868"/>
                      <a:pt x="877677" y="2193"/>
                    </a:cubicBezTo>
                    <a:cubicBezTo>
                      <a:pt x="891093" y="-387"/>
                      <a:pt x="904509" y="-387"/>
                      <a:pt x="917924" y="645"/>
                    </a:cubicBezTo>
                    <a:cubicBezTo>
                      <a:pt x="937531" y="1677"/>
                      <a:pt x="950947" y="11996"/>
                      <a:pt x="956106" y="31603"/>
                    </a:cubicBezTo>
                    <a:cubicBezTo>
                      <a:pt x="968490" y="75461"/>
                      <a:pt x="981389" y="119835"/>
                      <a:pt x="993772" y="163693"/>
                    </a:cubicBezTo>
                    <a:cubicBezTo>
                      <a:pt x="1006672" y="208584"/>
                      <a:pt x="1043822" y="229739"/>
                      <a:pt x="1089745" y="217871"/>
                    </a:cubicBezTo>
                    <a:cubicBezTo>
                      <a:pt x="1104707" y="214259"/>
                      <a:pt x="1113479" y="203424"/>
                      <a:pt x="1120703" y="191040"/>
                    </a:cubicBezTo>
                    <a:cubicBezTo>
                      <a:pt x="1144438" y="150278"/>
                      <a:pt x="1168689" y="109516"/>
                      <a:pt x="1192940" y="68754"/>
                    </a:cubicBezTo>
                    <a:cubicBezTo>
                      <a:pt x="1208419" y="42439"/>
                      <a:pt x="1221835" y="36763"/>
                      <a:pt x="1251245" y="44503"/>
                    </a:cubicBezTo>
                    <a:cubicBezTo>
                      <a:pt x="1310067" y="59466"/>
                      <a:pt x="1317806" y="72366"/>
                      <a:pt x="1309035" y="137895"/>
                    </a:cubicBezTo>
                    <a:cubicBezTo>
                      <a:pt x="1303875" y="177109"/>
                      <a:pt x="1299231" y="216323"/>
                      <a:pt x="1294587" y="255538"/>
                    </a:cubicBezTo>
                    <a:cubicBezTo>
                      <a:pt x="1294071" y="259665"/>
                      <a:pt x="1294071" y="263793"/>
                      <a:pt x="1294587" y="267921"/>
                    </a:cubicBezTo>
                    <a:cubicBezTo>
                      <a:pt x="1301295" y="309715"/>
                      <a:pt x="1364760" y="338610"/>
                      <a:pt x="1399331" y="314359"/>
                    </a:cubicBezTo>
                    <a:cubicBezTo>
                      <a:pt x="1438545" y="286496"/>
                      <a:pt x="1476211" y="257085"/>
                      <a:pt x="1514394" y="228191"/>
                    </a:cubicBezTo>
                    <a:cubicBezTo>
                      <a:pt x="1542256" y="207036"/>
                      <a:pt x="1556188" y="207552"/>
                      <a:pt x="1584050" y="229223"/>
                    </a:cubicBezTo>
                    <a:cubicBezTo>
                      <a:pt x="1587663" y="232319"/>
                      <a:pt x="1591274" y="234898"/>
                      <a:pt x="1594886" y="238510"/>
                    </a:cubicBezTo>
                    <a:cubicBezTo>
                      <a:pt x="1627393" y="269469"/>
                      <a:pt x="1628941" y="278757"/>
                      <a:pt x="1606754" y="317971"/>
                    </a:cubicBezTo>
                    <a:cubicBezTo>
                      <a:pt x="1585599" y="355637"/>
                      <a:pt x="1565475" y="393819"/>
                      <a:pt x="1543288" y="430970"/>
                    </a:cubicBezTo>
                    <a:cubicBezTo>
                      <a:pt x="1527293" y="458317"/>
                      <a:pt x="1534517" y="481020"/>
                      <a:pt x="1552060" y="504239"/>
                    </a:cubicBezTo>
                    <a:cubicBezTo>
                      <a:pt x="1569604" y="527458"/>
                      <a:pt x="1589726" y="538809"/>
                      <a:pt x="1619137" y="531069"/>
                    </a:cubicBezTo>
                    <a:cubicBezTo>
                      <a:pt x="1664543" y="519202"/>
                      <a:pt x="1709949" y="507850"/>
                      <a:pt x="1754839" y="495467"/>
                    </a:cubicBezTo>
                    <a:cubicBezTo>
                      <a:pt x="1783734" y="487727"/>
                      <a:pt x="1796634" y="492371"/>
                      <a:pt x="1812629" y="517654"/>
                    </a:cubicBezTo>
                    <a:cubicBezTo>
                      <a:pt x="1819853" y="528490"/>
                      <a:pt x="1826044" y="539841"/>
                      <a:pt x="1830172" y="552225"/>
                    </a:cubicBezTo>
                    <a:cubicBezTo>
                      <a:pt x="1837912" y="574412"/>
                      <a:pt x="1834299" y="588343"/>
                      <a:pt x="1815724" y="603306"/>
                    </a:cubicBezTo>
                    <a:cubicBezTo>
                      <a:pt x="1777026" y="634265"/>
                      <a:pt x="1738844" y="665224"/>
                      <a:pt x="1699630" y="695666"/>
                    </a:cubicBezTo>
                    <a:cubicBezTo>
                      <a:pt x="1680022" y="710629"/>
                      <a:pt x="1674862" y="729205"/>
                      <a:pt x="1678990" y="751908"/>
                    </a:cubicBezTo>
                    <a:cubicBezTo>
                      <a:pt x="1680539" y="759647"/>
                      <a:pt x="1683119" y="766871"/>
                      <a:pt x="1685182" y="774611"/>
                    </a:cubicBezTo>
                    <a:cubicBezTo>
                      <a:pt x="1691890" y="798862"/>
                      <a:pt x="1707885" y="812277"/>
                      <a:pt x="1732652" y="815373"/>
                    </a:cubicBezTo>
                    <a:cubicBezTo>
                      <a:pt x="1779606" y="821565"/>
                      <a:pt x="1826560" y="828272"/>
                      <a:pt x="1872998" y="834464"/>
                    </a:cubicBezTo>
                    <a:cubicBezTo>
                      <a:pt x="1900861" y="838076"/>
                      <a:pt x="1915308" y="851491"/>
                      <a:pt x="1918404" y="879354"/>
                    </a:cubicBezTo>
                    <a:cubicBezTo>
                      <a:pt x="1919952" y="892770"/>
                      <a:pt x="1921500" y="906185"/>
                      <a:pt x="1919952" y="919600"/>
                    </a:cubicBezTo>
                    <a:cubicBezTo>
                      <a:pt x="1917372" y="940755"/>
                      <a:pt x="1906536" y="952623"/>
                      <a:pt x="1886930" y="958299"/>
                    </a:cubicBezTo>
                    <a:cubicBezTo>
                      <a:pt x="1843071" y="970682"/>
                      <a:pt x="1798697" y="983065"/>
                      <a:pt x="1754839" y="995965"/>
                    </a:cubicBezTo>
                    <a:cubicBezTo>
                      <a:pt x="1712013" y="1008348"/>
                      <a:pt x="1692406" y="1040855"/>
                      <a:pt x="1701178" y="1085229"/>
                    </a:cubicBezTo>
                    <a:cubicBezTo>
                      <a:pt x="1704273" y="1102256"/>
                      <a:pt x="1714077" y="1113092"/>
                      <a:pt x="1728524" y="1121348"/>
                    </a:cubicBezTo>
                    <a:cubicBezTo>
                      <a:pt x="1768771" y="1145083"/>
                      <a:pt x="1809016" y="1168817"/>
                      <a:pt x="1849779" y="1192552"/>
                    </a:cubicBezTo>
                    <a:cubicBezTo>
                      <a:pt x="1879706" y="1210096"/>
                      <a:pt x="1884350" y="1220415"/>
                      <a:pt x="1876094" y="1253954"/>
                    </a:cubicBezTo>
                    <a:cubicBezTo>
                      <a:pt x="1875578" y="1256018"/>
                      <a:pt x="1875578" y="1258082"/>
                      <a:pt x="1875062" y="1260145"/>
                    </a:cubicBezTo>
                    <a:cubicBezTo>
                      <a:pt x="1862678" y="1300908"/>
                      <a:pt x="1848747" y="1321031"/>
                      <a:pt x="1802309" y="1312259"/>
                    </a:cubicBezTo>
                    <a:cubicBezTo>
                      <a:pt x="1760515" y="1304003"/>
                      <a:pt x="1717689" y="1302456"/>
                      <a:pt x="1675379" y="1296264"/>
                    </a:cubicBezTo>
                    <a:cubicBezTo>
                      <a:pt x="1645452" y="1292136"/>
                      <a:pt x="1625845" y="1304003"/>
                      <a:pt x="1611398" y="1329286"/>
                    </a:cubicBezTo>
                    <a:cubicBezTo>
                      <a:pt x="1596434" y="1355085"/>
                      <a:pt x="1589726" y="1379336"/>
                      <a:pt x="1610365" y="1405651"/>
                    </a:cubicBezTo>
                    <a:cubicBezTo>
                      <a:pt x="1638228" y="1441254"/>
                      <a:pt x="1665059" y="1477888"/>
                      <a:pt x="1692406" y="1514006"/>
                    </a:cubicBezTo>
                    <a:cubicBezTo>
                      <a:pt x="1715109" y="1543417"/>
                      <a:pt x="1715109" y="1555285"/>
                      <a:pt x="1692406" y="1584695"/>
                    </a:cubicBezTo>
                    <a:cubicBezTo>
                      <a:pt x="1691374" y="1585727"/>
                      <a:pt x="1690342" y="1587275"/>
                      <a:pt x="1689310" y="1588307"/>
                    </a:cubicBezTo>
                    <a:cubicBezTo>
                      <a:pt x="1659383" y="1620298"/>
                      <a:pt x="1647516" y="1634229"/>
                      <a:pt x="1600562" y="1605850"/>
                    </a:cubicBezTo>
                    <a:cubicBezTo>
                      <a:pt x="1564444" y="1584179"/>
                      <a:pt x="1526261" y="1565604"/>
                      <a:pt x="1490659" y="1543933"/>
                    </a:cubicBezTo>
                    <a:cubicBezTo>
                      <a:pt x="1461248" y="1526390"/>
                      <a:pt x="1438545" y="1536709"/>
                      <a:pt x="1415326" y="1554769"/>
                    </a:cubicBezTo>
                    <a:cubicBezTo>
                      <a:pt x="1392107" y="1572312"/>
                      <a:pt x="1382819" y="1593467"/>
                      <a:pt x="1391075" y="1622877"/>
                    </a:cubicBezTo>
                    <a:cubicBezTo>
                      <a:pt x="1403974" y="1668284"/>
                      <a:pt x="1415326" y="1714205"/>
                      <a:pt x="1426677" y="1760128"/>
                    </a:cubicBezTo>
                    <a:cubicBezTo>
                      <a:pt x="1432870" y="1784894"/>
                      <a:pt x="1427710" y="1798310"/>
                      <a:pt x="1406554" y="1811725"/>
                    </a:cubicBezTo>
                    <a:cubicBezTo>
                      <a:pt x="1395203" y="1818949"/>
                      <a:pt x="1383335" y="1825657"/>
                      <a:pt x="1370436" y="1830300"/>
                    </a:cubicBezTo>
                    <a:cubicBezTo>
                      <a:pt x="1347733" y="1838556"/>
                      <a:pt x="1331222" y="1834428"/>
                      <a:pt x="1316258" y="1815337"/>
                    </a:cubicBezTo>
                    <a:cubicBezTo>
                      <a:pt x="1287879" y="1779735"/>
                      <a:pt x="1259501" y="1743616"/>
                      <a:pt x="1231122" y="1707498"/>
                    </a:cubicBezTo>
                    <a:cubicBezTo>
                      <a:pt x="1203775" y="1673443"/>
                      <a:pt x="1154242" y="1668800"/>
                      <a:pt x="1121219" y="1698210"/>
                    </a:cubicBezTo>
                    <a:cubicBezTo>
                      <a:pt x="1112447" y="1705950"/>
                      <a:pt x="1108320" y="1715753"/>
                      <a:pt x="1106771" y="1727105"/>
                    </a:cubicBezTo>
                    <a:cubicBezTo>
                      <a:pt x="1100064" y="1774575"/>
                      <a:pt x="1092324" y="1821529"/>
                      <a:pt x="1087165" y="1868999"/>
                    </a:cubicBezTo>
                    <a:cubicBezTo>
                      <a:pt x="1084068" y="1893766"/>
                      <a:pt x="1074265" y="1911309"/>
                      <a:pt x="1050014" y="1919049"/>
                    </a:cubicBezTo>
                    <a:cubicBezTo>
                      <a:pt x="1029375" y="1919049"/>
                      <a:pt x="1008220" y="1919049"/>
                      <a:pt x="987581" y="1919049"/>
                    </a:cubicBezTo>
                    <a:cubicBezTo>
                      <a:pt x="973133" y="1910277"/>
                      <a:pt x="964878" y="1897377"/>
                      <a:pt x="960234" y="1880866"/>
                    </a:cubicBezTo>
                    <a:cubicBezTo>
                      <a:pt x="947851" y="1835460"/>
                      <a:pt x="933919" y="1790054"/>
                      <a:pt x="921535" y="1744132"/>
                    </a:cubicBezTo>
                    <a:cubicBezTo>
                      <a:pt x="914828" y="1719881"/>
                      <a:pt x="899865" y="1706982"/>
                      <a:pt x="875614" y="1703886"/>
                    </a:cubicBezTo>
                    <a:cubicBezTo>
                      <a:pt x="866326" y="1702854"/>
                      <a:pt x="857038" y="1701306"/>
                      <a:pt x="847751" y="1700790"/>
                    </a:cubicBezTo>
                    <a:cubicBezTo>
                      <a:pt x="826080" y="1699242"/>
                      <a:pt x="811117" y="1709046"/>
                      <a:pt x="800281" y="1727105"/>
                    </a:cubicBezTo>
                    <a:cubicBezTo>
                      <a:pt x="796153" y="1733813"/>
                      <a:pt x="792541" y="1740520"/>
                      <a:pt x="788414" y="1747228"/>
                    </a:cubicBezTo>
                    <a:cubicBezTo>
                      <a:pt x="766742" y="1783862"/>
                      <a:pt x="745587" y="1821013"/>
                      <a:pt x="723401" y="1857131"/>
                    </a:cubicBezTo>
                    <a:cubicBezTo>
                      <a:pt x="711533" y="1877254"/>
                      <a:pt x="697085" y="1882414"/>
                      <a:pt x="674383" y="1877254"/>
                    </a:cubicBezTo>
                    <a:cubicBezTo>
                      <a:pt x="660451" y="1874158"/>
                      <a:pt x="647552" y="1869515"/>
                      <a:pt x="634652" y="1863839"/>
                    </a:cubicBezTo>
                    <a:cubicBezTo>
                      <a:pt x="611949" y="1853003"/>
                      <a:pt x="604726" y="1839072"/>
                      <a:pt x="607822" y="1813789"/>
                    </a:cubicBezTo>
                    <a:cubicBezTo>
                      <a:pt x="613497" y="1766835"/>
                      <a:pt x="618141" y="1719881"/>
                      <a:pt x="624848" y="1672927"/>
                    </a:cubicBezTo>
                    <a:cubicBezTo>
                      <a:pt x="629492" y="1639905"/>
                      <a:pt x="611949" y="1621846"/>
                      <a:pt x="586150" y="1607398"/>
                    </a:cubicBezTo>
                    <a:cubicBezTo>
                      <a:pt x="560868" y="1593467"/>
                      <a:pt x="538165" y="1591403"/>
                      <a:pt x="514430" y="1611010"/>
                    </a:cubicBezTo>
                    <a:cubicBezTo>
                      <a:pt x="481407" y="1637325"/>
                      <a:pt x="446836" y="1661576"/>
                      <a:pt x="413814" y="1687375"/>
                    </a:cubicBezTo>
                    <a:cubicBezTo>
                      <a:pt x="380276" y="1713690"/>
                      <a:pt x="365828" y="1719365"/>
                      <a:pt x="324550" y="1682215"/>
                    </a:cubicBezTo>
                    <a:cubicBezTo>
                      <a:pt x="321970" y="1679635"/>
                      <a:pt x="319390" y="1677055"/>
                      <a:pt x="316810" y="1674475"/>
                    </a:cubicBezTo>
                    <a:cubicBezTo>
                      <a:pt x="296687" y="1653836"/>
                      <a:pt x="294623" y="1637841"/>
                      <a:pt x="309071" y="1612558"/>
                    </a:cubicBezTo>
                    <a:cubicBezTo>
                      <a:pt x="331258" y="1572828"/>
                      <a:pt x="353960" y="1532581"/>
                      <a:pt x="376148" y="1492851"/>
                    </a:cubicBezTo>
                    <a:cubicBezTo>
                      <a:pt x="382339" y="1481500"/>
                      <a:pt x="389047" y="1470148"/>
                      <a:pt x="387499" y="1456217"/>
                    </a:cubicBezTo>
                    <a:cubicBezTo>
                      <a:pt x="383887" y="1414423"/>
                      <a:pt x="337449" y="1381400"/>
                      <a:pt x="297203" y="1391720"/>
                    </a:cubicBezTo>
                    <a:cubicBezTo>
                      <a:pt x="250765" y="1403587"/>
                      <a:pt x="204327" y="1415455"/>
                      <a:pt x="158405" y="1427838"/>
                    </a:cubicBezTo>
                    <a:cubicBezTo>
                      <a:pt x="139830" y="1432998"/>
                      <a:pt x="125899" y="1427322"/>
                      <a:pt x="114031" y="1412875"/>
                    </a:cubicBezTo>
                    <a:cubicBezTo>
                      <a:pt x="104228" y="1401007"/>
                      <a:pt x="98036" y="1387592"/>
                      <a:pt x="91844" y="1373660"/>
                    </a:cubicBezTo>
                    <a:cubicBezTo>
                      <a:pt x="81525" y="1349409"/>
                      <a:pt x="86169" y="1331866"/>
                      <a:pt x="106808" y="1315871"/>
                    </a:cubicBezTo>
                    <a:cubicBezTo>
                      <a:pt x="140862" y="1288524"/>
                      <a:pt x="175432" y="1261693"/>
                      <a:pt x="209487" y="1234347"/>
                    </a:cubicBezTo>
                    <a:cubicBezTo>
                      <a:pt x="245605" y="1206484"/>
                      <a:pt x="248701" y="1194616"/>
                      <a:pt x="236834" y="1151274"/>
                    </a:cubicBezTo>
                    <a:cubicBezTo>
                      <a:pt x="228578" y="1122896"/>
                      <a:pt x="211551" y="1107932"/>
                      <a:pt x="181624" y="1104836"/>
                    </a:cubicBezTo>
                    <a:cubicBezTo>
                      <a:pt x="138282" y="1100192"/>
                      <a:pt x="95456" y="1091937"/>
                      <a:pt x="52114" y="1087293"/>
                    </a:cubicBezTo>
                    <a:cubicBezTo>
                      <a:pt x="27347" y="1084713"/>
                      <a:pt x="9804" y="1074910"/>
                      <a:pt x="1032" y="1051175"/>
                    </a:cubicBezTo>
                    <a:cubicBezTo>
                      <a:pt x="0" y="1028988"/>
                      <a:pt x="0" y="1008348"/>
                      <a:pt x="0" y="987194"/>
                    </a:cubicBezTo>
                    <a:close/>
                    <a:moveTo>
                      <a:pt x="1198616" y="960879"/>
                    </a:moveTo>
                    <a:cubicBezTo>
                      <a:pt x="1200163" y="838592"/>
                      <a:pt x="1104192" y="720433"/>
                      <a:pt x="958686" y="720949"/>
                    </a:cubicBezTo>
                    <a:cubicBezTo>
                      <a:pt x="824016" y="721465"/>
                      <a:pt x="720821" y="824145"/>
                      <a:pt x="720304" y="959331"/>
                    </a:cubicBezTo>
                    <a:cubicBezTo>
                      <a:pt x="719788" y="1096581"/>
                      <a:pt x="827628" y="1197712"/>
                      <a:pt x="957654" y="1198744"/>
                    </a:cubicBezTo>
                    <a:cubicBezTo>
                      <a:pt x="1090776" y="1199776"/>
                      <a:pt x="1198100" y="1092969"/>
                      <a:pt x="1198616" y="960879"/>
                    </a:cubicBezTo>
                    <a:close/>
                  </a:path>
                </a:pathLst>
              </a:custGeom>
              <a:grpFill/>
              <a:ln w="5155"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1613B70-341B-437A-A0D4-569BDB3F76E5}"/>
                  </a:ext>
                </a:extLst>
              </p:cNvPr>
              <p:cNvGrpSpPr/>
              <p:nvPr/>
            </p:nvGrpSpPr>
            <p:grpSpPr>
              <a:xfrm>
                <a:off x="7392963" y="2648852"/>
                <a:ext cx="1838947" cy="1835405"/>
                <a:chOff x="7167947" y="1624190"/>
                <a:chExt cx="2677922" cy="2672763"/>
              </a:xfrm>
              <a:grpFill/>
            </p:grpSpPr>
            <p:sp>
              <p:nvSpPr>
                <p:cNvPr id="20" name="Freeform: Shape 19">
                  <a:extLst>
                    <a:ext uri="{FF2B5EF4-FFF2-40B4-BE49-F238E27FC236}">
                      <a16:creationId xmlns:a16="http://schemas.microsoft.com/office/drawing/2014/main" id="{A96EF5B8-28BF-47BD-A097-7ADED01EDC98}"/>
                    </a:ext>
                  </a:extLst>
                </p:cNvPr>
                <p:cNvSpPr/>
                <p:nvPr/>
              </p:nvSpPr>
              <p:spPr>
                <a:xfrm>
                  <a:off x="7167947" y="1624190"/>
                  <a:ext cx="2677922" cy="2672763"/>
                </a:xfrm>
                <a:custGeom>
                  <a:avLst/>
                  <a:gdLst>
                    <a:gd name="connsiteX0" fmla="*/ 2538684 w 2677922"/>
                    <a:gd name="connsiteY0" fmla="*/ 1897505 h 2672762"/>
                    <a:gd name="connsiteX1" fmla="*/ 2456643 w 2677922"/>
                    <a:gd name="connsiteY1" fmla="*/ 1879446 h 2672762"/>
                    <a:gd name="connsiteX2" fmla="*/ 2389566 w 2677922"/>
                    <a:gd name="connsiteY2" fmla="*/ 1863966 h 2672762"/>
                    <a:gd name="connsiteX3" fmla="*/ 2354479 w 2677922"/>
                    <a:gd name="connsiteY3" fmla="*/ 1874802 h 2672762"/>
                    <a:gd name="connsiteX4" fmla="*/ 2312170 w 2677922"/>
                    <a:gd name="connsiteY4" fmla="*/ 1950651 h 2672762"/>
                    <a:gd name="connsiteX5" fmla="*/ 2322489 w 2677922"/>
                    <a:gd name="connsiteY5" fmla="*/ 1983157 h 2672762"/>
                    <a:gd name="connsiteX6" fmla="*/ 2412785 w 2677922"/>
                    <a:gd name="connsiteY6" fmla="*/ 2080161 h 2672762"/>
                    <a:gd name="connsiteX7" fmla="*/ 2418461 w 2677922"/>
                    <a:gd name="connsiteY7" fmla="*/ 2146722 h 2672762"/>
                    <a:gd name="connsiteX8" fmla="*/ 2414849 w 2677922"/>
                    <a:gd name="connsiteY8" fmla="*/ 2151882 h 2672762"/>
                    <a:gd name="connsiteX9" fmla="*/ 2324037 w 2677922"/>
                    <a:gd name="connsiteY9" fmla="*/ 2174585 h 2672762"/>
                    <a:gd name="connsiteX10" fmla="*/ 2219294 w 2677922"/>
                    <a:gd name="connsiteY10" fmla="*/ 2118859 h 2672762"/>
                    <a:gd name="connsiteX11" fmla="*/ 2178531 w 2677922"/>
                    <a:gd name="connsiteY11" fmla="*/ 2120407 h 2672762"/>
                    <a:gd name="connsiteX12" fmla="*/ 2125386 w 2677922"/>
                    <a:gd name="connsiteY12" fmla="*/ 2172521 h 2672762"/>
                    <a:gd name="connsiteX13" fmla="*/ 2122806 w 2677922"/>
                    <a:gd name="connsiteY13" fmla="*/ 2217411 h 2672762"/>
                    <a:gd name="connsiteX14" fmla="*/ 2184723 w 2677922"/>
                    <a:gd name="connsiteY14" fmla="*/ 2334538 h 2672762"/>
                    <a:gd name="connsiteX15" fmla="*/ 2174404 w 2677922"/>
                    <a:gd name="connsiteY15" fmla="*/ 2395423 h 2672762"/>
                    <a:gd name="connsiteX16" fmla="*/ 2164084 w 2677922"/>
                    <a:gd name="connsiteY16" fmla="*/ 2404711 h 2672762"/>
                    <a:gd name="connsiteX17" fmla="*/ 2075336 w 2677922"/>
                    <a:gd name="connsiteY17" fmla="*/ 2401615 h 2672762"/>
                    <a:gd name="connsiteX18" fmla="*/ 1988652 w 2677922"/>
                    <a:gd name="connsiteY18" fmla="*/ 2320606 h 2672762"/>
                    <a:gd name="connsiteX19" fmla="*/ 1944277 w 2677922"/>
                    <a:gd name="connsiteY19" fmla="*/ 2311835 h 2672762"/>
                    <a:gd name="connsiteX20" fmla="*/ 1883392 w 2677922"/>
                    <a:gd name="connsiteY20" fmla="*/ 2346405 h 2672762"/>
                    <a:gd name="connsiteX21" fmla="*/ 1868429 w 2677922"/>
                    <a:gd name="connsiteY21" fmla="*/ 2391811 h 2672762"/>
                    <a:gd name="connsiteX22" fmla="*/ 1899388 w 2677922"/>
                    <a:gd name="connsiteY22" fmla="*/ 2526997 h 2672762"/>
                    <a:gd name="connsiteX23" fmla="*/ 1879264 w 2677922"/>
                    <a:gd name="connsiteY23" fmla="*/ 2571887 h 2672762"/>
                    <a:gd name="connsiteX24" fmla="*/ 1841082 w 2677922"/>
                    <a:gd name="connsiteY24" fmla="*/ 2588915 h 2672762"/>
                    <a:gd name="connsiteX25" fmla="*/ 1782777 w 2677922"/>
                    <a:gd name="connsiteY25" fmla="*/ 2568276 h 2672762"/>
                    <a:gd name="connsiteX26" fmla="*/ 1715184 w 2677922"/>
                    <a:gd name="connsiteY26" fmla="*/ 2459404 h 2672762"/>
                    <a:gd name="connsiteX27" fmla="*/ 1664618 w 2677922"/>
                    <a:gd name="connsiteY27" fmla="*/ 2435669 h 2672762"/>
                    <a:gd name="connsiteX28" fmla="*/ 1610440 w 2677922"/>
                    <a:gd name="connsiteY28" fmla="*/ 2450117 h 2672762"/>
                    <a:gd name="connsiteX29" fmla="*/ 1577418 w 2677922"/>
                    <a:gd name="connsiteY29" fmla="*/ 2495007 h 2672762"/>
                    <a:gd name="connsiteX30" fmla="*/ 1573806 w 2677922"/>
                    <a:gd name="connsiteY30" fmla="*/ 2616777 h 2672762"/>
                    <a:gd name="connsiteX31" fmla="*/ 1526852 w 2677922"/>
                    <a:gd name="connsiteY31" fmla="*/ 2672503 h 2672762"/>
                    <a:gd name="connsiteX32" fmla="*/ 1497441 w 2677922"/>
                    <a:gd name="connsiteY32" fmla="*/ 2676115 h 2672762"/>
                    <a:gd name="connsiteX33" fmla="*/ 1449972 w 2677922"/>
                    <a:gd name="connsiteY33" fmla="*/ 2644124 h 2672762"/>
                    <a:gd name="connsiteX34" fmla="*/ 1410241 w 2677922"/>
                    <a:gd name="connsiteY34" fmla="*/ 2514614 h 2672762"/>
                    <a:gd name="connsiteX35" fmla="*/ 1373091 w 2677922"/>
                    <a:gd name="connsiteY35" fmla="*/ 2482623 h 2672762"/>
                    <a:gd name="connsiteX36" fmla="*/ 1304982 w 2677922"/>
                    <a:gd name="connsiteY36" fmla="*/ 2483139 h 2672762"/>
                    <a:gd name="connsiteX37" fmla="*/ 1271959 w 2677922"/>
                    <a:gd name="connsiteY37" fmla="*/ 2511518 h 2672762"/>
                    <a:gd name="connsiteX38" fmla="*/ 1234293 w 2677922"/>
                    <a:gd name="connsiteY38" fmla="*/ 2633805 h 2672762"/>
                    <a:gd name="connsiteX39" fmla="*/ 1170828 w 2677922"/>
                    <a:gd name="connsiteY39" fmla="*/ 2674567 h 2672762"/>
                    <a:gd name="connsiteX40" fmla="*/ 1106847 w 2677922"/>
                    <a:gd name="connsiteY40" fmla="*/ 2602330 h 2672762"/>
                    <a:gd name="connsiteX41" fmla="*/ 1103751 w 2677922"/>
                    <a:gd name="connsiteY41" fmla="*/ 2491395 h 2672762"/>
                    <a:gd name="connsiteX42" fmla="*/ 1080532 w 2677922"/>
                    <a:gd name="connsiteY42" fmla="*/ 2454244 h 2672762"/>
                    <a:gd name="connsiteX43" fmla="*/ 1005199 w 2677922"/>
                    <a:gd name="connsiteY43" fmla="*/ 2435153 h 2672762"/>
                    <a:gd name="connsiteX44" fmla="*/ 969080 w 2677922"/>
                    <a:gd name="connsiteY44" fmla="*/ 2454244 h 2672762"/>
                    <a:gd name="connsiteX45" fmla="*/ 900456 w 2677922"/>
                    <a:gd name="connsiteY45" fmla="*/ 2564148 h 2672762"/>
                    <a:gd name="connsiteX46" fmla="*/ 836474 w 2677922"/>
                    <a:gd name="connsiteY46" fmla="*/ 2587367 h 2672762"/>
                    <a:gd name="connsiteX47" fmla="*/ 831830 w 2677922"/>
                    <a:gd name="connsiteY47" fmla="*/ 2585819 h 2672762"/>
                    <a:gd name="connsiteX48" fmla="*/ 785392 w 2677922"/>
                    <a:gd name="connsiteY48" fmla="*/ 2504810 h 2672762"/>
                    <a:gd name="connsiteX49" fmla="*/ 811707 w 2677922"/>
                    <a:gd name="connsiteY49" fmla="*/ 2390779 h 2672762"/>
                    <a:gd name="connsiteX50" fmla="*/ 794680 w 2677922"/>
                    <a:gd name="connsiteY50" fmla="*/ 2344341 h 2672762"/>
                    <a:gd name="connsiteX51" fmla="*/ 739470 w 2677922"/>
                    <a:gd name="connsiteY51" fmla="*/ 2312351 h 2672762"/>
                    <a:gd name="connsiteX52" fmla="*/ 689421 w 2677922"/>
                    <a:gd name="connsiteY52" fmla="*/ 2321638 h 2672762"/>
                    <a:gd name="connsiteX53" fmla="*/ 596029 w 2677922"/>
                    <a:gd name="connsiteY53" fmla="*/ 2408838 h 2672762"/>
                    <a:gd name="connsiteX54" fmla="*/ 530500 w 2677922"/>
                    <a:gd name="connsiteY54" fmla="*/ 2415030 h 2672762"/>
                    <a:gd name="connsiteX55" fmla="*/ 521212 w 2677922"/>
                    <a:gd name="connsiteY55" fmla="*/ 2408838 h 2672762"/>
                    <a:gd name="connsiteX56" fmla="*/ 500573 w 2677922"/>
                    <a:gd name="connsiteY56" fmla="*/ 2322670 h 2672762"/>
                    <a:gd name="connsiteX57" fmla="*/ 556298 w 2677922"/>
                    <a:gd name="connsiteY57" fmla="*/ 2217927 h 2672762"/>
                    <a:gd name="connsiteX58" fmla="*/ 552171 w 2677922"/>
                    <a:gd name="connsiteY58" fmla="*/ 2168909 h 2672762"/>
                    <a:gd name="connsiteX59" fmla="*/ 505733 w 2677922"/>
                    <a:gd name="connsiteY59" fmla="*/ 2122987 h 2672762"/>
                    <a:gd name="connsiteX60" fmla="*/ 457747 w 2677922"/>
                    <a:gd name="connsiteY60" fmla="*/ 2119375 h 2672762"/>
                    <a:gd name="connsiteX61" fmla="*/ 341652 w 2677922"/>
                    <a:gd name="connsiteY61" fmla="*/ 2180777 h 2672762"/>
                    <a:gd name="connsiteX62" fmla="*/ 278187 w 2677922"/>
                    <a:gd name="connsiteY62" fmla="*/ 2168909 h 2672762"/>
                    <a:gd name="connsiteX63" fmla="*/ 274059 w 2677922"/>
                    <a:gd name="connsiteY63" fmla="*/ 2164265 h 2672762"/>
                    <a:gd name="connsiteX64" fmla="*/ 276639 w 2677922"/>
                    <a:gd name="connsiteY64" fmla="*/ 2069325 h 2672762"/>
                    <a:gd name="connsiteX65" fmla="*/ 354551 w 2677922"/>
                    <a:gd name="connsiteY65" fmla="*/ 1986253 h 2672762"/>
                    <a:gd name="connsiteX66" fmla="*/ 363839 w 2677922"/>
                    <a:gd name="connsiteY66" fmla="*/ 1940847 h 2672762"/>
                    <a:gd name="connsiteX67" fmla="*/ 328237 w 2677922"/>
                    <a:gd name="connsiteY67" fmla="*/ 1878930 h 2672762"/>
                    <a:gd name="connsiteX68" fmla="*/ 283347 w 2677922"/>
                    <a:gd name="connsiteY68" fmla="*/ 1866030 h 2672762"/>
                    <a:gd name="connsiteX69" fmla="*/ 170864 w 2677922"/>
                    <a:gd name="connsiteY69" fmla="*/ 1891829 h 2672762"/>
                    <a:gd name="connsiteX70" fmla="*/ 155900 w 2677922"/>
                    <a:gd name="connsiteY70" fmla="*/ 1895441 h 2672762"/>
                    <a:gd name="connsiteX71" fmla="*/ 100175 w 2677922"/>
                    <a:gd name="connsiteY71" fmla="*/ 1868094 h 2672762"/>
                    <a:gd name="connsiteX72" fmla="*/ 87275 w 2677922"/>
                    <a:gd name="connsiteY72" fmla="*/ 1838168 h 2672762"/>
                    <a:gd name="connsiteX73" fmla="*/ 107915 w 2677922"/>
                    <a:gd name="connsiteY73" fmla="*/ 1779862 h 2672762"/>
                    <a:gd name="connsiteX74" fmla="*/ 213690 w 2677922"/>
                    <a:gd name="connsiteY74" fmla="*/ 1713817 h 2672762"/>
                    <a:gd name="connsiteX75" fmla="*/ 238972 w 2677922"/>
                    <a:gd name="connsiteY75" fmla="*/ 1654480 h 2672762"/>
                    <a:gd name="connsiteX76" fmla="*/ 222977 w 2677922"/>
                    <a:gd name="connsiteY76" fmla="*/ 1600818 h 2672762"/>
                    <a:gd name="connsiteX77" fmla="*/ 184279 w 2677922"/>
                    <a:gd name="connsiteY77" fmla="*/ 1575019 h 2672762"/>
                    <a:gd name="connsiteX78" fmla="*/ 59413 w 2677922"/>
                    <a:gd name="connsiteY78" fmla="*/ 1571407 h 2672762"/>
                    <a:gd name="connsiteX79" fmla="*/ 3687 w 2677922"/>
                    <a:gd name="connsiteY79" fmla="*/ 1524453 h 2672762"/>
                    <a:gd name="connsiteX80" fmla="*/ 1623 w 2677922"/>
                    <a:gd name="connsiteY80" fmla="*/ 1513618 h 2672762"/>
                    <a:gd name="connsiteX81" fmla="*/ 48577 w 2677922"/>
                    <a:gd name="connsiteY81" fmla="*/ 1442413 h 2672762"/>
                    <a:gd name="connsiteX82" fmla="*/ 160544 w 2677922"/>
                    <a:gd name="connsiteY82" fmla="*/ 1408358 h 2672762"/>
                    <a:gd name="connsiteX83" fmla="*/ 194083 w 2677922"/>
                    <a:gd name="connsiteY83" fmla="*/ 1370692 h 2672762"/>
                    <a:gd name="connsiteX84" fmla="*/ 192534 w 2677922"/>
                    <a:gd name="connsiteY84" fmla="*/ 1298971 h 2672762"/>
                    <a:gd name="connsiteX85" fmla="*/ 166220 w 2677922"/>
                    <a:gd name="connsiteY85" fmla="*/ 1269560 h 2672762"/>
                    <a:gd name="connsiteX86" fmla="*/ 47029 w 2677922"/>
                    <a:gd name="connsiteY86" fmla="*/ 1232926 h 2672762"/>
                    <a:gd name="connsiteX87" fmla="*/ 1623 w 2677922"/>
                    <a:gd name="connsiteY87" fmla="*/ 1166881 h 2672762"/>
                    <a:gd name="connsiteX88" fmla="*/ 6267 w 2677922"/>
                    <a:gd name="connsiteY88" fmla="*/ 1139534 h 2672762"/>
                    <a:gd name="connsiteX89" fmla="*/ 49093 w 2677922"/>
                    <a:gd name="connsiteY89" fmla="*/ 1105480 h 2672762"/>
                    <a:gd name="connsiteX90" fmla="*/ 164672 w 2677922"/>
                    <a:gd name="connsiteY90" fmla="*/ 1101868 h 2672762"/>
                    <a:gd name="connsiteX91" fmla="*/ 181699 w 2677922"/>
                    <a:gd name="connsiteY91" fmla="*/ 1101352 h 2672762"/>
                    <a:gd name="connsiteX92" fmla="*/ 227621 w 2677922"/>
                    <a:gd name="connsiteY92" fmla="*/ 1065233 h 2672762"/>
                    <a:gd name="connsiteX93" fmla="*/ 241036 w 2677922"/>
                    <a:gd name="connsiteY93" fmla="*/ 1014152 h 2672762"/>
                    <a:gd name="connsiteX94" fmla="*/ 219366 w 2677922"/>
                    <a:gd name="connsiteY94" fmla="*/ 965650 h 2672762"/>
                    <a:gd name="connsiteX95" fmla="*/ 113590 w 2677922"/>
                    <a:gd name="connsiteY95" fmla="*/ 899605 h 2672762"/>
                    <a:gd name="connsiteX96" fmla="*/ 89855 w 2677922"/>
                    <a:gd name="connsiteY96" fmla="*/ 832012 h 2672762"/>
                    <a:gd name="connsiteX97" fmla="*/ 104818 w 2677922"/>
                    <a:gd name="connsiteY97" fmla="*/ 799505 h 2672762"/>
                    <a:gd name="connsiteX98" fmla="*/ 151256 w 2677922"/>
                    <a:gd name="connsiteY98" fmla="*/ 779898 h 2672762"/>
                    <a:gd name="connsiteX99" fmla="*/ 283347 w 2677922"/>
                    <a:gd name="connsiteY99" fmla="*/ 810341 h 2672762"/>
                    <a:gd name="connsiteX100" fmla="*/ 331332 w 2677922"/>
                    <a:gd name="connsiteY100" fmla="*/ 794345 h 2672762"/>
                    <a:gd name="connsiteX101" fmla="*/ 363839 w 2677922"/>
                    <a:gd name="connsiteY101" fmla="*/ 737588 h 2672762"/>
                    <a:gd name="connsiteX102" fmla="*/ 354551 w 2677922"/>
                    <a:gd name="connsiteY102" fmla="*/ 689086 h 2672762"/>
                    <a:gd name="connsiteX103" fmla="*/ 266835 w 2677922"/>
                    <a:gd name="connsiteY103" fmla="*/ 595694 h 2672762"/>
                    <a:gd name="connsiteX104" fmla="*/ 261675 w 2677922"/>
                    <a:gd name="connsiteY104" fmla="*/ 529133 h 2672762"/>
                    <a:gd name="connsiteX105" fmla="*/ 270447 w 2677922"/>
                    <a:gd name="connsiteY105" fmla="*/ 516233 h 2672762"/>
                    <a:gd name="connsiteX106" fmla="*/ 349907 w 2677922"/>
                    <a:gd name="connsiteY106" fmla="*/ 498690 h 2672762"/>
                    <a:gd name="connsiteX107" fmla="*/ 457231 w 2677922"/>
                    <a:gd name="connsiteY107" fmla="*/ 555964 h 2672762"/>
                    <a:gd name="connsiteX108" fmla="*/ 507797 w 2677922"/>
                    <a:gd name="connsiteY108" fmla="*/ 551320 h 2672762"/>
                    <a:gd name="connsiteX109" fmla="*/ 551139 w 2677922"/>
                    <a:gd name="connsiteY109" fmla="*/ 508494 h 2672762"/>
                    <a:gd name="connsiteX110" fmla="*/ 556815 w 2677922"/>
                    <a:gd name="connsiteY110" fmla="*/ 456896 h 2672762"/>
                    <a:gd name="connsiteX111" fmla="*/ 494381 w 2677922"/>
                    <a:gd name="connsiteY111" fmla="*/ 339769 h 2672762"/>
                    <a:gd name="connsiteX112" fmla="*/ 505217 w 2677922"/>
                    <a:gd name="connsiteY112" fmla="*/ 280432 h 2672762"/>
                    <a:gd name="connsiteX113" fmla="*/ 537723 w 2677922"/>
                    <a:gd name="connsiteY113" fmla="*/ 256181 h 2672762"/>
                    <a:gd name="connsiteX114" fmla="*/ 590353 w 2677922"/>
                    <a:gd name="connsiteY114" fmla="*/ 261857 h 2672762"/>
                    <a:gd name="connsiteX115" fmla="*/ 679617 w 2677922"/>
                    <a:gd name="connsiteY115" fmla="*/ 344929 h 2672762"/>
                    <a:gd name="connsiteX116" fmla="*/ 754950 w 2677922"/>
                    <a:gd name="connsiteY116" fmla="*/ 355765 h 2672762"/>
                    <a:gd name="connsiteX117" fmla="*/ 797260 w 2677922"/>
                    <a:gd name="connsiteY117" fmla="*/ 329450 h 2672762"/>
                    <a:gd name="connsiteX118" fmla="*/ 811707 w 2677922"/>
                    <a:gd name="connsiteY118" fmla="*/ 285076 h 2672762"/>
                    <a:gd name="connsiteX119" fmla="*/ 781781 w 2677922"/>
                    <a:gd name="connsiteY119" fmla="*/ 156081 h 2672762"/>
                    <a:gd name="connsiteX120" fmla="*/ 807064 w 2677922"/>
                    <a:gd name="connsiteY120" fmla="*/ 100872 h 2672762"/>
                    <a:gd name="connsiteX121" fmla="*/ 841634 w 2677922"/>
                    <a:gd name="connsiteY121" fmla="*/ 86424 h 2672762"/>
                    <a:gd name="connsiteX122" fmla="*/ 896328 w 2677922"/>
                    <a:gd name="connsiteY122" fmla="*/ 106031 h 2672762"/>
                    <a:gd name="connsiteX123" fmla="*/ 965469 w 2677922"/>
                    <a:gd name="connsiteY123" fmla="*/ 217483 h 2672762"/>
                    <a:gd name="connsiteX124" fmla="*/ 1013455 w 2677922"/>
                    <a:gd name="connsiteY124" fmla="*/ 240702 h 2672762"/>
                    <a:gd name="connsiteX125" fmla="*/ 1077952 w 2677922"/>
                    <a:gd name="connsiteY125" fmla="*/ 222642 h 2672762"/>
                    <a:gd name="connsiteX126" fmla="*/ 1101687 w 2677922"/>
                    <a:gd name="connsiteY126" fmla="*/ 188072 h 2672762"/>
                    <a:gd name="connsiteX127" fmla="*/ 1106847 w 2677922"/>
                    <a:gd name="connsiteY127" fmla="*/ 53918 h 2672762"/>
                    <a:gd name="connsiteX128" fmla="*/ 1145029 w 2677922"/>
                    <a:gd name="connsiteY128" fmla="*/ 4900 h 2672762"/>
                    <a:gd name="connsiteX129" fmla="*/ 1158960 w 2677922"/>
                    <a:gd name="connsiteY129" fmla="*/ 1804 h 2672762"/>
                    <a:gd name="connsiteX130" fmla="*/ 1235841 w 2677922"/>
                    <a:gd name="connsiteY130" fmla="*/ 48758 h 2672762"/>
                    <a:gd name="connsiteX131" fmla="*/ 1269895 w 2677922"/>
                    <a:gd name="connsiteY131" fmla="*/ 162273 h 2672762"/>
                    <a:gd name="connsiteX132" fmla="*/ 1303434 w 2677922"/>
                    <a:gd name="connsiteY132" fmla="*/ 192716 h 2672762"/>
                    <a:gd name="connsiteX133" fmla="*/ 1376702 w 2677922"/>
                    <a:gd name="connsiteY133" fmla="*/ 192716 h 2672762"/>
                    <a:gd name="connsiteX134" fmla="*/ 1409209 w 2677922"/>
                    <a:gd name="connsiteY134" fmla="*/ 163305 h 2672762"/>
                    <a:gd name="connsiteX135" fmla="*/ 1447392 w 2677922"/>
                    <a:gd name="connsiteY135" fmla="*/ 37922 h 2672762"/>
                    <a:gd name="connsiteX136" fmla="*/ 1499505 w 2677922"/>
                    <a:gd name="connsiteY136" fmla="*/ 256 h 2672762"/>
                    <a:gd name="connsiteX137" fmla="*/ 1513436 w 2677922"/>
                    <a:gd name="connsiteY137" fmla="*/ 772 h 2672762"/>
                    <a:gd name="connsiteX138" fmla="*/ 1573290 w 2677922"/>
                    <a:gd name="connsiteY138" fmla="*/ 65269 h 2672762"/>
                    <a:gd name="connsiteX139" fmla="*/ 1576902 w 2677922"/>
                    <a:gd name="connsiteY139" fmla="*/ 185492 h 2672762"/>
                    <a:gd name="connsiteX140" fmla="*/ 1598057 w 2677922"/>
                    <a:gd name="connsiteY140" fmla="*/ 220578 h 2672762"/>
                    <a:gd name="connsiteX141" fmla="*/ 1674422 w 2677922"/>
                    <a:gd name="connsiteY141" fmla="*/ 240702 h 2672762"/>
                    <a:gd name="connsiteX142" fmla="*/ 1710540 w 2677922"/>
                    <a:gd name="connsiteY142" fmla="*/ 221610 h 2672762"/>
                    <a:gd name="connsiteX143" fmla="*/ 1779165 w 2677922"/>
                    <a:gd name="connsiteY143" fmla="*/ 111707 h 2672762"/>
                    <a:gd name="connsiteX144" fmla="*/ 1845726 w 2677922"/>
                    <a:gd name="connsiteY144" fmla="*/ 88488 h 2672762"/>
                    <a:gd name="connsiteX145" fmla="*/ 1857594 w 2677922"/>
                    <a:gd name="connsiteY145" fmla="*/ 92616 h 2672762"/>
                    <a:gd name="connsiteX146" fmla="*/ 1895260 w 2677922"/>
                    <a:gd name="connsiteY146" fmla="*/ 166401 h 2672762"/>
                    <a:gd name="connsiteX147" fmla="*/ 1868429 w 2677922"/>
                    <a:gd name="connsiteY147" fmla="*/ 281980 h 2672762"/>
                    <a:gd name="connsiteX148" fmla="*/ 1887004 w 2677922"/>
                    <a:gd name="connsiteY148" fmla="*/ 332030 h 2672762"/>
                    <a:gd name="connsiteX149" fmla="*/ 1946857 w 2677922"/>
                    <a:gd name="connsiteY149" fmla="*/ 365052 h 2672762"/>
                    <a:gd name="connsiteX150" fmla="*/ 1986588 w 2677922"/>
                    <a:gd name="connsiteY150" fmla="*/ 355765 h 2672762"/>
                    <a:gd name="connsiteX151" fmla="*/ 2081528 w 2677922"/>
                    <a:gd name="connsiteY151" fmla="*/ 267532 h 2672762"/>
                    <a:gd name="connsiteX152" fmla="*/ 2151701 w 2677922"/>
                    <a:gd name="connsiteY152" fmla="*/ 261857 h 2672762"/>
                    <a:gd name="connsiteX153" fmla="*/ 2155312 w 2677922"/>
                    <a:gd name="connsiteY153" fmla="*/ 264437 h 2672762"/>
                    <a:gd name="connsiteX154" fmla="*/ 2177500 w 2677922"/>
                    <a:gd name="connsiteY154" fmla="*/ 353701 h 2672762"/>
                    <a:gd name="connsiteX155" fmla="*/ 2122290 w 2677922"/>
                    <a:gd name="connsiteY155" fmla="*/ 456896 h 2672762"/>
                    <a:gd name="connsiteX156" fmla="*/ 2126934 w 2677922"/>
                    <a:gd name="connsiteY156" fmla="*/ 505914 h 2672762"/>
                    <a:gd name="connsiteX157" fmla="*/ 2173372 w 2677922"/>
                    <a:gd name="connsiteY157" fmla="*/ 551836 h 2672762"/>
                    <a:gd name="connsiteX158" fmla="*/ 2219810 w 2677922"/>
                    <a:gd name="connsiteY158" fmla="*/ 555964 h 2672762"/>
                    <a:gd name="connsiteX159" fmla="*/ 2336937 w 2677922"/>
                    <a:gd name="connsiteY159" fmla="*/ 494046 h 2672762"/>
                    <a:gd name="connsiteX160" fmla="*/ 2400917 w 2677922"/>
                    <a:gd name="connsiteY160" fmla="*/ 507462 h 2672762"/>
                    <a:gd name="connsiteX161" fmla="*/ 2420525 w 2677922"/>
                    <a:gd name="connsiteY161" fmla="*/ 533777 h 2672762"/>
                    <a:gd name="connsiteX162" fmla="*/ 2415365 w 2677922"/>
                    <a:gd name="connsiteY162" fmla="*/ 591566 h 2672762"/>
                    <a:gd name="connsiteX163" fmla="*/ 2321973 w 2677922"/>
                    <a:gd name="connsiteY163" fmla="*/ 692182 h 2672762"/>
                    <a:gd name="connsiteX164" fmla="*/ 2313718 w 2677922"/>
                    <a:gd name="connsiteY164" fmla="*/ 733460 h 2672762"/>
                    <a:gd name="connsiteX165" fmla="*/ 2349320 w 2677922"/>
                    <a:gd name="connsiteY165" fmla="*/ 795377 h 2672762"/>
                    <a:gd name="connsiteX166" fmla="*/ 2394726 w 2677922"/>
                    <a:gd name="connsiteY166" fmla="*/ 810341 h 2672762"/>
                    <a:gd name="connsiteX167" fmla="*/ 2526816 w 2677922"/>
                    <a:gd name="connsiteY167" fmla="*/ 780414 h 2672762"/>
                    <a:gd name="connsiteX168" fmla="*/ 2575834 w 2677922"/>
                    <a:gd name="connsiteY168" fmla="*/ 803117 h 2672762"/>
                    <a:gd name="connsiteX169" fmla="*/ 2591313 w 2677922"/>
                    <a:gd name="connsiteY169" fmla="*/ 838719 h 2672762"/>
                    <a:gd name="connsiteX170" fmla="*/ 2570158 w 2677922"/>
                    <a:gd name="connsiteY170" fmla="*/ 896509 h 2672762"/>
                    <a:gd name="connsiteX171" fmla="*/ 2461287 w 2677922"/>
                    <a:gd name="connsiteY171" fmla="*/ 964102 h 2672762"/>
                    <a:gd name="connsiteX172" fmla="*/ 2438068 w 2677922"/>
                    <a:gd name="connsiteY172" fmla="*/ 1014668 h 2672762"/>
                    <a:gd name="connsiteX173" fmla="*/ 2454063 w 2677922"/>
                    <a:gd name="connsiteY173" fmla="*/ 1073489 h 2672762"/>
                    <a:gd name="connsiteX174" fmla="*/ 2492762 w 2677922"/>
                    <a:gd name="connsiteY174" fmla="*/ 1100836 h 2672762"/>
                    <a:gd name="connsiteX175" fmla="*/ 2628464 w 2677922"/>
                    <a:gd name="connsiteY175" fmla="*/ 1105996 h 2672762"/>
                    <a:gd name="connsiteX176" fmla="*/ 2672322 w 2677922"/>
                    <a:gd name="connsiteY176" fmla="*/ 1140566 h 2672762"/>
                    <a:gd name="connsiteX177" fmla="*/ 2677998 w 2677922"/>
                    <a:gd name="connsiteY177" fmla="*/ 1182360 h 2672762"/>
                    <a:gd name="connsiteX178" fmla="*/ 2644459 w 2677922"/>
                    <a:gd name="connsiteY178" fmla="*/ 1229830 h 2672762"/>
                    <a:gd name="connsiteX179" fmla="*/ 2522172 w 2677922"/>
                    <a:gd name="connsiteY179" fmla="*/ 1267497 h 2672762"/>
                    <a:gd name="connsiteX180" fmla="*/ 2483990 w 2677922"/>
                    <a:gd name="connsiteY180" fmla="*/ 1315998 h 2672762"/>
                    <a:gd name="connsiteX181" fmla="*/ 2486570 w 2677922"/>
                    <a:gd name="connsiteY181" fmla="*/ 1379980 h 2672762"/>
                    <a:gd name="connsiteX182" fmla="*/ 2512885 w 2677922"/>
                    <a:gd name="connsiteY182" fmla="*/ 1407842 h 2672762"/>
                    <a:gd name="connsiteX183" fmla="*/ 2641363 w 2677922"/>
                    <a:gd name="connsiteY183" fmla="*/ 1447057 h 2672762"/>
                    <a:gd name="connsiteX184" fmla="*/ 2677998 w 2677922"/>
                    <a:gd name="connsiteY184" fmla="*/ 1498138 h 2672762"/>
                    <a:gd name="connsiteX185" fmla="*/ 2677998 w 2677922"/>
                    <a:gd name="connsiteY185" fmla="*/ 1507426 h 2672762"/>
                    <a:gd name="connsiteX186" fmla="*/ 2611952 w 2677922"/>
                    <a:gd name="connsiteY186" fmla="*/ 1572955 h 2672762"/>
                    <a:gd name="connsiteX187" fmla="*/ 2490182 w 2677922"/>
                    <a:gd name="connsiteY187" fmla="*/ 1576567 h 2672762"/>
                    <a:gd name="connsiteX188" fmla="*/ 2457675 w 2677922"/>
                    <a:gd name="connsiteY188" fmla="*/ 1596690 h 2672762"/>
                    <a:gd name="connsiteX189" fmla="*/ 2437036 w 2677922"/>
                    <a:gd name="connsiteY189" fmla="*/ 1673055 h 2672762"/>
                    <a:gd name="connsiteX190" fmla="*/ 2457159 w 2677922"/>
                    <a:gd name="connsiteY190" fmla="*/ 1710205 h 2672762"/>
                    <a:gd name="connsiteX191" fmla="*/ 2564483 w 2677922"/>
                    <a:gd name="connsiteY191" fmla="*/ 1777282 h 2672762"/>
                    <a:gd name="connsiteX192" fmla="*/ 2588733 w 2677922"/>
                    <a:gd name="connsiteY192" fmla="*/ 1845907 h 2672762"/>
                    <a:gd name="connsiteX193" fmla="*/ 2571706 w 2677922"/>
                    <a:gd name="connsiteY193" fmla="*/ 1880994 h 2672762"/>
                    <a:gd name="connsiteX194" fmla="*/ 2538684 w 2677922"/>
                    <a:gd name="connsiteY194" fmla="*/ 1897505 h 2672762"/>
                    <a:gd name="connsiteX195" fmla="*/ 1338521 w 2677922"/>
                    <a:gd name="connsiteY195" fmla="*/ 2312867 h 2672762"/>
                    <a:gd name="connsiteX196" fmla="*/ 2316814 w 2677922"/>
                    <a:gd name="connsiteY196" fmla="*/ 1335605 h 2672762"/>
                    <a:gd name="connsiteX197" fmla="*/ 1340068 w 2677922"/>
                    <a:gd name="connsiteY197" fmla="*/ 359376 h 2672762"/>
                    <a:gd name="connsiteX198" fmla="*/ 361775 w 2677922"/>
                    <a:gd name="connsiteY198" fmla="*/ 1331994 h 2672762"/>
                    <a:gd name="connsiteX199" fmla="*/ 1338521 w 2677922"/>
                    <a:gd name="connsiteY199" fmla="*/ 2312867 h 267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2677922" h="2672762">
                      <a:moveTo>
                        <a:pt x="2538684" y="1897505"/>
                      </a:moveTo>
                      <a:cubicBezTo>
                        <a:pt x="2511337" y="1891313"/>
                        <a:pt x="2483990" y="1885121"/>
                        <a:pt x="2456643" y="1879446"/>
                      </a:cubicBezTo>
                      <a:cubicBezTo>
                        <a:pt x="2434456" y="1874286"/>
                        <a:pt x="2411753" y="1869642"/>
                        <a:pt x="2389566" y="1863966"/>
                      </a:cubicBezTo>
                      <a:cubicBezTo>
                        <a:pt x="2375119" y="1860354"/>
                        <a:pt x="2363767" y="1864482"/>
                        <a:pt x="2354479" y="1874802"/>
                      </a:cubicBezTo>
                      <a:cubicBezTo>
                        <a:pt x="2335389" y="1896989"/>
                        <a:pt x="2320425" y="1922272"/>
                        <a:pt x="2312170" y="1950651"/>
                      </a:cubicBezTo>
                      <a:cubicBezTo>
                        <a:pt x="2308042" y="1964066"/>
                        <a:pt x="2314234" y="1973869"/>
                        <a:pt x="2322489" y="1983157"/>
                      </a:cubicBezTo>
                      <a:cubicBezTo>
                        <a:pt x="2352416" y="2015664"/>
                        <a:pt x="2382858" y="2048170"/>
                        <a:pt x="2412785" y="2080161"/>
                      </a:cubicBezTo>
                      <a:cubicBezTo>
                        <a:pt x="2435488" y="2104412"/>
                        <a:pt x="2436520" y="2118859"/>
                        <a:pt x="2418461" y="2146722"/>
                      </a:cubicBezTo>
                      <a:cubicBezTo>
                        <a:pt x="2417429" y="2148270"/>
                        <a:pt x="2416397" y="2150334"/>
                        <a:pt x="2414849" y="2151882"/>
                      </a:cubicBezTo>
                      <a:cubicBezTo>
                        <a:pt x="2380795" y="2197804"/>
                        <a:pt x="2365831" y="2198320"/>
                        <a:pt x="2324037" y="2174585"/>
                      </a:cubicBezTo>
                      <a:cubicBezTo>
                        <a:pt x="2289982" y="2154978"/>
                        <a:pt x="2253864" y="2137434"/>
                        <a:pt x="2219294" y="2118859"/>
                      </a:cubicBezTo>
                      <a:cubicBezTo>
                        <a:pt x="2204846" y="2111120"/>
                        <a:pt x="2191431" y="2111120"/>
                        <a:pt x="2178531" y="2120407"/>
                      </a:cubicBezTo>
                      <a:cubicBezTo>
                        <a:pt x="2157892" y="2134855"/>
                        <a:pt x="2140349" y="2152398"/>
                        <a:pt x="2125386" y="2172521"/>
                      </a:cubicBezTo>
                      <a:cubicBezTo>
                        <a:pt x="2114550" y="2186968"/>
                        <a:pt x="2114034" y="2201416"/>
                        <a:pt x="2122806" y="2217411"/>
                      </a:cubicBezTo>
                      <a:cubicBezTo>
                        <a:pt x="2143961" y="2256109"/>
                        <a:pt x="2164600" y="2295323"/>
                        <a:pt x="2184723" y="2334538"/>
                      </a:cubicBezTo>
                      <a:cubicBezTo>
                        <a:pt x="2198655" y="2361885"/>
                        <a:pt x="2196591" y="2374268"/>
                        <a:pt x="2174404" y="2395423"/>
                      </a:cubicBezTo>
                      <a:cubicBezTo>
                        <a:pt x="2170792" y="2398519"/>
                        <a:pt x="2167696" y="2402131"/>
                        <a:pt x="2164084" y="2404711"/>
                      </a:cubicBezTo>
                      <a:cubicBezTo>
                        <a:pt x="2131062" y="2428962"/>
                        <a:pt x="2114034" y="2440829"/>
                        <a:pt x="2075336" y="2401615"/>
                      </a:cubicBezTo>
                      <a:cubicBezTo>
                        <a:pt x="2047473" y="2373236"/>
                        <a:pt x="2017547" y="2347953"/>
                        <a:pt x="1988652" y="2320606"/>
                      </a:cubicBezTo>
                      <a:cubicBezTo>
                        <a:pt x="1975236" y="2307707"/>
                        <a:pt x="1960789" y="2305127"/>
                        <a:pt x="1944277" y="2311835"/>
                      </a:cubicBezTo>
                      <a:cubicBezTo>
                        <a:pt x="1922607" y="2320606"/>
                        <a:pt x="1901968" y="2331958"/>
                        <a:pt x="1883392" y="2346405"/>
                      </a:cubicBezTo>
                      <a:cubicBezTo>
                        <a:pt x="1867913" y="2358273"/>
                        <a:pt x="1863785" y="2373236"/>
                        <a:pt x="1868429" y="2391811"/>
                      </a:cubicBezTo>
                      <a:cubicBezTo>
                        <a:pt x="1879264" y="2436701"/>
                        <a:pt x="1889584" y="2482107"/>
                        <a:pt x="1899388" y="2526997"/>
                      </a:cubicBezTo>
                      <a:cubicBezTo>
                        <a:pt x="1903516" y="2546604"/>
                        <a:pt x="1896808" y="2561568"/>
                        <a:pt x="1879264" y="2571887"/>
                      </a:cubicBezTo>
                      <a:cubicBezTo>
                        <a:pt x="1867397" y="2579111"/>
                        <a:pt x="1854498" y="2584787"/>
                        <a:pt x="1841082" y="2588915"/>
                      </a:cubicBezTo>
                      <a:cubicBezTo>
                        <a:pt x="1813736" y="2597686"/>
                        <a:pt x="1798256" y="2592526"/>
                        <a:pt x="1782777" y="2568276"/>
                      </a:cubicBezTo>
                      <a:cubicBezTo>
                        <a:pt x="1760074" y="2532157"/>
                        <a:pt x="1736855" y="2496555"/>
                        <a:pt x="1715184" y="2459404"/>
                      </a:cubicBezTo>
                      <a:cubicBezTo>
                        <a:pt x="1703316" y="2439281"/>
                        <a:pt x="1687837" y="2431542"/>
                        <a:pt x="1664618" y="2435669"/>
                      </a:cubicBezTo>
                      <a:cubicBezTo>
                        <a:pt x="1646043" y="2439281"/>
                        <a:pt x="1627984" y="2443925"/>
                        <a:pt x="1610440" y="2450117"/>
                      </a:cubicBezTo>
                      <a:cubicBezTo>
                        <a:pt x="1586190" y="2458888"/>
                        <a:pt x="1578450" y="2469208"/>
                        <a:pt x="1577418" y="2495007"/>
                      </a:cubicBezTo>
                      <a:cubicBezTo>
                        <a:pt x="1575870" y="2535769"/>
                        <a:pt x="1574838" y="2576015"/>
                        <a:pt x="1573806" y="2616777"/>
                      </a:cubicBezTo>
                      <a:cubicBezTo>
                        <a:pt x="1572774" y="2653928"/>
                        <a:pt x="1563487" y="2665795"/>
                        <a:pt x="1526852" y="2672503"/>
                      </a:cubicBezTo>
                      <a:cubicBezTo>
                        <a:pt x="1517049" y="2674567"/>
                        <a:pt x="1507245" y="2675599"/>
                        <a:pt x="1497441" y="2676115"/>
                      </a:cubicBezTo>
                      <a:cubicBezTo>
                        <a:pt x="1473191" y="2677663"/>
                        <a:pt x="1457711" y="2667859"/>
                        <a:pt x="1449972" y="2644124"/>
                      </a:cubicBezTo>
                      <a:cubicBezTo>
                        <a:pt x="1436040" y="2600782"/>
                        <a:pt x="1422624" y="2557956"/>
                        <a:pt x="1410241" y="2514614"/>
                      </a:cubicBezTo>
                      <a:cubicBezTo>
                        <a:pt x="1404565" y="2495007"/>
                        <a:pt x="1392698" y="2485719"/>
                        <a:pt x="1373091" y="2482623"/>
                      </a:cubicBezTo>
                      <a:cubicBezTo>
                        <a:pt x="1350388" y="2479527"/>
                        <a:pt x="1327685" y="2479527"/>
                        <a:pt x="1304982" y="2483139"/>
                      </a:cubicBezTo>
                      <a:cubicBezTo>
                        <a:pt x="1287955" y="2485719"/>
                        <a:pt x="1277119" y="2494491"/>
                        <a:pt x="1271959" y="2511518"/>
                      </a:cubicBezTo>
                      <a:cubicBezTo>
                        <a:pt x="1260092" y="2552280"/>
                        <a:pt x="1247192" y="2593042"/>
                        <a:pt x="1234293" y="2633805"/>
                      </a:cubicBezTo>
                      <a:cubicBezTo>
                        <a:pt x="1222941" y="2670439"/>
                        <a:pt x="1208494" y="2679727"/>
                        <a:pt x="1170828" y="2674567"/>
                      </a:cubicBezTo>
                      <a:cubicBezTo>
                        <a:pt x="1114070" y="2666827"/>
                        <a:pt x="1107362" y="2659087"/>
                        <a:pt x="1106847" y="2602330"/>
                      </a:cubicBezTo>
                      <a:cubicBezTo>
                        <a:pt x="1106331" y="2565180"/>
                        <a:pt x="1104783" y="2528545"/>
                        <a:pt x="1103751" y="2491395"/>
                      </a:cubicBezTo>
                      <a:cubicBezTo>
                        <a:pt x="1103234" y="2474368"/>
                        <a:pt x="1096527" y="2460952"/>
                        <a:pt x="1080532" y="2454244"/>
                      </a:cubicBezTo>
                      <a:cubicBezTo>
                        <a:pt x="1056281" y="2443925"/>
                        <a:pt x="1031514" y="2436701"/>
                        <a:pt x="1005199" y="2435153"/>
                      </a:cubicBezTo>
                      <a:cubicBezTo>
                        <a:pt x="989203" y="2434121"/>
                        <a:pt x="977852" y="2440313"/>
                        <a:pt x="969080" y="2454244"/>
                      </a:cubicBezTo>
                      <a:cubicBezTo>
                        <a:pt x="946894" y="2491395"/>
                        <a:pt x="923159" y="2527513"/>
                        <a:pt x="900456" y="2564148"/>
                      </a:cubicBezTo>
                      <a:cubicBezTo>
                        <a:pt x="882396" y="2593042"/>
                        <a:pt x="868465" y="2598202"/>
                        <a:pt x="836474" y="2587367"/>
                      </a:cubicBezTo>
                      <a:cubicBezTo>
                        <a:pt x="834926" y="2586851"/>
                        <a:pt x="833379" y="2586335"/>
                        <a:pt x="831830" y="2585819"/>
                      </a:cubicBezTo>
                      <a:cubicBezTo>
                        <a:pt x="782297" y="2565696"/>
                        <a:pt x="772493" y="2554344"/>
                        <a:pt x="785392" y="2504810"/>
                      </a:cubicBezTo>
                      <a:cubicBezTo>
                        <a:pt x="795196" y="2467144"/>
                        <a:pt x="802420" y="2428962"/>
                        <a:pt x="811707" y="2390779"/>
                      </a:cubicBezTo>
                      <a:cubicBezTo>
                        <a:pt x="816351" y="2371172"/>
                        <a:pt x="811191" y="2356209"/>
                        <a:pt x="794680" y="2344341"/>
                      </a:cubicBezTo>
                      <a:cubicBezTo>
                        <a:pt x="777137" y="2331958"/>
                        <a:pt x="759078" y="2321122"/>
                        <a:pt x="739470" y="2312351"/>
                      </a:cubicBezTo>
                      <a:cubicBezTo>
                        <a:pt x="720895" y="2304095"/>
                        <a:pt x="704900" y="2307191"/>
                        <a:pt x="689421" y="2321638"/>
                      </a:cubicBezTo>
                      <a:cubicBezTo>
                        <a:pt x="658462" y="2351049"/>
                        <a:pt x="626988" y="2379944"/>
                        <a:pt x="596029" y="2408838"/>
                      </a:cubicBezTo>
                      <a:cubicBezTo>
                        <a:pt x="572810" y="2431026"/>
                        <a:pt x="557847" y="2432057"/>
                        <a:pt x="530500" y="2415030"/>
                      </a:cubicBezTo>
                      <a:cubicBezTo>
                        <a:pt x="527404" y="2412966"/>
                        <a:pt x="524308" y="2410902"/>
                        <a:pt x="521212" y="2408838"/>
                      </a:cubicBezTo>
                      <a:cubicBezTo>
                        <a:pt x="481482" y="2380460"/>
                        <a:pt x="477870" y="2365496"/>
                        <a:pt x="500573" y="2322670"/>
                      </a:cubicBezTo>
                      <a:cubicBezTo>
                        <a:pt x="519148" y="2287584"/>
                        <a:pt x="537207" y="2252497"/>
                        <a:pt x="556298" y="2217927"/>
                      </a:cubicBezTo>
                      <a:cubicBezTo>
                        <a:pt x="566102" y="2199868"/>
                        <a:pt x="564555" y="2184388"/>
                        <a:pt x="552171" y="2168909"/>
                      </a:cubicBezTo>
                      <a:cubicBezTo>
                        <a:pt x="538756" y="2151882"/>
                        <a:pt x="523276" y="2136402"/>
                        <a:pt x="505733" y="2122987"/>
                      </a:cubicBezTo>
                      <a:cubicBezTo>
                        <a:pt x="490254" y="2111120"/>
                        <a:pt x="474774" y="2110088"/>
                        <a:pt x="457747" y="2119375"/>
                      </a:cubicBezTo>
                      <a:cubicBezTo>
                        <a:pt x="419564" y="2140014"/>
                        <a:pt x="380866" y="2160653"/>
                        <a:pt x="341652" y="2180777"/>
                      </a:cubicBezTo>
                      <a:cubicBezTo>
                        <a:pt x="314305" y="2195224"/>
                        <a:pt x="298310" y="2191612"/>
                        <a:pt x="278187" y="2168909"/>
                      </a:cubicBezTo>
                      <a:cubicBezTo>
                        <a:pt x="276639" y="2167361"/>
                        <a:pt x="275607" y="2165813"/>
                        <a:pt x="274059" y="2164265"/>
                      </a:cubicBezTo>
                      <a:cubicBezTo>
                        <a:pt x="238456" y="2122987"/>
                        <a:pt x="238972" y="2108540"/>
                        <a:pt x="276639" y="2069325"/>
                      </a:cubicBezTo>
                      <a:cubicBezTo>
                        <a:pt x="302954" y="2041463"/>
                        <a:pt x="327721" y="2013084"/>
                        <a:pt x="354551" y="1986253"/>
                      </a:cubicBezTo>
                      <a:cubicBezTo>
                        <a:pt x="367967" y="1972322"/>
                        <a:pt x="370547" y="1957874"/>
                        <a:pt x="363839" y="1940847"/>
                      </a:cubicBezTo>
                      <a:cubicBezTo>
                        <a:pt x="355067" y="1918660"/>
                        <a:pt x="342684" y="1898021"/>
                        <a:pt x="328237" y="1878930"/>
                      </a:cubicBezTo>
                      <a:cubicBezTo>
                        <a:pt x="316369" y="1863450"/>
                        <a:pt x="300374" y="1861902"/>
                        <a:pt x="283347" y="1866030"/>
                      </a:cubicBezTo>
                      <a:cubicBezTo>
                        <a:pt x="245680" y="1874802"/>
                        <a:pt x="208530" y="1883573"/>
                        <a:pt x="170864" y="1891829"/>
                      </a:cubicBezTo>
                      <a:cubicBezTo>
                        <a:pt x="165704" y="1892861"/>
                        <a:pt x="160544" y="1894409"/>
                        <a:pt x="155900" y="1895441"/>
                      </a:cubicBezTo>
                      <a:cubicBezTo>
                        <a:pt x="127521" y="1900601"/>
                        <a:pt x="113074" y="1893893"/>
                        <a:pt x="100175" y="1868094"/>
                      </a:cubicBezTo>
                      <a:cubicBezTo>
                        <a:pt x="95531" y="1858291"/>
                        <a:pt x="90887" y="1848487"/>
                        <a:pt x="87275" y="1838168"/>
                      </a:cubicBezTo>
                      <a:cubicBezTo>
                        <a:pt x="77988" y="1810821"/>
                        <a:pt x="83147" y="1795341"/>
                        <a:pt x="107915" y="1779862"/>
                      </a:cubicBezTo>
                      <a:cubicBezTo>
                        <a:pt x="143001" y="1757675"/>
                        <a:pt x="178603" y="1735488"/>
                        <a:pt x="213690" y="1713817"/>
                      </a:cubicBezTo>
                      <a:cubicBezTo>
                        <a:pt x="241552" y="1696274"/>
                        <a:pt x="245680" y="1686470"/>
                        <a:pt x="238972" y="1654480"/>
                      </a:cubicBezTo>
                      <a:cubicBezTo>
                        <a:pt x="234845" y="1636420"/>
                        <a:pt x="230201" y="1617845"/>
                        <a:pt x="222977" y="1600818"/>
                      </a:cubicBezTo>
                      <a:cubicBezTo>
                        <a:pt x="215753" y="1583791"/>
                        <a:pt x="203370" y="1575535"/>
                        <a:pt x="184279" y="1575019"/>
                      </a:cubicBezTo>
                      <a:cubicBezTo>
                        <a:pt x="142485" y="1574503"/>
                        <a:pt x="101207" y="1572955"/>
                        <a:pt x="59413" y="1571407"/>
                      </a:cubicBezTo>
                      <a:cubicBezTo>
                        <a:pt x="21746" y="1570375"/>
                        <a:pt x="10395" y="1560572"/>
                        <a:pt x="3687" y="1524453"/>
                      </a:cubicBezTo>
                      <a:cubicBezTo>
                        <a:pt x="3171" y="1520841"/>
                        <a:pt x="2139" y="1517230"/>
                        <a:pt x="1623" y="1513618"/>
                      </a:cubicBezTo>
                      <a:cubicBezTo>
                        <a:pt x="-4053" y="1467696"/>
                        <a:pt x="3687" y="1455828"/>
                        <a:pt x="48577" y="1442413"/>
                      </a:cubicBezTo>
                      <a:cubicBezTo>
                        <a:pt x="85727" y="1431061"/>
                        <a:pt x="122877" y="1418678"/>
                        <a:pt x="160544" y="1408358"/>
                      </a:cubicBezTo>
                      <a:cubicBezTo>
                        <a:pt x="181183" y="1402683"/>
                        <a:pt x="192018" y="1390815"/>
                        <a:pt x="194083" y="1370692"/>
                      </a:cubicBezTo>
                      <a:cubicBezTo>
                        <a:pt x="196147" y="1346957"/>
                        <a:pt x="197178" y="1322706"/>
                        <a:pt x="192534" y="1298971"/>
                      </a:cubicBezTo>
                      <a:cubicBezTo>
                        <a:pt x="189954" y="1283492"/>
                        <a:pt x="181183" y="1274204"/>
                        <a:pt x="166220" y="1269560"/>
                      </a:cubicBezTo>
                      <a:cubicBezTo>
                        <a:pt x="126490" y="1257693"/>
                        <a:pt x="86759" y="1245310"/>
                        <a:pt x="47029" y="1232926"/>
                      </a:cubicBezTo>
                      <a:cubicBezTo>
                        <a:pt x="3687" y="1219511"/>
                        <a:pt x="-957" y="1212287"/>
                        <a:pt x="1623" y="1166881"/>
                      </a:cubicBezTo>
                      <a:cubicBezTo>
                        <a:pt x="2139" y="1157593"/>
                        <a:pt x="4203" y="1148306"/>
                        <a:pt x="6267" y="1139534"/>
                      </a:cubicBezTo>
                      <a:cubicBezTo>
                        <a:pt x="12459" y="1116831"/>
                        <a:pt x="25358" y="1106512"/>
                        <a:pt x="49093" y="1105480"/>
                      </a:cubicBezTo>
                      <a:cubicBezTo>
                        <a:pt x="87791" y="1103932"/>
                        <a:pt x="125974" y="1102900"/>
                        <a:pt x="164672" y="1101868"/>
                      </a:cubicBezTo>
                      <a:cubicBezTo>
                        <a:pt x="170348" y="1101868"/>
                        <a:pt x="176023" y="1101352"/>
                        <a:pt x="181699" y="1101352"/>
                      </a:cubicBezTo>
                      <a:cubicBezTo>
                        <a:pt x="207498" y="1102384"/>
                        <a:pt x="220913" y="1087936"/>
                        <a:pt x="227621" y="1065233"/>
                      </a:cubicBezTo>
                      <a:cubicBezTo>
                        <a:pt x="232781" y="1048206"/>
                        <a:pt x="237425" y="1031179"/>
                        <a:pt x="241036" y="1014152"/>
                      </a:cubicBezTo>
                      <a:cubicBezTo>
                        <a:pt x="245680" y="990417"/>
                        <a:pt x="240005" y="979065"/>
                        <a:pt x="219366" y="965650"/>
                      </a:cubicBezTo>
                      <a:cubicBezTo>
                        <a:pt x="184279" y="943463"/>
                        <a:pt x="148676" y="921276"/>
                        <a:pt x="113590" y="899605"/>
                      </a:cubicBezTo>
                      <a:cubicBezTo>
                        <a:pt x="82116" y="879997"/>
                        <a:pt x="77472" y="867614"/>
                        <a:pt x="89855" y="832012"/>
                      </a:cubicBezTo>
                      <a:cubicBezTo>
                        <a:pt x="93467" y="820660"/>
                        <a:pt x="98111" y="809309"/>
                        <a:pt x="104818" y="799505"/>
                      </a:cubicBezTo>
                      <a:cubicBezTo>
                        <a:pt x="115654" y="782994"/>
                        <a:pt x="130617" y="774738"/>
                        <a:pt x="151256" y="779898"/>
                      </a:cubicBezTo>
                      <a:cubicBezTo>
                        <a:pt x="195114" y="790217"/>
                        <a:pt x="239489" y="799505"/>
                        <a:pt x="283347" y="810341"/>
                      </a:cubicBezTo>
                      <a:cubicBezTo>
                        <a:pt x="303469" y="815500"/>
                        <a:pt x="318949" y="810857"/>
                        <a:pt x="331332" y="794345"/>
                      </a:cubicBezTo>
                      <a:cubicBezTo>
                        <a:pt x="344232" y="776802"/>
                        <a:pt x="355584" y="757711"/>
                        <a:pt x="363839" y="737588"/>
                      </a:cubicBezTo>
                      <a:cubicBezTo>
                        <a:pt x="371063" y="719529"/>
                        <a:pt x="368999" y="704049"/>
                        <a:pt x="354551" y="689086"/>
                      </a:cubicBezTo>
                      <a:cubicBezTo>
                        <a:pt x="324625" y="658643"/>
                        <a:pt x="296246" y="627169"/>
                        <a:pt x="266835" y="595694"/>
                      </a:cubicBezTo>
                      <a:cubicBezTo>
                        <a:pt x="244132" y="570927"/>
                        <a:pt x="243100" y="556996"/>
                        <a:pt x="261675" y="529133"/>
                      </a:cubicBezTo>
                      <a:cubicBezTo>
                        <a:pt x="264771" y="525005"/>
                        <a:pt x="267351" y="520361"/>
                        <a:pt x="270447" y="516233"/>
                      </a:cubicBezTo>
                      <a:cubicBezTo>
                        <a:pt x="296762" y="481663"/>
                        <a:pt x="311209" y="478567"/>
                        <a:pt x="349907" y="498690"/>
                      </a:cubicBezTo>
                      <a:cubicBezTo>
                        <a:pt x="386026" y="517781"/>
                        <a:pt x="422144" y="536357"/>
                        <a:pt x="457231" y="555964"/>
                      </a:cubicBezTo>
                      <a:cubicBezTo>
                        <a:pt x="475806" y="566283"/>
                        <a:pt x="492318" y="564219"/>
                        <a:pt x="507797" y="551320"/>
                      </a:cubicBezTo>
                      <a:cubicBezTo>
                        <a:pt x="523276" y="538421"/>
                        <a:pt x="537723" y="523973"/>
                        <a:pt x="551139" y="508494"/>
                      </a:cubicBezTo>
                      <a:cubicBezTo>
                        <a:pt x="564555" y="492499"/>
                        <a:pt x="567650" y="476503"/>
                        <a:pt x="556815" y="456896"/>
                      </a:cubicBezTo>
                      <a:cubicBezTo>
                        <a:pt x="535143" y="418198"/>
                        <a:pt x="515020" y="378983"/>
                        <a:pt x="494381" y="339769"/>
                      </a:cubicBezTo>
                      <a:cubicBezTo>
                        <a:pt x="480966" y="313970"/>
                        <a:pt x="484062" y="300039"/>
                        <a:pt x="505217" y="280432"/>
                      </a:cubicBezTo>
                      <a:cubicBezTo>
                        <a:pt x="515020" y="271144"/>
                        <a:pt x="525856" y="263405"/>
                        <a:pt x="537723" y="256181"/>
                      </a:cubicBezTo>
                      <a:cubicBezTo>
                        <a:pt x="558362" y="244313"/>
                        <a:pt x="572810" y="245861"/>
                        <a:pt x="590353" y="261857"/>
                      </a:cubicBezTo>
                      <a:cubicBezTo>
                        <a:pt x="620280" y="289203"/>
                        <a:pt x="650207" y="317066"/>
                        <a:pt x="679617" y="344929"/>
                      </a:cubicBezTo>
                      <a:cubicBezTo>
                        <a:pt x="710576" y="374340"/>
                        <a:pt x="717284" y="375372"/>
                        <a:pt x="754950" y="355765"/>
                      </a:cubicBezTo>
                      <a:cubicBezTo>
                        <a:pt x="769913" y="348025"/>
                        <a:pt x="783845" y="339769"/>
                        <a:pt x="797260" y="329450"/>
                      </a:cubicBezTo>
                      <a:cubicBezTo>
                        <a:pt x="811707" y="317582"/>
                        <a:pt x="816351" y="303651"/>
                        <a:pt x="811707" y="285076"/>
                      </a:cubicBezTo>
                      <a:cubicBezTo>
                        <a:pt x="800872" y="242249"/>
                        <a:pt x="791585" y="198907"/>
                        <a:pt x="781781" y="156081"/>
                      </a:cubicBezTo>
                      <a:cubicBezTo>
                        <a:pt x="775589" y="128218"/>
                        <a:pt x="782297" y="114287"/>
                        <a:pt x="807064" y="100872"/>
                      </a:cubicBezTo>
                      <a:cubicBezTo>
                        <a:pt x="818415" y="95196"/>
                        <a:pt x="829766" y="90552"/>
                        <a:pt x="841634" y="86424"/>
                      </a:cubicBezTo>
                      <a:cubicBezTo>
                        <a:pt x="866917" y="78685"/>
                        <a:pt x="881364" y="83328"/>
                        <a:pt x="896328" y="106031"/>
                      </a:cubicBezTo>
                      <a:cubicBezTo>
                        <a:pt x="920062" y="142666"/>
                        <a:pt x="943798" y="179300"/>
                        <a:pt x="965469" y="217483"/>
                      </a:cubicBezTo>
                      <a:cubicBezTo>
                        <a:pt x="976820" y="237090"/>
                        <a:pt x="992299" y="243797"/>
                        <a:pt x="1013455" y="240702"/>
                      </a:cubicBezTo>
                      <a:cubicBezTo>
                        <a:pt x="1035641" y="237090"/>
                        <a:pt x="1057313" y="231414"/>
                        <a:pt x="1077952" y="222642"/>
                      </a:cubicBezTo>
                      <a:cubicBezTo>
                        <a:pt x="1092915" y="215935"/>
                        <a:pt x="1101171" y="205615"/>
                        <a:pt x="1101687" y="188072"/>
                      </a:cubicBezTo>
                      <a:cubicBezTo>
                        <a:pt x="1102719" y="143182"/>
                        <a:pt x="1105298" y="98808"/>
                        <a:pt x="1106847" y="53918"/>
                      </a:cubicBezTo>
                      <a:cubicBezTo>
                        <a:pt x="1107878" y="25023"/>
                        <a:pt x="1117166" y="12640"/>
                        <a:pt x="1145029" y="4900"/>
                      </a:cubicBezTo>
                      <a:cubicBezTo>
                        <a:pt x="1149672" y="3868"/>
                        <a:pt x="1154316" y="2320"/>
                        <a:pt x="1158960" y="1804"/>
                      </a:cubicBezTo>
                      <a:cubicBezTo>
                        <a:pt x="1210042" y="-3872"/>
                        <a:pt x="1222426" y="1804"/>
                        <a:pt x="1235841" y="48758"/>
                      </a:cubicBezTo>
                      <a:cubicBezTo>
                        <a:pt x="1246676" y="86940"/>
                        <a:pt x="1259576" y="124091"/>
                        <a:pt x="1269895" y="162273"/>
                      </a:cubicBezTo>
                      <a:cubicBezTo>
                        <a:pt x="1275055" y="180332"/>
                        <a:pt x="1285890" y="190136"/>
                        <a:pt x="1303434" y="192716"/>
                      </a:cubicBezTo>
                      <a:cubicBezTo>
                        <a:pt x="1327685" y="195812"/>
                        <a:pt x="1352452" y="195812"/>
                        <a:pt x="1376702" y="192716"/>
                      </a:cubicBezTo>
                      <a:cubicBezTo>
                        <a:pt x="1393730" y="190652"/>
                        <a:pt x="1404049" y="180332"/>
                        <a:pt x="1409209" y="163305"/>
                      </a:cubicBezTo>
                      <a:cubicBezTo>
                        <a:pt x="1421593" y="121511"/>
                        <a:pt x="1434492" y="79717"/>
                        <a:pt x="1447392" y="37922"/>
                      </a:cubicBezTo>
                      <a:cubicBezTo>
                        <a:pt x="1457195" y="6964"/>
                        <a:pt x="1466998" y="-260"/>
                        <a:pt x="1499505" y="256"/>
                      </a:cubicBezTo>
                      <a:cubicBezTo>
                        <a:pt x="1504149" y="256"/>
                        <a:pt x="1508793" y="256"/>
                        <a:pt x="1513436" y="772"/>
                      </a:cubicBezTo>
                      <a:cubicBezTo>
                        <a:pt x="1559358" y="5416"/>
                        <a:pt x="1572258" y="19347"/>
                        <a:pt x="1573290" y="65269"/>
                      </a:cubicBezTo>
                      <a:cubicBezTo>
                        <a:pt x="1574322" y="105515"/>
                        <a:pt x="1575870" y="145246"/>
                        <a:pt x="1576902" y="185492"/>
                      </a:cubicBezTo>
                      <a:cubicBezTo>
                        <a:pt x="1577418" y="201487"/>
                        <a:pt x="1583093" y="213871"/>
                        <a:pt x="1598057" y="220578"/>
                      </a:cubicBezTo>
                      <a:cubicBezTo>
                        <a:pt x="1622308" y="231414"/>
                        <a:pt x="1647590" y="238638"/>
                        <a:pt x="1674422" y="240702"/>
                      </a:cubicBezTo>
                      <a:cubicBezTo>
                        <a:pt x="1690933" y="241733"/>
                        <a:pt x="1702285" y="235026"/>
                        <a:pt x="1710540" y="221610"/>
                      </a:cubicBezTo>
                      <a:cubicBezTo>
                        <a:pt x="1733243" y="184976"/>
                        <a:pt x="1756462" y="148342"/>
                        <a:pt x="1779165" y="111707"/>
                      </a:cubicBezTo>
                      <a:cubicBezTo>
                        <a:pt x="1798772" y="80749"/>
                        <a:pt x="1810640" y="76621"/>
                        <a:pt x="1845726" y="88488"/>
                      </a:cubicBezTo>
                      <a:cubicBezTo>
                        <a:pt x="1849854" y="90036"/>
                        <a:pt x="1853466" y="91068"/>
                        <a:pt x="1857594" y="92616"/>
                      </a:cubicBezTo>
                      <a:cubicBezTo>
                        <a:pt x="1898356" y="110159"/>
                        <a:pt x="1905063" y="123059"/>
                        <a:pt x="1895260" y="166401"/>
                      </a:cubicBezTo>
                      <a:cubicBezTo>
                        <a:pt x="1886488" y="205099"/>
                        <a:pt x="1877717" y="243281"/>
                        <a:pt x="1868429" y="281980"/>
                      </a:cubicBezTo>
                      <a:cubicBezTo>
                        <a:pt x="1863269" y="303135"/>
                        <a:pt x="1868429" y="319646"/>
                        <a:pt x="1887004" y="332030"/>
                      </a:cubicBezTo>
                      <a:cubicBezTo>
                        <a:pt x="1906096" y="344929"/>
                        <a:pt x="1925187" y="356796"/>
                        <a:pt x="1946857" y="365052"/>
                      </a:cubicBezTo>
                      <a:cubicBezTo>
                        <a:pt x="1962337" y="370728"/>
                        <a:pt x="1974720" y="367116"/>
                        <a:pt x="1986588" y="355765"/>
                      </a:cubicBezTo>
                      <a:cubicBezTo>
                        <a:pt x="2018062" y="325838"/>
                        <a:pt x="2049537" y="296943"/>
                        <a:pt x="2081528" y="267532"/>
                      </a:cubicBezTo>
                      <a:cubicBezTo>
                        <a:pt x="2107843" y="242765"/>
                        <a:pt x="2122290" y="241733"/>
                        <a:pt x="2151701" y="261857"/>
                      </a:cubicBezTo>
                      <a:cubicBezTo>
                        <a:pt x="2153248" y="262889"/>
                        <a:pt x="2154281" y="263405"/>
                        <a:pt x="2155312" y="264437"/>
                      </a:cubicBezTo>
                      <a:cubicBezTo>
                        <a:pt x="2205363" y="300555"/>
                        <a:pt x="2198139" y="316034"/>
                        <a:pt x="2177500" y="353701"/>
                      </a:cubicBezTo>
                      <a:cubicBezTo>
                        <a:pt x="2158925" y="387755"/>
                        <a:pt x="2141381" y="422842"/>
                        <a:pt x="2122290" y="456896"/>
                      </a:cubicBezTo>
                      <a:cubicBezTo>
                        <a:pt x="2112487" y="474955"/>
                        <a:pt x="2114550" y="490435"/>
                        <a:pt x="2126934" y="505914"/>
                      </a:cubicBezTo>
                      <a:cubicBezTo>
                        <a:pt x="2140865" y="522941"/>
                        <a:pt x="2156345" y="538421"/>
                        <a:pt x="2173372" y="551836"/>
                      </a:cubicBezTo>
                      <a:cubicBezTo>
                        <a:pt x="2187819" y="563187"/>
                        <a:pt x="2202783" y="564735"/>
                        <a:pt x="2219810" y="555964"/>
                      </a:cubicBezTo>
                      <a:cubicBezTo>
                        <a:pt x="2258508" y="534809"/>
                        <a:pt x="2297722" y="514170"/>
                        <a:pt x="2336937" y="494046"/>
                      </a:cubicBezTo>
                      <a:cubicBezTo>
                        <a:pt x="2364799" y="479599"/>
                        <a:pt x="2380795" y="482695"/>
                        <a:pt x="2400917" y="507462"/>
                      </a:cubicBezTo>
                      <a:cubicBezTo>
                        <a:pt x="2408141" y="515717"/>
                        <a:pt x="2414849" y="524489"/>
                        <a:pt x="2420525" y="533777"/>
                      </a:cubicBezTo>
                      <a:cubicBezTo>
                        <a:pt x="2434972" y="556480"/>
                        <a:pt x="2433424" y="571443"/>
                        <a:pt x="2415365" y="591566"/>
                      </a:cubicBezTo>
                      <a:cubicBezTo>
                        <a:pt x="2384406" y="625105"/>
                        <a:pt x="2353448" y="659159"/>
                        <a:pt x="2321973" y="692182"/>
                      </a:cubicBezTo>
                      <a:cubicBezTo>
                        <a:pt x="2310106" y="704565"/>
                        <a:pt x="2307526" y="717981"/>
                        <a:pt x="2313718" y="733460"/>
                      </a:cubicBezTo>
                      <a:cubicBezTo>
                        <a:pt x="2323005" y="755647"/>
                        <a:pt x="2334357" y="776286"/>
                        <a:pt x="2349320" y="795377"/>
                      </a:cubicBezTo>
                      <a:cubicBezTo>
                        <a:pt x="2361187" y="810857"/>
                        <a:pt x="2375635" y="814984"/>
                        <a:pt x="2394726" y="810341"/>
                      </a:cubicBezTo>
                      <a:cubicBezTo>
                        <a:pt x="2438584" y="799505"/>
                        <a:pt x="2482958" y="789701"/>
                        <a:pt x="2526816" y="780414"/>
                      </a:cubicBezTo>
                      <a:cubicBezTo>
                        <a:pt x="2550035" y="775254"/>
                        <a:pt x="2563967" y="781962"/>
                        <a:pt x="2575834" y="803117"/>
                      </a:cubicBezTo>
                      <a:cubicBezTo>
                        <a:pt x="2582026" y="814468"/>
                        <a:pt x="2587186" y="826336"/>
                        <a:pt x="2591313" y="838719"/>
                      </a:cubicBezTo>
                      <a:cubicBezTo>
                        <a:pt x="2600085" y="867098"/>
                        <a:pt x="2595441" y="880514"/>
                        <a:pt x="2570158" y="896509"/>
                      </a:cubicBezTo>
                      <a:cubicBezTo>
                        <a:pt x="2534040" y="919212"/>
                        <a:pt x="2498437" y="942947"/>
                        <a:pt x="2461287" y="964102"/>
                      </a:cubicBezTo>
                      <a:cubicBezTo>
                        <a:pt x="2440132" y="976485"/>
                        <a:pt x="2434456" y="992997"/>
                        <a:pt x="2438068" y="1014668"/>
                      </a:cubicBezTo>
                      <a:cubicBezTo>
                        <a:pt x="2441164" y="1034791"/>
                        <a:pt x="2446840" y="1054398"/>
                        <a:pt x="2454063" y="1073489"/>
                      </a:cubicBezTo>
                      <a:cubicBezTo>
                        <a:pt x="2460771" y="1091032"/>
                        <a:pt x="2472638" y="1100320"/>
                        <a:pt x="2492762" y="1100836"/>
                      </a:cubicBezTo>
                      <a:cubicBezTo>
                        <a:pt x="2538168" y="1101352"/>
                        <a:pt x="2583058" y="1104448"/>
                        <a:pt x="2628464" y="1105996"/>
                      </a:cubicBezTo>
                      <a:cubicBezTo>
                        <a:pt x="2653230" y="1107028"/>
                        <a:pt x="2665614" y="1116831"/>
                        <a:pt x="2672322" y="1140566"/>
                      </a:cubicBezTo>
                      <a:cubicBezTo>
                        <a:pt x="2676449" y="1153982"/>
                        <a:pt x="2677998" y="1167913"/>
                        <a:pt x="2677998" y="1182360"/>
                      </a:cubicBezTo>
                      <a:cubicBezTo>
                        <a:pt x="2677998" y="1210223"/>
                        <a:pt x="2670258" y="1221575"/>
                        <a:pt x="2644459" y="1229830"/>
                      </a:cubicBezTo>
                      <a:cubicBezTo>
                        <a:pt x="2603697" y="1242730"/>
                        <a:pt x="2562934" y="1255113"/>
                        <a:pt x="2522172" y="1267497"/>
                      </a:cubicBezTo>
                      <a:cubicBezTo>
                        <a:pt x="2492762" y="1276268"/>
                        <a:pt x="2485022" y="1285556"/>
                        <a:pt x="2483990" y="1315998"/>
                      </a:cubicBezTo>
                      <a:cubicBezTo>
                        <a:pt x="2483474" y="1337153"/>
                        <a:pt x="2481926" y="1358824"/>
                        <a:pt x="2486570" y="1379980"/>
                      </a:cubicBezTo>
                      <a:cubicBezTo>
                        <a:pt x="2489666" y="1394427"/>
                        <a:pt x="2498437" y="1403199"/>
                        <a:pt x="2512885" y="1407842"/>
                      </a:cubicBezTo>
                      <a:cubicBezTo>
                        <a:pt x="2555711" y="1420742"/>
                        <a:pt x="2598537" y="1433641"/>
                        <a:pt x="2641363" y="1447057"/>
                      </a:cubicBezTo>
                      <a:cubicBezTo>
                        <a:pt x="2671290" y="1456344"/>
                        <a:pt x="2678514" y="1466664"/>
                        <a:pt x="2677998" y="1498138"/>
                      </a:cubicBezTo>
                      <a:cubicBezTo>
                        <a:pt x="2677998" y="1501234"/>
                        <a:pt x="2677998" y="1504330"/>
                        <a:pt x="2677998" y="1507426"/>
                      </a:cubicBezTo>
                      <a:cubicBezTo>
                        <a:pt x="2675934" y="1555928"/>
                        <a:pt x="2660454" y="1571407"/>
                        <a:pt x="2611952" y="1572955"/>
                      </a:cubicBezTo>
                      <a:cubicBezTo>
                        <a:pt x="2571190" y="1573987"/>
                        <a:pt x="2530944" y="1576051"/>
                        <a:pt x="2490182" y="1576567"/>
                      </a:cubicBezTo>
                      <a:cubicBezTo>
                        <a:pt x="2474702" y="1577083"/>
                        <a:pt x="2463867" y="1583791"/>
                        <a:pt x="2457675" y="1596690"/>
                      </a:cubicBezTo>
                      <a:cubicBezTo>
                        <a:pt x="2446324" y="1620941"/>
                        <a:pt x="2439100" y="1646224"/>
                        <a:pt x="2437036" y="1673055"/>
                      </a:cubicBezTo>
                      <a:cubicBezTo>
                        <a:pt x="2435488" y="1690082"/>
                        <a:pt x="2442712" y="1701434"/>
                        <a:pt x="2457159" y="1710205"/>
                      </a:cubicBezTo>
                      <a:cubicBezTo>
                        <a:pt x="2493278" y="1732392"/>
                        <a:pt x="2528880" y="1754579"/>
                        <a:pt x="2564483" y="1777282"/>
                      </a:cubicBezTo>
                      <a:cubicBezTo>
                        <a:pt x="2596989" y="1797405"/>
                        <a:pt x="2601117" y="1809789"/>
                        <a:pt x="2588733" y="1845907"/>
                      </a:cubicBezTo>
                      <a:cubicBezTo>
                        <a:pt x="2584606" y="1858291"/>
                        <a:pt x="2578930" y="1870158"/>
                        <a:pt x="2571706" y="1880994"/>
                      </a:cubicBezTo>
                      <a:cubicBezTo>
                        <a:pt x="2564998" y="1890797"/>
                        <a:pt x="2554163" y="1897505"/>
                        <a:pt x="2538684" y="1897505"/>
                      </a:cubicBezTo>
                      <a:close/>
                      <a:moveTo>
                        <a:pt x="1338521" y="2312867"/>
                      </a:moveTo>
                      <a:cubicBezTo>
                        <a:pt x="1869461" y="2314931"/>
                        <a:pt x="2317329" y="1887701"/>
                        <a:pt x="2316814" y="1335605"/>
                      </a:cubicBezTo>
                      <a:cubicBezTo>
                        <a:pt x="2316298" y="792797"/>
                        <a:pt x="1880813" y="359892"/>
                        <a:pt x="1340068" y="359376"/>
                      </a:cubicBezTo>
                      <a:cubicBezTo>
                        <a:pt x="796228" y="358860"/>
                        <a:pt x="363839" y="794861"/>
                        <a:pt x="361775" y="1331994"/>
                      </a:cubicBezTo>
                      <a:cubicBezTo>
                        <a:pt x="359711" y="1882026"/>
                        <a:pt x="806032" y="2314415"/>
                        <a:pt x="1338521" y="2312867"/>
                      </a:cubicBezTo>
                      <a:close/>
                    </a:path>
                  </a:pathLst>
                </a:custGeom>
                <a:grpFill/>
                <a:ln w="5155"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A9D3A2AA-E3A6-42DB-936E-D30F8E2F943A}"/>
                    </a:ext>
                  </a:extLst>
                </p:cNvPr>
                <p:cNvSpPr/>
                <p:nvPr/>
              </p:nvSpPr>
              <p:spPr>
                <a:xfrm>
                  <a:off x="7558586" y="2011427"/>
                  <a:ext cx="1898797" cy="1893637"/>
                </a:xfrm>
                <a:custGeom>
                  <a:avLst/>
                  <a:gdLst>
                    <a:gd name="connsiteX0" fmla="*/ 30 w 1898796"/>
                    <a:gd name="connsiteY0" fmla="*/ 947852 h 1893636"/>
                    <a:gd name="connsiteX1" fmla="*/ 950461 w 1898796"/>
                    <a:gd name="connsiteY1" fmla="*/ 2 h 1893636"/>
                    <a:gd name="connsiteX2" fmla="*/ 1898827 w 1898796"/>
                    <a:gd name="connsiteY2" fmla="*/ 950948 h 1893636"/>
                    <a:gd name="connsiteX3" fmla="*/ 946849 w 1898796"/>
                    <a:gd name="connsiteY3" fmla="*/ 1898283 h 1893636"/>
                    <a:gd name="connsiteX4" fmla="*/ 30 w 1898796"/>
                    <a:gd name="connsiteY4" fmla="*/ 947852 h 1893636"/>
                    <a:gd name="connsiteX5" fmla="*/ 1187811 w 1898796"/>
                    <a:gd name="connsiteY5" fmla="*/ 949916 h 1893636"/>
                    <a:gd name="connsiteX6" fmla="*/ 949429 w 1898796"/>
                    <a:gd name="connsiteY6" fmla="*/ 710503 h 1893636"/>
                    <a:gd name="connsiteX7" fmla="*/ 710532 w 1898796"/>
                    <a:gd name="connsiteY7" fmla="*/ 948368 h 1893636"/>
                    <a:gd name="connsiteX8" fmla="*/ 948397 w 1898796"/>
                    <a:gd name="connsiteY8" fmla="*/ 1188298 h 1893636"/>
                    <a:gd name="connsiteX9" fmla="*/ 1187811 w 1898796"/>
                    <a:gd name="connsiteY9" fmla="*/ 949916 h 1893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8796" h="1893636">
                      <a:moveTo>
                        <a:pt x="30" y="947852"/>
                      </a:moveTo>
                      <a:cubicBezTo>
                        <a:pt x="-3065" y="428263"/>
                        <a:pt x="426228" y="-1030"/>
                        <a:pt x="950461" y="2"/>
                      </a:cubicBezTo>
                      <a:cubicBezTo>
                        <a:pt x="1472114" y="1034"/>
                        <a:pt x="1899859" y="427747"/>
                        <a:pt x="1898827" y="950948"/>
                      </a:cubicBezTo>
                      <a:cubicBezTo>
                        <a:pt x="1897795" y="1468473"/>
                        <a:pt x="1477790" y="1899315"/>
                        <a:pt x="946849" y="1898283"/>
                      </a:cubicBezTo>
                      <a:cubicBezTo>
                        <a:pt x="411781" y="1896735"/>
                        <a:pt x="-4097" y="1460218"/>
                        <a:pt x="30" y="947852"/>
                      </a:cubicBezTo>
                      <a:close/>
                      <a:moveTo>
                        <a:pt x="1187811" y="949916"/>
                      </a:moveTo>
                      <a:cubicBezTo>
                        <a:pt x="1188327" y="817310"/>
                        <a:pt x="1084099" y="710503"/>
                        <a:pt x="949429" y="710503"/>
                      </a:cubicBezTo>
                      <a:cubicBezTo>
                        <a:pt x="805987" y="710503"/>
                        <a:pt x="710015" y="828146"/>
                        <a:pt x="710532" y="948368"/>
                      </a:cubicBezTo>
                      <a:cubicBezTo>
                        <a:pt x="711048" y="1081490"/>
                        <a:pt x="815791" y="1188298"/>
                        <a:pt x="948397" y="1188298"/>
                      </a:cubicBezTo>
                      <a:cubicBezTo>
                        <a:pt x="1081003" y="1188298"/>
                        <a:pt x="1187294" y="1083038"/>
                        <a:pt x="1187811" y="949916"/>
                      </a:cubicBezTo>
                      <a:close/>
                    </a:path>
                  </a:pathLst>
                </a:custGeom>
                <a:grpFill/>
                <a:ln w="5155" cap="flat">
                  <a:noFill/>
                  <a:prstDash val="solid"/>
                  <a:miter/>
                </a:ln>
              </p:spPr>
              <p:txBody>
                <a:bodyPr rtlCol="0" anchor="ctr"/>
                <a:lstStyle/>
                <a:p>
                  <a:endParaRPr lang="en-US"/>
                </a:p>
              </p:txBody>
            </p:sp>
          </p:grpSp>
        </p:grpSp>
        <p:sp>
          <p:nvSpPr>
            <p:cNvPr id="14" name="Freeform: Shape 13">
              <a:extLst>
                <a:ext uri="{FF2B5EF4-FFF2-40B4-BE49-F238E27FC236}">
                  <a16:creationId xmlns:a16="http://schemas.microsoft.com/office/drawing/2014/main" id="{07C996FD-CF0A-4F68-895E-6062455A1573}"/>
                </a:ext>
              </a:extLst>
            </p:cNvPr>
            <p:cNvSpPr/>
            <p:nvPr/>
          </p:nvSpPr>
          <p:spPr>
            <a:xfrm>
              <a:off x="4309443" y="5224203"/>
              <a:ext cx="936646" cy="931442"/>
            </a:xfrm>
            <a:custGeom>
              <a:avLst/>
              <a:gdLst>
                <a:gd name="connsiteX0" fmla="*/ 959201 w 1857518"/>
                <a:gd name="connsiteY0" fmla="*/ 1852264 h 1847198"/>
                <a:gd name="connsiteX1" fmla="*/ 910700 w 1857518"/>
                <a:gd name="connsiteY1" fmla="*/ 1852264 h 1847198"/>
                <a:gd name="connsiteX2" fmla="*/ 891608 w 1857518"/>
                <a:gd name="connsiteY2" fmla="*/ 1830593 h 1847198"/>
                <a:gd name="connsiteX3" fmla="*/ 838463 w 1857518"/>
                <a:gd name="connsiteY3" fmla="*/ 1669608 h 1847198"/>
                <a:gd name="connsiteX4" fmla="*/ 813180 w 1857518"/>
                <a:gd name="connsiteY4" fmla="*/ 1646905 h 1847198"/>
                <a:gd name="connsiteX5" fmla="*/ 730624 w 1857518"/>
                <a:gd name="connsiteY5" fmla="*/ 1628330 h 1847198"/>
                <a:gd name="connsiteX6" fmla="*/ 693990 w 1857518"/>
                <a:gd name="connsiteY6" fmla="*/ 1639165 h 1847198"/>
                <a:gd name="connsiteX7" fmla="*/ 573251 w 1857518"/>
                <a:gd name="connsiteY7" fmla="*/ 1761452 h 1847198"/>
                <a:gd name="connsiteX8" fmla="*/ 542292 w 1857518"/>
                <a:gd name="connsiteY8" fmla="*/ 1766612 h 1847198"/>
                <a:gd name="connsiteX9" fmla="*/ 412782 w 1857518"/>
                <a:gd name="connsiteY9" fmla="*/ 1693859 h 1847198"/>
                <a:gd name="connsiteX10" fmla="*/ 398334 w 1857518"/>
                <a:gd name="connsiteY10" fmla="*/ 1660836 h 1847198"/>
                <a:gd name="connsiteX11" fmla="*/ 440644 w 1857518"/>
                <a:gd name="connsiteY11" fmla="*/ 1494176 h 1847198"/>
                <a:gd name="connsiteX12" fmla="*/ 432904 w 1857518"/>
                <a:gd name="connsiteY12" fmla="*/ 1462185 h 1847198"/>
                <a:gd name="connsiteX13" fmla="*/ 370471 w 1857518"/>
                <a:gd name="connsiteY13" fmla="*/ 1397172 h 1847198"/>
                <a:gd name="connsiteX14" fmla="*/ 340545 w 1857518"/>
                <a:gd name="connsiteY14" fmla="*/ 1388400 h 1847198"/>
                <a:gd name="connsiteX15" fmla="*/ 310618 w 1857518"/>
                <a:gd name="connsiteY15" fmla="*/ 1395108 h 1847198"/>
                <a:gd name="connsiteX16" fmla="*/ 170273 w 1857518"/>
                <a:gd name="connsiteY16" fmla="*/ 1426583 h 1847198"/>
                <a:gd name="connsiteX17" fmla="*/ 141377 w 1857518"/>
                <a:gd name="connsiteY17" fmla="*/ 1413683 h 1847198"/>
                <a:gd name="connsiteX18" fmla="*/ 70689 w 1857518"/>
                <a:gd name="connsiteY18" fmla="*/ 1276949 h 1847198"/>
                <a:gd name="connsiteX19" fmla="*/ 75848 w 1857518"/>
                <a:gd name="connsiteY19" fmla="*/ 1247539 h 1847198"/>
                <a:gd name="connsiteX20" fmla="*/ 206391 w 1857518"/>
                <a:gd name="connsiteY20" fmla="*/ 1126284 h 1847198"/>
                <a:gd name="connsiteX21" fmla="*/ 216710 w 1857518"/>
                <a:gd name="connsiteY21" fmla="*/ 1096873 h 1847198"/>
                <a:gd name="connsiteX22" fmla="*/ 201231 w 1857518"/>
                <a:gd name="connsiteY22" fmla="*/ 1012769 h 1847198"/>
                <a:gd name="connsiteX23" fmla="*/ 181108 w 1857518"/>
                <a:gd name="connsiteY23" fmla="*/ 989034 h 1847198"/>
                <a:gd name="connsiteX24" fmla="*/ 67077 w 1857518"/>
                <a:gd name="connsiteY24" fmla="*/ 947240 h 1847198"/>
                <a:gd name="connsiteX25" fmla="*/ 0 w 1857518"/>
                <a:gd name="connsiteY25" fmla="*/ 921957 h 1847198"/>
                <a:gd name="connsiteX26" fmla="*/ 0 w 1857518"/>
                <a:gd name="connsiteY26" fmla="*/ 893062 h 1847198"/>
                <a:gd name="connsiteX27" fmla="*/ 4643 w 1857518"/>
                <a:gd name="connsiteY27" fmla="*/ 842496 h 1847198"/>
                <a:gd name="connsiteX28" fmla="*/ 17543 w 1857518"/>
                <a:gd name="connsiteY28" fmla="*/ 743945 h 1847198"/>
                <a:gd name="connsiteX29" fmla="*/ 38182 w 1857518"/>
                <a:gd name="connsiteY29" fmla="*/ 723305 h 1847198"/>
                <a:gd name="connsiteX30" fmla="*/ 214131 w 1857518"/>
                <a:gd name="connsiteY30" fmla="*/ 691315 h 1847198"/>
                <a:gd name="connsiteX31" fmla="*/ 239929 w 1857518"/>
                <a:gd name="connsiteY31" fmla="*/ 671192 h 1847198"/>
                <a:gd name="connsiteX32" fmla="*/ 266760 w 1857518"/>
                <a:gd name="connsiteY32" fmla="*/ 606695 h 1847198"/>
                <a:gd name="connsiteX33" fmla="*/ 262116 w 1857518"/>
                <a:gd name="connsiteY33" fmla="*/ 570060 h 1847198"/>
                <a:gd name="connsiteX34" fmla="*/ 159437 w 1857518"/>
                <a:gd name="connsiteY34" fmla="*/ 434874 h 1847198"/>
                <a:gd name="connsiteX35" fmla="*/ 159953 w 1857518"/>
                <a:gd name="connsiteY35" fmla="*/ 401336 h 1847198"/>
                <a:gd name="connsiteX36" fmla="*/ 259536 w 1857518"/>
                <a:gd name="connsiteY36" fmla="*/ 278017 h 1847198"/>
                <a:gd name="connsiteX37" fmla="*/ 294623 w 1857518"/>
                <a:gd name="connsiteY37" fmla="*/ 268729 h 1847198"/>
                <a:gd name="connsiteX38" fmla="*/ 457672 w 1857518"/>
                <a:gd name="connsiteY38" fmla="*/ 336322 h 1847198"/>
                <a:gd name="connsiteX39" fmla="*/ 489146 w 1857518"/>
                <a:gd name="connsiteY39" fmla="*/ 333743 h 1847198"/>
                <a:gd name="connsiteX40" fmla="*/ 540744 w 1857518"/>
                <a:gd name="connsiteY40" fmla="*/ 298140 h 1847198"/>
                <a:gd name="connsiteX41" fmla="*/ 553127 w 1857518"/>
                <a:gd name="connsiteY41" fmla="*/ 273889 h 1847198"/>
                <a:gd name="connsiteX42" fmla="*/ 552096 w 1857518"/>
                <a:gd name="connsiteY42" fmla="*/ 255830 h 1847198"/>
                <a:gd name="connsiteX43" fmla="*/ 545904 w 1857518"/>
                <a:gd name="connsiteY43" fmla="*/ 175854 h 1847198"/>
                <a:gd name="connsiteX44" fmla="*/ 539712 w 1857518"/>
                <a:gd name="connsiteY44" fmla="*/ 95877 h 1847198"/>
                <a:gd name="connsiteX45" fmla="*/ 556739 w 1857518"/>
                <a:gd name="connsiteY45" fmla="*/ 69562 h 1847198"/>
                <a:gd name="connsiteX46" fmla="*/ 716176 w 1857518"/>
                <a:gd name="connsiteY46" fmla="*/ 15901 h 1847198"/>
                <a:gd name="connsiteX47" fmla="*/ 726496 w 1857518"/>
                <a:gd name="connsiteY47" fmla="*/ 14353 h 1847198"/>
                <a:gd name="connsiteX48" fmla="*/ 748167 w 1857518"/>
                <a:gd name="connsiteY48" fmla="*/ 28800 h 1847198"/>
                <a:gd name="connsiteX49" fmla="*/ 847750 w 1857518"/>
                <a:gd name="connsiteY49" fmla="*/ 172758 h 1847198"/>
                <a:gd name="connsiteX50" fmla="*/ 878709 w 1857518"/>
                <a:gd name="connsiteY50" fmla="*/ 187721 h 1847198"/>
                <a:gd name="connsiteX51" fmla="*/ 931855 w 1857518"/>
                <a:gd name="connsiteY51" fmla="*/ 185657 h 1847198"/>
                <a:gd name="connsiteX52" fmla="*/ 948366 w 1857518"/>
                <a:gd name="connsiteY52" fmla="*/ 177401 h 1847198"/>
                <a:gd name="connsiteX53" fmla="*/ 954042 w 1857518"/>
                <a:gd name="connsiteY53" fmla="*/ 169146 h 1847198"/>
                <a:gd name="connsiteX54" fmla="*/ 979840 w 1857518"/>
                <a:gd name="connsiteY54" fmla="*/ 121676 h 1847198"/>
                <a:gd name="connsiteX55" fmla="*/ 1037630 w 1857518"/>
                <a:gd name="connsiteY55" fmla="*/ 13837 h 1847198"/>
                <a:gd name="connsiteX56" fmla="*/ 1066525 w 1857518"/>
                <a:gd name="connsiteY56" fmla="*/ 937 h 1847198"/>
                <a:gd name="connsiteX57" fmla="*/ 1233702 w 1857518"/>
                <a:gd name="connsiteY57" fmla="*/ 40667 h 1847198"/>
                <a:gd name="connsiteX58" fmla="*/ 1253309 w 1857518"/>
                <a:gd name="connsiteY58" fmla="*/ 64918 h 1847198"/>
                <a:gd name="connsiteX59" fmla="*/ 1254341 w 1857518"/>
                <a:gd name="connsiteY59" fmla="*/ 85042 h 1847198"/>
                <a:gd name="connsiteX60" fmla="*/ 1258468 w 1857518"/>
                <a:gd name="connsiteY60" fmla="*/ 209908 h 1847198"/>
                <a:gd name="connsiteX61" fmla="*/ 1260016 w 1857518"/>
                <a:gd name="connsiteY61" fmla="*/ 244478 h 1847198"/>
                <a:gd name="connsiteX62" fmla="*/ 1276012 w 1857518"/>
                <a:gd name="connsiteY62" fmla="*/ 270277 h 1847198"/>
                <a:gd name="connsiteX63" fmla="*/ 1313678 w 1857518"/>
                <a:gd name="connsiteY63" fmla="*/ 291948 h 1847198"/>
                <a:gd name="connsiteX64" fmla="*/ 1349797 w 1857518"/>
                <a:gd name="connsiteY64" fmla="*/ 291948 h 1847198"/>
                <a:gd name="connsiteX65" fmla="*/ 1502526 w 1857518"/>
                <a:gd name="connsiteY65" fmla="*/ 206812 h 1847198"/>
                <a:gd name="connsiteX66" fmla="*/ 1535033 w 1857518"/>
                <a:gd name="connsiteY66" fmla="*/ 211456 h 1847198"/>
                <a:gd name="connsiteX67" fmla="*/ 1653707 w 1857518"/>
                <a:gd name="connsiteY67" fmla="*/ 332711 h 1847198"/>
                <a:gd name="connsiteX68" fmla="*/ 1657835 w 1857518"/>
                <a:gd name="connsiteY68" fmla="*/ 366249 h 1847198"/>
                <a:gd name="connsiteX69" fmla="*/ 1569087 w 1857518"/>
                <a:gd name="connsiteY69" fmla="*/ 515883 h 1847198"/>
                <a:gd name="connsiteX70" fmla="*/ 1568571 w 1857518"/>
                <a:gd name="connsiteY70" fmla="*/ 550453 h 1847198"/>
                <a:gd name="connsiteX71" fmla="*/ 1591274 w 1857518"/>
                <a:gd name="connsiteY71" fmla="*/ 592247 h 1847198"/>
                <a:gd name="connsiteX72" fmla="*/ 1617589 w 1857518"/>
                <a:gd name="connsiteY72" fmla="*/ 608759 h 1847198"/>
                <a:gd name="connsiteX73" fmla="*/ 1676926 w 1857518"/>
                <a:gd name="connsiteY73" fmla="*/ 612886 h 1847198"/>
                <a:gd name="connsiteX74" fmla="*/ 1797665 w 1857518"/>
                <a:gd name="connsiteY74" fmla="*/ 620626 h 1847198"/>
                <a:gd name="connsiteX75" fmla="*/ 1820884 w 1857518"/>
                <a:gd name="connsiteY75" fmla="*/ 640233 h 1847198"/>
                <a:gd name="connsiteX76" fmla="*/ 1857518 w 1857518"/>
                <a:gd name="connsiteY76" fmla="*/ 808442 h 1847198"/>
                <a:gd name="connsiteX77" fmla="*/ 1851842 w 1857518"/>
                <a:gd name="connsiteY77" fmla="*/ 829081 h 1847198"/>
                <a:gd name="connsiteX78" fmla="*/ 1841523 w 1857518"/>
                <a:gd name="connsiteY78" fmla="*/ 836305 h 1847198"/>
                <a:gd name="connsiteX79" fmla="*/ 1686214 w 1857518"/>
                <a:gd name="connsiteY79" fmla="*/ 913701 h 1847198"/>
                <a:gd name="connsiteX80" fmla="*/ 1668670 w 1857518"/>
                <a:gd name="connsiteY80" fmla="*/ 940016 h 1847198"/>
                <a:gd name="connsiteX81" fmla="*/ 1665059 w 1857518"/>
                <a:gd name="connsiteY81" fmla="*/ 998322 h 1847198"/>
                <a:gd name="connsiteX82" fmla="*/ 1678474 w 1857518"/>
                <a:gd name="connsiteY82" fmla="*/ 1026184 h 1847198"/>
                <a:gd name="connsiteX83" fmla="*/ 1821916 w 1857518"/>
                <a:gd name="connsiteY83" fmla="*/ 1131960 h 1847198"/>
                <a:gd name="connsiteX84" fmla="*/ 1831720 w 1857518"/>
                <a:gd name="connsiteY84" fmla="*/ 1163950 h 1847198"/>
                <a:gd name="connsiteX85" fmla="*/ 1805404 w 1857518"/>
                <a:gd name="connsiteY85" fmla="*/ 1236703 h 1847198"/>
                <a:gd name="connsiteX86" fmla="*/ 1775478 w 1857518"/>
                <a:gd name="connsiteY86" fmla="*/ 1317711 h 1847198"/>
                <a:gd name="connsiteX87" fmla="*/ 1750195 w 1857518"/>
                <a:gd name="connsiteY87" fmla="*/ 1334223 h 1847198"/>
                <a:gd name="connsiteX88" fmla="*/ 1685698 w 1857518"/>
                <a:gd name="connsiteY88" fmla="*/ 1327515 h 1847198"/>
                <a:gd name="connsiteX89" fmla="*/ 1574247 w 1857518"/>
                <a:gd name="connsiteY89" fmla="*/ 1315648 h 1847198"/>
                <a:gd name="connsiteX90" fmla="*/ 1545868 w 1857518"/>
                <a:gd name="connsiteY90" fmla="*/ 1328547 h 1847198"/>
                <a:gd name="connsiteX91" fmla="*/ 1505622 w 1857518"/>
                <a:gd name="connsiteY91" fmla="*/ 1383241 h 1847198"/>
                <a:gd name="connsiteX92" fmla="*/ 1500978 w 1857518"/>
                <a:gd name="connsiteY92" fmla="*/ 1417811 h 1847198"/>
                <a:gd name="connsiteX93" fmla="*/ 1563411 w 1857518"/>
                <a:gd name="connsiteY93" fmla="*/ 1581892 h 1847198"/>
                <a:gd name="connsiteX94" fmla="*/ 1554124 w 1857518"/>
                <a:gd name="connsiteY94" fmla="*/ 1615430 h 1847198"/>
                <a:gd name="connsiteX95" fmla="*/ 1430805 w 1857518"/>
                <a:gd name="connsiteY95" fmla="*/ 1708822 h 1847198"/>
                <a:gd name="connsiteX96" fmla="*/ 1397266 w 1857518"/>
                <a:gd name="connsiteY96" fmla="*/ 1708306 h 1847198"/>
                <a:gd name="connsiteX97" fmla="*/ 1263628 w 1857518"/>
                <a:gd name="connsiteY97" fmla="*/ 1600467 h 1847198"/>
                <a:gd name="connsiteX98" fmla="*/ 1232154 w 1857518"/>
                <a:gd name="connsiteY98" fmla="*/ 1594275 h 1847198"/>
                <a:gd name="connsiteX99" fmla="*/ 1153725 w 1857518"/>
                <a:gd name="connsiteY99" fmla="*/ 1624202 h 1847198"/>
                <a:gd name="connsiteX100" fmla="*/ 1134634 w 1857518"/>
                <a:gd name="connsiteY100" fmla="*/ 1646905 h 1847198"/>
                <a:gd name="connsiteX101" fmla="*/ 1123798 w 1857518"/>
                <a:gd name="connsiteY101" fmla="*/ 1698503 h 1847198"/>
                <a:gd name="connsiteX102" fmla="*/ 1097999 w 1857518"/>
                <a:gd name="connsiteY102" fmla="*/ 1821821 h 1847198"/>
                <a:gd name="connsiteX103" fmla="*/ 1076329 w 1857518"/>
                <a:gd name="connsiteY103" fmla="*/ 1842460 h 1847198"/>
                <a:gd name="connsiteX104" fmla="*/ 994288 w 1857518"/>
                <a:gd name="connsiteY104" fmla="*/ 1851232 h 1847198"/>
                <a:gd name="connsiteX105" fmla="*/ 959201 w 1857518"/>
                <a:gd name="connsiteY105" fmla="*/ 1852264 h 1847198"/>
                <a:gd name="connsiteX106" fmla="*/ 928759 w 1857518"/>
                <a:gd name="connsiteY106" fmla="*/ 382245 h 1847198"/>
                <a:gd name="connsiteX107" fmla="*/ 386983 w 1857518"/>
                <a:gd name="connsiteY107" fmla="*/ 921957 h 1847198"/>
                <a:gd name="connsiteX108" fmla="*/ 926695 w 1857518"/>
                <a:gd name="connsiteY108" fmla="*/ 1465797 h 1847198"/>
                <a:gd name="connsiteX109" fmla="*/ 1470535 w 1857518"/>
                <a:gd name="connsiteY109" fmla="*/ 924537 h 1847198"/>
                <a:gd name="connsiteX110" fmla="*/ 928759 w 1857518"/>
                <a:gd name="connsiteY110" fmla="*/ 382245 h 1847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857518" h="1847198">
                  <a:moveTo>
                    <a:pt x="959201" y="1852264"/>
                  </a:moveTo>
                  <a:cubicBezTo>
                    <a:pt x="943206" y="1852264"/>
                    <a:pt x="927211" y="1852264"/>
                    <a:pt x="910700" y="1852264"/>
                  </a:cubicBezTo>
                  <a:cubicBezTo>
                    <a:pt x="900380" y="1848652"/>
                    <a:pt x="894704" y="1840913"/>
                    <a:pt x="891608" y="1830593"/>
                  </a:cubicBezTo>
                  <a:cubicBezTo>
                    <a:pt x="874065" y="1776931"/>
                    <a:pt x="856006" y="1723270"/>
                    <a:pt x="838463" y="1669608"/>
                  </a:cubicBezTo>
                  <a:cubicBezTo>
                    <a:pt x="834335" y="1657224"/>
                    <a:pt x="826080" y="1649485"/>
                    <a:pt x="813180" y="1646905"/>
                  </a:cubicBezTo>
                  <a:cubicBezTo>
                    <a:pt x="785833" y="1640713"/>
                    <a:pt x="757970" y="1635037"/>
                    <a:pt x="730624" y="1628330"/>
                  </a:cubicBezTo>
                  <a:cubicBezTo>
                    <a:pt x="716176" y="1624718"/>
                    <a:pt x="704309" y="1628330"/>
                    <a:pt x="693990" y="1639165"/>
                  </a:cubicBezTo>
                  <a:cubicBezTo>
                    <a:pt x="654259" y="1680443"/>
                    <a:pt x="613497" y="1720690"/>
                    <a:pt x="573251" y="1761452"/>
                  </a:cubicBezTo>
                  <a:cubicBezTo>
                    <a:pt x="563963" y="1770739"/>
                    <a:pt x="553127" y="1772804"/>
                    <a:pt x="542292" y="1766612"/>
                  </a:cubicBezTo>
                  <a:cubicBezTo>
                    <a:pt x="498950" y="1742361"/>
                    <a:pt x="456123" y="1718110"/>
                    <a:pt x="412782" y="1693859"/>
                  </a:cubicBezTo>
                  <a:cubicBezTo>
                    <a:pt x="397818" y="1685603"/>
                    <a:pt x="394206" y="1676832"/>
                    <a:pt x="398334" y="1660836"/>
                  </a:cubicBezTo>
                  <a:cubicBezTo>
                    <a:pt x="412265" y="1605111"/>
                    <a:pt x="426713" y="1549901"/>
                    <a:pt x="440644" y="1494176"/>
                  </a:cubicBezTo>
                  <a:cubicBezTo>
                    <a:pt x="443741" y="1482308"/>
                    <a:pt x="441676" y="1471473"/>
                    <a:pt x="432904" y="1462185"/>
                  </a:cubicBezTo>
                  <a:cubicBezTo>
                    <a:pt x="412265" y="1440514"/>
                    <a:pt x="391110" y="1418843"/>
                    <a:pt x="370471" y="1397172"/>
                  </a:cubicBezTo>
                  <a:cubicBezTo>
                    <a:pt x="362216" y="1388400"/>
                    <a:pt x="351896" y="1385820"/>
                    <a:pt x="340545" y="1388400"/>
                  </a:cubicBezTo>
                  <a:cubicBezTo>
                    <a:pt x="330226" y="1390464"/>
                    <a:pt x="320422" y="1393044"/>
                    <a:pt x="310618" y="1395108"/>
                  </a:cubicBezTo>
                  <a:cubicBezTo>
                    <a:pt x="263664" y="1405428"/>
                    <a:pt x="217226" y="1416263"/>
                    <a:pt x="170273" y="1426583"/>
                  </a:cubicBezTo>
                  <a:cubicBezTo>
                    <a:pt x="157373" y="1429679"/>
                    <a:pt x="147054" y="1425035"/>
                    <a:pt x="141377" y="1413683"/>
                  </a:cubicBezTo>
                  <a:cubicBezTo>
                    <a:pt x="117642" y="1368277"/>
                    <a:pt x="94423" y="1322355"/>
                    <a:pt x="70689" y="1276949"/>
                  </a:cubicBezTo>
                  <a:cubicBezTo>
                    <a:pt x="65529" y="1266630"/>
                    <a:pt x="67593" y="1255278"/>
                    <a:pt x="75848" y="1247539"/>
                  </a:cubicBezTo>
                  <a:cubicBezTo>
                    <a:pt x="119191" y="1207292"/>
                    <a:pt x="163049" y="1166530"/>
                    <a:pt x="206391" y="1126284"/>
                  </a:cubicBezTo>
                  <a:cubicBezTo>
                    <a:pt x="215162" y="1118544"/>
                    <a:pt x="218258" y="1108225"/>
                    <a:pt x="216710" y="1096873"/>
                  </a:cubicBezTo>
                  <a:cubicBezTo>
                    <a:pt x="211551" y="1069010"/>
                    <a:pt x="206391" y="1040631"/>
                    <a:pt x="201231" y="1012769"/>
                  </a:cubicBezTo>
                  <a:cubicBezTo>
                    <a:pt x="199167" y="1000901"/>
                    <a:pt x="192459" y="993162"/>
                    <a:pt x="181108" y="989034"/>
                  </a:cubicBezTo>
                  <a:cubicBezTo>
                    <a:pt x="142925" y="975103"/>
                    <a:pt x="104743" y="961171"/>
                    <a:pt x="67077" y="947240"/>
                  </a:cubicBezTo>
                  <a:cubicBezTo>
                    <a:pt x="44890" y="938984"/>
                    <a:pt x="22187" y="931760"/>
                    <a:pt x="0" y="921957"/>
                  </a:cubicBezTo>
                  <a:cubicBezTo>
                    <a:pt x="0" y="912153"/>
                    <a:pt x="0" y="902866"/>
                    <a:pt x="0" y="893062"/>
                  </a:cubicBezTo>
                  <a:cubicBezTo>
                    <a:pt x="1548" y="876035"/>
                    <a:pt x="3096" y="859524"/>
                    <a:pt x="4643" y="842496"/>
                  </a:cubicBezTo>
                  <a:cubicBezTo>
                    <a:pt x="7740" y="809474"/>
                    <a:pt x="12383" y="776451"/>
                    <a:pt x="17543" y="743945"/>
                  </a:cubicBezTo>
                  <a:cubicBezTo>
                    <a:pt x="19091" y="733109"/>
                    <a:pt x="26831" y="725369"/>
                    <a:pt x="38182" y="723305"/>
                  </a:cubicBezTo>
                  <a:cubicBezTo>
                    <a:pt x="97003" y="712470"/>
                    <a:pt x="155309" y="702150"/>
                    <a:pt x="214131" y="691315"/>
                  </a:cubicBezTo>
                  <a:cubicBezTo>
                    <a:pt x="226514" y="689251"/>
                    <a:pt x="234770" y="682543"/>
                    <a:pt x="239929" y="671192"/>
                  </a:cubicBezTo>
                  <a:cubicBezTo>
                    <a:pt x="248701" y="649521"/>
                    <a:pt x="257989" y="627850"/>
                    <a:pt x="266760" y="606695"/>
                  </a:cubicBezTo>
                  <a:cubicBezTo>
                    <a:pt x="272436" y="593279"/>
                    <a:pt x="270888" y="581928"/>
                    <a:pt x="262116" y="570060"/>
                  </a:cubicBezTo>
                  <a:cubicBezTo>
                    <a:pt x="227546" y="525170"/>
                    <a:pt x="193492" y="479764"/>
                    <a:pt x="159437" y="434874"/>
                  </a:cubicBezTo>
                  <a:cubicBezTo>
                    <a:pt x="150665" y="423007"/>
                    <a:pt x="150665" y="412687"/>
                    <a:pt x="159953" y="401336"/>
                  </a:cubicBezTo>
                  <a:cubicBezTo>
                    <a:pt x="192975" y="360058"/>
                    <a:pt x="225998" y="319295"/>
                    <a:pt x="259536" y="278017"/>
                  </a:cubicBezTo>
                  <a:cubicBezTo>
                    <a:pt x="270372" y="265118"/>
                    <a:pt x="279144" y="262538"/>
                    <a:pt x="294623" y="268729"/>
                  </a:cubicBezTo>
                  <a:cubicBezTo>
                    <a:pt x="348801" y="291433"/>
                    <a:pt x="402978" y="313620"/>
                    <a:pt x="457672" y="336322"/>
                  </a:cubicBezTo>
                  <a:cubicBezTo>
                    <a:pt x="468507" y="340966"/>
                    <a:pt x="479342" y="340450"/>
                    <a:pt x="489146" y="333743"/>
                  </a:cubicBezTo>
                  <a:cubicBezTo>
                    <a:pt x="506690" y="321875"/>
                    <a:pt x="523717" y="310008"/>
                    <a:pt x="540744" y="298140"/>
                  </a:cubicBezTo>
                  <a:cubicBezTo>
                    <a:pt x="548999" y="292464"/>
                    <a:pt x="553127" y="284209"/>
                    <a:pt x="553127" y="273889"/>
                  </a:cubicBezTo>
                  <a:cubicBezTo>
                    <a:pt x="553127" y="267697"/>
                    <a:pt x="552612" y="261506"/>
                    <a:pt x="552096" y="255830"/>
                  </a:cubicBezTo>
                  <a:cubicBezTo>
                    <a:pt x="550032" y="228999"/>
                    <a:pt x="547968" y="202684"/>
                    <a:pt x="545904" y="175854"/>
                  </a:cubicBezTo>
                  <a:cubicBezTo>
                    <a:pt x="543840" y="149023"/>
                    <a:pt x="541776" y="122708"/>
                    <a:pt x="539712" y="95877"/>
                  </a:cubicBezTo>
                  <a:cubicBezTo>
                    <a:pt x="538680" y="83493"/>
                    <a:pt x="544872" y="73690"/>
                    <a:pt x="556739" y="69562"/>
                  </a:cubicBezTo>
                  <a:cubicBezTo>
                    <a:pt x="609885" y="51503"/>
                    <a:pt x="663031" y="33444"/>
                    <a:pt x="716176" y="15901"/>
                  </a:cubicBezTo>
                  <a:cubicBezTo>
                    <a:pt x="719788" y="14869"/>
                    <a:pt x="722884" y="14353"/>
                    <a:pt x="726496" y="14353"/>
                  </a:cubicBezTo>
                  <a:cubicBezTo>
                    <a:pt x="736299" y="14869"/>
                    <a:pt x="742491" y="21060"/>
                    <a:pt x="748167" y="28800"/>
                  </a:cubicBezTo>
                  <a:cubicBezTo>
                    <a:pt x="781189" y="76786"/>
                    <a:pt x="814728" y="124772"/>
                    <a:pt x="847750" y="172758"/>
                  </a:cubicBezTo>
                  <a:cubicBezTo>
                    <a:pt x="855490" y="183593"/>
                    <a:pt x="865810" y="188753"/>
                    <a:pt x="878709" y="187721"/>
                  </a:cubicBezTo>
                  <a:cubicBezTo>
                    <a:pt x="896252" y="186173"/>
                    <a:pt x="914312" y="185657"/>
                    <a:pt x="931855" y="185657"/>
                  </a:cubicBezTo>
                  <a:cubicBezTo>
                    <a:pt x="939079" y="185657"/>
                    <a:pt x="944239" y="183077"/>
                    <a:pt x="948366" y="177401"/>
                  </a:cubicBezTo>
                  <a:cubicBezTo>
                    <a:pt x="950430" y="174822"/>
                    <a:pt x="952494" y="171726"/>
                    <a:pt x="954042" y="169146"/>
                  </a:cubicBezTo>
                  <a:cubicBezTo>
                    <a:pt x="962814" y="153150"/>
                    <a:pt x="971069" y="137155"/>
                    <a:pt x="979840" y="121676"/>
                  </a:cubicBezTo>
                  <a:cubicBezTo>
                    <a:pt x="998932" y="85558"/>
                    <a:pt x="1018539" y="49955"/>
                    <a:pt x="1037630" y="13837"/>
                  </a:cubicBezTo>
                  <a:cubicBezTo>
                    <a:pt x="1043822" y="2485"/>
                    <a:pt x="1053626" y="-2159"/>
                    <a:pt x="1066525" y="937"/>
                  </a:cubicBezTo>
                  <a:cubicBezTo>
                    <a:pt x="1122251" y="14353"/>
                    <a:pt x="1177976" y="27252"/>
                    <a:pt x="1233702" y="40667"/>
                  </a:cubicBezTo>
                  <a:cubicBezTo>
                    <a:pt x="1245569" y="43763"/>
                    <a:pt x="1252793" y="52535"/>
                    <a:pt x="1253309" y="64918"/>
                  </a:cubicBezTo>
                  <a:cubicBezTo>
                    <a:pt x="1253825" y="71626"/>
                    <a:pt x="1253825" y="78334"/>
                    <a:pt x="1254341" y="85042"/>
                  </a:cubicBezTo>
                  <a:cubicBezTo>
                    <a:pt x="1255888" y="126836"/>
                    <a:pt x="1256921" y="168630"/>
                    <a:pt x="1258468" y="209908"/>
                  </a:cubicBezTo>
                  <a:cubicBezTo>
                    <a:pt x="1258985" y="221260"/>
                    <a:pt x="1259501" y="233127"/>
                    <a:pt x="1260016" y="244478"/>
                  </a:cubicBezTo>
                  <a:cubicBezTo>
                    <a:pt x="1260532" y="255830"/>
                    <a:pt x="1266208" y="264602"/>
                    <a:pt x="1276012" y="270277"/>
                  </a:cubicBezTo>
                  <a:cubicBezTo>
                    <a:pt x="1288395" y="277501"/>
                    <a:pt x="1301295" y="284209"/>
                    <a:pt x="1313678" y="291948"/>
                  </a:cubicBezTo>
                  <a:cubicBezTo>
                    <a:pt x="1326062" y="299172"/>
                    <a:pt x="1337413" y="298656"/>
                    <a:pt x="1349797" y="291948"/>
                  </a:cubicBezTo>
                  <a:cubicBezTo>
                    <a:pt x="1400879" y="263570"/>
                    <a:pt x="1451444" y="235191"/>
                    <a:pt x="1502526" y="206812"/>
                  </a:cubicBezTo>
                  <a:cubicBezTo>
                    <a:pt x="1514394" y="200105"/>
                    <a:pt x="1525745" y="202168"/>
                    <a:pt x="1535033" y="211456"/>
                  </a:cubicBezTo>
                  <a:cubicBezTo>
                    <a:pt x="1574763" y="251702"/>
                    <a:pt x="1613977" y="292464"/>
                    <a:pt x="1653707" y="332711"/>
                  </a:cubicBezTo>
                  <a:cubicBezTo>
                    <a:pt x="1664027" y="343546"/>
                    <a:pt x="1665575" y="353350"/>
                    <a:pt x="1657835" y="366249"/>
                  </a:cubicBezTo>
                  <a:cubicBezTo>
                    <a:pt x="1628424" y="416299"/>
                    <a:pt x="1598497" y="465833"/>
                    <a:pt x="1569087" y="515883"/>
                  </a:cubicBezTo>
                  <a:cubicBezTo>
                    <a:pt x="1562379" y="527234"/>
                    <a:pt x="1561863" y="539102"/>
                    <a:pt x="1568571" y="550453"/>
                  </a:cubicBezTo>
                  <a:cubicBezTo>
                    <a:pt x="1576311" y="564384"/>
                    <a:pt x="1583534" y="578316"/>
                    <a:pt x="1591274" y="592247"/>
                  </a:cubicBezTo>
                  <a:cubicBezTo>
                    <a:pt x="1596950" y="602567"/>
                    <a:pt x="1605721" y="608243"/>
                    <a:pt x="1617589" y="608759"/>
                  </a:cubicBezTo>
                  <a:cubicBezTo>
                    <a:pt x="1637196" y="610307"/>
                    <a:pt x="1657319" y="611339"/>
                    <a:pt x="1676926" y="612886"/>
                  </a:cubicBezTo>
                  <a:cubicBezTo>
                    <a:pt x="1717172" y="615466"/>
                    <a:pt x="1757419" y="618046"/>
                    <a:pt x="1797665" y="620626"/>
                  </a:cubicBezTo>
                  <a:cubicBezTo>
                    <a:pt x="1809016" y="621142"/>
                    <a:pt x="1818304" y="628882"/>
                    <a:pt x="1820884" y="640233"/>
                  </a:cubicBezTo>
                  <a:cubicBezTo>
                    <a:pt x="1833267" y="695959"/>
                    <a:pt x="1845135" y="752200"/>
                    <a:pt x="1857518" y="808442"/>
                  </a:cubicBezTo>
                  <a:cubicBezTo>
                    <a:pt x="1859066" y="816181"/>
                    <a:pt x="1857002" y="822889"/>
                    <a:pt x="1851842" y="829081"/>
                  </a:cubicBezTo>
                  <a:cubicBezTo>
                    <a:pt x="1849262" y="832177"/>
                    <a:pt x="1845135" y="834241"/>
                    <a:pt x="1841523" y="836305"/>
                  </a:cubicBezTo>
                  <a:cubicBezTo>
                    <a:pt x="1789925" y="862103"/>
                    <a:pt x="1738327" y="887902"/>
                    <a:pt x="1686214" y="913701"/>
                  </a:cubicBezTo>
                  <a:cubicBezTo>
                    <a:pt x="1675378" y="919377"/>
                    <a:pt x="1669187" y="927633"/>
                    <a:pt x="1668670" y="940016"/>
                  </a:cubicBezTo>
                  <a:cubicBezTo>
                    <a:pt x="1667639" y="959623"/>
                    <a:pt x="1666090" y="978714"/>
                    <a:pt x="1665059" y="998322"/>
                  </a:cubicBezTo>
                  <a:cubicBezTo>
                    <a:pt x="1664543" y="1009673"/>
                    <a:pt x="1668670" y="1019477"/>
                    <a:pt x="1678474" y="1026184"/>
                  </a:cubicBezTo>
                  <a:cubicBezTo>
                    <a:pt x="1726460" y="1061271"/>
                    <a:pt x="1773930" y="1096873"/>
                    <a:pt x="1821916" y="1131960"/>
                  </a:cubicBezTo>
                  <a:cubicBezTo>
                    <a:pt x="1833267" y="1140215"/>
                    <a:pt x="1836879" y="1150535"/>
                    <a:pt x="1831720" y="1163950"/>
                  </a:cubicBezTo>
                  <a:cubicBezTo>
                    <a:pt x="1822948" y="1188201"/>
                    <a:pt x="1814176" y="1212452"/>
                    <a:pt x="1805404" y="1236703"/>
                  </a:cubicBezTo>
                  <a:cubicBezTo>
                    <a:pt x="1795601" y="1263534"/>
                    <a:pt x="1785798" y="1290881"/>
                    <a:pt x="1775478" y="1317711"/>
                  </a:cubicBezTo>
                  <a:cubicBezTo>
                    <a:pt x="1771350" y="1329063"/>
                    <a:pt x="1761546" y="1335255"/>
                    <a:pt x="1750195" y="1334223"/>
                  </a:cubicBezTo>
                  <a:cubicBezTo>
                    <a:pt x="1728524" y="1332159"/>
                    <a:pt x="1707369" y="1329579"/>
                    <a:pt x="1685698" y="1327515"/>
                  </a:cubicBezTo>
                  <a:cubicBezTo>
                    <a:pt x="1648548" y="1323387"/>
                    <a:pt x="1611397" y="1319259"/>
                    <a:pt x="1574247" y="1315648"/>
                  </a:cubicBezTo>
                  <a:cubicBezTo>
                    <a:pt x="1562379" y="1314616"/>
                    <a:pt x="1553092" y="1318743"/>
                    <a:pt x="1545868" y="1328547"/>
                  </a:cubicBezTo>
                  <a:cubicBezTo>
                    <a:pt x="1532453" y="1346606"/>
                    <a:pt x="1519553" y="1365181"/>
                    <a:pt x="1505622" y="1383241"/>
                  </a:cubicBezTo>
                  <a:cubicBezTo>
                    <a:pt x="1497366" y="1394076"/>
                    <a:pt x="1496334" y="1405428"/>
                    <a:pt x="1500978" y="1417811"/>
                  </a:cubicBezTo>
                  <a:cubicBezTo>
                    <a:pt x="1521617" y="1472505"/>
                    <a:pt x="1542772" y="1527198"/>
                    <a:pt x="1563411" y="1581892"/>
                  </a:cubicBezTo>
                  <a:cubicBezTo>
                    <a:pt x="1569087" y="1596339"/>
                    <a:pt x="1565991" y="1606143"/>
                    <a:pt x="1554124" y="1615430"/>
                  </a:cubicBezTo>
                  <a:cubicBezTo>
                    <a:pt x="1512845" y="1646389"/>
                    <a:pt x="1472083" y="1677864"/>
                    <a:pt x="1430805" y="1708822"/>
                  </a:cubicBezTo>
                  <a:cubicBezTo>
                    <a:pt x="1418938" y="1717594"/>
                    <a:pt x="1408618" y="1717594"/>
                    <a:pt x="1397266" y="1708306"/>
                  </a:cubicBezTo>
                  <a:cubicBezTo>
                    <a:pt x="1352892" y="1672704"/>
                    <a:pt x="1308003" y="1636585"/>
                    <a:pt x="1263628" y="1600467"/>
                  </a:cubicBezTo>
                  <a:cubicBezTo>
                    <a:pt x="1253825" y="1592727"/>
                    <a:pt x="1243505" y="1590147"/>
                    <a:pt x="1232154" y="1594275"/>
                  </a:cubicBezTo>
                  <a:cubicBezTo>
                    <a:pt x="1205839" y="1604079"/>
                    <a:pt x="1179524" y="1613883"/>
                    <a:pt x="1153725" y="1624202"/>
                  </a:cubicBezTo>
                  <a:cubicBezTo>
                    <a:pt x="1143406" y="1628330"/>
                    <a:pt x="1137214" y="1636070"/>
                    <a:pt x="1134634" y="1646905"/>
                  </a:cubicBezTo>
                  <a:cubicBezTo>
                    <a:pt x="1131022" y="1663932"/>
                    <a:pt x="1127411" y="1681475"/>
                    <a:pt x="1123798" y="1698503"/>
                  </a:cubicBezTo>
                  <a:cubicBezTo>
                    <a:pt x="1115027" y="1739781"/>
                    <a:pt x="1106771" y="1780543"/>
                    <a:pt x="1097999" y="1821821"/>
                  </a:cubicBezTo>
                  <a:cubicBezTo>
                    <a:pt x="1095420" y="1833689"/>
                    <a:pt x="1088196" y="1840913"/>
                    <a:pt x="1076329" y="1842460"/>
                  </a:cubicBezTo>
                  <a:cubicBezTo>
                    <a:pt x="1048982" y="1846072"/>
                    <a:pt x="1021635" y="1848652"/>
                    <a:pt x="994288" y="1851232"/>
                  </a:cubicBezTo>
                  <a:cubicBezTo>
                    <a:pt x="980873" y="1850200"/>
                    <a:pt x="970037" y="1851232"/>
                    <a:pt x="959201" y="1852264"/>
                  </a:cubicBezTo>
                  <a:close/>
                  <a:moveTo>
                    <a:pt x="928759" y="382245"/>
                  </a:moveTo>
                  <a:cubicBezTo>
                    <a:pt x="633620" y="381729"/>
                    <a:pt x="388015" y="619594"/>
                    <a:pt x="386983" y="921957"/>
                  </a:cubicBezTo>
                  <a:cubicBezTo>
                    <a:pt x="385951" y="1222772"/>
                    <a:pt x="627428" y="1464765"/>
                    <a:pt x="926695" y="1465797"/>
                  </a:cubicBezTo>
                  <a:cubicBezTo>
                    <a:pt x="1229058" y="1466829"/>
                    <a:pt x="1470019" y="1222772"/>
                    <a:pt x="1470535" y="924537"/>
                  </a:cubicBezTo>
                  <a:cubicBezTo>
                    <a:pt x="1470535" y="625270"/>
                    <a:pt x="1228026" y="381729"/>
                    <a:pt x="928759" y="382245"/>
                  </a:cubicBezTo>
                  <a:close/>
                </a:path>
              </a:pathLst>
            </a:custGeom>
            <a:grpFill/>
            <a:ln w="5155"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96A48627-8991-4822-BA51-E0B5CA3A4F9C}"/>
                </a:ext>
              </a:extLst>
            </p:cNvPr>
            <p:cNvSpPr/>
            <p:nvPr/>
          </p:nvSpPr>
          <p:spPr>
            <a:xfrm>
              <a:off x="3167084" y="4595897"/>
              <a:ext cx="1051669" cy="1070562"/>
            </a:xfrm>
            <a:custGeom>
              <a:avLst/>
              <a:gdLst>
                <a:gd name="connsiteX0" fmla="*/ 879664 w 1723364"/>
                <a:gd name="connsiteY0" fmla="*/ 267 h 1754322"/>
                <a:gd name="connsiteX1" fmla="*/ 964801 w 1723364"/>
                <a:gd name="connsiteY1" fmla="*/ 5943 h 1754322"/>
                <a:gd name="connsiteX2" fmla="*/ 979248 w 1723364"/>
                <a:gd name="connsiteY2" fmla="*/ 18843 h 1754322"/>
                <a:gd name="connsiteX3" fmla="*/ 977700 w 1723364"/>
                <a:gd name="connsiteY3" fmla="*/ 158673 h 1754322"/>
                <a:gd name="connsiteX4" fmla="*/ 968928 w 1723364"/>
                <a:gd name="connsiteY4" fmla="*/ 213366 h 1754322"/>
                <a:gd name="connsiteX5" fmla="*/ 979764 w 1723364"/>
                <a:gd name="connsiteY5" fmla="*/ 229877 h 1754322"/>
                <a:gd name="connsiteX6" fmla="*/ 1149520 w 1723364"/>
                <a:gd name="connsiteY6" fmla="*/ 285087 h 1754322"/>
                <a:gd name="connsiteX7" fmla="*/ 1166548 w 1723364"/>
                <a:gd name="connsiteY7" fmla="*/ 278379 h 1754322"/>
                <a:gd name="connsiteX8" fmla="*/ 1210406 w 1723364"/>
                <a:gd name="connsiteY8" fmla="*/ 190663 h 1754322"/>
                <a:gd name="connsiteX9" fmla="*/ 1263035 w 1723364"/>
                <a:gd name="connsiteY9" fmla="*/ 123070 h 1754322"/>
                <a:gd name="connsiteX10" fmla="*/ 1304314 w 1723364"/>
                <a:gd name="connsiteY10" fmla="*/ 119458 h 1754322"/>
                <a:gd name="connsiteX11" fmla="*/ 1458075 w 1723364"/>
                <a:gd name="connsiteY11" fmla="*/ 231941 h 1754322"/>
                <a:gd name="connsiteX12" fmla="*/ 1462203 w 1723364"/>
                <a:gd name="connsiteY12" fmla="*/ 251549 h 1754322"/>
                <a:gd name="connsiteX13" fmla="*/ 1461171 w 1723364"/>
                <a:gd name="connsiteY13" fmla="*/ 254128 h 1754322"/>
                <a:gd name="connsiteX14" fmla="*/ 1396158 w 1723364"/>
                <a:gd name="connsiteY14" fmla="*/ 347004 h 1754322"/>
                <a:gd name="connsiteX15" fmla="*/ 1337336 w 1723364"/>
                <a:gd name="connsiteY15" fmla="*/ 404794 h 1754322"/>
                <a:gd name="connsiteX16" fmla="*/ 1336304 w 1723364"/>
                <a:gd name="connsiteY16" fmla="*/ 419757 h 1754322"/>
                <a:gd name="connsiteX17" fmla="*/ 1369327 w 1723364"/>
                <a:gd name="connsiteY17" fmla="*/ 457939 h 1754322"/>
                <a:gd name="connsiteX18" fmla="*/ 1442596 w 1723364"/>
                <a:gd name="connsiteY18" fmla="*/ 565263 h 1754322"/>
                <a:gd name="connsiteX19" fmla="*/ 1462719 w 1723364"/>
                <a:gd name="connsiteY19" fmla="*/ 570938 h 1754322"/>
                <a:gd name="connsiteX20" fmla="*/ 1573138 w 1723364"/>
                <a:gd name="connsiteY20" fmla="*/ 514697 h 1754322"/>
                <a:gd name="connsiteX21" fmla="*/ 1650018 w 1723364"/>
                <a:gd name="connsiteY21" fmla="*/ 501281 h 1754322"/>
                <a:gd name="connsiteX22" fmla="*/ 1659822 w 1723364"/>
                <a:gd name="connsiteY22" fmla="*/ 509537 h 1754322"/>
                <a:gd name="connsiteX23" fmla="*/ 1724835 w 1723364"/>
                <a:gd name="connsiteY23" fmla="*/ 709220 h 1754322"/>
                <a:gd name="connsiteX24" fmla="*/ 1717611 w 1723364"/>
                <a:gd name="connsiteY24" fmla="*/ 723668 h 1754322"/>
                <a:gd name="connsiteX25" fmla="*/ 1671173 w 1723364"/>
                <a:gd name="connsiteY25" fmla="*/ 748950 h 1754322"/>
                <a:gd name="connsiteX26" fmla="*/ 1618544 w 1723364"/>
                <a:gd name="connsiteY26" fmla="*/ 760302 h 1754322"/>
                <a:gd name="connsiteX27" fmla="*/ 1529280 w 1723364"/>
                <a:gd name="connsiteY27" fmla="*/ 774234 h 1754322"/>
                <a:gd name="connsiteX28" fmla="*/ 1515349 w 1723364"/>
                <a:gd name="connsiteY28" fmla="*/ 791777 h 1754322"/>
                <a:gd name="connsiteX29" fmla="*/ 1521024 w 1723364"/>
                <a:gd name="connsiteY29" fmla="*/ 857306 h 1754322"/>
                <a:gd name="connsiteX30" fmla="*/ 1516380 w 1723364"/>
                <a:gd name="connsiteY30" fmla="*/ 953794 h 1754322"/>
                <a:gd name="connsiteX31" fmla="*/ 1538567 w 1723364"/>
                <a:gd name="connsiteY31" fmla="*/ 983720 h 1754322"/>
                <a:gd name="connsiteX32" fmla="*/ 1653114 w 1723364"/>
                <a:gd name="connsiteY32" fmla="*/ 1001779 h 1754322"/>
                <a:gd name="connsiteX33" fmla="*/ 1700584 w 1723364"/>
                <a:gd name="connsiteY33" fmla="*/ 1024483 h 1754322"/>
                <a:gd name="connsiteX34" fmla="*/ 1719675 w 1723364"/>
                <a:gd name="connsiteY34" fmla="*/ 1067825 h 1754322"/>
                <a:gd name="connsiteX35" fmla="*/ 1661370 w 1723364"/>
                <a:gd name="connsiteY35" fmla="*/ 1243773 h 1754322"/>
                <a:gd name="connsiteX36" fmla="*/ 1641763 w 1723364"/>
                <a:gd name="connsiteY36" fmla="*/ 1255124 h 1754322"/>
                <a:gd name="connsiteX37" fmla="*/ 1541663 w 1723364"/>
                <a:gd name="connsiteY37" fmla="*/ 1226230 h 1754322"/>
                <a:gd name="connsiteX38" fmla="*/ 1461687 w 1723364"/>
                <a:gd name="connsiteY38" fmla="*/ 1184436 h 1754322"/>
                <a:gd name="connsiteX39" fmla="*/ 1444143 w 1723364"/>
                <a:gd name="connsiteY39" fmla="*/ 1189079 h 1754322"/>
                <a:gd name="connsiteX40" fmla="*/ 1339400 w 1723364"/>
                <a:gd name="connsiteY40" fmla="*/ 1333553 h 1754322"/>
                <a:gd name="connsiteX41" fmla="*/ 1339916 w 1723364"/>
                <a:gd name="connsiteY41" fmla="*/ 1353160 h 1754322"/>
                <a:gd name="connsiteX42" fmla="*/ 1430212 w 1723364"/>
                <a:gd name="connsiteY42" fmla="*/ 1443456 h 1754322"/>
                <a:gd name="connsiteX43" fmla="*/ 1465814 w 1723364"/>
                <a:gd name="connsiteY43" fmla="*/ 1511565 h 1754322"/>
                <a:gd name="connsiteX44" fmla="*/ 1461171 w 1723364"/>
                <a:gd name="connsiteY44" fmla="*/ 1521369 h 1754322"/>
                <a:gd name="connsiteX45" fmla="*/ 1290382 w 1723364"/>
                <a:gd name="connsiteY45" fmla="*/ 1645203 h 1754322"/>
                <a:gd name="connsiteX46" fmla="*/ 1275419 w 1723364"/>
                <a:gd name="connsiteY46" fmla="*/ 1643655 h 1754322"/>
                <a:gd name="connsiteX47" fmla="*/ 1207310 w 1723364"/>
                <a:gd name="connsiteY47" fmla="*/ 1558003 h 1754322"/>
                <a:gd name="connsiteX48" fmla="*/ 1167064 w 1723364"/>
                <a:gd name="connsiteY48" fmla="*/ 1477511 h 1754322"/>
                <a:gd name="connsiteX49" fmla="*/ 1150036 w 1723364"/>
                <a:gd name="connsiteY49" fmla="*/ 1470803 h 1754322"/>
                <a:gd name="connsiteX50" fmla="*/ 981312 w 1723364"/>
                <a:gd name="connsiteY50" fmla="*/ 1526013 h 1754322"/>
                <a:gd name="connsiteX51" fmla="*/ 969960 w 1723364"/>
                <a:gd name="connsiteY51" fmla="*/ 1544072 h 1754322"/>
                <a:gd name="connsiteX52" fmla="*/ 989052 w 1723364"/>
                <a:gd name="connsiteY52" fmla="*/ 1663779 h 1754322"/>
                <a:gd name="connsiteX53" fmla="*/ 978216 w 1723364"/>
                <a:gd name="connsiteY53" fmla="*/ 1743755 h 1754322"/>
                <a:gd name="connsiteX54" fmla="*/ 966864 w 1723364"/>
                <a:gd name="connsiteY54" fmla="*/ 1749947 h 1754322"/>
                <a:gd name="connsiteX55" fmla="*/ 758410 w 1723364"/>
                <a:gd name="connsiteY55" fmla="*/ 1749947 h 1754322"/>
                <a:gd name="connsiteX56" fmla="*/ 745510 w 1723364"/>
                <a:gd name="connsiteY56" fmla="*/ 1737047 h 1754322"/>
                <a:gd name="connsiteX57" fmla="*/ 747058 w 1723364"/>
                <a:gd name="connsiteY57" fmla="*/ 1598249 h 1754322"/>
                <a:gd name="connsiteX58" fmla="*/ 756346 w 1723364"/>
                <a:gd name="connsiteY58" fmla="*/ 1543556 h 1754322"/>
                <a:gd name="connsiteX59" fmla="*/ 744478 w 1723364"/>
                <a:gd name="connsiteY59" fmla="*/ 1525496 h 1754322"/>
                <a:gd name="connsiteX60" fmla="*/ 575754 w 1723364"/>
                <a:gd name="connsiteY60" fmla="*/ 1470287 h 1754322"/>
                <a:gd name="connsiteX61" fmla="*/ 559758 w 1723364"/>
                <a:gd name="connsiteY61" fmla="*/ 1475963 h 1754322"/>
                <a:gd name="connsiteX62" fmla="*/ 504549 w 1723364"/>
                <a:gd name="connsiteY62" fmla="*/ 1585350 h 1754322"/>
                <a:gd name="connsiteX63" fmla="*/ 447275 w 1723364"/>
                <a:gd name="connsiteY63" fmla="*/ 1645719 h 1754322"/>
                <a:gd name="connsiteX64" fmla="*/ 434376 w 1723364"/>
                <a:gd name="connsiteY64" fmla="*/ 1643655 h 1754322"/>
                <a:gd name="connsiteX65" fmla="*/ 290418 w 1723364"/>
                <a:gd name="connsiteY65" fmla="*/ 1542008 h 1754322"/>
                <a:gd name="connsiteX66" fmla="*/ 265651 w 1723364"/>
                <a:gd name="connsiteY66" fmla="*/ 1521369 h 1754322"/>
                <a:gd name="connsiteX67" fmla="*/ 262039 w 1723364"/>
                <a:gd name="connsiteY67" fmla="*/ 1505889 h 1754322"/>
                <a:gd name="connsiteX68" fmla="*/ 321893 w 1723364"/>
                <a:gd name="connsiteY68" fmla="*/ 1415593 h 1754322"/>
                <a:gd name="connsiteX69" fmla="*/ 386906 w 1723364"/>
                <a:gd name="connsiteY69" fmla="*/ 1351096 h 1754322"/>
                <a:gd name="connsiteX70" fmla="*/ 387938 w 1723364"/>
                <a:gd name="connsiteY70" fmla="*/ 1334069 h 1754322"/>
                <a:gd name="connsiteX71" fmla="*/ 354915 w 1723364"/>
                <a:gd name="connsiteY71" fmla="*/ 1295887 h 1754322"/>
                <a:gd name="connsiteX72" fmla="*/ 282678 w 1723364"/>
                <a:gd name="connsiteY72" fmla="*/ 1189595 h 1754322"/>
                <a:gd name="connsiteX73" fmla="*/ 262555 w 1723364"/>
                <a:gd name="connsiteY73" fmla="*/ 1183920 h 1754322"/>
                <a:gd name="connsiteX74" fmla="*/ 152136 w 1723364"/>
                <a:gd name="connsiteY74" fmla="*/ 1240161 h 1754322"/>
                <a:gd name="connsiteX75" fmla="*/ 75256 w 1723364"/>
                <a:gd name="connsiteY75" fmla="*/ 1253577 h 1754322"/>
                <a:gd name="connsiteX76" fmla="*/ 65452 w 1723364"/>
                <a:gd name="connsiteY76" fmla="*/ 1245321 h 1754322"/>
                <a:gd name="connsiteX77" fmla="*/ 439 w 1723364"/>
                <a:gd name="connsiteY77" fmla="*/ 1045637 h 1754322"/>
                <a:gd name="connsiteX78" fmla="*/ 7663 w 1723364"/>
                <a:gd name="connsiteY78" fmla="*/ 1031190 h 1754322"/>
                <a:gd name="connsiteX79" fmla="*/ 54101 w 1723364"/>
                <a:gd name="connsiteY79" fmla="*/ 1005907 h 1754322"/>
                <a:gd name="connsiteX80" fmla="*/ 106730 w 1723364"/>
                <a:gd name="connsiteY80" fmla="*/ 994556 h 1754322"/>
                <a:gd name="connsiteX81" fmla="*/ 197026 w 1723364"/>
                <a:gd name="connsiteY81" fmla="*/ 980109 h 1754322"/>
                <a:gd name="connsiteX82" fmla="*/ 209410 w 1723364"/>
                <a:gd name="connsiteY82" fmla="*/ 964113 h 1754322"/>
                <a:gd name="connsiteX83" fmla="*/ 203734 w 1723364"/>
                <a:gd name="connsiteY83" fmla="*/ 897552 h 1754322"/>
                <a:gd name="connsiteX84" fmla="*/ 208378 w 1723364"/>
                <a:gd name="connsiteY84" fmla="*/ 801064 h 1754322"/>
                <a:gd name="connsiteX85" fmla="*/ 185159 w 1723364"/>
                <a:gd name="connsiteY85" fmla="*/ 770622 h 1754322"/>
                <a:gd name="connsiteX86" fmla="*/ 73192 w 1723364"/>
                <a:gd name="connsiteY86" fmla="*/ 753079 h 1754322"/>
                <a:gd name="connsiteX87" fmla="*/ 24690 w 1723364"/>
                <a:gd name="connsiteY87" fmla="*/ 730375 h 1754322"/>
                <a:gd name="connsiteX88" fmla="*/ 5599 w 1723364"/>
                <a:gd name="connsiteY88" fmla="*/ 687033 h 1754322"/>
                <a:gd name="connsiteX89" fmla="*/ 63904 w 1723364"/>
                <a:gd name="connsiteY89" fmla="*/ 511085 h 1754322"/>
                <a:gd name="connsiteX90" fmla="*/ 83511 w 1723364"/>
                <a:gd name="connsiteY90" fmla="*/ 499733 h 1754322"/>
                <a:gd name="connsiteX91" fmla="*/ 183611 w 1723364"/>
                <a:gd name="connsiteY91" fmla="*/ 528628 h 1754322"/>
                <a:gd name="connsiteX92" fmla="*/ 262555 w 1723364"/>
                <a:gd name="connsiteY92" fmla="*/ 569390 h 1754322"/>
                <a:gd name="connsiteX93" fmla="*/ 282163 w 1723364"/>
                <a:gd name="connsiteY93" fmla="*/ 564231 h 1754322"/>
                <a:gd name="connsiteX94" fmla="*/ 386906 w 1723364"/>
                <a:gd name="connsiteY94" fmla="*/ 419757 h 1754322"/>
                <a:gd name="connsiteX95" fmla="*/ 386390 w 1723364"/>
                <a:gd name="connsiteY95" fmla="*/ 402214 h 1754322"/>
                <a:gd name="connsiteX96" fmla="*/ 296094 w 1723364"/>
                <a:gd name="connsiteY96" fmla="*/ 311918 h 1754322"/>
                <a:gd name="connsiteX97" fmla="*/ 259975 w 1723364"/>
                <a:gd name="connsiteY97" fmla="*/ 242777 h 1754322"/>
                <a:gd name="connsiteX98" fmla="*/ 264619 w 1723364"/>
                <a:gd name="connsiteY98" fmla="*/ 232973 h 1754322"/>
                <a:gd name="connsiteX99" fmla="*/ 435408 w 1723364"/>
                <a:gd name="connsiteY99" fmla="*/ 109139 h 1754322"/>
                <a:gd name="connsiteX100" fmla="*/ 450371 w 1723364"/>
                <a:gd name="connsiteY100" fmla="*/ 110687 h 1754322"/>
                <a:gd name="connsiteX101" fmla="*/ 518480 w 1723364"/>
                <a:gd name="connsiteY101" fmla="*/ 196339 h 1754322"/>
                <a:gd name="connsiteX102" fmla="*/ 559758 w 1723364"/>
                <a:gd name="connsiteY102" fmla="*/ 277863 h 1754322"/>
                <a:gd name="connsiteX103" fmla="*/ 574722 w 1723364"/>
                <a:gd name="connsiteY103" fmla="*/ 283539 h 1754322"/>
                <a:gd name="connsiteX104" fmla="*/ 746026 w 1723364"/>
                <a:gd name="connsiteY104" fmla="*/ 227813 h 1754322"/>
                <a:gd name="connsiteX105" fmla="*/ 756346 w 1723364"/>
                <a:gd name="connsiteY105" fmla="*/ 211302 h 1754322"/>
                <a:gd name="connsiteX106" fmla="*/ 737254 w 1723364"/>
                <a:gd name="connsiteY106" fmla="*/ 91596 h 1754322"/>
                <a:gd name="connsiteX107" fmla="*/ 748090 w 1723364"/>
                <a:gd name="connsiteY107" fmla="*/ 10587 h 1754322"/>
                <a:gd name="connsiteX108" fmla="*/ 758410 w 1723364"/>
                <a:gd name="connsiteY108" fmla="*/ 4395 h 1754322"/>
                <a:gd name="connsiteX109" fmla="*/ 879664 w 1723364"/>
                <a:gd name="connsiteY109" fmla="*/ 267 h 1754322"/>
                <a:gd name="connsiteX110" fmla="*/ 861605 w 1723364"/>
                <a:gd name="connsiteY110" fmla="*/ 1409918 h 1754322"/>
                <a:gd name="connsiteX111" fmla="*/ 1392546 w 1723364"/>
                <a:gd name="connsiteY111" fmla="*/ 879493 h 1754322"/>
                <a:gd name="connsiteX112" fmla="*/ 862637 w 1723364"/>
                <a:gd name="connsiteY112" fmla="*/ 348552 h 1754322"/>
                <a:gd name="connsiteX113" fmla="*/ 331180 w 1723364"/>
                <a:gd name="connsiteY113" fmla="*/ 879493 h 1754322"/>
                <a:gd name="connsiteX114" fmla="*/ 861605 w 1723364"/>
                <a:gd name="connsiteY114" fmla="*/ 1409918 h 1754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723364" h="1754322">
                  <a:moveTo>
                    <a:pt x="879664" y="267"/>
                  </a:moveTo>
                  <a:cubicBezTo>
                    <a:pt x="907527" y="2332"/>
                    <a:pt x="935906" y="4395"/>
                    <a:pt x="964801" y="5943"/>
                  </a:cubicBezTo>
                  <a:cubicBezTo>
                    <a:pt x="974088" y="6459"/>
                    <a:pt x="976668" y="11103"/>
                    <a:pt x="979248" y="18843"/>
                  </a:cubicBezTo>
                  <a:cubicBezTo>
                    <a:pt x="994727" y="65797"/>
                    <a:pt x="985956" y="112235"/>
                    <a:pt x="977700" y="158673"/>
                  </a:cubicBezTo>
                  <a:cubicBezTo>
                    <a:pt x="974604" y="176732"/>
                    <a:pt x="972024" y="195307"/>
                    <a:pt x="968928" y="213366"/>
                  </a:cubicBezTo>
                  <a:cubicBezTo>
                    <a:pt x="967380" y="222654"/>
                    <a:pt x="969960" y="227813"/>
                    <a:pt x="979764" y="229877"/>
                  </a:cubicBezTo>
                  <a:cubicBezTo>
                    <a:pt x="1038585" y="240713"/>
                    <a:pt x="1095343" y="259804"/>
                    <a:pt x="1149520" y="285087"/>
                  </a:cubicBezTo>
                  <a:cubicBezTo>
                    <a:pt x="1158808" y="289215"/>
                    <a:pt x="1162420" y="286119"/>
                    <a:pt x="1166548" y="278379"/>
                  </a:cubicBezTo>
                  <a:cubicBezTo>
                    <a:pt x="1180995" y="248969"/>
                    <a:pt x="1197506" y="220590"/>
                    <a:pt x="1210406" y="190663"/>
                  </a:cubicBezTo>
                  <a:cubicBezTo>
                    <a:pt x="1222273" y="163316"/>
                    <a:pt x="1240848" y="142161"/>
                    <a:pt x="1263035" y="123070"/>
                  </a:cubicBezTo>
                  <a:cubicBezTo>
                    <a:pt x="1282643" y="106043"/>
                    <a:pt x="1282127" y="106559"/>
                    <a:pt x="1304314" y="119458"/>
                  </a:cubicBezTo>
                  <a:cubicBezTo>
                    <a:pt x="1359523" y="151449"/>
                    <a:pt x="1409573" y="190663"/>
                    <a:pt x="1458075" y="231941"/>
                  </a:cubicBezTo>
                  <a:cubicBezTo>
                    <a:pt x="1465299" y="238133"/>
                    <a:pt x="1467362" y="243809"/>
                    <a:pt x="1462203" y="251549"/>
                  </a:cubicBezTo>
                  <a:cubicBezTo>
                    <a:pt x="1461687" y="252064"/>
                    <a:pt x="1461171" y="253096"/>
                    <a:pt x="1461171" y="254128"/>
                  </a:cubicBezTo>
                  <a:cubicBezTo>
                    <a:pt x="1448271" y="291279"/>
                    <a:pt x="1425052" y="320689"/>
                    <a:pt x="1396158" y="347004"/>
                  </a:cubicBezTo>
                  <a:cubicBezTo>
                    <a:pt x="1375518" y="365064"/>
                    <a:pt x="1356943" y="385703"/>
                    <a:pt x="1337336" y="404794"/>
                  </a:cubicBezTo>
                  <a:cubicBezTo>
                    <a:pt x="1332177" y="409954"/>
                    <a:pt x="1330628" y="413565"/>
                    <a:pt x="1336304" y="419757"/>
                  </a:cubicBezTo>
                  <a:cubicBezTo>
                    <a:pt x="1347656" y="432141"/>
                    <a:pt x="1357459" y="445556"/>
                    <a:pt x="1369327" y="457939"/>
                  </a:cubicBezTo>
                  <a:cubicBezTo>
                    <a:pt x="1399769" y="489930"/>
                    <a:pt x="1419893" y="528628"/>
                    <a:pt x="1442596" y="565263"/>
                  </a:cubicBezTo>
                  <a:cubicBezTo>
                    <a:pt x="1448271" y="574550"/>
                    <a:pt x="1452915" y="576098"/>
                    <a:pt x="1462719" y="570938"/>
                  </a:cubicBezTo>
                  <a:cubicBezTo>
                    <a:pt x="1499353" y="551847"/>
                    <a:pt x="1535988" y="533272"/>
                    <a:pt x="1573138" y="514697"/>
                  </a:cubicBezTo>
                  <a:cubicBezTo>
                    <a:pt x="1597389" y="502830"/>
                    <a:pt x="1624220" y="504893"/>
                    <a:pt x="1650018" y="501281"/>
                  </a:cubicBezTo>
                  <a:cubicBezTo>
                    <a:pt x="1655694" y="500250"/>
                    <a:pt x="1658274" y="505409"/>
                    <a:pt x="1659822" y="509537"/>
                  </a:cubicBezTo>
                  <a:cubicBezTo>
                    <a:pt x="1687685" y="574034"/>
                    <a:pt x="1709872" y="640595"/>
                    <a:pt x="1724835" y="709220"/>
                  </a:cubicBezTo>
                  <a:cubicBezTo>
                    <a:pt x="1726383" y="716444"/>
                    <a:pt x="1723803" y="720572"/>
                    <a:pt x="1717611" y="723668"/>
                  </a:cubicBezTo>
                  <a:cubicBezTo>
                    <a:pt x="1702132" y="731923"/>
                    <a:pt x="1686653" y="740695"/>
                    <a:pt x="1671173" y="748950"/>
                  </a:cubicBezTo>
                  <a:cubicBezTo>
                    <a:pt x="1654662" y="757722"/>
                    <a:pt x="1636087" y="757206"/>
                    <a:pt x="1618544" y="760302"/>
                  </a:cubicBezTo>
                  <a:cubicBezTo>
                    <a:pt x="1589133" y="765462"/>
                    <a:pt x="1559207" y="770106"/>
                    <a:pt x="1529280" y="774234"/>
                  </a:cubicBezTo>
                  <a:cubicBezTo>
                    <a:pt x="1517412" y="775781"/>
                    <a:pt x="1514316" y="780941"/>
                    <a:pt x="1515349" y="791777"/>
                  </a:cubicBezTo>
                  <a:cubicBezTo>
                    <a:pt x="1517412" y="813448"/>
                    <a:pt x="1518444" y="835635"/>
                    <a:pt x="1521024" y="857306"/>
                  </a:cubicBezTo>
                  <a:cubicBezTo>
                    <a:pt x="1524636" y="889813"/>
                    <a:pt x="1518960" y="921803"/>
                    <a:pt x="1516380" y="953794"/>
                  </a:cubicBezTo>
                  <a:cubicBezTo>
                    <a:pt x="1514316" y="980109"/>
                    <a:pt x="1513284" y="980109"/>
                    <a:pt x="1538567" y="983720"/>
                  </a:cubicBezTo>
                  <a:cubicBezTo>
                    <a:pt x="1576750" y="989912"/>
                    <a:pt x="1614932" y="995588"/>
                    <a:pt x="1653114" y="1001779"/>
                  </a:cubicBezTo>
                  <a:cubicBezTo>
                    <a:pt x="1671173" y="1004875"/>
                    <a:pt x="1685105" y="1016227"/>
                    <a:pt x="1700584" y="1024483"/>
                  </a:cubicBezTo>
                  <a:cubicBezTo>
                    <a:pt x="1726899" y="1038414"/>
                    <a:pt x="1725867" y="1038930"/>
                    <a:pt x="1719675" y="1067825"/>
                  </a:cubicBezTo>
                  <a:cubicBezTo>
                    <a:pt x="1706260" y="1128710"/>
                    <a:pt x="1685105" y="1186500"/>
                    <a:pt x="1661370" y="1243773"/>
                  </a:cubicBezTo>
                  <a:cubicBezTo>
                    <a:pt x="1657242" y="1253577"/>
                    <a:pt x="1651566" y="1256157"/>
                    <a:pt x="1641763" y="1255124"/>
                  </a:cubicBezTo>
                  <a:cubicBezTo>
                    <a:pt x="1606160" y="1252028"/>
                    <a:pt x="1572622" y="1244805"/>
                    <a:pt x="1541663" y="1226230"/>
                  </a:cubicBezTo>
                  <a:cubicBezTo>
                    <a:pt x="1515864" y="1210750"/>
                    <a:pt x="1488001" y="1198883"/>
                    <a:pt x="1461687" y="1184436"/>
                  </a:cubicBezTo>
                  <a:cubicBezTo>
                    <a:pt x="1453947" y="1180308"/>
                    <a:pt x="1448787" y="1180308"/>
                    <a:pt x="1444143" y="1189079"/>
                  </a:cubicBezTo>
                  <a:cubicBezTo>
                    <a:pt x="1415249" y="1241709"/>
                    <a:pt x="1380162" y="1290211"/>
                    <a:pt x="1339400" y="1333553"/>
                  </a:cubicBezTo>
                  <a:cubicBezTo>
                    <a:pt x="1332177" y="1341293"/>
                    <a:pt x="1332177" y="1345936"/>
                    <a:pt x="1339916" y="1353160"/>
                  </a:cubicBezTo>
                  <a:cubicBezTo>
                    <a:pt x="1370359" y="1382571"/>
                    <a:pt x="1400801" y="1412498"/>
                    <a:pt x="1430212" y="1443456"/>
                  </a:cubicBezTo>
                  <a:cubicBezTo>
                    <a:pt x="1448271" y="1462547"/>
                    <a:pt x="1453947" y="1488862"/>
                    <a:pt x="1465814" y="1511565"/>
                  </a:cubicBezTo>
                  <a:cubicBezTo>
                    <a:pt x="1467879" y="1515693"/>
                    <a:pt x="1464267" y="1518789"/>
                    <a:pt x="1461171" y="1521369"/>
                  </a:cubicBezTo>
                  <a:cubicBezTo>
                    <a:pt x="1408025" y="1568323"/>
                    <a:pt x="1351784" y="1610117"/>
                    <a:pt x="1290382" y="1645203"/>
                  </a:cubicBezTo>
                  <a:cubicBezTo>
                    <a:pt x="1284707" y="1648815"/>
                    <a:pt x="1280579" y="1648299"/>
                    <a:pt x="1275419" y="1643655"/>
                  </a:cubicBezTo>
                  <a:cubicBezTo>
                    <a:pt x="1247040" y="1619404"/>
                    <a:pt x="1221757" y="1593606"/>
                    <a:pt x="1207310" y="1558003"/>
                  </a:cubicBezTo>
                  <a:cubicBezTo>
                    <a:pt x="1195958" y="1530140"/>
                    <a:pt x="1179963" y="1504341"/>
                    <a:pt x="1167064" y="1477511"/>
                  </a:cubicBezTo>
                  <a:cubicBezTo>
                    <a:pt x="1162936" y="1469255"/>
                    <a:pt x="1158808" y="1467191"/>
                    <a:pt x="1150036" y="1470803"/>
                  </a:cubicBezTo>
                  <a:cubicBezTo>
                    <a:pt x="1096375" y="1496086"/>
                    <a:pt x="1040133" y="1514661"/>
                    <a:pt x="981312" y="1526013"/>
                  </a:cubicBezTo>
                  <a:cubicBezTo>
                    <a:pt x="969960" y="1528076"/>
                    <a:pt x="967896" y="1534268"/>
                    <a:pt x="969960" y="1544072"/>
                  </a:cubicBezTo>
                  <a:cubicBezTo>
                    <a:pt x="976668" y="1583802"/>
                    <a:pt x="982860" y="1623532"/>
                    <a:pt x="989052" y="1663779"/>
                  </a:cubicBezTo>
                  <a:cubicBezTo>
                    <a:pt x="993179" y="1691641"/>
                    <a:pt x="982344" y="1716924"/>
                    <a:pt x="978216" y="1743755"/>
                  </a:cubicBezTo>
                  <a:cubicBezTo>
                    <a:pt x="977184" y="1749431"/>
                    <a:pt x="971508" y="1749431"/>
                    <a:pt x="966864" y="1749947"/>
                  </a:cubicBezTo>
                  <a:cubicBezTo>
                    <a:pt x="897207" y="1757170"/>
                    <a:pt x="828067" y="1756655"/>
                    <a:pt x="758410" y="1749947"/>
                  </a:cubicBezTo>
                  <a:cubicBezTo>
                    <a:pt x="749638" y="1748915"/>
                    <a:pt x="748090" y="1744271"/>
                    <a:pt x="745510" y="1737047"/>
                  </a:cubicBezTo>
                  <a:cubicBezTo>
                    <a:pt x="730031" y="1690609"/>
                    <a:pt x="738286" y="1644687"/>
                    <a:pt x="747058" y="1598249"/>
                  </a:cubicBezTo>
                  <a:cubicBezTo>
                    <a:pt x="750154" y="1580190"/>
                    <a:pt x="752734" y="1561615"/>
                    <a:pt x="756346" y="1543556"/>
                  </a:cubicBezTo>
                  <a:cubicBezTo>
                    <a:pt x="758410" y="1533236"/>
                    <a:pt x="755314" y="1527560"/>
                    <a:pt x="744478" y="1525496"/>
                  </a:cubicBezTo>
                  <a:cubicBezTo>
                    <a:pt x="685657" y="1514661"/>
                    <a:pt x="629931" y="1496086"/>
                    <a:pt x="575754" y="1470287"/>
                  </a:cubicBezTo>
                  <a:cubicBezTo>
                    <a:pt x="568014" y="1466675"/>
                    <a:pt x="563886" y="1467707"/>
                    <a:pt x="559758" y="1475963"/>
                  </a:cubicBezTo>
                  <a:cubicBezTo>
                    <a:pt x="541699" y="1512597"/>
                    <a:pt x="522608" y="1548715"/>
                    <a:pt x="504549" y="1585350"/>
                  </a:cubicBezTo>
                  <a:cubicBezTo>
                    <a:pt x="491649" y="1611149"/>
                    <a:pt x="466882" y="1626112"/>
                    <a:pt x="447275" y="1645719"/>
                  </a:cubicBezTo>
                  <a:cubicBezTo>
                    <a:pt x="442631" y="1650363"/>
                    <a:pt x="438504" y="1646235"/>
                    <a:pt x="434376" y="1643655"/>
                  </a:cubicBezTo>
                  <a:cubicBezTo>
                    <a:pt x="384326" y="1612697"/>
                    <a:pt x="334276" y="1581738"/>
                    <a:pt x="290418" y="1542008"/>
                  </a:cubicBezTo>
                  <a:cubicBezTo>
                    <a:pt x="282678" y="1534784"/>
                    <a:pt x="273907" y="1528076"/>
                    <a:pt x="265651" y="1521369"/>
                  </a:cubicBezTo>
                  <a:cubicBezTo>
                    <a:pt x="259975" y="1516725"/>
                    <a:pt x="259459" y="1512597"/>
                    <a:pt x="262039" y="1505889"/>
                  </a:cubicBezTo>
                  <a:cubicBezTo>
                    <a:pt x="276487" y="1472351"/>
                    <a:pt x="292998" y="1440360"/>
                    <a:pt x="321893" y="1415593"/>
                  </a:cubicBezTo>
                  <a:cubicBezTo>
                    <a:pt x="345112" y="1395986"/>
                    <a:pt x="365235" y="1372767"/>
                    <a:pt x="386906" y="1351096"/>
                  </a:cubicBezTo>
                  <a:cubicBezTo>
                    <a:pt x="393098" y="1345421"/>
                    <a:pt x="394129" y="1341293"/>
                    <a:pt x="387938" y="1334069"/>
                  </a:cubicBezTo>
                  <a:cubicBezTo>
                    <a:pt x="376586" y="1321685"/>
                    <a:pt x="366783" y="1308270"/>
                    <a:pt x="354915" y="1295887"/>
                  </a:cubicBezTo>
                  <a:cubicBezTo>
                    <a:pt x="324989" y="1264412"/>
                    <a:pt x="305382" y="1225714"/>
                    <a:pt x="282678" y="1189595"/>
                  </a:cubicBezTo>
                  <a:cubicBezTo>
                    <a:pt x="277003" y="1180308"/>
                    <a:pt x="272359" y="1178760"/>
                    <a:pt x="262555" y="1183920"/>
                  </a:cubicBezTo>
                  <a:cubicBezTo>
                    <a:pt x="225921" y="1203011"/>
                    <a:pt x="189287" y="1221586"/>
                    <a:pt x="152136" y="1240161"/>
                  </a:cubicBezTo>
                  <a:cubicBezTo>
                    <a:pt x="127885" y="1252545"/>
                    <a:pt x="101054" y="1249965"/>
                    <a:pt x="75256" y="1253577"/>
                  </a:cubicBezTo>
                  <a:cubicBezTo>
                    <a:pt x="69580" y="1254608"/>
                    <a:pt x="67000" y="1249965"/>
                    <a:pt x="65452" y="1245321"/>
                  </a:cubicBezTo>
                  <a:cubicBezTo>
                    <a:pt x="37589" y="1180824"/>
                    <a:pt x="15402" y="1114263"/>
                    <a:pt x="439" y="1045637"/>
                  </a:cubicBezTo>
                  <a:cubicBezTo>
                    <a:pt x="-1109" y="1038414"/>
                    <a:pt x="1471" y="1034286"/>
                    <a:pt x="7663" y="1031190"/>
                  </a:cubicBezTo>
                  <a:cubicBezTo>
                    <a:pt x="23142" y="1022935"/>
                    <a:pt x="38621" y="1014163"/>
                    <a:pt x="54101" y="1005907"/>
                  </a:cubicBezTo>
                  <a:cubicBezTo>
                    <a:pt x="70612" y="997136"/>
                    <a:pt x="89187" y="997652"/>
                    <a:pt x="106730" y="994556"/>
                  </a:cubicBezTo>
                  <a:cubicBezTo>
                    <a:pt x="136657" y="989396"/>
                    <a:pt x="167099" y="984236"/>
                    <a:pt x="197026" y="980109"/>
                  </a:cubicBezTo>
                  <a:cubicBezTo>
                    <a:pt x="207346" y="978560"/>
                    <a:pt x="210442" y="973917"/>
                    <a:pt x="209410" y="964113"/>
                  </a:cubicBezTo>
                  <a:cubicBezTo>
                    <a:pt x="207346" y="941926"/>
                    <a:pt x="206314" y="919739"/>
                    <a:pt x="203734" y="897552"/>
                  </a:cubicBezTo>
                  <a:cubicBezTo>
                    <a:pt x="200122" y="865045"/>
                    <a:pt x="205798" y="833055"/>
                    <a:pt x="208378" y="801064"/>
                  </a:cubicBezTo>
                  <a:cubicBezTo>
                    <a:pt x="210442" y="774749"/>
                    <a:pt x="211474" y="774749"/>
                    <a:pt x="185159" y="770622"/>
                  </a:cubicBezTo>
                  <a:cubicBezTo>
                    <a:pt x="148009" y="764430"/>
                    <a:pt x="110342" y="758754"/>
                    <a:pt x="73192" y="753079"/>
                  </a:cubicBezTo>
                  <a:cubicBezTo>
                    <a:pt x="54616" y="750499"/>
                    <a:pt x="40169" y="738631"/>
                    <a:pt x="24690" y="730375"/>
                  </a:cubicBezTo>
                  <a:cubicBezTo>
                    <a:pt x="-1625" y="715928"/>
                    <a:pt x="-593" y="715928"/>
                    <a:pt x="5599" y="687033"/>
                  </a:cubicBezTo>
                  <a:cubicBezTo>
                    <a:pt x="19014" y="626148"/>
                    <a:pt x="40169" y="568358"/>
                    <a:pt x="63904" y="511085"/>
                  </a:cubicBezTo>
                  <a:cubicBezTo>
                    <a:pt x="68032" y="501281"/>
                    <a:pt x="73192" y="498701"/>
                    <a:pt x="83511" y="499733"/>
                  </a:cubicBezTo>
                  <a:cubicBezTo>
                    <a:pt x="119114" y="502830"/>
                    <a:pt x="152652" y="510053"/>
                    <a:pt x="183611" y="528628"/>
                  </a:cubicBezTo>
                  <a:cubicBezTo>
                    <a:pt x="208894" y="543592"/>
                    <a:pt x="236241" y="555459"/>
                    <a:pt x="262555" y="569390"/>
                  </a:cubicBezTo>
                  <a:cubicBezTo>
                    <a:pt x="271327" y="574034"/>
                    <a:pt x="277003" y="574034"/>
                    <a:pt x="282163" y="564231"/>
                  </a:cubicBezTo>
                  <a:cubicBezTo>
                    <a:pt x="311057" y="511601"/>
                    <a:pt x="346144" y="463615"/>
                    <a:pt x="386906" y="419757"/>
                  </a:cubicBezTo>
                  <a:cubicBezTo>
                    <a:pt x="393614" y="412534"/>
                    <a:pt x="393098" y="408922"/>
                    <a:pt x="386390" y="402214"/>
                  </a:cubicBezTo>
                  <a:cubicBezTo>
                    <a:pt x="355947" y="372287"/>
                    <a:pt x="325505" y="342360"/>
                    <a:pt x="296094" y="311918"/>
                  </a:cubicBezTo>
                  <a:cubicBezTo>
                    <a:pt x="277519" y="292827"/>
                    <a:pt x="271843" y="265996"/>
                    <a:pt x="259975" y="242777"/>
                  </a:cubicBezTo>
                  <a:cubicBezTo>
                    <a:pt x="257912" y="238649"/>
                    <a:pt x="261524" y="235553"/>
                    <a:pt x="264619" y="232973"/>
                  </a:cubicBezTo>
                  <a:cubicBezTo>
                    <a:pt x="317765" y="186019"/>
                    <a:pt x="374007" y="144225"/>
                    <a:pt x="435408" y="109139"/>
                  </a:cubicBezTo>
                  <a:cubicBezTo>
                    <a:pt x="441084" y="105527"/>
                    <a:pt x="445211" y="106043"/>
                    <a:pt x="450371" y="110687"/>
                  </a:cubicBezTo>
                  <a:cubicBezTo>
                    <a:pt x="478750" y="134937"/>
                    <a:pt x="504033" y="160736"/>
                    <a:pt x="518480" y="196339"/>
                  </a:cubicBezTo>
                  <a:cubicBezTo>
                    <a:pt x="530348" y="224202"/>
                    <a:pt x="545827" y="250516"/>
                    <a:pt x="559758" y="277863"/>
                  </a:cubicBezTo>
                  <a:cubicBezTo>
                    <a:pt x="563370" y="285087"/>
                    <a:pt x="566982" y="287151"/>
                    <a:pt x="574722" y="283539"/>
                  </a:cubicBezTo>
                  <a:cubicBezTo>
                    <a:pt x="629415" y="257740"/>
                    <a:pt x="686173" y="238649"/>
                    <a:pt x="746026" y="227813"/>
                  </a:cubicBezTo>
                  <a:cubicBezTo>
                    <a:pt x="756346" y="225750"/>
                    <a:pt x="757893" y="220074"/>
                    <a:pt x="756346" y="211302"/>
                  </a:cubicBezTo>
                  <a:cubicBezTo>
                    <a:pt x="749638" y="171572"/>
                    <a:pt x="743446" y="131326"/>
                    <a:pt x="737254" y="91596"/>
                  </a:cubicBezTo>
                  <a:cubicBezTo>
                    <a:pt x="732611" y="63217"/>
                    <a:pt x="743446" y="37418"/>
                    <a:pt x="748090" y="10587"/>
                  </a:cubicBezTo>
                  <a:cubicBezTo>
                    <a:pt x="749122" y="5427"/>
                    <a:pt x="753766" y="4395"/>
                    <a:pt x="758410" y="4395"/>
                  </a:cubicBezTo>
                  <a:cubicBezTo>
                    <a:pt x="797624" y="4395"/>
                    <a:pt x="837870" y="-1280"/>
                    <a:pt x="879664" y="267"/>
                  </a:cubicBezTo>
                  <a:close/>
                  <a:moveTo>
                    <a:pt x="861605" y="1409918"/>
                  </a:moveTo>
                  <a:cubicBezTo>
                    <a:pt x="1155712" y="1407338"/>
                    <a:pt x="1392030" y="1176180"/>
                    <a:pt x="1392546" y="879493"/>
                  </a:cubicBezTo>
                  <a:cubicBezTo>
                    <a:pt x="1393062" y="585902"/>
                    <a:pt x="1160356" y="349068"/>
                    <a:pt x="862637" y="348552"/>
                  </a:cubicBezTo>
                  <a:cubicBezTo>
                    <a:pt x="568014" y="348036"/>
                    <a:pt x="331180" y="581774"/>
                    <a:pt x="331180" y="879493"/>
                  </a:cubicBezTo>
                  <a:cubicBezTo>
                    <a:pt x="331180" y="1173600"/>
                    <a:pt x="565950" y="1406822"/>
                    <a:pt x="861605" y="1409918"/>
                  </a:cubicBezTo>
                  <a:close/>
                </a:path>
              </a:pathLst>
            </a:custGeom>
            <a:grpFill/>
            <a:ln w="515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95F068BD-5041-4E65-88AE-B9DC621AE8FB}"/>
                </a:ext>
              </a:extLst>
            </p:cNvPr>
            <p:cNvSpPr/>
            <p:nvPr/>
          </p:nvSpPr>
          <p:spPr>
            <a:xfrm rot="2246763">
              <a:off x="322349" y="3332008"/>
              <a:ext cx="1218879" cy="1218879"/>
            </a:xfrm>
            <a:custGeom>
              <a:avLst/>
              <a:gdLst>
                <a:gd name="connsiteX0" fmla="*/ 894776 w 1774962"/>
                <a:gd name="connsiteY0" fmla="*/ 1775736 h 1774962"/>
                <a:gd name="connsiteX1" fmla="*/ 852466 w 1774962"/>
                <a:gd name="connsiteY1" fmla="*/ 1775736 h 1774962"/>
                <a:gd name="connsiteX2" fmla="*/ 839567 w 1774962"/>
                <a:gd name="connsiteY2" fmla="*/ 1764901 h 1774962"/>
                <a:gd name="connsiteX3" fmla="*/ 819960 w 1774962"/>
                <a:gd name="connsiteY3" fmla="*/ 1666349 h 1774962"/>
                <a:gd name="connsiteX4" fmla="*/ 822024 w 1774962"/>
                <a:gd name="connsiteY4" fmla="*/ 1636938 h 1774962"/>
                <a:gd name="connsiteX5" fmla="*/ 811704 w 1774962"/>
                <a:gd name="connsiteY5" fmla="*/ 1623523 h 1774962"/>
                <a:gd name="connsiteX6" fmla="*/ 695093 w 1774962"/>
                <a:gd name="connsiteY6" fmla="*/ 1601852 h 1774962"/>
                <a:gd name="connsiteX7" fmla="*/ 680130 w 1774962"/>
                <a:gd name="connsiteY7" fmla="*/ 1610623 h 1774962"/>
                <a:gd name="connsiteX8" fmla="*/ 615116 w 1774962"/>
                <a:gd name="connsiteY8" fmla="*/ 1727234 h 1774962"/>
                <a:gd name="connsiteX9" fmla="*/ 603765 w 1774962"/>
                <a:gd name="connsiteY9" fmla="*/ 1730330 h 1774962"/>
                <a:gd name="connsiteX10" fmla="*/ 512953 w 1774962"/>
                <a:gd name="connsiteY10" fmla="*/ 1694212 h 1774962"/>
                <a:gd name="connsiteX11" fmla="*/ 507277 w 1774962"/>
                <a:gd name="connsiteY11" fmla="*/ 1681828 h 1774962"/>
                <a:gd name="connsiteX12" fmla="*/ 527400 w 1774962"/>
                <a:gd name="connsiteY12" fmla="*/ 1583277 h 1774962"/>
                <a:gd name="connsiteX13" fmla="*/ 541848 w 1774962"/>
                <a:gd name="connsiteY13" fmla="*/ 1552834 h 1774962"/>
                <a:gd name="connsiteX14" fmla="*/ 537720 w 1774962"/>
                <a:gd name="connsiteY14" fmla="*/ 1539418 h 1774962"/>
                <a:gd name="connsiteX15" fmla="*/ 435041 w 1774962"/>
                <a:gd name="connsiteY15" fmla="*/ 1472857 h 1774962"/>
                <a:gd name="connsiteX16" fmla="*/ 420593 w 1774962"/>
                <a:gd name="connsiteY16" fmla="*/ 1474921 h 1774962"/>
                <a:gd name="connsiteX17" fmla="*/ 315334 w 1774962"/>
                <a:gd name="connsiteY17" fmla="*/ 1559026 h 1774962"/>
                <a:gd name="connsiteX18" fmla="*/ 302950 w 1774962"/>
                <a:gd name="connsiteY18" fmla="*/ 1557478 h 1774962"/>
                <a:gd name="connsiteX19" fmla="*/ 233809 w 1774962"/>
                <a:gd name="connsiteY19" fmla="*/ 1490401 h 1774962"/>
                <a:gd name="connsiteX20" fmla="*/ 232777 w 1774962"/>
                <a:gd name="connsiteY20" fmla="*/ 1476985 h 1774962"/>
                <a:gd name="connsiteX21" fmla="*/ 289019 w 1774962"/>
                <a:gd name="connsiteY21" fmla="*/ 1393397 h 1774962"/>
                <a:gd name="connsiteX22" fmla="*/ 312754 w 1774962"/>
                <a:gd name="connsiteY22" fmla="*/ 1371726 h 1774962"/>
                <a:gd name="connsiteX23" fmla="*/ 314818 w 1774962"/>
                <a:gd name="connsiteY23" fmla="*/ 1355731 h 1774962"/>
                <a:gd name="connsiteX24" fmla="*/ 246193 w 1774962"/>
                <a:gd name="connsiteY24" fmla="*/ 1255631 h 1774962"/>
                <a:gd name="connsiteX25" fmla="*/ 230713 w 1774962"/>
                <a:gd name="connsiteY25" fmla="*/ 1253051 h 1774962"/>
                <a:gd name="connsiteX26" fmla="*/ 102751 w 1774962"/>
                <a:gd name="connsiteY26" fmla="*/ 1289685 h 1774962"/>
                <a:gd name="connsiteX27" fmla="*/ 91916 w 1774962"/>
                <a:gd name="connsiteY27" fmla="*/ 1282978 h 1774962"/>
                <a:gd name="connsiteX28" fmla="*/ 53733 w 1774962"/>
                <a:gd name="connsiteY28" fmla="*/ 1194230 h 1774962"/>
                <a:gd name="connsiteX29" fmla="*/ 58377 w 1774962"/>
                <a:gd name="connsiteY29" fmla="*/ 1181330 h 1774962"/>
                <a:gd name="connsiteX30" fmla="*/ 142481 w 1774962"/>
                <a:gd name="connsiteY30" fmla="*/ 1125605 h 1774962"/>
                <a:gd name="connsiteX31" fmla="*/ 173956 w 1774962"/>
                <a:gd name="connsiteY31" fmla="*/ 1114253 h 1774962"/>
                <a:gd name="connsiteX32" fmla="*/ 180664 w 1774962"/>
                <a:gd name="connsiteY32" fmla="*/ 1101870 h 1774962"/>
                <a:gd name="connsiteX33" fmla="*/ 154865 w 1774962"/>
                <a:gd name="connsiteY33" fmla="*/ 981131 h 1774962"/>
                <a:gd name="connsiteX34" fmla="*/ 144029 w 1774962"/>
                <a:gd name="connsiteY34" fmla="*/ 973391 h 1774962"/>
                <a:gd name="connsiteX35" fmla="*/ 10391 w 1774962"/>
                <a:gd name="connsiteY35" fmla="*/ 958428 h 1774962"/>
                <a:gd name="connsiteX36" fmla="*/ 2135 w 1774962"/>
                <a:gd name="connsiteY36" fmla="*/ 948624 h 1774962"/>
                <a:gd name="connsiteX37" fmla="*/ 588 w 1774962"/>
                <a:gd name="connsiteY37" fmla="*/ 850589 h 1774962"/>
                <a:gd name="connsiteX38" fmla="*/ 10391 w 1774962"/>
                <a:gd name="connsiteY38" fmla="*/ 840785 h 1774962"/>
                <a:gd name="connsiteX39" fmla="*/ 110491 w 1774962"/>
                <a:gd name="connsiteY39" fmla="*/ 820662 h 1774962"/>
                <a:gd name="connsiteX40" fmla="*/ 139901 w 1774962"/>
                <a:gd name="connsiteY40" fmla="*/ 822726 h 1774962"/>
                <a:gd name="connsiteX41" fmla="*/ 153317 w 1774962"/>
                <a:gd name="connsiteY41" fmla="*/ 811890 h 1774962"/>
                <a:gd name="connsiteX42" fmla="*/ 174472 w 1774962"/>
                <a:gd name="connsiteY42" fmla="*/ 696827 h 1774962"/>
                <a:gd name="connsiteX43" fmla="*/ 164152 w 1774962"/>
                <a:gd name="connsiteY43" fmla="*/ 680316 h 1774962"/>
                <a:gd name="connsiteX44" fmla="*/ 49090 w 1774962"/>
                <a:gd name="connsiteY44" fmla="*/ 615819 h 1774962"/>
                <a:gd name="connsiteX45" fmla="*/ 45993 w 1774962"/>
                <a:gd name="connsiteY45" fmla="*/ 606015 h 1774962"/>
                <a:gd name="connsiteX46" fmla="*/ 82628 w 1774962"/>
                <a:gd name="connsiteY46" fmla="*/ 513655 h 1774962"/>
                <a:gd name="connsiteX47" fmla="*/ 93979 w 1774962"/>
                <a:gd name="connsiteY47" fmla="*/ 508496 h 1774962"/>
                <a:gd name="connsiteX48" fmla="*/ 224006 w 1774962"/>
                <a:gd name="connsiteY48" fmla="*/ 543066 h 1774962"/>
                <a:gd name="connsiteX49" fmla="*/ 236905 w 1774962"/>
                <a:gd name="connsiteY49" fmla="*/ 538938 h 1774962"/>
                <a:gd name="connsiteX50" fmla="*/ 302434 w 1774962"/>
                <a:gd name="connsiteY50" fmla="*/ 437291 h 1774962"/>
                <a:gd name="connsiteX51" fmla="*/ 302950 w 1774962"/>
                <a:gd name="connsiteY51" fmla="*/ 423359 h 1774962"/>
                <a:gd name="connsiteX52" fmla="*/ 238453 w 1774962"/>
                <a:gd name="connsiteY52" fmla="*/ 346995 h 1774962"/>
                <a:gd name="connsiteX53" fmla="*/ 228650 w 1774962"/>
                <a:gd name="connsiteY53" fmla="*/ 333063 h 1774962"/>
                <a:gd name="connsiteX54" fmla="*/ 230713 w 1774962"/>
                <a:gd name="connsiteY54" fmla="*/ 290237 h 1774962"/>
                <a:gd name="connsiteX55" fmla="*/ 283859 w 1774962"/>
                <a:gd name="connsiteY55" fmla="*/ 236060 h 1774962"/>
                <a:gd name="connsiteX56" fmla="*/ 300370 w 1774962"/>
                <a:gd name="connsiteY56" fmla="*/ 234512 h 1774962"/>
                <a:gd name="connsiteX57" fmla="*/ 380863 w 1774962"/>
                <a:gd name="connsiteY57" fmla="*/ 288173 h 1774962"/>
                <a:gd name="connsiteX58" fmla="*/ 403050 w 1774962"/>
                <a:gd name="connsiteY58" fmla="*/ 311392 h 1774962"/>
                <a:gd name="connsiteX59" fmla="*/ 422141 w 1774962"/>
                <a:gd name="connsiteY59" fmla="*/ 313972 h 1774962"/>
                <a:gd name="connsiteX60" fmla="*/ 519661 w 1774962"/>
                <a:gd name="connsiteY60" fmla="*/ 246895 h 1774962"/>
                <a:gd name="connsiteX61" fmla="*/ 524820 w 1774962"/>
                <a:gd name="connsiteY61" fmla="*/ 233996 h 1774962"/>
                <a:gd name="connsiteX62" fmla="*/ 492314 w 1774962"/>
                <a:gd name="connsiteY62" fmla="*/ 127704 h 1774962"/>
                <a:gd name="connsiteX63" fmla="*/ 514501 w 1774962"/>
                <a:gd name="connsiteY63" fmla="*/ 82298 h 1774962"/>
                <a:gd name="connsiteX64" fmla="*/ 578482 w 1774962"/>
                <a:gd name="connsiteY64" fmla="*/ 55468 h 1774962"/>
                <a:gd name="connsiteX65" fmla="*/ 595509 w 1774962"/>
                <a:gd name="connsiteY65" fmla="*/ 60111 h 1774962"/>
                <a:gd name="connsiteX66" fmla="*/ 648655 w 1774962"/>
                <a:gd name="connsiteY66" fmla="*/ 139572 h 1774962"/>
                <a:gd name="connsiteX67" fmla="*/ 661039 w 1774962"/>
                <a:gd name="connsiteY67" fmla="*/ 172078 h 1774962"/>
                <a:gd name="connsiteX68" fmla="*/ 675486 w 1774962"/>
                <a:gd name="connsiteY68" fmla="*/ 180334 h 1774962"/>
                <a:gd name="connsiteX69" fmla="*/ 792613 w 1774962"/>
                <a:gd name="connsiteY69" fmla="*/ 155567 h 1774962"/>
                <a:gd name="connsiteX70" fmla="*/ 801900 w 1774962"/>
                <a:gd name="connsiteY70" fmla="*/ 143700 h 1774962"/>
                <a:gd name="connsiteX71" fmla="*/ 816864 w 1774962"/>
                <a:gd name="connsiteY71" fmla="*/ 11094 h 1774962"/>
                <a:gd name="connsiteX72" fmla="*/ 826151 w 1774962"/>
                <a:gd name="connsiteY72" fmla="*/ 2322 h 1774962"/>
                <a:gd name="connsiteX73" fmla="*/ 925219 w 1774962"/>
                <a:gd name="connsiteY73" fmla="*/ 774 h 1774962"/>
                <a:gd name="connsiteX74" fmla="*/ 934507 w 1774962"/>
                <a:gd name="connsiteY74" fmla="*/ 10062 h 1774962"/>
                <a:gd name="connsiteX75" fmla="*/ 954114 w 1774962"/>
                <a:gd name="connsiteY75" fmla="*/ 111193 h 1774962"/>
                <a:gd name="connsiteX76" fmla="*/ 952050 w 1774962"/>
                <a:gd name="connsiteY76" fmla="*/ 140604 h 1774962"/>
                <a:gd name="connsiteX77" fmla="*/ 962369 w 1774962"/>
                <a:gd name="connsiteY77" fmla="*/ 152987 h 1774962"/>
                <a:gd name="connsiteX78" fmla="*/ 1078980 w 1774962"/>
                <a:gd name="connsiteY78" fmla="*/ 174658 h 1774962"/>
                <a:gd name="connsiteX79" fmla="*/ 1093428 w 1774962"/>
                <a:gd name="connsiteY79" fmla="*/ 168467 h 1774962"/>
                <a:gd name="connsiteX80" fmla="*/ 1147089 w 1774962"/>
                <a:gd name="connsiteY80" fmla="*/ 69399 h 1774962"/>
                <a:gd name="connsiteX81" fmla="*/ 1192495 w 1774962"/>
                <a:gd name="connsiteY81" fmla="*/ 54436 h 1774962"/>
                <a:gd name="connsiteX82" fmla="*/ 1258024 w 1774962"/>
                <a:gd name="connsiteY82" fmla="*/ 81266 h 1774962"/>
                <a:gd name="connsiteX83" fmla="*/ 1267312 w 1774962"/>
                <a:gd name="connsiteY83" fmla="*/ 96746 h 1774962"/>
                <a:gd name="connsiteX84" fmla="*/ 1247705 w 1774962"/>
                <a:gd name="connsiteY84" fmla="*/ 192718 h 1774962"/>
                <a:gd name="connsiteX85" fmla="*/ 1233258 w 1774962"/>
                <a:gd name="connsiteY85" fmla="*/ 224192 h 1774962"/>
                <a:gd name="connsiteX86" fmla="*/ 1237385 w 1774962"/>
                <a:gd name="connsiteY86" fmla="*/ 237608 h 1774962"/>
                <a:gd name="connsiteX87" fmla="*/ 1340065 w 1774962"/>
                <a:gd name="connsiteY87" fmla="*/ 304169 h 1774962"/>
                <a:gd name="connsiteX88" fmla="*/ 1354512 w 1774962"/>
                <a:gd name="connsiteY88" fmla="*/ 302621 h 1774962"/>
                <a:gd name="connsiteX89" fmla="*/ 1459771 w 1774962"/>
                <a:gd name="connsiteY89" fmla="*/ 218516 h 1774962"/>
                <a:gd name="connsiteX90" fmla="*/ 1472155 w 1774962"/>
                <a:gd name="connsiteY90" fmla="*/ 220064 h 1774962"/>
                <a:gd name="connsiteX91" fmla="*/ 1541296 w 1774962"/>
                <a:gd name="connsiteY91" fmla="*/ 287657 h 1774962"/>
                <a:gd name="connsiteX92" fmla="*/ 1542328 w 1774962"/>
                <a:gd name="connsiteY92" fmla="*/ 301073 h 1774962"/>
                <a:gd name="connsiteX93" fmla="*/ 1485570 w 1774962"/>
                <a:gd name="connsiteY93" fmla="*/ 385693 h 1774962"/>
                <a:gd name="connsiteX94" fmla="*/ 1462868 w 1774962"/>
                <a:gd name="connsiteY94" fmla="*/ 406332 h 1774962"/>
                <a:gd name="connsiteX95" fmla="*/ 1460803 w 1774962"/>
                <a:gd name="connsiteY95" fmla="*/ 422327 h 1774962"/>
                <a:gd name="connsiteX96" fmla="*/ 1529428 w 1774962"/>
                <a:gd name="connsiteY96" fmla="*/ 522427 h 1774962"/>
                <a:gd name="connsiteX97" fmla="*/ 1544908 w 1774962"/>
                <a:gd name="connsiteY97" fmla="*/ 525007 h 1774962"/>
                <a:gd name="connsiteX98" fmla="*/ 1672870 w 1774962"/>
                <a:gd name="connsiteY98" fmla="*/ 488373 h 1774962"/>
                <a:gd name="connsiteX99" fmla="*/ 1683706 w 1774962"/>
                <a:gd name="connsiteY99" fmla="*/ 495080 h 1774962"/>
                <a:gd name="connsiteX100" fmla="*/ 1721888 w 1774962"/>
                <a:gd name="connsiteY100" fmla="*/ 583828 h 1774962"/>
                <a:gd name="connsiteX101" fmla="*/ 1717244 w 1774962"/>
                <a:gd name="connsiteY101" fmla="*/ 596728 h 1774962"/>
                <a:gd name="connsiteX102" fmla="*/ 1633140 w 1774962"/>
                <a:gd name="connsiteY102" fmla="*/ 652453 h 1774962"/>
                <a:gd name="connsiteX103" fmla="*/ 1601665 w 1774962"/>
                <a:gd name="connsiteY103" fmla="*/ 663805 h 1774962"/>
                <a:gd name="connsiteX104" fmla="*/ 1594958 w 1774962"/>
                <a:gd name="connsiteY104" fmla="*/ 676188 h 1774962"/>
                <a:gd name="connsiteX105" fmla="*/ 1620241 w 1774962"/>
                <a:gd name="connsiteY105" fmla="*/ 795895 h 1774962"/>
                <a:gd name="connsiteX106" fmla="*/ 1631076 w 1774962"/>
                <a:gd name="connsiteY106" fmla="*/ 804667 h 1774962"/>
                <a:gd name="connsiteX107" fmla="*/ 1763682 w 1774962"/>
                <a:gd name="connsiteY107" fmla="*/ 819630 h 1774962"/>
                <a:gd name="connsiteX108" fmla="*/ 1773486 w 1774962"/>
                <a:gd name="connsiteY108" fmla="*/ 829950 h 1774962"/>
                <a:gd name="connsiteX109" fmla="*/ 1775034 w 1774962"/>
                <a:gd name="connsiteY109" fmla="*/ 927985 h 1774962"/>
                <a:gd name="connsiteX110" fmla="*/ 1766262 w 1774962"/>
                <a:gd name="connsiteY110" fmla="*/ 937273 h 1774962"/>
                <a:gd name="connsiteX111" fmla="*/ 1663583 w 1774962"/>
                <a:gd name="connsiteY111" fmla="*/ 957396 h 1774962"/>
                <a:gd name="connsiteX112" fmla="*/ 1636752 w 1774962"/>
                <a:gd name="connsiteY112" fmla="*/ 955332 h 1774962"/>
                <a:gd name="connsiteX113" fmla="*/ 1622304 w 1774962"/>
                <a:gd name="connsiteY113" fmla="*/ 966684 h 1774962"/>
                <a:gd name="connsiteX114" fmla="*/ 1601149 w 1774962"/>
                <a:gd name="connsiteY114" fmla="*/ 1081746 h 1774962"/>
                <a:gd name="connsiteX115" fmla="*/ 1610437 w 1774962"/>
                <a:gd name="connsiteY115" fmla="*/ 1097742 h 1774962"/>
                <a:gd name="connsiteX116" fmla="*/ 1726016 w 1774962"/>
                <a:gd name="connsiteY116" fmla="*/ 1161723 h 1774962"/>
                <a:gd name="connsiteX117" fmla="*/ 1729112 w 1774962"/>
                <a:gd name="connsiteY117" fmla="*/ 1174107 h 1774962"/>
                <a:gd name="connsiteX118" fmla="*/ 1693509 w 1774962"/>
                <a:gd name="connsiteY118" fmla="*/ 1263887 h 1774962"/>
                <a:gd name="connsiteX119" fmla="*/ 1681126 w 1774962"/>
                <a:gd name="connsiteY119" fmla="*/ 1270078 h 1774962"/>
                <a:gd name="connsiteX120" fmla="*/ 1581542 w 1774962"/>
                <a:gd name="connsiteY120" fmla="*/ 1249955 h 1774962"/>
                <a:gd name="connsiteX121" fmla="*/ 1552647 w 1774962"/>
                <a:gd name="connsiteY121" fmla="*/ 1236024 h 1774962"/>
                <a:gd name="connsiteX122" fmla="*/ 1538200 w 1774962"/>
                <a:gd name="connsiteY122" fmla="*/ 1240152 h 1774962"/>
                <a:gd name="connsiteX123" fmla="*/ 1473187 w 1774962"/>
                <a:gd name="connsiteY123" fmla="*/ 1340767 h 1774962"/>
                <a:gd name="connsiteX124" fmla="*/ 1475251 w 1774962"/>
                <a:gd name="connsiteY124" fmla="*/ 1358310 h 1774962"/>
                <a:gd name="connsiteX125" fmla="*/ 1535104 w 1774962"/>
                <a:gd name="connsiteY125" fmla="*/ 1430031 h 1774962"/>
                <a:gd name="connsiteX126" fmla="*/ 1545424 w 1774962"/>
                <a:gd name="connsiteY126" fmla="*/ 1444995 h 1774962"/>
                <a:gd name="connsiteX127" fmla="*/ 1542844 w 1774962"/>
                <a:gd name="connsiteY127" fmla="*/ 1489885 h 1774962"/>
                <a:gd name="connsiteX128" fmla="*/ 1491246 w 1774962"/>
                <a:gd name="connsiteY128" fmla="*/ 1542514 h 1774962"/>
                <a:gd name="connsiteX129" fmla="*/ 1472155 w 1774962"/>
                <a:gd name="connsiteY129" fmla="*/ 1544062 h 1774962"/>
                <a:gd name="connsiteX130" fmla="*/ 1393726 w 1774962"/>
                <a:gd name="connsiteY130" fmla="*/ 1491948 h 1774962"/>
                <a:gd name="connsiteX131" fmla="*/ 1369992 w 1774962"/>
                <a:gd name="connsiteY131" fmla="*/ 1466666 h 1774962"/>
                <a:gd name="connsiteX132" fmla="*/ 1352964 w 1774962"/>
                <a:gd name="connsiteY132" fmla="*/ 1464602 h 1774962"/>
                <a:gd name="connsiteX133" fmla="*/ 1254413 w 1774962"/>
                <a:gd name="connsiteY133" fmla="*/ 1532711 h 1774962"/>
                <a:gd name="connsiteX134" fmla="*/ 1248737 w 1774962"/>
                <a:gd name="connsiteY134" fmla="*/ 1544578 h 1774962"/>
                <a:gd name="connsiteX135" fmla="*/ 1284339 w 1774962"/>
                <a:gd name="connsiteY135" fmla="*/ 1662221 h 1774962"/>
                <a:gd name="connsiteX136" fmla="*/ 1268860 w 1774962"/>
                <a:gd name="connsiteY136" fmla="*/ 1693180 h 1774962"/>
                <a:gd name="connsiteX137" fmla="*/ 1195591 w 1774962"/>
                <a:gd name="connsiteY137" fmla="*/ 1724654 h 1774962"/>
                <a:gd name="connsiteX138" fmla="*/ 1178564 w 1774962"/>
                <a:gd name="connsiteY138" fmla="*/ 1719495 h 1774962"/>
                <a:gd name="connsiteX139" fmla="*/ 1125418 w 1774962"/>
                <a:gd name="connsiteY139" fmla="*/ 1640034 h 1774962"/>
                <a:gd name="connsiteX140" fmla="*/ 1113035 w 1774962"/>
                <a:gd name="connsiteY140" fmla="*/ 1606496 h 1774962"/>
                <a:gd name="connsiteX141" fmla="*/ 1099619 w 1774962"/>
                <a:gd name="connsiteY141" fmla="*/ 1599272 h 1774962"/>
                <a:gd name="connsiteX142" fmla="*/ 979913 w 1774962"/>
                <a:gd name="connsiteY142" fmla="*/ 1624555 h 1774962"/>
                <a:gd name="connsiteX143" fmla="*/ 972173 w 1774962"/>
                <a:gd name="connsiteY143" fmla="*/ 1634874 h 1774962"/>
                <a:gd name="connsiteX144" fmla="*/ 957726 w 1774962"/>
                <a:gd name="connsiteY144" fmla="*/ 1767481 h 1774962"/>
                <a:gd name="connsiteX145" fmla="*/ 945858 w 1774962"/>
                <a:gd name="connsiteY145" fmla="*/ 1777800 h 1774962"/>
                <a:gd name="connsiteX146" fmla="*/ 895808 w 1774962"/>
                <a:gd name="connsiteY146" fmla="*/ 1779864 h 1774962"/>
                <a:gd name="connsiteX147" fmla="*/ 894776 w 1774962"/>
                <a:gd name="connsiteY147" fmla="*/ 1775736 h 1774962"/>
                <a:gd name="connsiteX148" fmla="*/ 890648 w 1774962"/>
                <a:gd name="connsiteY148" fmla="*/ 1454798 h 1774962"/>
                <a:gd name="connsiteX149" fmla="*/ 1452548 w 1774962"/>
                <a:gd name="connsiteY149" fmla="*/ 884127 h 1774962"/>
                <a:gd name="connsiteX150" fmla="*/ 881361 w 1774962"/>
                <a:gd name="connsiteY150" fmla="*/ 322228 h 1774962"/>
                <a:gd name="connsiteX151" fmla="*/ 320494 w 1774962"/>
                <a:gd name="connsiteY151" fmla="*/ 893415 h 1774962"/>
                <a:gd name="connsiteX152" fmla="*/ 890648 w 1774962"/>
                <a:gd name="connsiteY152" fmla="*/ 1454798 h 1774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774962" h="1774962">
                  <a:moveTo>
                    <a:pt x="894776" y="1775736"/>
                  </a:moveTo>
                  <a:cubicBezTo>
                    <a:pt x="880845" y="1775736"/>
                    <a:pt x="866397" y="1775736"/>
                    <a:pt x="852466" y="1775736"/>
                  </a:cubicBezTo>
                  <a:cubicBezTo>
                    <a:pt x="844726" y="1775736"/>
                    <a:pt x="840599" y="1772640"/>
                    <a:pt x="839567" y="1764901"/>
                  </a:cubicBezTo>
                  <a:cubicBezTo>
                    <a:pt x="833375" y="1731878"/>
                    <a:pt x="826151" y="1699371"/>
                    <a:pt x="819960" y="1666349"/>
                  </a:cubicBezTo>
                  <a:cubicBezTo>
                    <a:pt x="817896" y="1656545"/>
                    <a:pt x="820992" y="1646742"/>
                    <a:pt x="822024" y="1636938"/>
                  </a:cubicBezTo>
                  <a:cubicBezTo>
                    <a:pt x="823056" y="1628682"/>
                    <a:pt x="820992" y="1624555"/>
                    <a:pt x="811704" y="1623523"/>
                  </a:cubicBezTo>
                  <a:cubicBezTo>
                    <a:pt x="772490" y="1619395"/>
                    <a:pt x="733275" y="1612171"/>
                    <a:pt x="695093" y="1601852"/>
                  </a:cubicBezTo>
                  <a:cubicBezTo>
                    <a:pt x="686837" y="1599788"/>
                    <a:pt x="682194" y="1602368"/>
                    <a:pt x="680130" y="1610623"/>
                  </a:cubicBezTo>
                  <a:cubicBezTo>
                    <a:pt x="669294" y="1655513"/>
                    <a:pt x="636788" y="1688020"/>
                    <a:pt x="615116" y="1727234"/>
                  </a:cubicBezTo>
                  <a:cubicBezTo>
                    <a:pt x="612537" y="1731878"/>
                    <a:pt x="608409" y="1731878"/>
                    <a:pt x="603765" y="1730330"/>
                  </a:cubicBezTo>
                  <a:cubicBezTo>
                    <a:pt x="572807" y="1720011"/>
                    <a:pt x="542364" y="1707627"/>
                    <a:pt x="512953" y="1694212"/>
                  </a:cubicBezTo>
                  <a:cubicBezTo>
                    <a:pt x="506761" y="1691632"/>
                    <a:pt x="506245" y="1686988"/>
                    <a:pt x="507277" y="1681828"/>
                  </a:cubicBezTo>
                  <a:cubicBezTo>
                    <a:pt x="513985" y="1648806"/>
                    <a:pt x="519661" y="1615783"/>
                    <a:pt x="527400" y="1583277"/>
                  </a:cubicBezTo>
                  <a:cubicBezTo>
                    <a:pt x="529980" y="1572441"/>
                    <a:pt x="536172" y="1562637"/>
                    <a:pt x="541848" y="1552834"/>
                  </a:cubicBezTo>
                  <a:cubicBezTo>
                    <a:pt x="545460" y="1546642"/>
                    <a:pt x="544428" y="1543030"/>
                    <a:pt x="537720" y="1539418"/>
                  </a:cubicBezTo>
                  <a:cubicBezTo>
                    <a:pt x="501601" y="1520327"/>
                    <a:pt x="467547" y="1497624"/>
                    <a:pt x="435041" y="1472857"/>
                  </a:cubicBezTo>
                  <a:cubicBezTo>
                    <a:pt x="429365" y="1468214"/>
                    <a:pt x="425237" y="1468214"/>
                    <a:pt x="420593" y="1474921"/>
                  </a:cubicBezTo>
                  <a:cubicBezTo>
                    <a:pt x="393762" y="1512588"/>
                    <a:pt x="350936" y="1531163"/>
                    <a:pt x="315334" y="1559026"/>
                  </a:cubicBezTo>
                  <a:cubicBezTo>
                    <a:pt x="310690" y="1562637"/>
                    <a:pt x="307078" y="1561090"/>
                    <a:pt x="302950" y="1557478"/>
                  </a:cubicBezTo>
                  <a:cubicBezTo>
                    <a:pt x="278699" y="1536323"/>
                    <a:pt x="255996" y="1513104"/>
                    <a:pt x="233809" y="1490401"/>
                  </a:cubicBezTo>
                  <a:cubicBezTo>
                    <a:pt x="229682" y="1485757"/>
                    <a:pt x="229165" y="1482145"/>
                    <a:pt x="232777" y="1476985"/>
                  </a:cubicBezTo>
                  <a:cubicBezTo>
                    <a:pt x="251352" y="1449122"/>
                    <a:pt x="269928" y="1421260"/>
                    <a:pt x="289019" y="1393397"/>
                  </a:cubicBezTo>
                  <a:cubicBezTo>
                    <a:pt x="295210" y="1384625"/>
                    <a:pt x="304498" y="1378949"/>
                    <a:pt x="312754" y="1371726"/>
                  </a:cubicBezTo>
                  <a:cubicBezTo>
                    <a:pt x="318946" y="1366566"/>
                    <a:pt x="319978" y="1361922"/>
                    <a:pt x="314818" y="1355731"/>
                  </a:cubicBezTo>
                  <a:cubicBezTo>
                    <a:pt x="289535" y="1324256"/>
                    <a:pt x="266316" y="1291233"/>
                    <a:pt x="246193" y="1255631"/>
                  </a:cubicBezTo>
                  <a:cubicBezTo>
                    <a:pt x="241549" y="1247375"/>
                    <a:pt x="236905" y="1248923"/>
                    <a:pt x="230713" y="1253051"/>
                  </a:cubicBezTo>
                  <a:cubicBezTo>
                    <a:pt x="191499" y="1277302"/>
                    <a:pt x="145577" y="1277818"/>
                    <a:pt x="102751" y="1289685"/>
                  </a:cubicBezTo>
                  <a:cubicBezTo>
                    <a:pt x="97075" y="1291233"/>
                    <a:pt x="93979" y="1288137"/>
                    <a:pt x="91916" y="1282978"/>
                  </a:cubicBezTo>
                  <a:cubicBezTo>
                    <a:pt x="77984" y="1254083"/>
                    <a:pt x="65085" y="1224156"/>
                    <a:pt x="53733" y="1194230"/>
                  </a:cubicBezTo>
                  <a:cubicBezTo>
                    <a:pt x="51669" y="1188038"/>
                    <a:pt x="53217" y="1184426"/>
                    <a:pt x="58377" y="1181330"/>
                  </a:cubicBezTo>
                  <a:cubicBezTo>
                    <a:pt x="86240" y="1162755"/>
                    <a:pt x="113587" y="1143664"/>
                    <a:pt x="142481" y="1125605"/>
                  </a:cubicBezTo>
                  <a:cubicBezTo>
                    <a:pt x="151769" y="1119929"/>
                    <a:pt x="163120" y="1117349"/>
                    <a:pt x="173956" y="1114253"/>
                  </a:cubicBezTo>
                  <a:cubicBezTo>
                    <a:pt x="180664" y="1112189"/>
                    <a:pt x="182727" y="1109093"/>
                    <a:pt x="180664" y="1101870"/>
                  </a:cubicBezTo>
                  <a:cubicBezTo>
                    <a:pt x="168796" y="1062139"/>
                    <a:pt x="160541" y="1021893"/>
                    <a:pt x="154865" y="981131"/>
                  </a:cubicBezTo>
                  <a:cubicBezTo>
                    <a:pt x="153833" y="974423"/>
                    <a:pt x="150737" y="972359"/>
                    <a:pt x="144029" y="973391"/>
                  </a:cubicBezTo>
                  <a:cubicBezTo>
                    <a:pt x="98107" y="981131"/>
                    <a:pt x="54765" y="963588"/>
                    <a:pt x="10391" y="958428"/>
                  </a:cubicBezTo>
                  <a:cubicBezTo>
                    <a:pt x="4715" y="957912"/>
                    <a:pt x="2652" y="954300"/>
                    <a:pt x="2135" y="948624"/>
                  </a:cubicBezTo>
                  <a:cubicBezTo>
                    <a:pt x="-960" y="916118"/>
                    <a:pt x="72" y="883611"/>
                    <a:pt x="588" y="850589"/>
                  </a:cubicBezTo>
                  <a:cubicBezTo>
                    <a:pt x="588" y="844397"/>
                    <a:pt x="4715" y="841817"/>
                    <a:pt x="10391" y="840785"/>
                  </a:cubicBezTo>
                  <a:cubicBezTo>
                    <a:pt x="43930" y="834077"/>
                    <a:pt x="76952" y="827370"/>
                    <a:pt x="110491" y="820662"/>
                  </a:cubicBezTo>
                  <a:cubicBezTo>
                    <a:pt x="120294" y="818598"/>
                    <a:pt x="130098" y="821694"/>
                    <a:pt x="139901" y="822726"/>
                  </a:cubicBezTo>
                  <a:cubicBezTo>
                    <a:pt x="148157" y="823758"/>
                    <a:pt x="152285" y="820662"/>
                    <a:pt x="153317" y="811890"/>
                  </a:cubicBezTo>
                  <a:cubicBezTo>
                    <a:pt x="157445" y="773192"/>
                    <a:pt x="164668" y="734494"/>
                    <a:pt x="174472" y="696827"/>
                  </a:cubicBezTo>
                  <a:cubicBezTo>
                    <a:pt x="177052" y="687024"/>
                    <a:pt x="173440" y="682380"/>
                    <a:pt x="164152" y="680316"/>
                  </a:cubicBezTo>
                  <a:cubicBezTo>
                    <a:pt x="120294" y="668965"/>
                    <a:pt x="87272" y="636974"/>
                    <a:pt x="49090" y="615819"/>
                  </a:cubicBezTo>
                  <a:cubicBezTo>
                    <a:pt x="44961" y="613755"/>
                    <a:pt x="44961" y="610143"/>
                    <a:pt x="45993" y="606015"/>
                  </a:cubicBezTo>
                  <a:cubicBezTo>
                    <a:pt x="56313" y="574541"/>
                    <a:pt x="69212" y="544098"/>
                    <a:pt x="82628" y="513655"/>
                  </a:cubicBezTo>
                  <a:cubicBezTo>
                    <a:pt x="85208" y="507980"/>
                    <a:pt x="89336" y="506948"/>
                    <a:pt x="93979" y="508496"/>
                  </a:cubicBezTo>
                  <a:cubicBezTo>
                    <a:pt x="137322" y="519847"/>
                    <a:pt x="183760" y="518815"/>
                    <a:pt x="224006" y="543066"/>
                  </a:cubicBezTo>
                  <a:cubicBezTo>
                    <a:pt x="230713" y="547194"/>
                    <a:pt x="233809" y="544614"/>
                    <a:pt x="236905" y="538938"/>
                  </a:cubicBezTo>
                  <a:cubicBezTo>
                    <a:pt x="255996" y="503336"/>
                    <a:pt x="278183" y="469281"/>
                    <a:pt x="302434" y="437291"/>
                  </a:cubicBezTo>
                  <a:cubicBezTo>
                    <a:pt x="305530" y="433163"/>
                    <a:pt x="310690" y="428519"/>
                    <a:pt x="302950" y="423359"/>
                  </a:cubicBezTo>
                  <a:cubicBezTo>
                    <a:pt x="273540" y="404268"/>
                    <a:pt x="258576" y="373826"/>
                    <a:pt x="238453" y="346995"/>
                  </a:cubicBezTo>
                  <a:cubicBezTo>
                    <a:pt x="234841" y="342351"/>
                    <a:pt x="232262" y="337707"/>
                    <a:pt x="228650" y="333063"/>
                  </a:cubicBezTo>
                  <a:cubicBezTo>
                    <a:pt x="212654" y="310360"/>
                    <a:pt x="212138" y="309844"/>
                    <a:pt x="230713" y="290237"/>
                  </a:cubicBezTo>
                  <a:cubicBezTo>
                    <a:pt x="248257" y="271662"/>
                    <a:pt x="266316" y="254119"/>
                    <a:pt x="283859" y="236060"/>
                  </a:cubicBezTo>
                  <a:cubicBezTo>
                    <a:pt x="289535" y="230384"/>
                    <a:pt x="294179" y="229868"/>
                    <a:pt x="300370" y="234512"/>
                  </a:cubicBezTo>
                  <a:cubicBezTo>
                    <a:pt x="327201" y="252571"/>
                    <a:pt x="354032" y="270114"/>
                    <a:pt x="380863" y="288173"/>
                  </a:cubicBezTo>
                  <a:cubicBezTo>
                    <a:pt x="390150" y="294365"/>
                    <a:pt x="396342" y="303137"/>
                    <a:pt x="403050" y="311392"/>
                  </a:cubicBezTo>
                  <a:cubicBezTo>
                    <a:pt x="408726" y="319132"/>
                    <a:pt x="413885" y="320680"/>
                    <a:pt x="422141" y="313972"/>
                  </a:cubicBezTo>
                  <a:cubicBezTo>
                    <a:pt x="452584" y="288689"/>
                    <a:pt x="485606" y="266502"/>
                    <a:pt x="519661" y="246895"/>
                  </a:cubicBezTo>
                  <a:cubicBezTo>
                    <a:pt x="524820" y="243799"/>
                    <a:pt x="529464" y="240703"/>
                    <a:pt x="524820" y="233996"/>
                  </a:cubicBezTo>
                  <a:cubicBezTo>
                    <a:pt x="502633" y="202005"/>
                    <a:pt x="501086" y="163823"/>
                    <a:pt x="492314" y="127704"/>
                  </a:cubicBezTo>
                  <a:cubicBezTo>
                    <a:pt x="484574" y="96230"/>
                    <a:pt x="485606" y="96746"/>
                    <a:pt x="514501" y="82298"/>
                  </a:cubicBezTo>
                  <a:cubicBezTo>
                    <a:pt x="535140" y="71979"/>
                    <a:pt x="557327" y="64239"/>
                    <a:pt x="578482" y="55468"/>
                  </a:cubicBezTo>
                  <a:cubicBezTo>
                    <a:pt x="586222" y="52372"/>
                    <a:pt x="590866" y="52888"/>
                    <a:pt x="595509" y="60111"/>
                  </a:cubicBezTo>
                  <a:cubicBezTo>
                    <a:pt x="613053" y="86942"/>
                    <a:pt x="630596" y="113257"/>
                    <a:pt x="648655" y="139572"/>
                  </a:cubicBezTo>
                  <a:cubicBezTo>
                    <a:pt x="655363" y="149375"/>
                    <a:pt x="657427" y="160727"/>
                    <a:pt x="661039" y="172078"/>
                  </a:cubicBezTo>
                  <a:cubicBezTo>
                    <a:pt x="663618" y="180334"/>
                    <a:pt x="667230" y="182914"/>
                    <a:pt x="675486" y="180334"/>
                  </a:cubicBezTo>
                  <a:cubicBezTo>
                    <a:pt x="713668" y="168983"/>
                    <a:pt x="752882" y="160727"/>
                    <a:pt x="792613" y="155567"/>
                  </a:cubicBezTo>
                  <a:cubicBezTo>
                    <a:pt x="800352" y="154535"/>
                    <a:pt x="802932" y="151439"/>
                    <a:pt x="801900" y="143700"/>
                  </a:cubicBezTo>
                  <a:cubicBezTo>
                    <a:pt x="795193" y="98294"/>
                    <a:pt x="811704" y="55468"/>
                    <a:pt x="816864" y="11094"/>
                  </a:cubicBezTo>
                  <a:cubicBezTo>
                    <a:pt x="817380" y="5934"/>
                    <a:pt x="820476" y="2838"/>
                    <a:pt x="826151" y="2322"/>
                  </a:cubicBezTo>
                  <a:cubicBezTo>
                    <a:pt x="859174" y="-1290"/>
                    <a:pt x="892196" y="258"/>
                    <a:pt x="925219" y="774"/>
                  </a:cubicBezTo>
                  <a:cubicBezTo>
                    <a:pt x="930895" y="774"/>
                    <a:pt x="933475" y="4902"/>
                    <a:pt x="934507" y="10062"/>
                  </a:cubicBezTo>
                  <a:cubicBezTo>
                    <a:pt x="941214" y="43600"/>
                    <a:pt x="948438" y="77139"/>
                    <a:pt x="954114" y="111193"/>
                  </a:cubicBezTo>
                  <a:cubicBezTo>
                    <a:pt x="955662" y="120481"/>
                    <a:pt x="953082" y="130800"/>
                    <a:pt x="952050" y="140604"/>
                  </a:cubicBezTo>
                  <a:cubicBezTo>
                    <a:pt x="951018" y="148343"/>
                    <a:pt x="954114" y="151955"/>
                    <a:pt x="962369" y="152987"/>
                  </a:cubicBezTo>
                  <a:cubicBezTo>
                    <a:pt x="1001584" y="157115"/>
                    <a:pt x="1040798" y="164339"/>
                    <a:pt x="1078980" y="174658"/>
                  </a:cubicBezTo>
                  <a:cubicBezTo>
                    <a:pt x="1085172" y="176206"/>
                    <a:pt x="1091364" y="176722"/>
                    <a:pt x="1093428" y="168467"/>
                  </a:cubicBezTo>
                  <a:cubicBezTo>
                    <a:pt x="1101683" y="130284"/>
                    <a:pt x="1127482" y="101390"/>
                    <a:pt x="1147089" y="69399"/>
                  </a:cubicBezTo>
                  <a:cubicBezTo>
                    <a:pt x="1162569" y="43084"/>
                    <a:pt x="1163601" y="43600"/>
                    <a:pt x="1192495" y="54436"/>
                  </a:cubicBezTo>
                  <a:cubicBezTo>
                    <a:pt x="1214682" y="62691"/>
                    <a:pt x="1236353" y="71979"/>
                    <a:pt x="1258024" y="81266"/>
                  </a:cubicBezTo>
                  <a:cubicBezTo>
                    <a:pt x="1265764" y="84362"/>
                    <a:pt x="1268860" y="88490"/>
                    <a:pt x="1267312" y="96746"/>
                  </a:cubicBezTo>
                  <a:cubicBezTo>
                    <a:pt x="1260604" y="128736"/>
                    <a:pt x="1254928" y="160727"/>
                    <a:pt x="1247705" y="192718"/>
                  </a:cubicBezTo>
                  <a:cubicBezTo>
                    <a:pt x="1245125" y="203553"/>
                    <a:pt x="1238417" y="213873"/>
                    <a:pt x="1233258" y="224192"/>
                  </a:cubicBezTo>
                  <a:cubicBezTo>
                    <a:pt x="1229646" y="230384"/>
                    <a:pt x="1230678" y="233996"/>
                    <a:pt x="1237385" y="237608"/>
                  </a:cubicBezTo>
                  <a:cubicBezTo>
                    <a:pt x="1273504" y="256699"/>
                    <a:pt x="1307558" y="279402"/>
                    <a:pt x="1340065" y="304169"/>
                  </a:cubicBezTo>
                  <a:cubicBezTo>
                    <a:pt x="1345741" y="308812"/>
                    <a:pt x="1349868" y="309328"/>
                    <a:pt x="1354512" y="302621"/>
                  </a:cubicBezTo>
                  <a:cubicBezTo>
                    <a:pt x="1381343" y="264954"/>
                    <a:pt x="1424169" y="246379"/>
                    <a:pt x="1459771" y="218516"/>
                  </a:cubicBezTo>
                  <a:cubicBezTo>
                    <a:pt x="1464415" y="214905"/>
                    <a:pt x="1468027" y="216452"/>
                    <a:pt x="1472155" y="220064"/>
                  </a:cubicBezTo>
                  <a:cubicBezTo>
                    <a:pt x="1496406" y="241219"/>
                    <a:pt x="1519109" y="264438"/>
                    <a:pt x="1541296" y="287657"/>
                  </a:cubicBezTo>
                  <a:cubicBezTo>
                    <a:pt x="1545424" y="292301"/>
                    <a:pt x="1545940" y="296429"/>
                    <a:pt x="1542328" y="301073"/>
                  </a:cubicBezTo>
                  <a:cubicBezTo>
                    <a:pt x="1523237" y="329452"/>
                    <a:pt x="1505177" y="357830"/>
                    <a:pt x="1485570" y="385693"/>
                  </a:cubicBezTo>
                  <a:cubicBezTo>
                    <a:pt x="1479895" y="393949"/>
                    <a:pt x="1470607" y="400140"/>
                    <a:pt x="1462868" y="406332"/>
                  </a:cubicBezTo>
                  <a:cubicBezTo>
                    <a:pt x="1456676" y="411492"/>
                    <a:pt x="1455644" y="416136"/>
                    <a:pt x="1460803" y="422327"/>
                  </a:cubicBezTo>
                  <a:cubicBezTo>
                    <a:pt x="1486086" y="453802"/>
                    <a:pt x="1509305" y="487341"/>
                    <a:pt x="1529428" y="522427"/>
                  </a:cubicBezTo>
                  <a:cubicBezTo>
                    <a:pt x="1534072" y="530167"/>
                    <a:pt x="1538716" y="529135"/>
                    <a:pt x="1544908" y="525007"/>
                  </a:cubicBezTo>
                  <a:cubicBezTo>
                    <a:pt x="1584122" y="500756"/>
                    <a:pt x="1630044" y="500240"/>
                    <a:pt x="1672870" y="488373"/>
                  </a:cubicBezTo>
                  <a:cubicBezTo>
                    <a:pt x="1678546" y="486825"/>
                    <a:pt x="1681642" y="489921"/>
                    <a:pt x="1683706" y="495080"/>
                  </a:cubicBezTo>
                  <a:cubicBezTo>
                    <a:pt x="1697637" y="523975"/>
                    <a:pt x="1710537" y="553902"/>
                    <a:pt x="1721888" y="583828"/>
                  </a:cubicBezTo>
                  <a:cubicBezTo>
                    <a:pt x="1723952" y="590020"/>
                    <a:pt x="1722404" y="593632"/>
                    <a:pt x="1717244" y="596728"/>
                  </a:cubicBezTo>
                  <a:cubicBezTo>
                    <a:pt x="1689381" y="615303"/>
                    <a:pt x="1662035" y="634394"/>
                    <a:pt x="1633140" y="652453"/>
                  </a:cubicBezTo>
                  <a:cubicBezTo>
                    <a:pt x="1623852" y="658129"/>
                    <a:pt x="1612501" y="660709"/>
                    <a:pt x="1601665" y="663805"/>
                  </a:cubicBezTo>
                  <a:cubicBezTo>
                    <a:pt x="1594958" y="665869"/>
                    <a:pt x="1592894" y="668965"/>
                    <a:pt x="1594958" y="676188"/>
                  </a:cubicBezTo>
                  <a:cubicBezTo>
                    <a:pt x="1606309" y="715403"/>
                    <a:pt x="1615081" y="755133"/>
                    <a:pt x="1620241" y="795895"/>
                  </a:cubicBezTo>
                  <a:cubicBezTo>
                    <a:pt x="1621272" y="803119"/>
                    <a:pt x="1624368" y="805699"/>
                    <a:pt x="1631076" y="804667"/>
                  </a:cubicBezTo>
                  <a:cubicBezTo>
                    <a:pt x="1676482" y="797959"/>
                    <a:pt x="1719308" y="814470"/>
                    <a:pt x="1763682" y="819630"/>
                  </a:cubicBezTo>
                  <a:cubicBezTo>
                    <a:pt x="1769874" y="820146"/>
                    <a:pt x="1772454" y="823758"/>
                    <a:pt x="1773486" y="829950"/>
                  </a:cubicBezTo>
                  <a:cubicBezTo>
                    <a:pt x="1776582" y="862456"/>
                    <a:pt x="1775034" y="895479"/>
                    <a:pt x="1775034" y="927985"/>
                  </a:cubicBezTo>
                  <a:cubicBezTo>
                    <a:pt x="1775034" y="933661"/>
                    <a:pt x="1771422" y="936241"/>
                    <a:pt x="1766262" y="937273"/>
                  </a:cubicBezTo>
                  <a:cubicBezTo>
                    <a:pt x="1732207" y="943981"/>
                    <a:pt x="1698153" y="951204"/>
                    <a:pt x="1663583" y="957396"/>
                  </a:cubicBezTo>
                  <a:cubicBezTo>
                    <a:pt x="1654811" y="958944"/>
                    <a:pt x="1645523" y="956364"/>
                    <a:pt x="1636752" y="955332"/>
                  </a:cubicBezTo>
                  <a:cubicBezTo>
                    <a:pt x="1627980" y="954300"/>
                    <a:pt x="1623336" y="956364"/>
                    <a:pt x="1622304" y="966684"/>
                  </a:cubicBezTo>
                  <a:cubicBezTo>
                    <a:pt x="1618177" y="1005382"/>
                    <a:pt x="1610953" y="1044080"/>
                    <a:pt x="1601149" y="1081746"/>
                  </a:cubicBezTo>
                  <a:cubicBezTo>
                    <a:pt x="1598569" y="1091034"/>
                    <a:pt x="1601665" y="1095678"/>
                    <a:pt x="1610437" y="1097742"/>
                  </a:cubicBezTo>
                  <a:cubicBezTo>
                    <a:pt x="1654811" y="1108577"/>
                    <a:pt x="1687318" y="1140568"/>
                    <a:pt x="1726016" y="1161723"/>
                  </a:cubicBezTo>
                  <a:cubicBezTo>
                    <a:pt x="1731176" y="1164819"/>
                    <a:pt x="1731176" y="1168947"/>
                    <a:pt x="1729112" y="1174107"/>
                  </a:cubicBezTo>
                  <a:cubicBezTo>
                    <a:pt x="1718792" y="1204549"/>
                    <a:pt x="1706409" y="1234476"/>
                    <a:pt x="1693509" y="1263887"/>
                  </a:cubicBezTo>
                  <a:cubicBezTo>
                    <a:pt x="1690929" y="1269562"/>
                    <a:pt x="1687318" y="1271626"/>
                    <a:pt x="1681126" y="1270078"/>
                  </a:cubicBezTo>
                  <a:cubicBezTo>
                    <a:pt x="1648103" y="1263371"/>
                    <a:pt x="1614565" y="1257179"/>
                    <a:pt x="1581542" y="1249955"/>
                  </a:cubicBezTo>
                  <a:cubicBezTo>
                    <a:pt x="1571223" y="1247375"/>
                    <a:pt x="1561935" y="1241184"/>
                    <a:pt x="1552647" y="1236024"/>
                  </a:cubicBezTo>
                  <a:cubicBezTo>
                    <a:pt x="1545940" y="1232412"/>
                    <a:pt x="1542328" y="1232928"/>
                    <a:pt x="1538200" y="1240152"/>
                  </a:cubicBezTo>
                  <a:cubicBezTo>
                    <a:pt x="1519109" y="1275238"/>
                    <a:pt x="1497954" y="1309293"/>
                    <a:pt x="1473187" y="1340767"/>
                  </a:cubicBezTo>
                  <a:cubicBezTo>
                    <a:pt x="1467511" y="1347991"/>
                    <a:pt x="1466479" y="1352635"/>
                    <a:pt x="1475251" y="1358310"/>
                  </a:cubicBezTo>
                  <a:cubicBezTo>
                    <a:pt x="1502598" y="1375854"/>
                    <a:pt x="1516013" y="1405264"/>
                    <a:pt x="1535104" y="1430031"/>
                  </a:cubicBezTo>
                  <a:cubicBezTo>
                    <a:pt x="1538716" y="1434675"/>
                    <a:pt x="1541812" y="1439835"/>
                    <a:pt x="1545424" y="1444995"/>
                  </a:cubicBezTo>
                  <a:cubicBezTo>
                    <a:pt x="1566063" y="1474921"/>
                    <a:pt x="1565031" y="1464602"/>
                    <a:pt x="1542844" y="1489885"/>
                  </a:cubicBezTo>
                  <a:cubicBezTo>
                    <a:pt x="1526849" y="1508460"/>
                    <a:pt x="1508273" y="1524971"/>
                    <a:pt x="1491246" y="1542514"/>
                  </a:cubicBezTo>
                  <a:cubicBezTo>
                    <a:pt x="1485054" y="1549222"/>
                    <a:pt x="1479895" y="1549222"/>
                    <a:pt x="1472155" y="1544062"/>
                  </a:cubicBezTo>
                  <a:cubicBezTo>
                    <a:pt x="1446356" y="1526519"/>
                    <a:pt x="1420041" y="1508976"/>
                    <a:pt x="1393726" y="1491948"/>
                  </a:cubicBezTo>
                  <a:cubicBezTo>
                    <a:pt x="1383923" y="1485241"/>
                    <a:pt x="1377215" y="1475437"/>
                    <a:pt x="1369992" y="1466666"/>
                  </a:cubicBezTo>
                  <a:cubicBezTo>
                    <a:pt x="1364316" y="1459958"/>
                    <a:pt x="1359672" y="1458926"/>
                    <a:pt x="1352964" y="1464602"/>
                  </a:cubicBezTo>
                  <a:cubicBezTo>
                    <a:pt x="1322005" y="1489885"/>
                    <a:pt x="1288983" y="1512588"/>
                    <a:pt x="1254413" y="1532711"/>
                  </a:cubicBezTo>
                  <a:cubicBezTo>
                    <a:pt x="1249769" y="1535291"/>
                    <a:pt x="1244609" y="1537871"/>
                    <a:pt x="1248737" y="1544578"/>
                  </a:cubicBezTo>
                  <a:cubicBezTo>
                    <a:pt x="1272472" y="1580181"/>
                    <a:pt x="1274020" y="1622491"/>
                    <a:pt x="1284339" y="1662221"/>
                  </a:cubicBezTo>
                  <a:cubicBezTo>
                    <a:pt x="1290531" y="1685440"/>
                    <a:pt x="1292079" y="1682344"/>
                    <a:pt x="1268860" y="1693180"/>
                  </a:cubicBezTo>
                  <a:cubicBezTo>
                    <a:pt x="1244609" y="1704531"/>
                    <a:pt x="1219842" y="1714335"/>
                    <a:pt x="1195591" y="1724654"/>
                  </a:cubicBezTo>
                  <a:cubicBezTo>
                    <a:pt x="1187851" y="1727750"/>
                    <a:pt x="1183208" y="1726718"/>
                    <a:pt x="1178564" y="1719495"/>
                  </a:cubicBezTo>
                  <a:cubicBezTo>
                    <a:pt x="1161021" y="1692664"/>
                    <a:pt x="1142962" y="1666865"/>
                    <a:pt x="1125418" y="1640034"/>
                  </a:cubicBezTo>
                  <a:cubicBezTo>
                    <a:pt x="1118711" y="1629715"/>
                    <a:pt x="1116131" y="1617847"/>
                    <a:pt x="1113035" y="1606496"/>
                  </a:cubicBezTo>
                  <a:cubicBezTo>
                    <a:pt x="1110971" y="1599272"/>
                    <a:pt x="1107359" y="1597208"/>
                    <a:pt x="1099619" y="1599272"/>
                  </a:cubicBezTo>
                  <a:cubicBezTo>
                    <a:pt x="1060405" y="1611139"/>
                    <a:pt x="1020675" y="1619395"/>
                    <a:pt x="979913" y="1624555"/>
                  </a:cubicBezTo>
                  <a:cubicBezTo>
                    <a:pt x="973205" y="1625587"/>
                    <a:pt x="971141" y="1628682"/>
                    <a:pt x="972173" y="1634874"/>
                  </a:cubicBezTo>
                  <a:cubicBezTo>
                    <a:pt x="979397" y="1680280"/>
                    <a:pt x="962885" y="1723106"/>
                    <a:pt x="957726" y="1767481"/>
                  </a:cubicBezTo>
                  <a:cubicBezTo>
                    <a:pt x="956694" y="1775220"/>
                    <a:pt x="952566" y="1777800"/>
                    <a:pt x="945858" y="1777800"/>
                  </a:cubicBezTo>
                  <a:cubicBezTo>
                    <a:pt x="929347" y="1778316"/>
                    <a:pt x="912320" y="1779348"/>
                    <a:pt x="895808" y="1779864"/>
                  </a:cubicBezTo>
                  <a:cubicBezTo>
                    <a:pt x="894776" y="1776252"/>
                    <a:pt x="894776" y="1776252"/>
                    <a:pt x="894776" y="1775736"/>
                  </a:cubicBezTo>
                  <a:close/>
                  <a:moveTo>
                    <a:pt x="890648" y="1454798"/>
                  </a:moveTo>
                  <a:cubicBezTo>
                    <a:pt x="1199203" y="1449638"/>
                    <a:pt x="1454096" y="1207645"/>
                    <a:pt x="1452548" y="884127"/>
                  </a:cubicBezTo>
                  <a:cubicBezTo>
                    <a:pt x="1451516" y="575057"/>
                    <a:pt x="1205395" y="320164"/>
                    <a:pt x="881361" y="322228"/>
                  </a:cubicBezTo>
                  <a:cubicBezTo>
                    <a:pt x="571775" y="324292"/>
                    <a:pt x="318429" y="570929"/>
                    <a:pt x="320494" y="893415"/>
                  </a:cubicBezTo>
                  <a:cubicBezTo>
                    <a:pt x="323073" y="1202485"/>
                    <a:pt x="569195" y="1452218"/>
                    <a:pt x="890648" y="1454798"/>
                  </a:cubicBezTo>
                  <a:close/>
                </a:path>
              </a:pathLst>
            </a:custGeom>
            <a:grpFill/>
            <a:ln w="515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DBF296DB-D0C8-471D-91FE-F4B26B99C108}"/>
                </a:ext>
              </a:extLst>
            </p:cNvPr>
            <p:cNvSpPr/>
            <p:nvPr/>
          </p:nvSpPr>
          <p:spPr>
            <a:xfrm>
              <a:off x="6408280" y="6041992"/>
              <a:ext cx="494433" cy="491686"/>
            </a:xfrm>
            <a:custGeom>
              <a:avLst/>
              <a:gdLst>
                <a:gd name="connsiteX0" fmla="*/ 959201 w 1857518"/>
                <a:gd name="connsiteY0" fmla="*/ 1852264 h 1847198"/>
                <a:gd name="connsiteX1" fmla="*/ 910700 w 1857518"/>
                <a:gd name="connsiteY1" fmla="*/ 1852264 h 1847198"/>
                <a:gd name="connsiteX2" fmla="*/ 891608 w 1857518"/>
                <a:gd name="connsiteY2" fmla="*/ 1830593 h 1847198"/>
                <a:gd name="connsiteX3" fmla="*/ 838463 w 1857518"/>
                <a:gd name="connsiteY3" fmla="*/ 1669608 h 1847198"/>
                <a:gd name="connsiteX4" fmla="*/ 813180 w 1857518"/>
                <a:gd name="connsiteY4" fmla="*/ 1646905 h 1847198"/>
                <a:gd name="connsiteX5" fmla="*/ 730624 w 1857518"/>
                <a:gd name="connsiteY5" fmla="*/ 1628330 h 1847198"/>
                <a:gd name="connsiteX6" fmla="*/ 693990 w 1857518"/>
                <a:gd name="connsiteY6" fmla="*/ 1639165 h 1847198"/>
                <a:gd name="connsiteX7" fmla="*/ 573251 w 1857518"/>
                <a:gd name="connsiteY7" fmla="*/ 1761452 h 1847198"/>
                <a:gd name="connsiteX8" fmla="*/ 542292 w 1857518"/>
                <a:gd name="connsiteY8" fmla="*/ 1766612 h 1847198"/>
                <a:gd name="connsiteX9" fmla="*/ 412782 w 1857518"/>
                <a:gd name="connsiteY9" fmla="*/ 1693859 h 1847198"/>
                <a:gd name="connsiteX10" fmla="*/ 398334 w 1857518"/>
                <a:gd name="connsiteY10" fmla="*/ 1660836 h 1847198"/>
                <a:gd name="connsiteX11" fmla="*/ 440644 w 1857518"/>
                <a:gd name="connsiteY11" fmla="*/ 1494176 h 1847198"/>
                <a:gd name="connsiteX12" fmla="*/ 432904 w 1857518"/>
                <a:gd name="connsiteY12" fmla="*/ 1462185 h 1847198"/>
                <a:gd name="connsiteX13" fmla="*/ 370471 w 1857518"/>
                <a:gd name="connsiteY13" fmla="*/ 1397172 h 1847198"/>
                <a:gd name="connsiteX14" fmla="*/ 340545 w 1857518"/>
                <a:gd name="connsiteY14" fmla="*/ 1388400 h 1847198"/>
                <a:gd name="connsiteX15" fmla="*/ 310618 w 1857518"/>
                <a:gd name="connsiteY15" fmla="*/ 1395108 h 1847198"/>
                <a:gd name="connsiteX16" fmla="*/ 170273 w 1857518"/>
                <a:gd name="connsiteY16" fmla="*/ 1426583 h 1847198"/>
                <a:gd name="connsiteX17" fmla="*/ 141377 w 1857518"/>
                <a:gd name="connsiteY17" fmla="*/ 1413683 h 1847198"/>
                <a:gd name="connsiteX18" fmla="*/ 70689 w 1857518"/>
                <a:gd name="connsiteY18" fmla="*/ 1276949 h 1847198"/>
                <a:gd name="connsiteX19" fmla="*/ 75848 w 1857518"/>
                <a:gd name="connsiteY19" fmla="*/ 1247539 h 1847198"/>
                <a:gd name="connsiteX20" fmla="*/ 206391 w 1857518"/>
                <a:gd name="connsiteY20" fmla="*/ 1126284 h 1847198"/>
                <a:gd name="connsiteX21" fmla="*/ 216710 w 1857518"/>
                <a:gd name="connsiteY21" fmla="*/ 1096873 h 1847198"/>
                <a:gd name="connsiteX22" fmla="*/ 201231 w 1857518"/>
                <a:gd name="connsiteY22" fmla="*/ 1012769 h 1847198"/>
                <a:gd name="connsiteX23" fmla="*/ 181108 w 1857518"/>
                <a:gd name="connsiteY23" fmla="*/ 989034 h 1847198"/>
                <a:gd name="connsiteX24" fmla="*/ 67077 w 1857518"/>
                <a:gd name="connsiteY24" fmla="*/ 947240 h 1847198"/>
                <a:gd name="connsiteX25" fmla="*/ 0 w 1857518"/>
                <a:gd name="connsiteY25" fmla="*/ 921957 h 1847198"/>
                <a:gd name="connsiteX26" fmla="*/ 0 w 1857518"/>
                <a:gd name="connsiteY26" fmla="*/ 893062 h 1847198"/>
                <a:gd name="connsiteX27" fmla="*/ 4643 w 1857518"/>
                <a:gd name="connsiteY27" fmla="*/ 842496 h 1847198"/>
                <a:gd name="connsiteX28" fmla="*/ 17543 w 1857518"/>
                <a:gd name="connsiteY28" fmla="*/ 743945 h 1847198"/>
                <a:gd name="connsiteX29" fmla="*/ 38182 w 1857518"/>
                <a:gd name="connsiteY29" fmla="*/ 723305 h 1847198"/>
                <a:gd name="connsiteX30" fmla="*/ 214131 w 1857518"/>
                <a:gd name="connsiteY30" fmla="*/ 691315 h 1847198"/>
                <a:gd name="connsiteX31" fmla="*/ 239929 w 1857518"/>
                <a:gd name="connsiteY31" fmla="*/ 671192 h 1847198"/>
                <a:gd name="connsiteX32" fmla="*/ 266760 w 1857518"/>
                <a:gd name="connsiteY32" fmla="*/ 606695 h 1847198"/>
                <a:gd name="connsiteX33" fmla="*/ 262116 w 1857518"/>
                <a:gd name="connsiteY33" fmla="*/ 570060 h 1847198"/>
                <a:gd name="connsiteX34" fmla="*/ 159437 w 1857518"/>
                <a:gd name="connsiteY34" fmla="*/ 434874 h 1847198"/>
                <a:gd name="connsiteX35" fmla="*/ 159953 w 1857518"/>
                <a:gd name="connsiteY35" fmla="*/ 401336 h 1847198"/>
                <a:gd name="connsiteX36" fmla="*/ 259536 w 1857518"/>
                <a:gd name="connsiteY36" fmla="*/ 278017 h 1847198"/>
                <a:gd name="connsiteX37" fmla="*/ 294623 w 1857518"/>
                <a:gd name="connsiteY37" fmla="*/ 268729 h 1847198"/>
                <a:gd name="connsiteX38" fmla="*/ 457672 w 1857518"/>
                <a:gd name="connsiteY38" fmla="*/ 336322 h 1847198"/>
                <a:gd name="connsiteX39" fmla="*/ 489146 w 1857518"/>
                <a:gd name="connsiteY39" fmla="*/ 333743 h 1847198"/>
                <a:gd name="connsiteX40" fmla="*/ 540744 w 1857518"/>
                <a:gd name="connsiteY40" fmla="*/ 298140 h 1847198"/>
                <a:gd name="connsiteX41" fmla="*/ 553127 w 1857518"/>
                <a:gd name="connsiteY41" fmla="*/ 273889 h 1847198"/>
                <a:gd name="connsiteX42" fmla="*/ 552096 w 1857518"/>
                <a:gd name="connsiteY42" fmla="*/ 255830 h 1847198"/>
                <a:gd name="connsiteX43" fmla="*/ 545904 w 1857518"/>
                <a:gd name="connsiteY43" fmla="*/ 175854 h 1847198"/>
                <a:gd name="connsiteX44" fmla="*/ 539712 w 1857518"/>
                <a:gd name="connsiteY44" fmla="*/ 95877 h 1847198"/>
                <a:gd name="connsiteX45" fmla="*/ 556739 w 1857518"/>
                <a:gd name="connsiteY45" fmla="*/ 69562 h 1847198"/>
                <a:gd name="connsiteX46" fmla="*/ 716176 w 1857518"/>
                <a:gd name="connsiteY46" fmla="*/ 15901 h 1847198"/>
                <a:gd name="connsiteX47" fmla="*/ 726496 w 1857518"/>
                <a:gd name="connsiteY47" fmla="*/ 14353 h 1847198"/>
                <a:gd name="connsiteX48" fmla="*/ 748167 w 1857518"/>
                <a:gd name="connsiteY48" fmla="*/ 28800 h 1847198"/>
                <a:gd name="connsiteX49" fmla="*/ 847750 w 1857518"/>
                <a:gd name="connsiteY49" fmla="*/ 172758 h 1847198"/>
                <a:gd name="connsiteX50" fmla="*/ 878709 w 1857518"/>
                <a:gd name="connsiteY50" fmla="*/ 187721 h 1847198"/>
                <a:gd name="connsiteX51" fmla="*/ 931855 w 1857518"/>
                <a:gd name="connsiteY51" fmla="*/ 185657 h 1847198"/>
                <a:gd name="connsiteX52" fmla="*/ 948366 w 1857518"/>
                <a:gd name="connsiteY52" fmla="*/ 177401 h 1847198"/>
                <a:gd name="connsiteX53" fmla="*/ 954042 w 1857518"/>
                <a:gd name="connsiteY53" fmla="*/ 169146 h 1847198"/>
                <a:gd name="connsiteX54" fmla="*/ 979840 w 1857518"/>
                <a:gd name="connsiteY54" fmla="*/ 121676 h 1847198"/>
                <a:gd name="connsiteX55" fmla="*/ 1037630 w 1857518"/>
                <a:gd name="connsiteY55" fmla="*/ 13837 h 1847198"/>
                <a:gd name="connsiteX56" fmla="*/ 1066525 w 1857518"/>
                <a:gd name="connsiteY56" fmla="*/ 937 h 1847198"/>
                <a:gd name="connsiteX57" fmla="*/ 1233702 w 1857518"/>
                <a:gd name="connsiteY57" fmla="*/ 40667 h 1847198"/>
                <a:gd name="connsiteX58" fmla="*/ 1253309 w 1857518"/>
                <a:gd name="connsiteY58" fmla="*/ 64918 h 1847198"/>
                <a:gd name="connsiteX59" fmla="*/ 1254341 w 1857518"/>
                <a:gd name="connsiteY59" fmla="*/ 85042 h 1847198"/>
                <a:gd name="connsiteX60" fmla="*/ 1258468 w 1857518"/>
                <a:gd name="connsiteY60" fmla="*/ 209908 h 1847198"/>
                <a:gd name="connsiteX61" fmla="*/ 1260016 w 1857518"/>
                <a:gd name="connsiteY61" fmla="*/ 244478 h 1847198"/>
                <a:gd name="connsiteX62" fmla="*/ 1276012 w 1857518"/>
                <a:gd name="connsiteY62" fmla="*/ 270277 h 1847198"/>
                <a:gd name="connsiteX63" fmla="*/ 1313678 w 1857518"/>
                <a:gd name="connsiteY63" fmla="*/ 291948 h 1847198"/>
                <a:gd name="connsiteX64" fmla="*/ 1349797 w 1857518"/>
                <a:gd name="connsiteY64" fmla="*/ 291948 h 1847198"/>
                <a:gd name="connsiteX65" fmla="*/ 1502526 w 1857518"/>
                <a:gd name="connsiteY65" fmla="*/ 206812 h 1847198"/>
                <a:gd name="connsiteX66" fmla="*/ 1535033 w 1857518"/>
                <a:gd name="connsiteY66" fmla="*/ 211456 h 1847198"/>
                <a:gd name="connsiteX67" fmla="*/ 1653707 w 1857518"/>
                <a:gd name="connsiteY67" fmla="*/ 332711 h 1847198"/>
                <a:gd name="connsiteX68" fmla="*/ 1657835 w 1857518"/>
                <a:gd name="connsiteY68" fmla="*/ 366249 h 1847198"/>
                <a:gd name="connsiteX69" fmla="*/ 1569087 w 1857518"/>
                <a:gd name="connsiteY69" fmla="*/ 515883 h 1847198"/>
                <a:gd name="connsiteX70" fmla="*/ 1568571 w 1857518"/>
                <a:gd name="connsiteY70" fmla="*/ 550453 h 1847198"/>
                <a:gd name="connsiteX71" fmla="*/ 1591274 w 1857518"/>
                <a:gd name="connsiteY71" fmla="*/ 592247 h 1847198"/>
                <a:gd name="connsiteX72" fmla="*/ 1617589 w 1857518"/>
                <a:gd name="connsiteY72" fmla="*/ 608759 h 1847198"/>
                <a:gd name="connsiteX73" fmla="*/ 1676926 w 1857518"/>
                <a:gd name="connsiteY73" fmla="*/ 612886 h 1847198"/>
                <a:gd name="connsiteX74" fmla="*/ 1797665 w 1857518"/>
                <a:gd name="connsiteY74" fmla="*/ 620626 h 1847198"/>
                <a:gd name="connsiteX75" fmla="*/ 1820884 w 1857518"/>
                <a:gd name="connsiteY75" fmla="*/ 640233 h 1847198"/>
                <a:gd name="connsiteX76" fmla="*/ 1857518 w 1857518"/>
                <a:gd name="connsiteY76" fmla="*/ 808442 h 1847198"/>
                <a:gd name="connsiteX77" fmla="*/ 1851842 w 1857518"/>
                <a:gd name="connsiteY77" fmla="*/ 829081 h 1847198"/>
                <a:gd name="connsiteX78" fmla="*/ 1841523 w 1857518"/>
                <a:gd name="connsiteY78" fmla="*/ 836305 h 1847198"/>
                <a:gd name="connsiteX79" fmla="*/ 1686214 w 1857518"/>
                <a:gd name="connsiteY79" fmla="*/ 913701 h 1847198"/>
                <a:gd name="connsiteX80" fmla="*/ 1668670 w 1857518"/>
                <a:gd name="connsiteY80" fmla="*/ 940016 h 1847198"/>
                <a:gd name="connsiteX81" fmla="*/ 1665059 w 1857518"/>
                <a:gd name="connsiteY81" fmla="*/ 998322 h 1847198"/>
                <a:gd name="connsiteX82" fmla="*/ 1678474 w 1857518"/>
                <a:gd name="connsiteY82" fmla="*/ 1026184 h 1847198"/>
                <a:gd name="connsiteX83" fmla="*/ 1821916 w 1857518"/>
                <a:gd name="connsiteY83" fmla="*/ 1131960 h 1847198"/>
                <a:gd name="connsiteX84" fmla="*/ 1831720 w 1857518"/>
                <a:gd name="connsiteY84" fmla="*/ 1163950 h 1847198"/>
                <a:gd name="connsiteX85" fmla="*/ 1805404 w 1857518"/>
                <a:gd name="connsiteY85" fmla="*/ 1236703 h 1847198"/>
                <a:gd name="connsiteX86" fmla="*/ 1775478 w 1857518"/>
                <a:gd name="connsiteY86" fmla="*/ 1317711 h 1847198"/>
                <a:gd name="connsiteX87" fmla="*/ 1750195 w 1857518"/>
                <a:gd name="connsiteY87" fmla="*/ 1334223 h 1847198"/>
                <a:gd name="connsiteX88" fmla="*/ 1685698 w 1857518"/>
                <a:gd name="connsiteY88" fmla="*/ 1327515 h 1847198"/>
                <a:gd name="connsiteX89" fmla="*/ 1574247 w 1857518"/>
                <a:gd name="connsiteY89" fmla="*/ 1315648 h 1847198"/>
                <a:gd name="connsiteX90" fmla="*/ 1545868 w 1857518"/>
                <a:gd name="connsiteY90" fmla="*/ 1328547 h 1847198"/>
                <a:gd name="connsiteX91" fmla="*/ 1505622 w 1857518"/>
                <a:gd name="connsiteY91" fmla="*/ 1383241 h 1847198"/>
                <a:gd name="connsiteX92" fmla="*/ 1500978 w 1857518"/>
                <a:gd name="connsiteY92" fmla="*/ 1417811 h 1847198"/>
                <a:gd name="connsiteX93" fmla="*/ 1563411 w 1857518"/>
                <a:gd name="connsiteY93" fmla="*/ 1581892 h 1847198"/>
                <a:gd name="connsiteX94" fmla="*/ 1554124 w 1857518"/>
                <a:gd name="connsiteY94" fmla="*/ 1615430 h 1847198"/>
                <a:gd name="connsiteX95" fmla="*/ 1430805 w 1857518"/>
                <a:gd name="connsiteY95" fmla="*/ 1708822 h 1847198"/>
                <a:gd name="connsiteX96" fmla="*/ 1397266 w 1857518"/>
                <a:gd name="connsiteY96" fmla="*/ 1708306 h 1847198"/>
                <a:gd name="connsiteX97" fmla="*/ 1263628 w 1857518"/>
                <a:gd name="connsiteY97" fmla="*/ 1600467 h 1847198"/>
                <a:gd name="connsiteX98" fmla="*/ 1232154 w 1857518"/>
                <a:gd name="connsiteY98" fmla="*/ 1594275 h 1847198"/>
                <a:gd name="connsiteX99" fmla="*/ 1153725 w 1857518"/>
                <a:gd name="connsiteY99" fmla="*/ 1624202 h 1847198"/>
                <a:gd name="connsiteX100" fmla="*/ 1134634 w 1857518"/>
                <a:gd name="connsiteY100" fmla="*/ 1646905 h 1847198"/>
                <a:gd name="connsiteX101" fmla="*/ 1123798 w 1857518"/>
                <a:gd name="connsiteY101" fmla="*/ 1698503 h 1847198"/>
                <a:gd name="connsiteX102" fmla="*/ 1097999 w 1857518"/>
                <a:gd name="connsiteY102" fmla="*/ 1821821 h 1847198"/>
                <a:gd name="connsiteX103" fmla="*/ 1076329 w 1857518"/>
                <a:gd name="connsiteY103" fmla="*/ 1842460 h 1847198"/>
                <a:gd name="connsiteX104" fmla="*/ 994288 w 1857518"/>
                <a:gd name="connsiteY104" fmla="*/ 1851232 h 1847198"/>
                <a:gd name="connsiteX105" fmla="*/ 959201 w 1857518"/>
                <a:gd name="connsiteY105" fmla="*/ 1852264 h 1847198"/>
                <a:gd name="connsiteX106" fmla="*/ 928759 w 1857518"/>
                <a:gd name="connsiteY106" fmla="*/ 382245 h 1847198"/>
                <a:gd name="connsiteX107" fmla="*/ 386983 w 1857518"/>
                <a:gd name="connsiteY107" fmla="*/ 921957 h 1847198"/>
                <a:gd name="connsiteX108" fmla="*/ 926695 w 1857518"/>
                <a:gd name="connsiteY108" fmla="*/ 1465797 h 1847198"/>
                <a:gd name="connsiteX109" fmla="*/ 1470535 w 1857518"/>
                <a:gd name="connsiteY109" fmla="*/ 924537 h 1847198"/>
                <a:gd name="connsiteX110" fmla="*/ 928759 w 1857518"/>
                <a:gd name="connsiteY110" fmla="*/ 382245 h 1847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857518" h="1847198">
                  <a:moveTo>
                    <a:pt x="959201" y="1852264"/>
                  </a:moveTo>
                  <a:cubicBezTo>
                    <a:pt x="943206" y="1852264"/>
                    <a:pt x="927211" y="1852264"/>
                    <a:pt x="910700" y="1852264"/>
                  </a:cubicBezTo>
                  <a:cubicBezTo>
                    <a:pt x="900380" y="1848652"/>
                    <a:pt x="894704" y="1840913"/>
                    <a:pt x="891608" y="1830593"/>
                  </a:cubicBezTo>
                  <a:cubicBezTo>
                    <a:pt x="874065" y="1776931"/>
                    <a:pt x="856006" y="1723270"/>
                    <a:pt x="838463" y="1669608"/>
                  </a:cubicBezTo>
                  <a:cubicBezTo>
                    <a:pt x="834335" y="1657224"/>
                    <a:pt x="826080" y="1649485"/>
                    <a:pt x="813180" y="1646905"/>
                  </a:cubicBezTo>
                  <a:cubicBezTo>
                    <a:pt x="785833" y="1640713"/>
                    <a:pt x="757970" y="1635037"/>
                    <a:pt x="730624" y="1628330"/>
                  </a:cubicBezTo>
                  <a:cubicBezTo>
                    <a:pt x="716176" y="1624718"/>
                    <a:pt x="704309" y="1628330"/>
                    <a:pt x="693990" y="1639165"/>
                  </a:cubicBezTo>
                  <a:cubicBezTo>
                    <a:pt x="654259" y="1680443"/>
                    <a:pt x="613497" y="1720690"/>
                    <a:pt x="573251" y="1761452"/>
                  </a:cubicBezTo>
                  <a:cubicBezTo>
                    <a:pt x="563963" y="1770739"/>
                    <a:pt x="553127" y="1772804"/>
                    <a:pt x="542292" y="1766612"/>
                  </a:cubicBezTo>
                  <a:cubicBezTo>
                    <a:pt x="498950" y="1742361"/>
                    <a:pt x="456123" y="1718110"/>
                    <a:pt x="412782" y="1693859"/>
                  </a:cubicBezTo>
                  <a:cubicBezTo>
                    <a:pt x="397818" y="1685603"/>
                    <a:pt x="394206" y="1676832"/>
                    <a:pt x="398334" y="1660836"/>
                  </a:cubicBezTo>
                  <a:cubicBezTo>
                    <a:pt x="412265" y="1605111"/>
                    <a:pt x="426713" y="1549901"/>
                    <a:pt x="440644" y="1494176"/>
                  </a:cubicBezTo>
                  <a:cubicBezTo>
                    <a:pt x="443741" y="1482308"/>
                    <a:pt x="441676" y="1471473"/>
                    <a:pt x="432904" y="1462185"/>
                  </a:cubicBezTo>
                  <a:cubicBezTo>
                    <a:pt x="412265" y="1440514"/>
                    <a:pt x="391110" y="1418843"/>
                    <a:pt x="370471" y="1397172"/>
                  </a:cubicBezTo>
                  <a:cubicBezTo>
                    <a:pt x="362216" y="1388400"/>
                    <a:pt x="351896" y="1385820"/>
                    <a:pt x="340545" y="1388400"/>
                  </a:cubicBezTo>
                  <a:cubicBezTo>
                    <a:pt x="330226" y="1390464"/>
                    <a:pt x="320422" y="1393044"/>
                    <a:pt x="310618" y="1395108"/>
                  </a:cubicBezTo>
                  <a:cubicBezTo>
                    <a:pt x="263664" y="1405428"/>
                    <a:pt x="217226" y="1416263"/>
                    <a:pt x="170273" y="1426583"/>
                  </a:cubicBezTo>
                  <a:cubicBezTo>
                    <a:pt x="157373" y="1429679"/>
                    <a:pt x="147054" y="1425035"/>
                    <a:pt x="141377" y="1413683"/>
                  </a:cubicBezTo>
                  <a:cubicBezTo>
                    <a:pt x="117642" y="1368277"/>
                    <a:pt x="94423" y="1322355"/>
                    <a:pt x="70689" y="1276949"/>
                  </a:cubicBezTo>
                  <a:cubicBezTo>
                    <a:pt x="65529" y="1266630"/>
                    <a:pt x="67593" y="1255278"/>
                    <a:pt x="75848" y="1247539"/>
                  </a:cubicBezTo>
                  <a:cubicBezTo>
                    <a:pt x="119191" y="1207292"/>
                    <a:pt x="163049" y="1166530"/>
                    <a:pt x="206391" y="1126284"/>
                  </a:cubicBezTo>
                  <a:cubicBezTo>
                    <a:pt x="215162" y="1118544"/>
                    <a:pt x="218258" y="1108225"/>
                    <a:pt x="216710" y="1096873"/>
                  </a:cubicBezTo>
                  <a:cubicBezTo>
                    <a:pt x="211551" y="1069010"/>
                    <a:pt x="206391" y="1040631"/>
                    <a:pt x="201231" y="1012769"/>
                  </a:cubicBezTo>
                  <a:cubicBezTo>
                    <a:pt x="199167" y="1000901"/>
                    <a:pt x="192459" y="993162"/>
                    <a:pt x="181108" y="989034"/>
                  </a:cubicBezTo>
                  <a:cubicBezTo>
                    <a:pt x="142925" y="975103"/>
                    <a:pt x="104743" y="961171"/>
                    <a:pt x="67077" y="947240"/>
                  </a:cubicBezTo>
                  <a:cubicBezTo>
                    <a:pt x="44890" y="938984"/>
                    <a:pt x="22187" y="931760"/>
                    <a:pt x="0" y="921957"/>
                  </a:cubicBezTo>
                  <a:cubicBezTo>
                    <a:pt x="0" y="912153"/>
                    <a:pt x="0" y="902866"/>
                    <a:pt x="0" y="893062"/>
                  </a:cubicBezTo>
                  <a:cubicBezTo>
                    <a:pt x="1548" y="876035"/>
                    <a:pt x="3096" y="859524"/>
                    <a:pt x="4643" y="842496"/>
                  </a:cubicBezTo>
                  <a:cubicBezTo>
                    <a:pt x="7740" y="809474"/>
                    <a:pt x="12383" y="776451"/>
                    <a:pt x="17543" y="743945"/>
                  </a:cubicBezTo>
                  <a:cubicBezTo>
                    <a:pt x="19091" y="733109"/>
                    <a:pt x="26831" y="725369"/>
                    <a:pt x="38182" y="723305"/>
                  </a:cubicBezTo>
                  <a:cubicBezTo>
                    <a:pt x="97003" y="712470"/>
                    <a:pt x="155309" y="702150"/>
                    <a:pt x="214131" y="691315"/>
                  </a:cubicBezTo>
                  <a:cubicBezTo>
                    <a:pt x="226514" y="689251"/>
                    <a:pt x="234770" y="682543"/>
                    <a:pt x="239929" y="671192"/>
                  </a:cubicBezTo>
                  <a:cubicBezTo>
                    <a:pt x="248701" y="649521"/>
                    <a:pt x="257989" y="627850"/>
                    <a:pt x="266760" y="606695"/>
                  </a:cubicBezTo>
                  <a:cubicBezTo>
                    <a:pt x="272436" y="593279"/>
                    <a:pt x="270888" y="581928"/>
                    <a:pt x="262116" y="570060"/>
                  </a:cubicBezTo>
                  <a:cubicBezTo>
                    <a:pt x="227546" y="525170"/>
                    <a:pt x="193492" y="479764"/>
                    <a:pt x="159437" y="434874"/>
                  </a:cubicBezTo>
                  <a:cubicBezTo>
                    <a:pt x="150665" y="423007"/>
                    <a:pt x="150665" y="412687"/>
                    <a:pt x="159953" y="401336"/>
                  </a:cubicBezTo>
                  <a:cubicBezTo>
                    <a:pt x="192975" y="360058"/>
                    <a:pt x="225998" y="319295"/>
                    <a:pt x="259536" y="278017"/>
                  </a:cubicBezTo>
                  <a:cubicBezTo>
                    <a:pt x="270372" y="265118"/>
                    <a:pt x="279144" y="262538"/>
                    <a:pt x="294623" y="268729"/>
                  </a:cubicBezTo>
                  <a:cubicBezTo>
                    <a:pt x="348801" y="291433"/>
                    <a:pt x="402978" y="313620"/>
                    <a:pt x="457672" y="336322"/>
                  </a:cubicBezTo>
                  <a:cubicBezTo>
                    <a:pt x="468507" y="340966"/>
                    <a:pt x="479342" y="340450"/>
                    <a:pt x="489146" y="333743"/>
                  </a:cubicBezTo>
                  <a:cubicBezTo>
                    <a:pt x="506690" y="321875"/>
                    <a:pt x="523717" y="310008"/>
                    <a:pt x="540744" y="298140"/>
                  </a:cubicBezTo>
                  <a:cubicBezTo>
                    <a:pt x="548999" y="292464"/>
                    <a:pt x="553127" y="284209"/>
                    <a:pt x="553127" y="273889"/>
                  </a:cubicBezTo>
                  <a:cubicBezTo>
                    <a:pt x="553127" y="267697"/>
                    <a:pt x="552612" y="261506"/>
                    <a:pt x="552096" y="255830"/>
                  </a:cubicBezTo>
                  <a:cubicBezTo>
                    <a:pt x="550032" y="228999"/>
                    <a:pt x="547968" y="202684"/>
                    <a:pt x="545904" y="175854"/>
                  </a:cubicBezTo>
                  <a:cubicBezTo>
                    <a:pt x="543840" y="149023"/>
                    <a:pt x="541776" y="122708"/>
                    <a:pt x="539712" y="95877"/>
                  </a:cubicBezTo>
                  <a:cubicBezTo>
                    <a:pt x="538680" y="83493"/>
                    <a:pt x="544872" y="73690"/>
                    <a:pt x="556739" y="69562"/>
                  </a:cubicBezTo>
                  <a:cubicBezTo>
                    <a:pt x="609885" y="51503"/>
                    <a:pt x="663031" y="33444"/>
                    <a:pt x="716176" y="15901"/>
                  </a:cubicBezTo>
                  <a:cubicBezTo>
                    <a:pt x="719788" y="14869"/>
                    <a:pt x="722884" y="14353"/>
                    <a:pt x="726496" y="14353"/>
                  </a:cubicBezTo>
                  <a:cubicBezTo>
                    <a:pt x="736299" y="14869"/>
                    <a:pt x="742491" y="21060"/>
                    <a:pt x="748167" y="28800"/>
                  </a:cubicBezTo>
                  <a:cubicBezTo>
                    <a:pt x="781189" y="76786"/>
                    <a:pt x="814728" y="124772"/>
                    <a:pt x="847750" y="172758"/>
                  </a:cubicBezTo>
                  <a:cubicBezTo>
                    <a:pt x="855490" y="183593"/>
                    <a:pt x="865810" y="188753"/>
                    <a:pt x="878709" y="187721"/>
                  </a:cubicBezTo>
                  <a:cubicBezTo>
                    <a:pt x="896252" y="186173"/>
                    <a:pt x="914312" y="185657"/>
                    <a:pt x="931855" y="185657"/>
                  </a:cubicBezTo>
                  <a:cubicBezTo>
                    <a:pt x="939079" y="185657"/>
                    <a:pt x="944239" y="183077"/>
                    <a:pt x="948366" y="177401"/>
                  </a:cubicBezTo>
                  <a:cubicBezTo>
                    <a:pt x="950430" y="174822"/>
                    <a:pt x="952494" y="171726"/>
                    <a:pt x="954042" y="169146"/>
                  </a:cubicBezTo>
                  <a:cubicBezTo>
                    <a:pt x="962814" y="153150"/>
                    <a:pt x="971069" y="137155"/>
                    <a:pt x="979840" y="121676"/>
                  </a:cubicBezTo>
                  <a:cubicBezTo>
                    <a:pt x="998932" y="85558"/>
                    <a:pt x="1018539" y="49955"/>
                    <a:pt x="1037630" y="13837"/>
                  </a:cubicBezTo>
                  <a:cubicBezTo>
                    <a:pt x="1043822" y="2485"/>
                    <a:pt x="1053626" y="-2159"/>
                    <a:pt x="1066525" y="937"/>
                  </a:cubicBezTo>
                  <a:cubicBezTo>
                    <a:pt x="1122251" y="14353"/>
                    <a:pt x="1177976" y="27252"/>
                    <a:pt x="1233702" y="40667"/>
                  </a:cubicBezTo>
                  <a:cubicBezTo>
                    <a:pt x="1245569" y="43763"/>
                    <a:pt x="1252793" y="52535"/>
                    <a:pt x="1253309" y="64918"/>
                  </a:cubicBezTo>
                  <a:cubicBezTo>
                    <a:pt x="1253825" y="71626"/>
                    <a:pt x="1253825" y="78334"/>
                    <a:pt x="1254341" y="85042"/>
                  </a:cubicBezTo>
                  <a:cubicBezTo>
                    <a:pt x="1255888" y="126836"/>
                    <a:pt x="1256921" y="168630"/>
                    <a:pt x="1258468" y="209908"/>
                  </a:cubicBezTo>
                  <a:cubicBezTo>
                    <a:pt x="1258985" y="221260"/>
                    <a:pt x="1259501" y="233127"/>
                    <a:pt x="1260016" y="244478"/>
                  </a:cubicBezTo>
                  <a:cubicBezTo>
                    <a:pt x="1260532" y="255830"/>
                    <a:pt x="1266208" y="264602"/>
                    <a:pt x="1276012" y="270277"/>
                  </a:cubicBezTo>
                  <a:cubicBezTo>
                    <a:pt x="1288395" y="277501"/>
                    <a:pt x="1301295" y="284209"/>
                    <a:pt x="1313678" y="291948"/>
                  </a:cubicBezTo>
                  <a:cubicBezTo>
                    <a:pt x="1326062" y="299172"/>
                    <a:pt x="1337413" y="298656"/>
                    <a:pt x="1349797" y="291948"/>
                  </a:cubicBezTo>
                  <a:cubicBezTo>
                    <a:pt x="1400879" y="263570"/>
                    <a:pt x="1451444" y="235191"/>
                    <a:pt x="1502526" y="206812"/>
                  </a:cubicBezTo>
                  <a:cubicBezTo>
                    <a:pt x="1514394" y="200105"/>
                    <a:pt x="1525745" y="202168"/>
                    <a:pt x="1535033" y="211456"/>
                  </a:cubicBezTo>
                  <a:cubicBezTo>
                    <a:pt x="1574763" y="251702"/>
                    <a:pt x="1613977" y="292464"/>
                    <a:pt x="1653707" y="332711"/>
                  </a:cubicBezTo>
                  <a:cubicBezTo>
                    <a:pt x="1664027" y="343546"/>
                    <a:pt x="1665575" y="353350"/>
                    <a:pt x="1657835" y="366249"/>
                  </a:cubicBezTo>
                  <a:cubicBezTo>
                    <a:pt x="1628424" y="416299"/>
                    <a:pt x="1598497" y="465833"/>
                    <a:pt x="1569087" y="515883"/>
                  </a:cubicBezTo>
                  <a:cubicBezTo>
                    <a:pt x="1562379" y="527234"/>
                    <a:pt x="1561863" y="539102"/>
                    <a:pt x="1568571" y="550453"/>
                  </a:cubicBezTo>
                  <a:cubicBezTo>
                    <a:pt x="1576311" y="564384"/>
                    <a:pt x="1583534" y="578316"/>
                    <a:pt x="1591274" y="592247"/>
                  </a:cubicBezTo>
                  <a:cubicBezTo>
                    <a:pt x="1596950" y="602567"/>
                    <a:pt x="1605721" y="608243"/>
                    <a:pt x="1617589" y="608759"/>
                  </a:cubicBezTo>
                  <a:cubicBezTo>
                    <a:pt x="1637196" y="610307"/>
                    <a:pt x="1657319" y="611339"/>
                    <a:pt x="1676926" y="612886"/>
                  </a:cubicBezTo>
                  <a:cubicBezTo>
                    <a:pt x="1717172" y="615466"/>
                    <a:pt x="1757419" y="618046"/>
                    <a:pt x="1797665" y="620626"/>
                  </a:cubicBezTo>
                  <a:cubicBezTo>
                    <a:pt x="1809016" y="621142"/>
                    <a:pt x="1818304" y="628882"/>
                    <a:pt x="1820884" y="640233"/>
                  </a:cubicBezTo>
                  <a:cubicBezTo>
                    <a:pt x="1833267" y="695959"/>
                    <a:pt x="1845135" y="752200"/>
                    <a:pt x="1857518" y="808442"/>
                  </a:cubicBezTo>
                  <a:cubicBezTo>
                    <a:pt x="1859066" y="816181"/>
                    <a:pt x="1857002" y="822889"/>
                    <a:pt x="1851842" y="829081"/>
                  </a:cubicBezTo>
                  <a:cubicBezTo>
                    <a:pt x="1849262" y="832177"/>
                    <a:pt x="1845135" y="834241"/>
                    <a:pt x="1841523" y="836305"/>
                  </a:cubicBezTo>
                  <a:cubicBezTo>
                    <a:pt x="1789925" y="862103"/>
                    <a:pt x="1738327" y="887902"/>
                    <a:pt x="1686214" y="913701"/>
                  </a:cubicBezTo>
                  <a:cubicBezTo>
                    <a:pt x="1675378" y="919377"/>
                    <a:pt x="1669187" y="927633"/>
                    <a:pt x="1668670" y="940016"/>
                  </a:cubicBezTo>
                  <a:cubicBezTo>
                    <a:pt x="1667639" y="959623"/>
                    <a:pt x="1666090" y="978714"/>
                    <a:pt x="1665059" y="998322"/>
                  </a:cubicBezTo>
                  <a:cubicBezTo>
                    <a:pt x="1664543" y="1009673"/>
                    <a:pt x="1668670" y="1019477"/>
                    <a:pt x="1678474" y="1026184"/>
                  </a:cubicBezTo>
                  <a:cubicBezTo>
                    <a:pt x="1726460" y="1061271"/>
                    <a:pt x="1773930" y="1096873"/>
                    <a:pt x="1821916" y="1131960"/>
                  </a:cubicBezTo>
                  <a:cubicBezTo>
                    <a:pt x="1833267" y="1140215"/>
                    <a:pt x="1836879" y="1150535"/>
                    <a:pt x="1831720" y="1163950"/>
                  </a:cubicBezTo>
                  <a:cubicBezTo>
                    <a:pt x="1822948" y="1188201"/>
                    <a:pt x="1814176" y="1212452"/>
                    <a:pt x="1805404" y="1236703"/>
                  </a:cubicBezTo>
                  <a:cubicBezTo>
                    <a:pt x="1795601" y="1263534"/>
                    <a:pt x="1785798" y="1290881"/>
                    <a:pt x="1775478" y="1317711"/>
                  </a:cubicBezTo>
                  <a:cubicBezTo>
                    <a:pt x="1771350" y="1329063"/>
                    <a:pt x="1761546" y="1335255"/>
                    <a:pt x="1750195" y="1334223"/>
                  </a:cubicBezTo>
                  <a:cubicBezTo>
                    <a:pt x="1728524" y="1332159"/>
                    <a:pt x="1707369" y="1329579"/>
                    <a:pt x="1685698" y="1327515"/>
                  </a:cubicBezTo>
                  <a:cubicBezTo>
                    <a:pt x="1648548" y="1323387"/>
                    <a:pt x="1611397" y="1319259"/>
                    <a:pt x="1574247" y="1315648"/>
                  </a:cubicBezTo>
                  <a:cubicBezTo>
                    <a:pt x="1562379" y="1314616"/>
                    <a:pt x="1553092" y="1318743"/>
                    <a:pt x="1545868" y="1328547"/>
                  </a:cubicBezTo>
                  <a:cubicBezTo>
                    <a:pt x="1532453" y="1346606"/>
                    <a:pt x="1519553" y="1365181"/>
                    <a:pt x="1505622" y="1383241"/>
                  </a:cubicBezTo>
                  <a:cubicBezTo>
                    <a:pt x="1497366" y="1394076"/>
                    <a:pt x="1496334" y="1405428"/>
                    <a:pt x="1500978" y="1417811"/>
                  </a:cubicBezTo>
                  <a:cubicBezTo>
                    <a:pt x="1521617" y="1472505"/>
                    <a:pt x="1542772" y="1527198"/>
                    <a:pt x="1563411" y="1581892"/>
                  </a:cubicBezTo>
                  <a:cubicBezTo>
                    <a:pt x="1569087" y="1596339"/>
                    <a:pt x="1565991" y="1606143"/>
                    <a:pt x="1554124" y="1615430"/>
                  </a:cubicBezTo>
                  <a:cubicBezTo>
                    <a:pt x="1512845" y="1646389"/>
                    <a:pt x="1472083" y="1677864"/>
                    <a:pt x="1430805" y="1708822"/>
                  </a:cubicBezTo>
                  <a:cubicBezTo>
                    <a:pt x="1418938" y="1717594"/>
                    <a:pt x="1408618" y="1717594"/>
                    <a:pt x="1397266" y="1708306"/>
                  </a:cubicBezTo>
                  <a:cubicBezTo>
                    <a:pt x="1352892" y="1672704"/>
                    <a:pt x="1308003" y="1636585"/>
                    <a:pt x="1263628" y="1600467"/>
                  </a:cubicBezTo>
                  <a:cubicBezTo>
                    <a:pt x="1253825" y="1592727"/>
                    <a:pt x="1243505" y="1590147"/>
                    <a:pt x="1232154" y="1594275"/>
                  </a:cubicBezTo>
                  <a:cubicBezTo>
                    <a:pt x="1205839" y="1604079"/>
                    <a:pt x="1179524" y="1613883"/>
                    <a:pt x="1153725" y="1624202"/>
                  </a:cubicBezTo>
                  <a:cubicBezTo>
                    <a:pt x="1143406" y="1628330"/>
                    <a:pt x="1137214" y="1636070"/>
                    <a:pt x="1134634" y="1646905"/>
                  </a:cubicBezTo>
                  <a:cubicBezTo>
                    <a:pt x="1131022" y="1663932"/>
                    <a:pt x="1127411" y="1681475"/>
                    <a:pt x="1123798" y="1698503"/>
                  </a:cubicBezTo>
                  <a:cubicBezTo>
                    <a:pt x="1115027" y="1739781"/>
                    <a:pt x="1106771" y="1780543"/>
                    <a:pt x="1097999" y="1821821"/>
                  </a:cubicBezTo>
                  <a:cubicBezTo>
                    <a:pt x="1095420" y="1833689"/>
                    <a:pt x="1088196" y="1840913"/>
                    <a:pt x="1076329" y="1842460"/>
                  </a:cubicBezTo>
                  <a:cubicBezTo>
                    <a:pt x="1048982" y="1846072"/>
                    <a:pt x="1021635" y="1848652"/>
                    <a:pt x="994288" y="1851232"/>
                  </a:cubicBezTo>
                  <a:cubicBezTo>
                    <a:pt x="980873" y="1850200"/>
                    <a:pt x="970037" y="1851232"/>
                    <a:pt x="959201" y="1852264"/>
                  </a:cubicBezTo>
                  <a:close/>
                  <a:moveTo>
                    <a:pt x="928759" y="382245"/>
                  </a:moveTo>
                  <a:cubicBezTo>
                    <a:pt x="633620" y="381729"/>
                    <a:pt x="388015" y="619594"/>
                    <a:pt x="386983" y="921957"/>
                  </a:cubicBezTo>
                  <a:cubicBezTo>
                    <a:pt x="385951" y="1222772"/>
                    <a:pt x="627428" y="1464765"/>
                    <a:pt x="926695" y="1465797"/>
                  </a:cubicBezTo>
                  <a:cubicBezTo>
                    <a:pt x="1229058" y="1466829"/>
                    <a:pt x="1470019" y="1222772"/>
                    <a:pt x="1470535" y="924537"/>
                  </a:cubicBezTo>
                  <a:cubicBezTo>
                    <a:pt x="1470535" y="625270"/>
                    <a:pt x="1228026" y="381729"/>
                    <a:pt x="928759" y="382245"/>
                  </a:cubicBezTo>
                  <a:close/>
                </a:path>
              </a:pathLst>
            </a:custGeom>
            <a:grpFill/>
            <a:ln w="5155" cap="flat">
              <a:noFill/>
              <a:prstDash val="solid"/>
              <a:miter/>
            </a:ln>
          </p:spPr>
          <p:txBody>
            <a:bodyPr rtlCol="0" anchor="ctr"/>
            <a:lstStyle/>
            <a:p>
              <a:endParaRPr lang="en-US"/>
            </a:p>
          </p:txBody>
        </p:sp>
      </p:grpSp>
    </p:spTree>
    <p:extLst>
      <p:ext uri="{BB962C8B-B14F-4D97-AF65-F5344CB8AC3E}">
        <p14:creationId xmlns:p14="http://schemas.microsoft.com/office/powerpoint/2010/main" val="25403366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pic>
        <p:nvPicPr>
          <p:cNvPr id="2" name="Picture 8" descr="Abstract Architectural Background. Linear 3D Illustration. Concept Sketch  Stock Illustration - Illustration of construction, house: 173743442">
            <a:extLst>
              <a:ext uri="{FF2B5EF4-FFF2-40B4-BE49-F238E27FC236}">
                <a16:creationId xmlns:a16="http://schemas.microsoft.com/office/drawing/2014/main" id="{F0081776-D9D1-4EF7-B097-ED97C265BAD8}"/>
              </a:ext>
            </a:extLst>
          </p:cNvPr>
          <p:cNvPicPr>
            <a:picLocks noChangeAspect="1" noChangeArrowheads="1"/>
          </p:cNvPicPr>
          <p:nvPr userDrawn="1"/>
        </p:nvPicPr>
        <p:blipFill>
          <a:blip r:embed="rId2">
            <a:duotone>
              <a:schemeClr val="bg2">
                <a:shade val="45000"/>
                <a:satMod val="135000"/>
              </a:schemeClr>
              <a:prstClr val="white"/>
            </a:duotone>
            <a:extLst>
              <a:ext uri="{BEBA8EAE-BF5A-486C-A8C5-ECC9F3942E4B}">
                <a14:imgProps xmlns:a14="http://schemas.microsoft.com/office/drawing/2010/main">
                  <a14:imgLayer r:embed="rId3">
                    <a14:imgEffect>
                      <a14:colorTemperature colorTemp="5900"/>
                    </a14:imgEffect>
                    <a14:imgEffect>
                      <a14:brightnessContrast contrast="40000"/>
                    </a14:imgEffect>
                  </a14:imgLayer>
                </a14:imgProps>
              </a:ext>
              <a:ext uri="{28A0092B-C50C-407E-A947-70E740481C1C}">
                <a14:useLocalDpi xmlns:a14="http://schemas.microsoft.com/office/drawing/2010/main"/>
              </a:ext>
            </a:extLst>
          </a:blip>
          <a:srcRect/>
          <a:stretch>
            <a:fillRect/>
          </a:stretch>
        </p:blipFill>
        <p:spPr bwMode="auto">
          <a:xfrm>
            <a:off x="0" y="-11248"/>
            <a:ext cx="12192000" cy="68537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8944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1"/>
        <p:cNvGrpSpPr/>
        <p:nvPr/>
      </p:nvGrpSpPr>
      <p:grpSpPr>
        <a:xfrm>
          <a:off x="0" y="0"/>
          <a:ext cx="0" cy="0"/>
          <a:chOff x="0" y="0"/>
          <a:chExt cx="0" cy="0"/>
        </a:xfrm>
      </p:grpSpPr>
      <p:pic>
        <p:nvPicPr>
          <p:cNvPr id="22" name="Google Shape;22;p16"/>
          <p:cNvPicPr preferRelativeResize="0"/>
          <p:nvPr/>
        </p:nvPicPr>
        <p:blipFill rotWithShape="1">
          <a:blip r:embed="rId2">
            <a:alphaModFix/>
          </a:blip>
          <a:srcRect l="14385"/>
          <a:stretch/>
        </p:blipFill>
        <p:spPr>
          <a:xfrm>
            <a:off x="0" y="0"/>
            <a:ext cx="5080000" cy="6858000"/>
          </a:xfrm>
          <a:prstGeom prst="rect">
            <a:avLst/>
          </a:prstGeom>
          <a:noFill/>
          <a:ln>
            <a:noFill/>
          </a:ln>
        </p:spPr>
      </p:pic>
      <p:sp>
        <p:nvSpPr>
          <p:cNvPr id="23" name="Google Shape;23;p16"/>
          <p:cNvSpPr/>
          <p:nvPr/>
        </p:nvSpPr>
        <p:spPr>
          <a:xfrm>
            <a:off x="0" y="0"/>
            <a:ext cx="5080000" cy="6858000"/>
          </a:xfrm>
          <a:prstGeom prst="rect">
            <a:avLst/>
          </a:prstGeom>
          <a:gradFill>
            <a:gsLst>
              <a:gs pos="0">
                <a:srgbClr val="FFFFFF">
                  <a:alpha val="85882"/>
                </a:srgbClr>
              </a:gs>
              <a:gs pos="100000">
                <a:schemeClr val="lt1"/>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24" name="Google Shape;24;p16"/>
          <p:cNvGrpSpPr/>
          <p:nvPr/>
        </p:nvGrpSpPr>
        <p:grpSpPr>
          <a:xfrm>
            <a:off x="0" y="1"/>
            <a:ext cx="5712199" cy="6858000"/>
            <a:chOff x="0" y="1"/>
            <a:chExt cx="5712199" cy="6858000"/>
          </a:xfrm>
        </p:grpSpPr>
        <p:sp>
          <p:nvSpPr>
            <p:cNvPr id="25" name="Google Shape;25;p16"/>
            <p:cNvSpPr/>
            <p:nvPr/>
          </p:nvSpPr>
          <p:spPr>
            <a:xfrm>
              <a:off x="0" y="1"/>
              <a:ext cx="5712199" cy="6857999"/>
            </a:xfrm>
            <a:custGeom>
              <a:avLst/>
              <a:gdLst/>
              <a:ahLst/>
              <a:cxnLst/>
              <a:rect l="l" t="t" r="r" b="b"/>
              <a:pathLst>
                <a:path w="5712199" h="6857999" extrusionOk="0">
                  <a:moveTo>
                    <a:pt x="0" y="0"/>
                  </a:moveTo>
                  <a:lnTo>
                    <a:pt x="1879543" y="0"/>
                  </a:lnTo>
                  <a:lnTo>
                    <a:pt x="5712199" y="4082143"/>
                  </a:lnTo>
                  <a:lnTo>
                    <a:pt x="3105994" y="6857999"/>
                  </a:lnTo>
                  <a:lnTo>
                    <a:pt x="0" y="6857999"/>
                  </a:lnTo>
                  <a:lnTo>
                    <a:pt x="0" y="5798333"/>
                  </a:lnTo>
                  <a:lnTo>
                    <a:pt x="1611302" y="4082143"/>
                  </a:lnTo>
                  <a:lnTo>
                    <a:pt x="0" y="2365953"/>
                  </a:lnTo>
                  <a:close/>
                </a:path>
              </a:pathLst>
            </a:custGeom>
            <a:solidFill>
              <a:schemeClr val="dk1">
                <a:alpha val="4705"/>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Calibri"/>
                <a:ea typeface="Calibri"/>
                <a:cs typeface="Calibri"/>
                <a:sym typeface="Calibri"/>
              </a:endParaRPr>
            </a:p>
          </p:txBody>
        </p:sp>
        <p:sp>
          <p:nvSpPr>
            <p:cNvPr id="26" name="Google Shape;26;p16"/>
            <p:cNvSpPr/>
            <p:nvPr/>
          </p:nvSpPr>
          <p:spPr>
            <a:xfrm>
              <a:off x="16934" y="2"/>
              <a:ext cx="5068729" cy="6857999"/>
            </a:xfrm>
            <a:custGeom>
              <a:avLst/>
              <a:gdLst/>
              <a:ahLst/>
              <a:cxnLst/>
              <a:rect l="l" t="t" r="r" b="b"/>
              <a:pathLst>
                <a:path w="5068729" h="6857999" extrusionOk="0">
                  <a:moveTo>
                    <a:pt x="2433426" y="0"/>
                  </a:moveTo>
                  <a:lnTo>
                    <a:pt x="4713421" y="0"/>
                  </a:lnTo>
                  <a:lnTo>
                    <a:pt x="5068729" y="378437"/>
                  </a:lnTo>
                  <a:lnTo>
                    <a:pt x="1585485" y="4088424"/>
                  </a:lnTo>
                  <a:lnTo>
                    <a:pt x="4185792" y="6857999"/>
                  </a:lnTo>
                  <a:lnTo>
                    <a:pt x="1905797" y="6857999"/>
                  </a:lnTo>
                  <a:lnTo>
                    <a:pt x="0" y="4828144"/>
                  </a:lnTo>
                  <a:lnTo>
                    <a:pt x="0" y="3348704"/>
                  </a:lnTo>
                  <a:lnTo>
                    <a:pt x="2788734" y="378437"/>
                  </a:lnTo>
                  <a:close/>
                </a:path>
              </a:pathLst>
            </a:custGeom>
            <a:solidFill>
              <a:srgbClr val="DA8F4E">
                <a:alpha val="1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Calibri"/>
                <a:ea typeface="Calibri"/>
                <a:cs typeface="Calibri"/>
                <a:sym typeface="Calibri"/>
              </a:endParaRPr>
            </a:p>
          </p:txBody>
        </p:sp>
      </p:grpSp>
      <p:sp>
        <p:nvSpPr>
          <p:cNvPr id="27" name="Google Shape;27;p16"/>
          <p:cNvSpPr txBox="1">
            <a:spLocks noGrp="1"/>
          </p:cNvSpPr>
          <p:nvPr>
            <p:ph type="body" idx="1"/>
          </p:nvPr>
        </p:nvSpPr>
        <p:spPr>
          <a:xfrm>
            <a:off x="530942" y="1740310"/>
            <a:ext cx="11130116" cy="4436653"/>
          </a:xfrm>
          <a:prstGeom prst="rect">
            <a:avLst/>
          </a:prstGeom>
          <a:noFill/>
          <a:ln>
            <a:noFill/>
          </a:ln>
        </p:spPr>
        <p:txBody>
          <a:bodyPr spcFirstLastPara="1" wrap="square" lIns="91425" tIns="45700" rIns="91425" bIns="45700" anchor="t" anchorCtr="0">
            <a:normAutofit/>
          </a:bodyPr>
          <a:lstStyle>
            <a:lvl1pPr marL="457200" lvl="0" indent="-381000" algn="l">
              <a:lnSpc>
                <a:spcPct val="90000"/>
              </a:lnSpc>
              <a:spcBef>
                <a:spcPts val="1000"/>
              </a:spcBef>
              <a:spcAft>
                <a:spcPts val="0"/>
              </a:spcAft>
              <a:buClr>
                <a:schemeClr val="dk1"/>
              </a:buClr>
              <a:buSzPts val="2400"/>
              <a:buChar char="•"/>
              <a:defRPr sz="2400">
                <a:latin typeface="Calibri"/>
                <a:ea typeface="Calibri"/>
                <a:cs typeface="Calibri"/>
                <a:sym typeface="Calibri"/>
              </a:defRPr>
            </a:lvl1pPr>
            <a:lvl2pPr marL="914400" lvl="1" indent="-355600" algn="l">
              <a:lnSpc>
                <a:spcPct val="90000"/>
              </a:lnSpc>
              <a:spcBef>
                <a:spcPts val="500"/>
              </a:spcBef>
              <a:spcAft>
                <a:spcPts val="0"/>
              </a:spcAft>
              <a:buClr>
                <a:schemeClr val="dk1"/>
              </a:buClr>
              <a:buSzPts val="2000"/>
              <a:buChar char="•"/>
              <a:defRPr sz="2000">
                <a:latin typeface="Calibri"/>
                <a:ea typeface="Calibri"/>
                <a:cs typeface="Calibri"/>
                <a:sym typeface="Calibri"/>
              </a:defRPr>
            </a:lvl2pPr>
            <a:lvl3pPr marL="1371600" lvl="2" indent="-342900" algn="l">
              <a:lnSpc>
                <a:spcPct val="90000"/>
              </a:lnSpc>
              <a:spcBef>
                <a:spcPts val="500"/>
              </a:spcBef>
              <a:spcAft>
                <a:spcPts val="0"/>
              </a:spcAft>
              <a:buClr>
                <a:schemeClr val="dk1"/>
              </a:buClr>
              <a:buSzPts val="1800"/>
              <a:buChar char="•"/>
              <a:defRPr sz="1800">
                <a:latin typeface="Calibri"/>
                <a:ea typeface="Calibri"/>
                <a:cs typeface="Calibri"/>
                <a:sym typeface="Calibri"/>
              </a:defRPr>
            </a:lvl3pPr>
            <a:lvl4pPr marL="1828800" lvl="3" indent="-330200" algn="l">
              <a:lnSpc>
                <a:spcPct val="90000"/>
              </a:lnSpc>
              <a:spcBef>
                <a:spcPts val="500"/>
              </a:spcBef>
              <a:spcAft>
                <a:spcPts val="0"/>
              </a:spcAft>
              <a:buClr>
                <a:schemeClr val="dk1"/>
              </a:buClr>
              <a:buSzPts val="1600"/>
              <a:buChar char="•"/>
              <a:defRPr sz="1600">
                <a:latin typeface="Calibri"/>
                <a:ea typeface="Calibri"/>
                <a:cs typeface="Calibri"/>
                <a:sym typeface="Calibri"/>
              </a:defRPr>
            </a:lvl4pPr>
            <a:lvl5pPr marL="2286000" lvl="4" indent="-330200" algn="l">
              <a:lnSpc>
                <a:spcPct val="90000"/>
              </a:lnSpc>
              <a:spcBef>
                <a:spcPts val="500"/>
              </a:spcBef>
              <a:spcAft>
                <a:spcPts val="0"/>
              </a:spcAft>
              <a:buClr>
                <a:schemeClr val="dk1"/>
              </a:buClr>
              <a:buSzPts val="1600"/>
              <a:buChar char="•"/>
              <a:defRPr sz="160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 name="Google Shape;28;p16"/>
          <p:cNvSpPr txBox="1">
            <a:spLocks noGrp="1"/>
          </p:cNvSpPr>
          <p:nvPr>
            <p:ph type="dt" idx="10"/>
          </p:nvPr>
        </p:nvSpPr>
        <p:spPr>
          <a:xfrm>
            <a:off x="530942" y="6368432"/>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 name="Google Shape;29;p16"/>
          <p:cNvSpPr txBox="1">
            <a:spLocks noGrp="1"/>
          </p:cNvSpPr>
          <p:nvPr>
            <p:ph type="ftr" idx="11"/>
          </p:nvPr>
        </p:nvSpPr>
        <p:spPr>
          <a:xfrm>
            <a:off x="4038600" y="636843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0" name="Google Shape;30;p16"/>
          <p:cNvSpPr/>
          <p:nvPr/>
        </p:nvSpPr>
        <p:spPr>
          <a:xfrm>
            <a:off x="10987100" y="0"/>
            <a:ext cx="673958" cy="463476"/>
          </a:xfrm>
          <a:prstGeom prst="parallelogram">
            <a:avLst>
              <a:gd name="adj" fmla="val 25000"/>
            </a:avLst>
          </a:prstGeom>
          <a:solidFill>
            <a:srgbClr val="DA8F4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 name="Google Shape;31;p16"/>
          <p:cNvSpPr txBox="1">
            <a:spLocks noGrp="1"/>
          </p:cNvSpPr>
          <p:nvPr>
            <p:ph type="sldNum" idx="12"/>
          </p:nvPr>
        </p:nvSpPr>
        <p:spPr>
          <a:xfrm>
            <a:off x="11052945" y="36607"/>
            <a:ext cx="536605"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200">
                <a:solidFill>
                  <a:schemeClr val="lt1"/>
                </a:solidFill>
                <a:latin typeface="Calibri"/>
                <a:ea typeface="Calibri"/>
                <a:cs typeface="Calibri"/>
                <a:sym typeface="Calibri"/>
              </a:defRPr>
            </a:lvl1pPr>
            <a:lvl2pPr marL="0" lvl="1" indent="0" algn="ctr">
              <a:spcBef>
                <a:spcPts val="0"/>
              </a:spcBef>
              <a:buNone/>
              <a:defRPr sz="1200">
                <a:solidFill>
                  <a:schemeClr val="lt1"/>
                </a:solidFill>
                <a:latin typeface="Calibri"/>
                <a:ea typeface="Calibri"/>
                <a:cs typeface="Calibri"/>
                <a:sym typeface="Calibri"/>
              </a:defRPr>
            </a:lvl2pPr>
            <a:lvl3pPr marL="0" lvl="2" indent="0" algn="ctr">
              <a:spcBef>
                <a:spcPts val="0"/>
              </a:spcBef>
              <a:buNone/>
              <a:defRPr sz="1200">
                <a:solidFill>
                  <a:schemeClr val="lt1"/>
                </a:solidFill>
                <a:latin typeface="Calibri"/>
                <a:ea typeface="Calibri"/>
                <a:cs typeface="Calibri"/>
                <a:sym typeface="Calibri"/>
              </a:defRPr>
            </a:lvl3pPr>
            <a:lvl4pPr marL="0" lvl="3" indent="0" algn="ctr">
              <a:spcBef>
                <a:spcPts val="0"/>
              </a:spcBef>
              <a:buNone/>
              <a:defRPr sz="1200">
                <a:solidFill>
                  <a:schemeClr val="lt1"/>
                </a:solidFill>
                <a:latin typeface="Calibri"/>
                <a:ea typeface="Calibri"/>
                <a:cs typeface="Calibri"/>
                <a:sym typeface="Calibri"/>
              </a:defRPr>
            </a:lvl4pPr>
            <a:lvl5pPr marL="0" lvl="4" indent="0" algn="ctr">
              <a:spcBef>
                <a:spcPts val="0"/>
              </a:spcBef>
              <a:buNone/>
              <a:defRPr sz="1200">
                <a:solidFill>
                  <a:schemeClr val="lt1"/>
                </a:solidFill>
                <a:latin typeface="Calibri"/>
                <a:ea typeface="Calibri"/>
                <a:cs typeface="Calibri"/>
                <a:sym typeface="Calibri"/>
              </a:defRPr>
            </a:lvl5pPr>
            <a:lvl6pPr marL="0" lvl="5" indent="0" algn="ctr">
              <a:spcBef>
                <a:spcPts val="0"/>
              </a:spcBef>
              <a:buNone/>
              <a:defRPr sz="1200">
                <a:solidFill>
                  <a:schemeClr val="lt1"/>
                </a:solidFill>
                <a:latin typeface="Calibri"/>
                <a:ea typeface="Calibri"/>
                <a:cs typeface="Calibri"/>
                <a:sym typeface="Calibri"/>
              </a:defRPr>
            </a:lvl6pPr>
            <a:lvl7pPr marL="0" lvl="6" indent="0" algn="ctr">
              <a:spcBef>
                <a:spcPts val="0"/>
              </a:spcBef>
              <a:buNone/>
              <a:defRPr sz="1200">
                <a:solidFill>
                  <a:schemeClr val="lt1"/>
                </a:solidFill>
                <a:latin typeface="Calibri"/>
                <a:ea typeface="Calibri"/>
                <a:cs typeface="Calibri"/>
                <a:sym typeface="Calibri"/>
              </a:defRPr>
            </a:lvl7pPr>
            <a:lvl8pPr marL="0" lvl="7" indent="0" algn="ctr">
              <a:spcBef>
                <a:spcPts val="0"/>
              </a:spcBef>
              <a:buNone/>
              <a:defRPr sz="1200">
                <a:solidFill>
                  <a:schemeClr val="lt1"/>
                </a:solidFill>
                <a:latin typeface="Calibri"/>
                <a:ea typeface="Calibri"/>
                <a:cs typeface="Calibri"/>
                <a:sym typeface="Calibri"/>
              </a:defRPr>
            </a:lvl8pPr>
            <a:lvl9pPr marL="0" lvl="8" indent="0" algn="ctr">
              <a:spcBef>
                <a:spcPts val="0"/>
              </a:spcBef>
              <a:buNone/>
              <a:defRPr sz="1200">
                <a:solidFill>
                  <a:schemeClr val="lt1"/>
                </a:solidFill>
                <a:latin typeface="Calibri"/>
                <a:ea typeface="Calibri"/>
                <a:cs typeface="Calibri"/>
                <a:sym typeface="Calibri"/>
              </a:defRPr>
            </a:lvl9pPr>
          </a:lstStyle>
          <a:p>
            <a:pPr marL="0" lvl="0" indent="0" algn="ctr" rtl="0">
              <a:spcBef>
                <a:spcPts val="0"/>
              </a:spcBef>
              <a:spcAft>
                <a:spcPts val="0"/>
              </a:spcAft>
              <a:buNone/>
            </a:pPr>
            <a:fld id="{00000000-1234-1234-1234-123412341234}" type="slidenum">
              <a:rPr lang="en-US"/>
              <a:t>‹#›</a:t>
            </a:fld>
            <a:endParaRPr/>
          </a:p>
        </p:txBody>
      </p:sp>
      <p:sp>
        <p:nvSpPr>
          <p:cNvPr id="32" name="Google Shape;32;p16"/>
          <p:cNvSpPr txBox="1">
            <a:spLocks noGrp="1"/>
          </p:cNvSpPr>
          <p:nvPr>
            <p:ph type="title"/>
          </p:nvPr>
        </p:nvSpPr>
        <p:spPr>
          <a:xfrm>
            <a:off x="530942" y="463476"/>
            <a:ext cx="11130116" cy="93273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dk1"/>
              </a:buClr>
              <a:buSzPts val="4000"/>
              <a:buFont typeface="Century Gothic"/>
              <a:buNone/>
              <a:defRPr sz="4000" b="1">
                <a:latin typeface="Century Gothic"/>
                <a:ea typeface="Century Gothic"/>
                <a:cs typeface="Century Gothic"/>
                <a:sym typeface="Century Gothic"/>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2988650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Cover slide layout">
  <p:cSld name="Cover slide layout">
    <p:bg>
      <p:bgPr>
        <a:solidFill>
          <a:schemeClr val="accent6"/>
        </a:solidFill>
        <a:effectLst/>
      </p:bgPr>
    </p:bg>
    <p:spTree>
      <p:nvGrpSpPr>
        <p:cNvPr id="1" name="Shape 116"/>
        <p:cNvGrpSpPr/>
        <p:nvPr/>
      </p:nvGrpSpPr>
      <p:grpSpPr>
        <a:xfrm>
          <a:off x="0" y="0"/>
          <a:ext cx="0" cy="0"/>
          <a:chOff x="0" y="0"/>
          <a:chExt cx="0" cy="0"/>
        </a:xfrm>
      </p:grpSpPr>
      <p:sp>
        <p:nvSpPr>
          <p:cNvPr id="117" name="Google Shape;117;p15"/>
          <p:cNvSpPr/>
          <p:nvPr/>
        </p:nvSpPr>
        <p:spPr>
          <a:xfrm>
            <a:off x="-8316" y="1423107"/>
            <a:ext cx="12208633" cy="5434893"/>
          </a:xfrm>
          <a:custGeom>
            <a:avLst/>
            <a:gdLst/>
            <a:ahLst/>
            <a:cxnLst/>
            <a:rect l="l" t="t" r="r" b="b"/>
            <a:pathLst>
              <a:path w="12208633" h="5434893" extrusionOk="0">
                <a:moveTo>
                  <a:pt x="7143321" y="892474"/>
                </a:moveTo>
                <a:lnTo>
                  <a:pt x="7143335" y="895416"/>
                </a:lnTo>
                <a:lnTo>
                  <a:pt x="7147277" y="895507"/>
                </a:lnTo>
                <a:lnTo>
                  <a:pt x="7147099" y="892474"/>
                </a:lnTo>
                <a:close/>
                <a:moveTo>
                  <a:pt x="6355163" y="727493"/>
                </a:moveTo>
                <a:lnTo>
                  <a:pt x="6355358" y="727687"/>
                </a:lnTo>
                <a:cubicBezTo>
                  <a:pt x="6355163" y="727687"/>
                  <a:pt x="6355163" y="727687"/>
                  <a:pt x="6354969" y="727687"/>
                </a:cubicBezTo>
                <a:cubicBezTo>
                  <a:pt x="6354969" y="727881"/>
                  <a:pt x="6354775" y="728075"/>
                  <a:pt x="6354969" y="728075"/>
                </a:cubicBezTo>
                <a:cubicBezTo>
                  <a:pt x="6354969" y="727881"/>
                  <a:pt x="6355163" y="727881"/>
                  <a:pt x="6355358" y="727687"/>
                </a:cubicBezTo>
                <a:cubicBezTo>
                  <a:pt x="6355358" y="727687"/>
                  <a:pt x="6355552" y="727493"/>
                  <a:pt x="6355552" y="727493"/>
                </a:cubicBezTo>
                <a:cubicBezTo>
                  <a:pt x="6355358" y="727493"/>
                  <a:pt x="6355358" y="727493"/>
                  <a:pt x="6355163" y="727493"/>
                </a:cubicBezTo>
                <a:close/>
                <a:moveTo>
                  <a:pt x="8604691" y="725788"/>
                </a:moveTo>
                <a:cubicBezTo>
                  <a:pt x="8595865" y="725788"/>
                  <a:pt x="8591193" y="727865"/>
                  <a:pt x="8591193" y="738248"/>
                </a:cubicBezTo>
                <a:cubicBezTo>
                  <a:pt x="8591712" y="788607"/>
                  <a:pt x="8591712" y="839485"/>
                  <a:pt x="8590674" y="889843"/>
                </a:cubicBezTo>
                <a:cubicBezTo>
                  <a:pt x="8590674" y="899188"/>
                  <a:pt x="8593789" y="903341"/>
                  <a:pt x="8603653" y="903341"/>
                </a:cubicBezTo>
                <a:cubicBezTo>
                  <a:pt x="8613517" y="903341"/>
                  <a:pt x="8616632" y="899708"/>
                  <a:pt x="8616632" y="889843"/>
                </a:cubicBezTo>
                <a:cubicBezTo>
                  <a:pt x="8616112" y="864923"/>
                  <a:pt x="8616632" y="840523"/>
                  <a:pt x="8616632" y="815603"/>
                </a:cubicBezTo>
                <a:cubicBezTo>
                  <a:pt x="8616632" y="790164"/>
                  <a:pt x="8616112" y="764206"/>
                  <a:pt x="8616632" y="738767"/>
                </a:cubicBezTo>
                <a:cubicBezTo>
                  <a:pt x="8616632" y="729941"/>
                  <a:pt x="8614555" y="725788"/>
                  <a:pt x="8604691" y="725788"/>
                </a:cubicBezTo>
                <a:close/>
                <a:moveTo>
                  <a:pt x="8744865" y="683217"/>
                </a:moveTo>
                <a:cubicBezTo>
                  <a:pt x="8737078" y="683217"/>
                  <a:pt x="8735001" y="687370"/>
                  <a:pt x="8735001" y="694119"/>
                </a:cubicBezTo>
                <a:cubicBezTo>
                  <a:pt x="8735001" y="760053"/>
                  <a:pt x="8735001" y="825986"/>
                  <a:pt x="8735520" y="892439"/>
                </a:cubicBezTo>
                <a:cubicBezTo>
                  <a:pt x="8735001" y="900226"/>
                  <a:pt x="8738635" y="903341"/>
                  <a:pt x="8746422" y="903341"/>
                </a:cubicBezTo>
                <a:cubicBezTo>
                  <a:pt x="8759921" y="902822"/>
                  <a:pt x="8773938" y="902822"/>
                  <a:pt x="8787436" y="903341"/>
                </a:cubicBezTo>
                <a:cubicBezTo>
                  <a:pt x="8797819" y="903861"/>
                  <a:pt x="8801454" y="899708"/>
                  <a:pt x="8801454" y="889324"/>
                </a:cubicBezTo>
                <a:cubicBezTo>
                  <a:pt x="8800934" y="865443"/>
                  <a:pt x="8801454" y="842080"/>
                  <a:pt x="8801454" y="818718"/>
                </a:cubicBezTo>
                <a:cubicBezTo>
                  <a:pt x="8801454" y="813527"/>
                  <a:pt x="8800415" y="805739"/>
                  <a:pt x="8807164" y="805739"/>
                </a:cubicBezTo>
                <a:cubicBezTo>
                  <a:pt x="8825854" y="805739"/>
                  <a:pt x="8822220" y="792760"/>
                  <a:pt x="8822739" y="781857"/>
                </a:cubicBezTo>
                <a:cubicBezTo>
                  <a:pt x="8822739" y="773551"/>
                  <a:pt x="8819105" y="771474"/>
                  <a:pt x="8811317" y="771474"/>
                </a:cubicBezTo>
                <a:cubicBezTo>
                  <a:pt x="8798858" y="771474"/>
                  <a:pt x="8786398" y="770955"/>
                  <a:pt x="8773938" y="771474"/>
                </a:cubicBezTo>
                <a:cubicBezTo>
                  <a:pt x="8761478" y="771994"/>
                  <a:pt x="8756286" y="766283"/>
                  <a:pt x="8756286" y="754342"/>
                </a:cubicBezTo>
                <a:cubicBezTo>
                  <a:pt x="8756286" y="744997"/>
                  <a:pt x="8756286" y="735133"/>
                  <a:pt x="8756286" y="725269"/>
                </a:cubicBezTo>
                <a:cubicBezTo>
                  <a:pt x="8755767" y="725269"/>
                  <a:pt x="8755767" y="725269"/>
                  <a:pt x="8755767" y="725269"/>
                </a:cubicBezTo>
                <a:cubicBezTo>
                  <a:pt x="8755767" y="714886"/>
                  <a:pt x="8755767" y="705021"/>
                  <a:pt x="8755767" y="694638"/>
                </a:cubicBezTo>
                <a:cubicBezTo>
                  <a:pt x="8755767" y="686851"/>
                  <a:pt x="8753171" y="683217"/>
                  <a:pt x="8744865" y="683217"/>
                </a:cubicBezTo>
                <a:close/>
                <a:moveTo>
                  <a:pt x="5999516" y="672943"/>
                </a:moveTo>
                <a:lnTo>
                  <a:pt x="5999516" y="672950"/>
                </a:lnTo>
                <a:lnTo>
                  <a:pt x="6106191" y="672950"/>
                </a:lnTo>
                <a:lnTo>
                  <a:pt x="6106226" y="672943"/>
                </a:lnTo>
                <a:lnTo>
                  <a:pt x="6103287" y="672943"/>
                </a:lnTo>
                <a:lnTo>
                  <a:pt x="6095614" y="672943"/>
                </a:lnTo>
                <a:close/>
                <a:moveTo>
                  <a:pt x="5844017" y="672943"/>
                </a:moveTo>
                <a:lnTo>
                  <a:pt x="5844017" y="672950"/>
                </a:lnTo>
                <a:lnTo>
                  <a:pt x="5950885" y="672950"/>
                </a:lnTo>
                <a:lnTo>
                  <a:pt x="5950920" y="672943"/>
                </a:lnTo>
                <a:lnTo>
                  <a:pt x="5947738" y="672943"/>
                </a:lnTo>
                <a:lnTo>
                  <a:pt x="5940066" y="672943"/>
                </a:lnTo>
                <a:close/>
                <a:moveTo>
                  <a:pt x="2661207" y="578320"/>
                </a:moveTo>
                <a:lnTo>
                  <a:pt x="2649387" y="591167"/>
                </a:lnTo>
                <a:lnTo>
                  <a:pt x="2649387" y="660718"/>
                </a:lnTo>
                <a:lnTo>
                  <a:pt x="2661207" y="660966"/>
                </a:lnTo>
                <a:cubicBezTo>
                  <a:pt x="2661207" y="660966"/>
                  <a:pt x="2661207" y="660966"/>
                  <a:pt x="2661207" y="612643"/>
                </a:cubicBezTo>
                <a:close/>
                <a:moveTo>
                  <a:pt x="2521154" y="535617"/>
                </a:moveTo>
                <a:cubicBezTo>
                  <a:pt x="2512848" y="535617"/>
                  <a:pt x="2510252" y="539251"/>
                  <a:pt x="2510252" y="547038"/>
                </a:cubicBezTo>
                <a:cubicBezTo>
                  <a:pt x="2510252" y="557421"/>
                  <a:pt x="2510252" y="567286"/>
                  <a:pt x="2510252" y="577669"/>
                </a:cubicBezTo>
                <a:cubicBezTo>
                  <a:pt x="2510252" y="577669"/>
                  <a:pt x="2510252" y="577669"/>
                  <a:pt x="2509733" y="577669"/>
                </a:cubicBezTo>
                <a:cubicBezTo>
                  <a:pt x="2509733" y="587533"/>
                  <a:pt x="2509733" y="597397"/>
                  <a:pt x="2509733" y="606742"/>
                </a:cubicBezTo>
                <a:cubicBezTo>
                  <a:pt x="2509733" y="618683"/>
                  <a:pt x="2504541" y="624394"/>
                  <a:pt x="2492081" y="623874"/>
                </a:cubicBezTo>
                <a:cubicBezTo>
                  <a:pt x="2479621" y="623355"/>
                  <a:pt x="2467161" y="623874"/>
                  <a:pt x="2454702" y="623874"/>
                </a:cubicBezTo>
                <a:cubicBezTo>
                  <a:pt x="2446914" y="623874"/>
                  <a:pt x="2443280" y="625951"/>
                  <a:pt x="2443280" y="634257"/>
                </a:cubicBezTo>
                <a:cubicBezTo>
                  <a:pt x="2443799" y="645160"/>
                  <a:pt x="2440165" y="658139"/>
                  <a:pt x="2458855" y="658139"/>
                </a:cubicBezTo>
                <a:cubicBezTo>
                  <a:pt x="2465604" y="658139"/>
                  <a:pt x="2464565" y="665927"/>
                  <a:pt x="2464565" y="671118"/>
                </a:cubicBezTo>
                <a:lnTo>
                  <a:pt x="2464565" y="735104"/>
                </a:lnTo>
                <a:lnTo>
                  <a:pt x="2530525" y="735104"/>
                </a:lnTo>
                <a:lnTo>
                  <a:pt x="2531018" y="546519"/>
                </a:lnTo>
                <a:cubicBezTo>
                  <a:pt x="2531018" y="539770"/>
                  <a:pt x="2528941" y="535617"/>
                  <a:pt x="2521154" y="535617"/>
                </a:cubicBezTo>
                <a:close/>
                <a:moveTo>
                  <a:pt x="8701774" y="534218"/>
                </a:moveTo>
                <a:cubicBezTo>
                  <a:pt x="8696063" y="534218"/>
                  <a:pt x="8688276" y="532660"/>
                  <a:pt x="8688276" y="540967"/>
                </a:cubicBezTo>
                <a:cubicBezTo>
                  <a:pt x="8688276" y="550312"/>
                  <a:pt x="8681527" y="562253"/>
                  <a:pt x="8695025" y="567963"/>
                </a:cubicBezTo>
                <a:cubicBezTo>
                  <a:pt x="8725656" y="580943"/>
                  <a:pt x="8736558" y="605343"/>
                  <a:pt x="8735520" y="637012"/>
                </a:cubicBezTo>
                <a:cubicBezTo>
                  <a:pt x="8735001" y="666604"/>
                  <a:pt x="8733443" y="664008"/>
                  <a:pt x="8760440" y="664008"/>
                </a:cubicBezTo>
                <a:cubicBezTo>
                  <a:pt x="8763036" y="664008"/>
                  <a:pt x="8765112" y="664008"/>
                  <a:pt x="8767189" y="664527"/>
                </a:cubicBezTo>
                <a:cubicBezTo>
                  <a:pt x="8772899" y="665566"/>
                  <a:pt x="8777053" y="667124"/>
                  <a:pt x="8776534" y="675429"/>
                </a:cubicBezTo>
                <a:cubicBezTo>
                  <a:pt x="8774976" y="692043"/>
                  <a:pt x="8776014" y="708136"/>
                  <a:pt x="8776014" y="724750"/>
                </a:cubicBezTo>
                <a:cubicBezTo>
                  <a:pt x="8776014" y="749669"/>
                  <a:pt x="8776014" y="749669"/>
                  <a:pt x="8799896" y="750708"/>
                </a:cubicBezTo>
                <a:cubicBezTo>
                  <a:pt x="8801454" y="750708"/>
                  <a:pt x="8802492" y="751227"/>
                  <a:pt x="8804049" y="751227"/>
                </a:cubicBezTo>
                <a:cubicBezTo>
                  <a:pt x="8812875" y="751746"/>
                  <a:pt x="8822220" y="754861"/>
                  <a:pt x="8822739" y="740324"/>
                </a:cubicBezTo>
                <a:cubicBezTo>
                  <a:pt x="8823777" y="714886"/>
                  <a:pt x="8823777" y="713328"/>
                  <a:pt x="8806645" y="712809"/>
                </a:cubicBezTo>
                <a:cubicBezTo>
                  <a:pt x="8789513" y="711771"/>
                  <a:pt x="8785359" y="708136"/>
                  <a:pt x="8785359" y="691004"/>
                </a:cubicBezTo>
                <a:cubicBezTo>
                  <a:pt x="8785359" y="667124"/>
                  <a:pt x="8785359" y="643761"/>
                  <a:pt x="8785359" y="620399"/>
                </a:cubicBezTo>
                <a:cubicBezTo>
                  <a:pt x="8784840" y="620399"/>
                  <a:pt x="8784840" y="620399"/>
                  <a:pt x="8784840" y="620399"/>
                </a:cubicBezTo>
                <a:cubicBezTo>
                  <a:pt x="8784840" y="596517"/>
                  <a:pt x="8784321" y="572636"/>
                  <a:pt x="8784840" y="548755"/>
                </a:cubicBezTo>
                <a:cubicBezTo>
                  <a:pt x="8785359" y="538371"/>
                  <a:pt x="8782244" y="533698"/>
                  <a:pt x="8770823" y="534218"/>
                </a:cubicBezTo>
                <a:cubicBezTo>
                  <a:pt x="8747980" y="534737"/>
                  <a:pt x="8724618" y="534218"/>
                  <a:pt x="8701774" y="534218"/>
                </a:cubicBezTo>
                <a:close/>
                <a:moveTo>
                  <a:pt x="7932693" y="518578"/>
                </a:moveTo>
                <a:cubicBezTo>
                  <a:pt x="7932693" y="518892"/>
                  <a:pt x="7932378" y="519208"/>
                  <a:pt x="7932378" y="519208"/>
                </a:cubicBezTo>
                <a:cubicBezTo>
                  <a:pt x="7932378" y="519208"/>
                  <a:pt x="7932693" y="519208"/>
                  <a:pt x="7932693" y="519208"/>
                </a:cubicBezTo>
                <a:cubicBezTo>
                  <a:pt x="7932693" y="519208"/>
                  <a:pt x="7932693" y="518892"/>
                  <a:pt x="7932693" y="518578"/>
                </a:cubicBezTo>
                <a:close/>
                <a:moveTo>
                  <a:pt x="7991282" y="518263"/>
                </a:moveTo>
                <a:cubicBezTo>
                  <a:pt x="7991282" y="518578"/>
                  <a:pt x="7991282" y="518578"/>
                  <a:pt x="7991282" y="518892"/>
                </a:cubicBezTo>
                <a:cubicBezTo>
                  <a:pt x="7991282" y="518892"/>
                  <a:pt x="7991597" y="518892"/>
                  <a:pt x="7991597" y="518892"/>
                </a:cubicBezTo>
                <a:cubicBezTo>
                  <a:pt x="7991597" y="518578"/>
                  <a:pt x="7991282" y="518578"/>
                  <a:pt x="7991282" y="518263"/>
                </a:cubicBezTo>
                <a:close/>
                <a:moveTo>
                  <a:pt x="7933323" y="517633"/>
                </a:moveTo>
                <a:cubicBezTo>
                  <a:pt x="7933008" y="517948"/>
                  <a:pt x="7933008" y="517948"/>
                  <a:pt x="7933008" y="518263"/>
                </a:cubicBezTo>
                <a:cubicBezTo>
                  <a:pt x="7933008" y="518263"/>
                  <a:pt x="7933323" y="518263"/>
                  <a:pt x="7933323" y="518263"/>
                </a:cubicBezTo>
                <a:cubicBezTo>
                  <a:pt x="7933323" y="517948"/>
                  <a:pt x="7933323" y="517948"/>
                  <a:pt x="7933323" y="517633"/>
                </a:cubicBezTo>
                <a:close/>
                <a:moveTo>
                  <a:pt x="9995853" y="483450"/>
                </a:moveTo>
                <a:lnTo>
                  <a:pt x="9995853" y="547260"/>
                </a:lnTo>
                <a:lnTo>
                  <a:pt x="10005688" y="548252"/>
                </a:lnTo>
                <a:cubicBezTo>
                  <a:pt x="10042501" y="555784"/>
                  <a:pt x="10070193" y="588356"/>
                  <a:pt x="10070193" y="627396"/>
                </a:cubicBezTo>
                <a:lnTo>
                  <a:pt x="10070193" y="839288"/>
                </a:lnTo>
                <a:lnTo>
                  <a:pt x="10098404" y="839288"/>
                </a:lnTo>
                <a:lnTo>
                  <a:pt x="10098404" y="483450"/>
                </a:lnTo>
                <a:close/>
                <a:moveTo>
                  <a:pt x="9781381" y="483450"/>
                </a:moveTo>
                <a:lnTo>
                  <a:pt x="9781381" y="547123"/>
                </a:lnTo>
                <a:lnTo>
                  <a:pt x="9792075" y="548201"/>
                </a:lnTo>
                <a:cubicBezTo>
                  <a:pt x="9828888" y="555733"/>
                  <a:pt x="9856579" y="588305"/>
                  <a:pt x="9856579" y="627345"/>
                </a:cubicBezTo>
                <a:lnTo>
                  <a:pt x="9856579" y="839288"/>
                </a:lnTo>
                <a:lnTo>
                  <a:pt x="9908622" y="839288"/>
                </a:lnTo>
                <a:lnTo>
                  <a:pt x="9908621" y="627396"/>
                </a:lnTo>
                <a:lnTo>
                  <a:pt x="9908622" y="627394"/>
                </a:lnTo>
                <a:lnTo>
                  <a:pt x="9908622" y="620889"/>
                </a:lnTo>
                <a:lnTo>
                  <a:pt x="9909277" y="620889"/>
                </a:lnTo>
                <a:lnTo>
                  <a:pt x="9910263" y="611115"/>
                </a:lnTo>
                <a:cubicBezTo>
                  <a:pt x="9916854" y="578904"/>
                  <a:pt x="9942616" y="553676"/>
                  <a:pt x="9975107" y="547872"/>
                </a:cubicBezTo>
                <a:lnTo>
                  <a:pt x="9975644" y="547825"/>
                </a:lnTo>
                <a:lnTo>
                  <a:pt x="9975644" y="483450"/>
                </a:lnTo>
                <a:close/>
                <a:moveTo>
                  <a:pt x="4460613" y="410313"/>
                </a:moveTo>
                <a:lnTo>
                  <a:pt x="4460613" y="474688"/>
                </a:lnTo>
                <a:lnTo>
                  <a:pt x="4461150" y="474735"/>
                </a:lnTo>
                <a:cubicBezTo>
                  <a:pt x="4493641" y="480539"/>
                  <a:pt x="4519403" y="505767"/>
                  <a:pt x="4525994" y="537978"/>
                </a:cubicBezTo>
                <a:lnTo>
                  <a:pt x="4526979" y="547752"/>
                </a:lnTo>
                <a:lnTo>
                  <a:pt x="4527635" y="547752"/>
                </a:lnTo>
                <a:lnTo>
                  <a:pt x="4527635" y="554257"/>
                </a:lnTo>
                <a:lnTo>
                  <a:pt x="4527635" y="554259"/>
                </a:lnTo>
                <a:lnTo>
                  <a:pt x="4527635" y="766151"/>
                </a:lnTo>
                <a:lnTo>
                  <a:pt x="4579677" y="766151"/>
                </a:lnTo>
                <a:lnTo>
                  <a:pt x="4579677" y="554208"/>
                </a:lnTo>
                <a:cubicBezTo>
                  <a:pt x="4579677" y="515168"/>
                  <a:pt x="4607369" y="482596"/>
                  <a:pt x="4644181" y="475064"/>
                </a:cubicBezTo>
                <a:lnTo>
                  <a:pt x="4654875" y="473986"/>
                </a:lnTo>
                <a:lnTo>
                  <a:pt x="4654875" y="410313"/>
                </a:lnTo>
                <a:close/>
                <a:moveTo>
                  <a:pt x="4337854" y="410313"/>
                </a:moveTo>
                <a:lnTo>
                  <a:pt x="4337854" y="645080"/>
                </a:lnTo>
                <a:lnTo>
                  <a:pt x="4354002" y="645080"/>
                </a:lnTo>
                <a:lnTo>
                  <a:pt x="4366063" y="645080"/>
                </a:lnTo>
                <a:lnTo>
                  <a:pt x="4366063" y="554259"/>
                </a:lnTo>
                <a:cubicBezTo>
                  <a:pt x="4366063" y="515219"/>
                  <a:pt x="4393756" y="482648"/>
                  <a:pt x="4430568" y="475115"/>
                </a:cubicBezTo>
                <a:lnTo>
                  <a:pt x="4440404" y="474123"/>
                </a:lnTo>
                <a:lnTo>
                  <a:pt x="4440404" y="410313"/>
                </a:lnTo>
                <a:close/>
                <a:moveTo>
                  <a:pt x="2495196" y="386617"/>
                </a:moveTo>
                <a:cubicBezTo>
                  <a:pt x="2483775" y="386098"/>
                  <a:pt x="2480660" y="390771"/>
                  <a:pt x="2481179" y="401154"/>
                </a:cubicBezTo>
                <a:cubicBezTo>
                  <a:pt x="2481698" y="425035"/>
                  <a:pt x="2481179" y="448917"/>
                  <a:pt x="2481179" y="472798"/>
                </a:cubicBezTo>
                <a:cubicBezTo>
                  <a:pt x="2481179" y="472798"/>
                  <a:pt x="2481179" y="472798"/>
                  <a:pt x="2480660" y="472798"/>
                </a:cubicBezTo>
                <a:cubicBezTo>
                  <a:pt x="2480660" y="496160"/>
                  <a:pt x="2480660" y="519523"/>
                  <a:pt x="2480660" y="543404"/>
                </a:cubicBezTo>
                <a:cubicBezTo>
                  <a:pt x="2480660" y="560536"/>
                  <a:pt x="2476506" y="564171"/>
                  <a:pt x="2459374" y="565209"/>
                </a:cubicBezTo>
                <a:cubicBezTo>
                  <a:pt x="2442242" y="565728"/>
                  <a:pt x="2442242" y="567286"/>
                  <a:pt x="2443280" y="592724"/>
                </a:cubicBezTo>
                <a:cubicBezTo>
                  <a:pt x="2443799" y="607261"/>
                  <a:pt x="2453144" y="604146"/>
                  <a:pt x="2461970" y="603627"/>
                </a:cubicBezTo>
                <a:cubicBezTo>
                  <a:pt x="2463527" y="603627"/>
                  <a:pt x="2464565" y="603108"/>
                  <a:pt x="2466123" y="603108"/>
                </a:cubicBezTo>
                <a:cubicBezTo>
                  <a:pt x="2490005" y="602069"/>
                  <a:pt x="2490005" y="602069"/>
                  <a:pt x="2490005" y="577150"/>
                </a:cubicBezTo>
                <a:cubicBezTo>
                  <a:pt x="2490005" y="560536"/>
                  <a:pt x="2491043" y="544443"/>
                  <a:pt x="2489485" y="527829"/>
                </a:cubicBezTo>
                <a:cubicBezTo>
                  <a:pt x="2488966" y="519523"/>
                  <a:pt x="2493120" y="517965"/>
                  <a:pt x="2498830" y="516927"/>
                </a:cubicBezTo>
                <a:cubicBezTo>
                  <a:pt x="2500907" y="516408"/>
                  <a:pt x="2502983" y="516408"/>
                  <a:pt x="2505579" y="516408"/>
                </a:cubicBezTo>
                <a:cubicBezTo>
                  <a:pt x="2532576" y="516408"/>
                  <a:pt x="2531018" y="519003"/>
                  <a:pt x="2530499" y="489411"/>
                </a:cubicBezTo>
                <a:cubicBezTo>
                  <a:pt x="2529461" y="457742"/>
                  <a:pt x="2540363" y="433342"/>
                  <a:pt x="2570994" y="420363"/>
                </a:cubicBezTo>
                <a:cubicBezTo>
                  <a:pt x="2584492" y="414652"/>
                  <a:pt x="2577743" y="402711"/>
                  <a:pt x="2577743" y="393366"/>
                </a:cubicBezTo>
                <a:cubicBezTo>
                  <a:pt x="2577743" y="385060"/>
                  <a:pt x="2569956" y="386617"/>
                  <a:pt x="2564244" y="386617"/>
                </a:cubicBezTo>
                <a:cubicBezTo>
                  <a:pt x="2541401" y="386617"/>
                  <a:pt x="2518039" y="387136"/>
                  <a:pt x="2495196" y="386617"/>
                </a:cubicBezTo>
                <a:close/>
                <a:moveTo>
                  <a:pt x="9258835" y="0"/>
                </a:moveTo>
                <a:lnTo>
                  <a:pt x="9334633" y="0"/>
                </a:lnTo>
                <a:lnTo>
                  <a:pt x="9369417" y="714886"/>
                </a:lnTo>
                <a:lnTo>
                  <a:pt x="9451963" y="716443"/>
                </a:lnTo>
                <a:lnTo>
                  <a:pt x="9451511" y="839288"/>
                </a:lnTo>
                <a:lnTo>
                  <a:pt x="9695008" y="839288"/>
                </a:lnTo>
                <a:lnTo>
                  <a:pt x="9695008" y="627345"/>
                </a:lnTo>
                <a:lnTo>
                  <a:pt x="9695008" y="627342"/>
                </a:lnTo>
                <a:lnTo>
                  <a:pt x="9695008" y="620838"/>
                </a:lnTo>
                <a:lnTo>
                  <a:pt x="9695582" y="620838"/>
                </a:lnTo>
                <a:lnTo>
                  <a:pt x="9696270" y="613044"/>
                </a:lnTo>
                <a:cubicBezTo>
                  <a:pt x="9702073" y="580553"/>
                  <a:pt x="9727301" y="554792"/>
                  <a:pt x="9759513" y="548201"/>
                </a:cubicBezTo>
                <a:lnTo>
                  <a:pt x="9761172" y="548033"/>
                </a:lnTo>
                <a:lnTo>
                  <a:pt x="9761172" y="452927"/>
                </a:lnTo>
                <a:lnTo>
                  <a:pt x="9781381" y="452927"/>
                </a:lnTo>
                <a:lnTo>
                  <a:pt x="9781381" y="453137"/>
                </a:lnTo>
                <a:lnTo>
                  <a:pt x="10098404" y="453137"/>
                </a:lnTo>
                <a:lnTo>
                  <a:pt x="10098404" y="395857"/>
                </a:lnTo>
                <a:lnTo>
                  <a:pt x="10098404" y="395855"/>
                </a:lnTo>
                <a:lnTo>
                  <a:pt x="10098404" y="322646"/>
                </a:lnTo>
                <a:lnTo>
                  <a:pt x="10147724" y="322646"/>
                </a:lnTo>
                <a:lnTo>
                  <a:pt x="10192315" y="322646"/>
                </a:lnTo>
                <a:lnTo>
                  <a:pt x="10192315" y="412796"/>
                </a:lnTo>
                <a:lnTo>
                  <a:pt x="10192315" y="839288"/>
                </a:lnTo>
                <a:lnTo>
                  <a:pt x="10237382" y="839288"/>
                </a:lnTo>
                <a:lnTo>
                  <a:pt x="10237382" y="787976"/>
                </a:lnTo>
                <a:lnTo>
                  <a:pt x="10237382" y="787525"/>
                </a:lnTo>
                <a:lnTo>
                  <a:pt x="10237382" y="786823"/>
                </a:lnTo>
                <a:lnTo>
                  <a:pt x="10293811" y="786823"/>
                </a:lnTo>
                <a:lnTo>
                  <a:pt x="10293811" y="486617"/>
                </a:lnTo>
                <a:lnTo>
                  <a:pt x="10293811" y="486615"/>
                </a:lnTo>
                <a:lnTo>
                  <a:pt x="10293811" y="412796"/>
                </a:lnTo>
                <a:lnTo>
                  <a:pt x="10293812" y="412796"/>
                </a:lnTo>
                <a:lnTo>
                  <a:pt x="10364543" y="412796"/>
                </a:lnTo>
                <a:lnTo>
                  <a:pt x="10435273" y="412796"/>
                </a:lnTo>
                <a:lnTo>
                  <a:pt x="10435273" y="493478"/>
                </a:lnTo>
                <a:lnTo>
                  <a:pt x="10435272" y="493478"/>
                </a:lnTo>
                <a:lnTo>
                  <a:pt x="10435272" y="787653"/>
                </a:lnTo>
                <a:lnTo>
                  <a:pt x="10479889" y="787653"/>
                </a:lnTo>
                <a:lnTo>
                  <a:pt x="10479889" y="834346"/>
                </a:lnTo>
                <a:lnTo>
                  <a:pt x="10479889" y="883894"/>
                </a:lnTo>
                <a:lnTo>
                  <a:pt x="10634153" y="798062"/>
                </a:lnTo>
                <a:lnTo>
                  <a:pt x="10634153" y="890261"/>
                </a:lnTo>
                <a:lnTo>
                  <a:pt x="10799859" y="798062"/>
                </a:lnTo>
                <a:lnTo>
                  <a:pt x="10799859" y="890261"/>
                </a:lnTo>
                <a:lnTo>
                  <a:pt x="10965565" y="798062"/>
                </a:lnTo>
                <a:lnTo>
                  <a:pt x="10965565" y="890261"/>
                </a:lnTo>
                <a:lnTo>
                  <a:pt x="11131272" y="798062"/>
                </a:lnTo>
                <a:lnTo>
                  <a:pt x="11131272" y="894809"/>
                </a:lnTo>
                <a:lnTo>
                  <a:pt x="10965565" y="894809"/>
                </a:lnTo>
                <a:lnTo>
                  <a:pt x="10957391" y="894809"/>
                </a:lnTo>
                <a:lnTo>
                  <a:pt x="10799859" y="894809"/>
                </a:lnTo>
                <a:lnTo>
                  <a:pt x="10791685" y="894809"/>
                </a:lnTo>
                <a:lnTo>
                  <a:pt x="10634153" y="894809"/>
                </a:lnTo>
                <a:lnTo>
                  <a:pt x="10625978" y="894809"/>
                </a:lnTo>
                <a:lnTo>
                  <a:pt x="10479889" y="894809"/>
                </a:lnTo>
                <a:lnTo>
                  <a:pt x="10479889" y="894815"/>
                </a:lnTo>
                <a:lnTo>
                  <a:pt x="11131272" y="894815"/>
                </a:lnTo>
                <a:lnTo>
                  <a:pt x="11131272" y="930426"/>
                </a:lnTo>
                <a:lnTo>
                  <a:pt x="11131272" y="1058032"/>
                </a:lnTo>
                <a:lnTo>
                  <a:pt x="11135416" y="1058032"/>
                </a:lnTo>
                <a:cubicBezTo>
                  <a:pt x="11135416" y="1058032"/>
                  <a:pt x="11135416" y="1058032"/>
                  <a:pt x="11135416" y="475513"/>
                </a:cubicBezTo>
                <a:cubicBezTo>
                  <a:pt x="11135416" y="475513"/>
                  <a:pt x="11135416" y="475513"/>
                  <a:pt x="11317073" y="475513"/>
                </a:cubicBezTo>
                <a:cubicBezTo>
                  <a:pt x="11317073" y="475513"/>
                  <a:pt x="11317073" y="475513"/>
                  <a:pt x="11317073" y="957415"/>
                </a:cubicBezTo>
                <a:cubicBezTo>
                  <a:pt x="11327605" y="928290"/>
                  <a:pt x="11356564" y="864742"/>
                  <a:pt x="11385524" y="864742"/>
                </a:cubicBezTo>
                <a:cubicBezTo>
                  <a:pt x="11427648" y="864742"/>
                  <a:pt x="11467139" y="970654"/>
                  <a:pt x="11467139" y="970654"/>
                </a:cubicBezTo>
                <a:cubicBezTo>
                  <a:pt x="11467139" y="970654"/>
                  <a:pt x="11501364" y="864742"/>
                  <a:pt x="11540855" y="864742"/>
                </a:cubicBezTo>
                <a:cubicBezTo>
                  <a:pt x="11580346" y="864742"/>
                  <a:pt x="11622470" y="970654"/>
                  <a:pt x="11622470" y="970654"/>
                </a:cubicBezTo>
                <a:cubicBezTo>
                  <a:pt x="11622470" y="970654"/>
                  <a:pt x="11656695" y="864742"/>
                  <a:pt x="11696186" y="864742"/>
                </a:cubicBezTo>
                <a:cubicBezTo>
                  <a:pt x="11735677" y="864742"/>
                  <a:pt x="11777800" y="970654"/>
                  <a:pt x="11777800" y="970654"/>
                </a:cubicBezTo>
                <a:cubicBezTo>
                  <a:pt x="11777800" y="970654"/>
                  <a:pt x="11777800" y="970654"/>
                  <a:pt x="11777800" y="994485"/>
                </a:cubicBezTo>
                <a:cubicBezTo>
                  <a:pt x="11777800" y="994485"/>
                  <a:pt x="11777800" y="994485"/>
                  <a:pt x="11851517" y="994485"/>
                </a:cubicBezTo>
                <a:cubicBezTo>
                  <a:pt x="11851517" y="994485"/>
                  <a:pt x="11851517" y="994485"/>
                  <a:pt x="11851517" y="920346"/>
                </a:cubicBezTo>
                <a:cubicBezTo>
                  <a:pt x="11798862" y="909755"/>
                  <a:pt x="11759371" y="862094"/>
                  <a:pt x="11759371" y="806490"/>
                </a:cubicBezTo>
                <a:cubicBezTo>
                  <a:pt x="11759371" y="750886"/>
                  <a:pt x="11798862" y="703225"/>
                  <a:pt x="11851517" y="692634"/>
                </a:cubicBezTo>
                <a:cubicBezTo>
                  <a:pt x="11851517" y="692634"/>
                  <a:pt x="11851517" y="692634"/>
                  <a:pt x="11851517" y="562891"/>
                </a:cubicBezTo>
                <a:cubicBezTo>
                  <a:pt x="11851517" y="562891"/>
                  <a:pt x="11851517" y="562891"/>
                  <a:pt x="11898906" y="562891"/>
                </a:cubicBezTo>
                <a:cubicBezTo>
                  <a:pt x="11898906" y="562891"/>
                  <a:pt x="11898906" y="562891"/>
                  <a:pt x="11898906" y="692634"/>
                </a:cubicBezTo>
                <a:cubicBezTo>
                  <a:pt x="11951560" y="703225"/>
                  <a:pt x="11991051" y="750886"/>
                  <a:pt x="11991051" y="806490"/>
                </a:cubicBezTo>
                <a:cubicBezTo>
                  <a:pt x="11991051" y="864742"/>
                  <a:pt x="11951560" y="909755"/>
                  <a:pt x="11898906" y="920346"/>
                </a:cubicBezTo>
                <a:cubicBezTo>
                  <a:pt x="11898906" y="920346"/>
                  <a:pt x="11898906" y="920346"/>
                  <a:pt x="11898906" y="994485"/>
                </a:cubicBezTo>
                <a:cubicBezTo>
                  <a:pt x="11898906" y="994485"/>
                  <a:pt x="11898906" y="994485"/>
                  <a:pt x="11962091" y="994485"/>
                </a:cubicBezTo>
                <a:cubicBezTo>
                  <a:pt x="11962091" y="994485"/>
                  <a:pt x="11962091" y="994485"/>
                  <a:pt x="11962091" y="917698"/>
                </a:cubicBezTo>
                <a:cubicBezTo>
                  <a:pt x="11962091" y="917698"/>
                  <a:pt x="11962091" y="917698"/>
                  <a:pt x="12041073" y="917698"/>
                </a:cubicBezTo>
                <a:cubicBezTo>
                  <a:pt x="12041073" y="917698"/>
                  <a:pt x="12041073" y="917698"/>
                  <a:pt x="12041073" y="817081"/>
                </a:cubicBezTo>
                <a:cubicBezTo>
                  <a:pt x="12041073" y="817081"/>
                  <a:pt x="12041073" y="817081"/>
                  <a:pt x="12155715" y="817081"/>
                </a:cubicBezTo>
                <a:lnTo>
                  <a:pt x="12200316" y="817081"/>
                </a:lnTo>
                <a:lnTo>
                  <a:pt x="12200316" y="1105184"/>
                </a:lnTo>
                <a:lnTo>
                  <a:pt x="12208559" y="1105184"/>
                </a:lnTo>
                <a:lnTo>
                  <a:pt x="12208559" y="1153840"/>
                </a:lnTo>
                <a:lnTo>
                  <a:pt x="12208559" y="1225322"/>
                </a:lnTo>
                <a:lnTo>
                  <a:pt x="12208633" y="1225322"/>
                </a:lnTo>
                <a:lnTo>
                  <a:pt x="12208633" y="1247932"/>
                </a:lnTo>
                <a:lnTo>
                  <a:pt x="12200316" y="1247932"/>
                </a:lnTo>
                <a:lnTo>
                  <a:pt x="12200316" y="5434893"/>
                </a:lnTo>
                <a:lnTo>
                  <a:pt x="8318" y="5434893"/>
                </a:lnTo>
                <a:lnTo>
                  <a:pt x="8318" y="1247932"/>
                </a:lnTo>
                <a:lnTo>
                  <a:pt x="0" y="1247932"/>
                </a:lnTo>
                <a:lnTo>
                  <a:pt x="0" y="1225322"/>
                </a:lnTo>
                <a:lnTo>
                  <a:pt x="0" y="1063433"/>
                </a:lnTo>
                <a:lnTo>
                  <a:pt x="56578" y="1063433"/>
                </a:lnTo>
                <a:cubicBezTo>
                  <a:pt x="82782" y="1063433"/>
                  <a:pt x="112730" y="1063433"/>
                  <a:pt x="146955" y="1063433"/>
                </a:cubicBezTo>
                <a:cubicBezTo>
                  <a:pt x="146955" y="1063433"/>
                  <a:pt x="146955" y="1063433"/>
                  <a:pt x="146955" y="480915"/>
                </a:cubicBezTo>
                <a:cubicBezTo>
                  <a:pt x="146955" y="480915"/>
                  <a:pt x="146955" y="480915"/>
                  <a:pt x="328613" y="480915"/>
                </a:cubicBezTo>
                <a:cubicBezTo>
                  <a:pt x="328613" y="480915"/>
                  <a:pt x="328613" y="480915"/>
                  <a:pt x="328613" y="962816"/>
                </a:cubicBezTo>
                <a:cubicBezTo>
                  <a:pt x="339144" y="933691"/>
                  <a:pt x="368104" y="870143"/>
                  <a:pt x="397064" y="870143"/>
                </a:cubicBezTo>
                <a:cubicBezTo>
                  <a:pt x="439187" y="870143"/>
                  <a:pt x="478678" y="976055"/>
                  <a:pt x="478678" y="976055"/>
                </a:cubicBezTo>
                <a:cubicBezTo>
                  <a:pt x="478678" y="976055"/>
                  <a:pt x="512903" y="870143"/>
                  <a:pt x="552394" y="870143"/>
                </a:cubicBezTo>
                <a:cubicBezTo>
                  <a:pt x="591885" y="870143"/>
                  <a:pt x="634009" y="976055"/>
                  <a:pt x="634009" y="976055"/>
                </a:cubicBezTo>
                <a:cubicBezTo>
                  <a:pt x="634009" y="976055"/>
                  <a:pt x="668234" y="870143"/>
                  <a:pt x="707725" y="870143"/>
                </a:cubicBezTo>
                <a:cubicBezTo>
                  <a:pt x="747216" y="870143"/>
                  <a:pt x="789340" y="976055"/>
                  <a:pt x="789340" y="976055"/>
                </a:cubicBezTo>
                <a:cubicBezTo>
                  <a:pt x="789340" y="976055"/>
                  <a:pt x="789340" y="976055"/>
                  <a:pt x="789340" y="999886"/>
                </a:cubicBezTo>
                <a:cubicBezTo>
                  <a:pt x="789340" y="999886"/>
                  <a:pt x="789340" y="999886"/>
                  <a:pt x="863056" y="999886"/>
                </a:cubicBezTo>
                <a:cubicBezTo>
                  <a:pt x="863056" y="999886"/>
                  <a:pt x="863056" y="999886"/>
                  <a:pt x="863056" y="925747"/>
                </a:cubicBezTo>
                <a:cubicBezTo>
                  <a:pt x="810402" y="915156"/>
                  <a:pt x="770911" y="867495"/>
                  <a:pt x="770911" y="811891"/>
                </a:cubicBezTo>
                <a:cubicBezTo>
                  <a:pt x="770911" y="756287"/>
                  <a:pt x="810402" y="708626"/>
                  <a:pt x="863056" y="698035"/>
                </a:cubicBezTo>
                <a:cubicBezTo>
                  <a:pt x="863056" y="698035"/>
                  <a:pt x="863056" y="698035"/>
                  <a:pt x="863056" y="568293"/>
                </a:cubicBezTo>
                <a:cubicBezTo>
                  <a:pt x="863056" y="568293"/>
                  <a:pt x="863056" y="568293"/>
                  <a:pt x="910445" y="568293"/>
                </a:cubicBezTo>
                <a:cubicBezTo>
                  <a:pt x="910445" y="568293"/>
                  <a:pt x="910445" y="568293"/>
                  <a:pt x="910445" y="698035"/>
                </a:cubicBezTo>
                <a:cubicBezTo>
                  <a:pt x="963099" y="708626"/>
                  <a:pt x="1002590" y="756287"/>
                  <a:pt x="1002590" y="811891"/>
                </a:cubicBezTo>
                <a:cubicBezTo>
                  <a:pt x="1002590" y="870143"/>
                  <a:pt x="963099" y="915156"/>
                  <a:pt x="910445" y="925747"/>
                </a:cubicBezTo>
                <a:cubicBezTo>
                  <a:pt x="910445" y="925747"/>
                  <a:pt x="910445" y="925747"/>
                  <a:pt x="910445" y="999886"/>
                </a:cubicBezTo>
                <a:cubicBezTo>
                  <a:pt x="910445" y="999886"/>
                  <a:pt x="910445" y="999886"/>
                  <a:pt x="973630" y="999886"/>
                </a:cubicBezTo>
                <a:cubicBezTo>
                  <a:pt x="973630" y="999886"/>
                  <a:pt x="973630" y="999886"/>
                  <a:pt x="973630" y="923099"/>
                </a:cubicBezTo>
                <a:cubicBezTo>
                  <a:pt x="973630" y="923099"/>
                  <a:pt x="973630" y="923099"/>
                  <a:pt x="1052612" y="923099"/>
                </a:cubicBezTo>
                <a:cubicBezTo>
                  <a:pt x="1052612" y="923099"/>
                  <a:pt x="1052612" y="923099"/>
                  <a:pt x="1052612" y="822482"/>
                </a:cubicBezTo>
                <a:cubicBezTo>
                  <a:pt x="1052612" y="822482"/>
                  <a:pt x="1052612" y="822482"/>
                  <a:pt x="1223739" y="822482"/>
                </a:cubicBezTo>
                <a:cubicBezTo>
                  <a:pt x="1223739" y="822482"/>
                  <a:pt x="1223739" y="822482"/>
                  <a:pt x="1223739" y="533871"/>
                </a:cubicBezTo>
                <a:cubicBezTo>
                  <a:pt x="1223739" y="533871"/>
                  <a:pt x="1223739" y="533871"/>
                  <a:pt x="1452786" y="533871"/>
                </a:cubicBezTo>
                <a:cubicBezTo>
                  <a:pt x="1452786" y="533871"/>
                  <a:pt x="1452786" y="533871"/>
                  <a:pt x="1452786" y="827778"/>
                </a:cubicBezTo>
                <a:cubicBezTo>
                  <a:pt x="1452786" y="827778"/>
                  <a:pt x="1452786" y="827778"/>
                  <a:pt x="1687099" y="827778"/>
                </a:cubicBezTo>
                <a:cubicBezTo>
                  <a:pt x="1687099" y="827778"/>
                  <a:pt x="1687099" y="827778"/>
                  <a:pt x="1687099" y="645080"/>
                </a:cubicBezTo>
                <a:cubicBezTo>
                  <a:pt x="1687099" y="645080"/>
                  <a:pt x="1687099" y="645080"/>
                  <a:pt x="1795945" y="645080"/>
                </a:cubicBezTo>
                <a:lnTo>
                  <a:pt x="1814336" y="645080"/>
                </a:lnTo>
                <a:lnTo>
                  <a:pt x="1814055" y="568843"/>
                </a:lnTo>
                <a:lnTo>
                  <a:pt x="1896602" y="567286"/>
                </a:lnTo>
                <a:lnTo>
                  <a:pt x="1917630" y="135119"/>
                </a:lnTo>
                <a:lnTo>
                  <a:pt x="2020520" y="135119"/>
                </a:lnTo>
                <a:lnTo>
                  <a:pt x="2040929" y="567805"/>
                </a:lnTo>
                <a:lnTo>
                  <a:pt x="2085058" y="569362"/>
                </a:lnTo>
                <a:lnTo>
                  <a:pt x="2104692" y="247596"/>
                </a:lnTo>
                <a:lnTo>
                  <a:pt x="2211603" y="247596"/>
                </a:lnTo>
                <a:lnTo>
                  <a:pt x="2230423" y="571958"/>
                </a:lnTo>
                <a:lnTo>
                  <a:pt x="2293761" y="575073"/>
                </a:lnTo>
                <a:cubicBezTo>
                  <a:pt x="2293761" y="543923"/>
                  <a:pt x="2293761" y="512255"/>
                  <a:pt x="2293761" y="481105"/>
                </a:cubicBezTo>
                <a:cubicBezTo>
                  <a:pt x="2293761" y="456704"/>
                  <a:pt x="2303625" y="437495"/>
                  <a:pt x="2325430" y="425035"/>
                </a:cubicBezTo>
                <a:cubicBezTo>
                  <a:pt x="2329064" y="422959"/>
                  <a:pt x="2331660" y="420882"/>
                  <a:pt x="2333736" y="417248"/>
                </a:cubicBezTo>
                <a:cubicBezTo>
                  <a:pt x="2338409" y="408422"/>
                  <a:pt x="2365406" y="405307"/>
                  <a:pt x="2370078" y="413614"/>
                </a:cubicBezTo>
                <a:cubicBezTo>
                  <a:pt x="2374751" y="421920"/>
                  <a:pt x="2382019" y="425035"/>
                  <a:pt x="2388249" y="430227"/>
                </a:cubicBezTo>
                <a:cubicBezTo>
                  <a:pt x="2402785" y="441648"/>
                  <a:pt x="2411611" y="456185"/>
                  <a:pt x="2411611" y="474355"/>
                </a:cubicBezTo>
                <a:cubicBezTo>
                  <a:pt x="2411611" y="487335"/>
                  <a:pt x="2416802" y="490969"/>
                  <a:pt x="2428224" y="489411"/>
                </a:cubicBezTo>
                <a:cubicBezTo>
                  <a:pt x="2439646" y="487854"/>
                  <a:pt x="2444318" y="494084"/>
                  <a:pt x="2443799" y="504986"/>
                </a:cubicBezTo>
                <a:cubicBezTo>
                  <a:pt x="2443280" y="513293"/>
                  <a:pt x="2443799" y="521599"/>
                  <a:pt x="2443799" y="530425"/>
                </a:cubicBezTo>
                <a:cubicBezTo>
                  <a:pt x="2443799" y="534059"/>
                  <a:pt x="2443280" y="538213"/>
                  <a:pt x="2448472" y="538732"/>
                </a:cubicBezTo>
                <a:cubicBezTo>
                  <a:pt x="2454182" y="539251"/>
                  <a:pt x="2454182" y="534059"/>
                  <a:pt x="2454182" y="529906"/>
                </a:cubicBezTo>
                <a:cubicBezTo>
                  <a:pt x="2454702" y="516408"/>
                  <a:pt x="2455740" y="502390"/>
                  <a:pt x="2455740" y="488892"/>
                </a:cubicBezTo>
                <a:cubicBezTo>
                  <a:pt x="2456259" y="452551"/>
                  <a:pt x="2456259" y="416209"/>
                  <a:pt x="2455740" y="379868"/>
                </a:cubicBezTo>
                <a:cubicBezTo>
                  <a:pt x="2455740" y="368966"/>
                  <a:pt x="2459374" y="361697"/>
                  <a:pt x="2471834" y="361697"/>
                </a:cubicBezTo>
                <a:cubicBezTo>
                  <a:pt x="2511290" y="361697"/>
                  <a:pt x="2550746" y="361697"/>
                  <a:pt x="2590203" y="361697"/>
                </a:cubicBezTo>
                <a:cubicBezTo>
                  <a:pt x="2600067" y="361697"/>
                  <a:pt x="2604739" y="366889"/>
                  <a:pt x="2604220" y="376753"/>
                </a:cubicBezTo>
                <a:cubicBezTo>
                  <a:pt x="2604220" y="386098"/>
                  <a:pt x="2604739" y="395443"/>
                  <a:pt x="2603701" y="404788"/>
                </a:cubicBezTo>
                <a:cubicBezTo>
                  <a:pt x="2602662" y="415171"/>
                  <a:pt x="2606297" y="420882"/>
                  <a:pt x="2616161" y="425035"/>
                </a:cubicBezTo>
                <a:cubicBezTo>
                  <a:pt x="2637965" y="434899"/>
                  <a:pt x="2648349" y="453070"/>
                  <a:pt x="2648868" y="476951"/>
                </a:cubicBezTo>
                <a:cubicBezTo>
                  <a:pt x="2648868" y="493565"/>
                  <a:pt x="2648868" y="510697"/>
                  <a:pt x="2648868" y="527310"/>
                </a:cubicBezTo>
                <a:cubicBezTo>
                  <a:pt x="2648868" y="542106"/>
                  <a:pt x="2648090" y="548596"/>
                  <a:pt x="2651010" y="551386"/>
                </a:cubicBezTo>
                <a:lnTo>
                  <a:pt x="2661207" y="552175"/>
                </a:lnTo>
                <a:lnTo>
                  <a:pt x="2661207" y="497877"/>
                </a:lnTo>
                <a:cubicBezTo>
                  <a:pt x="2661207" y="443514"/>
                  <a:pt x="2661207" y="371030"/>
                  <a:pt x="2661207" y="274385"/>
                </a:cubicBezTo>
                <a:cubicBezTo>
                  <a:pt x="2661207" y="274385"/>
                  <a:pt x="2661207" y="274385"/>
                  <a:pt x="2916581" y="274385"/>
                </a:cubicBezTo>
                <a:cubicBezTo>
                  <a:pt x="2916581" y="274385"/>
                  <a:pt x="2916581" y="274385"/>
                  <a:pt x="2916581" y="623897"/>
                </a:cubicBezTo>
                <a:cubicBezTo>
                  <a:pt x="2916581" y="623897"/>
                  <a:pt x="2916581" y="623897"/>
                  <a:pt x="3103505" y="623897"/>
                </a:cubicBezTo>
                <a:cubicBezTo>
                  <a:pt x="3103505" y="623897"/>
                  <a:pt x="3103505" y="623897"/>
                  <a:pt x="3103505" y="938986"/>
                </a:cubicBezTo>
                <a:cubicBezTo>
                  <a:pt x="3103505" y="938986"/>
                  <a:pt x="3103505" y="938986"/>
                  <a:pt x="3253570" y="938986"/>
                </a:cubicBezTo>
                <a:cubicBezTo>
                  <a:pt x="3253570" y="938986"/>
                  <a:pt x="3253570" y="938986"/>
                  <a:pt x="3253570" y="833074"/>
                </a:cubicBezTo>
                <a:cubicBezTo>
                  <a:pt x="3253570" y="833074"/>
                  <a:pt x="3253570" y="833074"/>
                  <a:pt x="3458923" y="833074"/>
                </a:cubicBezTo>
                <a:cubicBezTo>
                  <a:pt x="3458923" y="833074"/>
                  <a:pt x="3458923" y="833074"/>
                  <a:pt x="3458923" y="449141"/>
                </a:cubicBezTo>
                <a:cubicBezTo>
                  <a:pt x="3458923" y="449141"/>
                  <a:pt x="3458923" y="449141"/>
                  <a:pt x="3619519" y="449141"/>
                </a:cubicBezTo>
                <a:cubicBezTo>
                  <a:pt x="3619519" y="449141"/>
                  <a:pt x="3619519" y="449141"/>
                  <a:pt x="3619519" y="822482"/>
                </a:cubicBezTo>
                <a:cubicBezTo>
                  <a:pt x="3619519" y="822482"/>
                  <a:pt x="3619519" y="822482"/>
                  <a:pt x="3716929" y="822482"/>
                </a:cubicBezTo>
                <a:cubicBezTo>
                  <a:pt x="3716929" y="822482"/>
                  <a:pt x="3716929" y="822482"/>
                  <a:pt x="3716929" y="533871"/>
                </a:cubicBezTo>
                <a:cubicBezTo>
                  <a:pt x="3716929" y="533871"/>
                  <a:pt x="3716929" y="533871"/>
                  <a:pt x="3948609" y="533871"/>
                </a:cubicBezTo>
                <a:cubicBezTo>
                  <a:pt x="3948609" y="533871"/>
                  <a:pt x="3948609" y="533871"/>
                  <a:pt x="3948609" y="827778"/>
                </a:cubicBezTo>
                <a:cubicBezTo>
                  <a:pt x="3948609" y="827778"/>
                  <a:pt x="3948609" y="827778"/>
                  <a:pt x="3952270" y="827778"/>
                </a:cubicBezTo>
                <a:lnTo>
                  <a:pt x="3956368" y="827778"/>
                </a:lnTo>
                <a:lnTo>
                  <a:pt x="3956368" y="761209"/>
                </a:lnTo>
                <a:lnTo>
                  <a:pt x="3956368" y="714516"/>
                </a:lnTo>
                <a:lnTo>
                  <a:pt x="4000985" y="714516"/>
                </a:lnTo>
                <a:lnTo>
                  <a:pt x="4000985" y="420341"/>
                </a:lnTo>
                <a:lnTo>
                  <a:pt x="4000984" y="420341"/>
                </a:lnTo>
                <a:lnTo>
                  <a:pt x="4000984" y="339659"/>
                </a:lnTo>
                <a:lnTo>
                  <a:pt x="4071715" y="339659"/>
                </a:lnTo>
                <a:lnTo>
                  <a:pt x="4142446" y="339659"/>
                </a:lnTo>
                <a:lnTo>
                  <a:pt x="4142446" y="413478"/>
                </a:lnTo>
                <a:lnTo>
                  <a:pt x="4142446" y="413480"/>
                </a:lnTo>
                <a:lnTo>
                  <a:pt x="4142446" y="713686"/>
                </a:lnTo>
                <a:lnTo>
                  <a:pt x="4182921" y="713686"/>
                </a:lnTo>
                <a:lnTo>
                  <a:pt x="4182921" y="705384"/>
                </a:lnTo>
                <a:cubicBezTo>
                  <a:pt x="4182921" y="687899"/>
                  <a:pt x="4182921" y="667917"/>
                  <a:pt x="4182921" y="645080"/>
                </a:cubicBezTo>
                <a:cubicBezTo>
                  <a:pt x="4182921" y="645080"/>
                  <a:pt x="4182921" y="645080"/>
                  <a:pt x="4214842" y="645080"/>
                </a:cubicBezTo>
                <a:lnTo>
                  <a:pt x="4243942" y="645080"/>
                </a:lnTo>
                <a:lnTo>
                  <a:pt x="4243942" y="339659"/>
                </a:lnTo>
                <a:lnTo>
                  <a:pt x="4243942" y="249509"/>
                </a:lnTo>
                <a:lnTo>
                  <a:pt x="4288534" y="249509"/>
                </a:lnTo>
                <a:lnTo>
                  <a:pt x="4337854" y="249509"/>
                </a:lnTo>
                <a:lnTo>
                  <a:pt x="4337854" y="322718"/>
                </a:lnTo>
                <a:lnTo>
                  <a:pt x="4337854" y="322720"/>
                </a:lnTo>
                <a:lnTo>
                  <a:pt x="4337854" y="380000"/>
                </a:lnTo>
                <a:lnTo>
                  <a:pt x="4654875" y="380000"/>
                </a:lnTo>
                <a:lnTo>
                  <a:pt x="4654875" y="379790"/>
                </a:lnTo>
                <a:lnTo>
                  <a:pt x="4675084" y="379790"/>
                </a:lnTo>
                <a:lnTo>
                  <a:pt x="4675084" y="474896"/>
                </a:lnTo>
                <a:lnTo>
                  <a:pt x="4676745" y="475064"/>
                </a:lnTo>
                <a:cubicBezTo>
                  <a:pt x="4708955" y="481655"/>
                  <a:pt x="4734183" y="507417"/>
                  <a:pt x="4739988" y="539907"/>
                </a:cubicBezTo>
                <a:lnTo>
                  <a:pt x="4740674" y="547701"/>
                </a:lnTo>
                <a:lnTo>
                  <a:pt x="4741248" y="547701"/>
                </a:lnTo>
                <a:lnTo>
                  <a:pt x="4741248" y="554205"/>
                </a:lnTo>
                <a:lnTo>
                  <a:pt x="4741248" y="554208"/>
                </a:lnTo>
                <a:lnTo>
                  <a:pt x="4741248" y="739927"/>
                </a:lnTo>
                <a:lnTo>
                  <a:pt x="4764753" y="740400"/>
                </a:lnTo>
                <a:cubicBezTo>
                  <a:pt x="4764753" y="740400"/>
                  <a:pt x="4764753" y="740400"/>
                  <a:pt x="4764753" y="666262"/>
                </a:cubicBezTo>
                <a:cubicBezTo>
                  <a:pt x="4764753" y="666262"/>
                  <a:pt x="4764753" y="666262"/>
                  <a:pt x="4899024" y="666262"/>
                </a:cubicBezTo>
                <a:cubicBezTo>
                  <a:pt x="4899024" y="666262"/>
                  <a:pt x="4899024" y="666262"/>
                  <a:pt x="4899024" y="735104"/>
                </a:cubicBezTo>
                <a:cubicBezTo>
                  <a:pt x="4899024" y="735104"/>
                  <a:pt x="4899024" y="735104"/>
                  <a:pt x="5028026" y="735104"/>
                </a:cubicBezTo>
                <a:cubicBezTo>
                  <a:pt x="5028026" y="735104"/>
                  <a:pt x="5028026" y="735104"/>
                  <a:pt x="5028026" y="658319"/>
                </a:cubicBezTo>
                <a:cubicBezTo>
                  <a:pt x="5028026" y="658319"/>
                  <a:pt x="5028026" y="658319"/>
                  <a:pt x="5154397" y="660966"/>
                </a:cubicBezTo>
                <a:cubicBezTo>
                  <a:pt x="5154397" y="660966"/>
                  <a:pt x="5154397" y="660966"/>
                  <a:pt x="5154397" y="369707"/>
                </a:cubicBezTo>
                <a:cubicBezTo>
                  <a:pt x="5154397" y="369707"/>
                  <a:pt x="5154397" y="369707"/>
                  <a:pt x="5409771" y="369707"/>
                </a:cubicBezTo>
                <a:cubicBezTo>
                  <a:pt x="5409771" y="369707"/>
                  <a:pt x="5409771" y="369707"/>
                  <a:pt x="5409771" y="623897"/>
                </a:cubicBezTo>
                <a:cubicBezTo>
                  <a:pt x="5409771" y="623897"/>
                  <a:pt x="5409771" y="623897"/>
                  <a:pt x="5599327" y="623897"/>
                </a:cubicBezTo>
                <a:cubicBezTo>
                  <a:pt x="5599327" y="623897"/>
                  <a:pt x="5599327" y="623897"/>
                  <a:pt x="5599327" y="681817"/>
                </a:cubicBezTo>
                <a:lnTo>
                  <a:pt x="5599327" y="692743"/>
                </a:lnTo>
                <a:lnTo>
                  <a:pt x="5628967" y="692743"/>
                </a:lnTo>
                <a:lnTo>
                  <a:pt x="5628967" y="672950"/>
                </a:lnTo>
                <a:lnTo>
                  <a:pt x="5794767" y="672950"/>
                </a:lnTo>
                <a:lnTo>
                  <a:pt x="5794803" y="672943"/>
                </a:lnTo>
                <a:lnTo>
                  <a:pt x="5792189" y="672943"/>
                </a:lnTo>
                <a:lnTo>
                  <a:pt x="5784518" y="672943"/>
                </a:lnTo>
                <a:lnTo>
                  <a:pt x="5628967" y="672943"/>
                </a:lnTo>
                <a:lnTo>
                  <a:pt x="5792189" y="576196"/>
                </a:lnTo>
                <a:lnTo>
                  <a:pt x="5792189" y="668395"/>
                </a:lnTo>
                <a:lnTo>
                  <a:pt x="5947738" y="576196"/>
                </a:lnTo>
                <a:lnTo>
                  <a:pt x="5947738" y="668395"/>
                </a:lnTo>
                <a:lnTo>
                  <a:pt x="6103287" y="576196"/>
                </a:lnTo>
                <a:lnTo>
                  <a:pt x="6103287" y="668395"/>
                </a:lnTo>
                <a:lnTo>
                  <a:pt x="6258836" y="576196"/>
                </a:lnTo>
                <a:lnTo>
                  <a:pt x="6258836" y="672943"/>
                </a:lnTo>
                <a:lnTo>
                  <a:pt x="6154820" y="672943"/>
                </a:lnTo>
                <a:lnTo>
                  <a:pt x="6154820" y="672950"/>
                </a:lnTo>
                <a:lnTo>
                  <a:pt x="6258836" y="672950"/>
                </a:lnTo>
                <a:lnTo>
                  <a:pt x="6258836" y="708560"/>
                </a:lnTo>
                <a:lnTo>
                  <a:pt x="6258836" y="726328"/>
                </a:lnTo>
                <a:lnTo>
                  <a:pt x="6349534" y="726328"/>
                </a:lnTo>
                <a:cubicBezTo>
                  <a:pt x="6354193" y="726328"/>
                  <a:pt x="6354387" y="726134"/>
                  <a:pt x="6354387" y="721669"/>
                </a:cubicBezTo>
                <a:cubicBezTo>
                  <a:pt x="6354387" y="698761"/>
                  <a:pt x="6354387" y="676048"/>
                  <a:pt x="6354387" y="653142"/>
                </a:cubicBezTo>
                <a:cubicBezTo>
                  <a:pt x="6354387" y="651200"/>
                  <a:pt x="6354193" y="649647"/>
                  <a:pt x="6351863" y="648482"/>
                </a:cubicBezTo>
                <a:cubicBezTo>
                  <a:pt x="6348369" y="646735"/>
                  <a:pt x="6348563" y="644018"/>
                  <a:pt x="6352251" y="641882"/>
                </a:cubicBezTo>
                <a:cubicBezTo>
                  <a:pt x="6353999" y="640911"/>
                  <a:pt x="6354581" y="639941"/>
                  <a:pt x="6354581" y="638194"/>
                </a:cubicBezTo>
                <a:cubicBezTo>
                  <a:pt x="6354581" y="622081"/>
                  <a:pt x="6354581" y="605967"/>
                  <a:pt x="6354581" y="589854"/>
                </a:cubicBezTo>
                <a:cubicBezTo>
                  <a:pt x="6354581" y="587719"/>
                  <a:pt x="6353610" y="586554"/>
                  <a:pt x="6351863" y="585584"/>
                </a:cubicBezTo>
                <a:cubicBezTo>
                  <a:pt x="6348757" y="583836"/>
                  <a:pt x="6348757" y="581507"/>
                  <a:pt x="6351863" y="579954"/>
                </a:cubicBezTo>
                <a:cubicBezTo>
                  <a:pt x="6354581" y="578595"/>
                  <a:pt x="6354581" y="576848"/>
                  <a:pt x="6354581" y="574712"/>
                </a:cubicBezTo>
                <a:cubicBezTo>
                  <a:pt x="6354581" y="559182"/>
                  <a:pt x="6354581" y="543651"/>
                  <a:pt x="6354581" y="528121"/>
                </a:cubicBezTo>
                <a:cubicBezTo>
                  <a:pt x="6354581" y="525792"/>
                  <a:pt x="6354387" y="524238"/>
                  <a:pt x="6351669" y="522879"/>
                </a:cubicBezTo>
                <a:cubicBezTo>
                  <a:pt x="6348369" y="521326"/>
                  <a:pt x="6348563" y="518026"/>
                  <a:pt x="6351863" y="516473"/>
                </a:cubicBezTo>
                <a:cubicBezTo>
                  <a:pt x="6354193" y="515308"/>
                  <a:pt x="6354387" y="513755"/>
                  <a:pt x="6354387" y="511814"/>
                </a:cubicBezTo>
                <a:cubicBezTo>
                  <a:pt x="6354387" y="496672"/>
                  <a:pt x="6354387" y="481335"/>
                  <a:pt x="6354387" y="465999"/>
                </a:cubicBezTo>
                <a:cubicBezTo>
                  <a:pt x="6354387" y="463864"/>
                  <a:pt x="6353999" y="462311"/>
                  <a:pt x="6351475" y="460952"/>
                </a:cubicBezTo>
                <a:cubicBezTo>
                  <a:pt x="6348369" y="459399"/>
                  <a:pt x="6348563" y="456293"/>
                  <a:pt x="6351863" y="454545"/>
                </a:cubicBezTo>
                <a:cubicBezTo>
                  <a:pt x="6353999" y="453575"/>
                  <a:pt x="6354387" y="452410"/>
                  <a:pt x="6354387" y="450469"/>
                </a:cubicBezTo>
                <a:cubicBezTo>
                  <a:pt x="6354387" y="434356"/>
                  <a:pt x="6354387" y="418243"/>
                  <a:pt x="6354387" y="402130"/>
                </a:cubicBezTo>
                <a:cubicBezTo>
                  <a:pt x="6354387" y="400189"/>
                  <a:pt x="6353805" y="399218"/>
                  <a:pt x="6351863" y="398054"/>
                </a:cubicBezTo>
                <a:cubicBezTo>
                  <a:pt x="6348369" y="396112"/>
                  <a:pt x="6348369" y="393394"/>
                  <a:pt x="6352057" y="391453"/>
                </a:cubicBezTo>
                <a:cubicBezTo>
                  <a:pt x="6354193" y="390288"/>
                  <a:pt x="6354387" y="388929"/>
                  <a:pt x="6354387" y="387182"/>
                </a:cubicBezTo>
                <a:cubicBezTo>
                  <a:pt x="6354387" y="371652"/>
                  <a:pt x="6354387" y="356121"/>
                  <a:pt x="6354387" y="340591"/>
                </a:cubicBezTo>
                <a:cubicBezTo>
                  <a:pt x="6354387" y="338650"/>
                  <a:pt x="6354193" y="337096"/>
                  <a:pt x="6351863" y="335932"/>
                </a:cubicBezTo>
                <a:cubicBezTo>
                  <a:pt x="6348369" y="334185"/>
                  <a:pt x="6348563" y="331467"/>
                  <a:pt x="6352251" y="329331"/>
                </a:cubicBezTo>
                <a:cubicBezTo>
                  <a:pt x="6353999" y="328361"/>
                  <a:pt x="6354581" y="327390"/>
                  <a:pt x="6354581" y="325643"/>
                </a:cubicBezTo>
                <a:cubicBezTo>
                  <a:pt x="6354581" y="309530"/>
                  <a:pt x="6354581" y="293417"/>
                  <a:pt x="6354581" y="277304"/>
                </a:cubicBezTo>
                <a:cubicBezTo>
                  <a:pt x="6354581" y="275363"/>
                  <a:pt x="6353999" y="273810"/>
                  <a:pt x="6351863" y="273227"/>
                </a:cubicBezTo>
                <a:cubicBezTo>
                  <a:pt x="6349922" y="272645"/>
                  <a:pt x="6349534" y="271286"/>
                  <a:pt x="6349922" y="269539"/>
                </a:cubicBezTo>
                <a:cubicBezTo>
                  <a:pt x="6350310" y="267792"/>
                  <a:pt x="6351863" y="267209"/>
                  <a:pt x="6353610" y="267209"/>
                </a:cubicBezTo>
                <a:cubicBezTo>
                  <a:pt x="6354775" y="267209"/>
                  <a:pt x="6356134" y="267209"/>
                  <a:pt x="6357299" y="267209"/>
                </a:cubicBezTo>
                <a:cubicBezTo>
                  <a:pt x="6380206" y="267209"/>
                  <a:pt x="6403308" y="267209"/>
                  <a:pt x="6426409" y="267209"/>
                </a:cubicBezTo>
                <a:cubicBezTo>
                  <a:pt x="6427768" y="267209"/>
                  <a:pt x="6429321" y="267015"/>
                  <a:pt x="6430680" y="267209"/>
                </a:cubicBezTo>
                <a:cubicBezTo>
                  <a:pt x="6433010" y="267404"/>
                  <a:pt x="6433980" y="268568"/>
                  <a:pt x="6433980" y="270704"/>
                </a:cubicBezTo>
                <a:cubicBezTo>
                  <a:pt x="6433786" y="272839"/>
                  <a:pt x="6432233" y="273033"/>
                  <a:pt x="6430486" y="273033"/>
                </a:cubicBezTo>
                <a:cubicBezTo>
                  <a:pt x="6429515" y="273033"/>
                  <a:pt x="6428739" y="273033"/>
                  <a:pt x="6427962" y="273033"/>
                </a:cubicBezTo>
                <a:cubicBezTo>
                  <a:pt x="6427962" y="273422"/>
                  <a:pt x="6427768" y="273810"/>
                  <a:pt x="6427768" y="274198"/>
                </a:cubicBezTo>
                <a:cubicBezTo>
                  <a:pt x="6427768" y="292641"/>
                  <a:pt x="6427768" y="310889"/>
                  <a:pt x="6427768" y="329137"/>
                </a:cubicBezTo>
                <a:cubicBezTo>
                  <a:pt x="6428933" y="329331"/>
                  <a:pt x="6429904" y="329137"/>
                  <a:pt x="6430874" y="329331"/>
                </a:cubicBezTo>
                <a:cubicBezTo>
                  <a:pt x="6432622" y="329525"/>
                  <a:pt x="6433786" y="330690"/>
                  <a:pt x="6433786" y="332438"/>
                </a:cubicBezTo>
                <a:cubicBezTo>
                  <a:pt x="6433980" y="334379"/>
                  <a:pt x="6433010" y="335737"/>
                  <a:pt x="6430874" y="336126"/>
                </a:cubicBezTo>
                <a:cubicBezTo>
                  <a:pt x="6429710" y="336320"/>
                  <a:pt x="6428739" y="336320"/>
                  <a:pt x="6427768" y="336320"/>
                </a:cubicBezTo>
                <a:cubicBezTo>
                  <a:pt x="6427768" y="354763"/>
                  <a:pt x="6427768" y="373011"/>
                  <a:pt x="6427768" y="391259"/>
                </a:cubicBezTo>
                <a:cubicBezTo>
                  <a:pt x="6428933" y="391259"/>
                  <a:pt x="6429904" y="391259"/>
                  <a:pt x="6430874" y="391453"/>
                </a:cubicBezTo>
                <a:cubicBezTo>
                  <a:pt x="6433010" y="391647"/>
                  <a:pt x="6433786" y="393006"/>
                  <a:pt x="6433786" y="395142"/>
                </a:cubicBezTo>
                <a:cubicBezTo>
                  <a:pt x="6433786" y="396889"/>
                  <a:pt x="6432816" y="398054"/>
                  <a:pt x="6430874" y="398248"/>
                </a:cubicBezTo>
                <a:cubicBezTo>
                  <a:pt x="6429710" y="398248"/>
                  <a:pt x="6428739" y="398248"/>
                  <a:pt x="6427768" y="398248"/>
                </a:cubicBezTo>
                <a:cubicBezTo>
                  <a:pt x="6427768" y="417078"/>
                  <a:pt x="6427768" y="435715"/>
                  <a:pt x="6427768" y="454351"/>
                </a:cubicBezTo>
                <a:cubicBezTo>
                  <a:pt x="6428933" y="454545"/>
                  <a:pt x="6429904" y="454351"/>
                  <a:pt x="6430874" y="454545"/>
                </a:cubicBezTo>
                <a:cubicBezTo>
                  <a:pt x="6432622" y="454740"/>
                  <a:pt x="6433786" y="455904"/>
                  <a:pt x="6433786" y="457652"/>
                </a:cubicBezTo>
                <a:cubicBezTo>
                  <a:pt x="6433980" y="459593"/>
                  <a:pt x="6433010" y="460952"/>
                  <a:pt x="6430874" y="461340"/>
                </a:cubicBezTo>
                <a:cubicBezTo>
                  <a:pt x="6429710" y="461534"/>
                  <a:pt x="6428739" y="461534"/>
                  <a:pt x="6427768" y="461534"/>
                </a:cubicBezTo>
                <a:cubicBezTo>
                  <a:pt x="6427574" y="461534"/>
                  <a:pt x="6427574" y="461534"/>
                  <a:pt x="6427574" y="461534"/>
                </a:cubicBezTo>
                <a:cubicBezTo>
                  <a:pt x="6427574" y="461728"/>
                  <a:pt x="6427574" y="461728"/>
                  <a:pt x="6427574" y="461728"/>
                </a:cubicBezTo>
                <a:lnTo>
                  <a:pt x="6427768" y="461728"/>
                </a:lnTo>
                <a:cubicBezTo>
                  <a:pt x="6427768" y="480171"/>
                  <a:pt x="6427768" y="498419"/>
                  <a:pt x="6427768" y="516667"/>
                </a:cubicBezTo>
                <a:cubicBezTo>
                  <a:pt x="6428933" y="516861"/>
                  <a:pt x="6429904" y="516667"/>
                  <a:pt x="6430874" y="516861"/>
                </a:cubicBezTo>
                <a:cubicBezTo>
                  <a:pt x="6433010" y="517055"/>
                  <a:pt x="6433980" y="518608"/>
                  <a:pt x="6433786" y="520550"/>
                </a:cubicBezTo>
                <a:cubicBezTo>
                  <a:pt x="6433786" y="522297"/>
                  <a:pt x="6432816" y="523462"/>
                  <a:pt x="6430874" y="523656"/>
                </a:cubicBezTo>
                <a:cubicBezTo>
                  <a:pt x="6429710" y="523850"/>
                  <a:pt x="6428739" y="523850"/>
                  <a:pt x="6427768" y="523850"/>
                </a:cubicBezTo>
                <a:cubicBezTo>
                  <a:pt x="6427768" y="542681"/>
                  <a:pt x="6427768" y="561317"/>
                  <a:pt x="6427768" y="579954"/>
                </a:cubicBezTo>
                <a:cubicBezTo>
                  <a:pt x="6429127" y="579954"/>
                  <a:pt x="6430292" y="579954"/>
                  <a:pt x="6431457" y="580148"/>
                </a:cubicBezTo>
                <a:cubicBezTo>
                  <a:pt x="6433010" y="580536"/>
                  <a:pt x="6433786" y="581701"/>
                  <a:pt x="6433786" y="583254"/>
                </a:cubicBezTo>
                <a:cubicBezTo>
                  <a:pt x="6433786" y="585001"/>
                  <a:pt x="6433010" y="585778"/>
                  <a:pt x="6431263" y="585972"/>
                </a:cubicBezTo>
                <a:cubicBezTo>
                  <a:pt x="6430098" y="586166"/>
                  <a:pt x="6428933" y="586749"/>
                  <a:pt x="6427768" y="587137"/>
                </a:cubicBezTo>
                <a:cubicBezTo>
                  <a:pt x="6427768" y="605580"/>
                  <a:pt x="6427768" y="623828"/>
                  <a:pt x="6427768" y="642076"/>
                </a:cubicBezTo>
                <a:cubicBezTo>
                  <a:pt x="6428933" y="642270"/>
                  <a:pt x="6429904" y="642076"/>
                  <a:pt x="6430874" y="642270"/>
                </a:cubicBezTo>
                <a:cubicBezTo>
                  <a:pt x="6433010" y="642465"/>
                  <a:pt x="6433980" y="643823"/>
                  <a:pt x="6433786" y="645959"/>
                </a:cubicBezTo>
                <a:cubicBezTo>
                  <a:pt x="6433786" y="647706"/>
                  <a:pt x="6432816" y="648871"/>
                  <a:pt x="6430874" y="649065"/>
                </a:cubicBezTo>
                <a:cubicBezTo>
                  <a:pt x="6429710" y="649259"/>
                  <a:pt x="6428739" y="649259"/>
                  <a:pt x="6427768" y="649259"/>
                </a:cubicBezTo>
                <a:cubicBezTo>
                  <a:pt x="6427768" y="675272"/>
                  <a:pt x="6427768" y="701479"/>
                  <a:pt x="6427768" y="727687"/>
                </a:cubicBezTo>
                <a:cubicBezTo>
                  <a:pt x="6435339" y="727687"/>
                  <a:pt x="6443105" y="727881"/>
                  <a:pt x="6450870" y="727881"/>
                </a:cubicBezTo>
                <a:cubicBezTo>
                  <a:pt x="6473583" y="727881"/>
                  <a:pt x="6496490" y="727687"/>
                  <a:pt x="6519204" y="727687"/>
                </a:cubicBezTo>
                <a:cubicBezTo>
                  <a:pt x="6519204" y="714680"/>
                  <a:pt x="6519398" y="701479"/>
                  <a:pt x="6519398" y="688473"/>
                </a:cubicBezTo>
                <a:cubicBezTo>
                  <a:pt x="6519398" y="675466"/>
                  <a:pt x="6519398" y="662266"/>
                  <a:pt x="6519398" y="649259"/>
                </a:cubicBezTo>
                <a:cubicBezTo>
                  <a:pt x="6518427" y="649259"/>
                  <a:pt x="6517651" y="649259"/>
                  <a:pt x="6516874" y="649259"/>
                </a:cubicBezTo>
                <a:cubicBezTo>
                  <a:pt x="6514545" y="649259"/>
                  <a:pt x="6513186" y="647900"/>
                  <a:pt x="6513186" y="645570"/>
                </a:cubicBezTo>
                <a:cubicBezTo>
                  <a:pt x="6513186" y="643435"/>
                  <a:pt x="6514545" y="642465"/>
                  <a:pt x="6516680" y="642270"/>
                </a:cubicBezTo>
                <a:cubicBezTo>
                  <a:pt x="6517651" y="642270"/>
                  <a:pt x="6518427" y="642270"/>
                  <a:pt x="6519204" y="642270"/>
                </a:cubicBezTo>
                <a:cubicBezTo>
                  <a:pt x="6519204" y="623440"/>
                  <a:pt x="6519204" y="604803"/>
                  <a:pt x="6519204" y="586166"/>
                </a:cubicBezTo>
                <a:cubicBezTo>
                  <a:pt x="6518815" y="586166"/>
                  <a:pt x="6518427" y="586166"/>
                  <a:pt x="6518039" y="586166"/>
                </a:cubicBezTo>
                <a:cubicBezTo>
                  <a:pt x="6515904" y="586166"/>
                  <a:pt x="6513768" y="585972"/>
                  <a:pt x="6513574" y="583448"/>
                </a:cubicBezTo>
                <a:cubicBezTo>
                  <a:pt x="6513186" y="580342"/>
                  <a:pt x="6515709" y="580148"/>
                  <a:pt x="6518039" y="580148"/>
                </a:cubicBezTo>
                <a:cubicBezTo>
                  <a:pt x="6518427" y="580148"/>
                  <a:pt x="6518815" y="580148"/>
                  <a:pt x="6519204" y="580148"/>
                </a:cubicBezTo>
                <a:cubicBezTo>
                  <a:pt x="6519204" y="561317"/>
                  <a:pt x="6519204" y="542681"/>
                  <a:pt x="6519204" y="524044"/>
                </a:cubicBezTo>
                <a:cubicBezTo>
                  <a:pt x="6518039" y="523850"/>
                  <a:pt x="6517068" y="524044"/>
                  <a:pt x="6516098" y="523850"/>
                </a:cubicBezTo>
                <a:cubicBezTo>
                  <a:pt x="6514156" y="523462"/>
                  <a:pt x="6513186" y="522297"/>
                  <a:pt x="6513186" y="520550"/>
                </a:cubicBezTo>
                <a:cubicBezTo>
                  <a:pt x="6513186" y="518415"/>
                  <a:pt x="6514156" y="517250"/>
                  <a:pt x="6516292" y="516861"/>
                </a:cubicBezTo>
                <a:cubicBezTo>
                  <a:pt x="6517457" y="516667"/>
                  <a:pt x="6518427" y="516667"/>
                  <a:pt x="6519398" y="516667"/>
                </a:cubicBezTo>
                <a:cubicBezTo>
                  <a:pt x="6519398" y="498225"/>
                  <a:pt x="6519398" y="479977"/>
                  <a:pt x="6519398" y="461728"/>
                </a:cubicBezTo>
                <a:cubicBezTo>
                  <a:pt x="6519204" y="461728"/>
                  <a:pt x="6519010" y="461728"/>
                  <a:pt x="6518815" y="461728"/>
                </a:cubicBezTo>
                <a:cubicBezTo>
                  <a:pt x="6515904" y="461534"/>
                  <a:pt x="6513380" y="460369"/>
                  <a:pt x="6513574" y="457263"/>
                </a:cubicBezTo>
                <a:cubicBezTo>
                  <a:pt x="6513768" y="453963"/>
                  <a:pt x="6517068" y="454740"/>
                  <a:pt x="6519398" y="454545"/>
                </a:cubicBezTo>
                <a:cubicBezTo>
                  <a:pt x="6519398" y="435715"/>
                  <a:pt x="6519398" y="417078"/>
                  <a:pt x="6519398" y="398442"/>
                </a:cubicBezTo>
                <a:cubicBezTo>
                  <a:pt x="6517068" y="398442"/>
                  <a:pt x="6514156" y="399024"/>
                  <a:pt x="6513574" y="395724"/>
                </a:cubicBezTo>
                <a:cubicBezTo>
                  <a:pt x="6513186" y="393589"/>
                  <a:pt x="6515321" y="392036"/>
                  <a:pt x="6519592" y="391259"/>
                </a:cubicBezTo>
                <a:cubicBezTo>
                  <a:pt x="6519592" y="372817"/>
                  <a:pt x="6519592" y="354568"/>
                  <a:pt x="6519592" y="336320"/>
                </a:cubicBezTo>
                <a:cubicBezTo>
                  <a:pt x="6519010" y="336320"/>
                  <a:pt x="6518427" y="336320"/>
                  <a:pt x="6517845" y="336320"/>
                </a:cubicBezTo>
                <a:cubicBezTo>
                  <a:pt x="6515515" y="336320"/>
                  <a:pt x="6513574" y="335543"/>
                  <a:pt x="6513574" y="332826"/>
                </a:cubicBezTo>
                <a:cubicBezTo>
                  <a:pt x="6513574" y="330108"/>
                  <a:pt x="6515321" y="329331"/>
                  <a:pt x="6517845" y="329331"/>
                </a:cubicBezTo>
                <a:cubicBezTo>
                  <a:pt x="6518427" y="329331"/>
                  <a:pt x="6519010" y="329331"/>
                  <a:pt x="6519592" y="329331"/>
                </a:cubicBezTo>
                <a:cubicBezTo>
                  <a:pt x="6519592" y="311083"/>
                  <a:pt x="6519592" y="292835"/>
                  <a:pt x="6519592" y="274586"/>
                </a:cubicBezTo>
                <a:cubicBezTo>
                  <a:pt x="6518621" y="273227"/>
                  <a:pt x="6517068" y="273422"/>
                  <a:pt x="6515709" y="273033"/>
                </a:cubicBezTo>
                <a:cubicBezTo>
                  <a:pt x="6514156" y="272645"/>
                  <a:pt x="6513380" y="271480"/>
                  <a:pt x="6513574" y="269927"/>
                </a:cubicBezTo>
                <a:cubicBezTo>
                  <a:pt x="6513768" y="268374"/>
                  <a:pt x="6514933" y="267598"/>
                  <a:pt x="6516486" y="267404"/>
                </a:cubicBezTo>
                <a:cubicBezTo>
                  <a:pt x="6517651" y="267209"/>
                  <a:pt x="6519010" y="267209"/>
                  <a:pt x="6520174" y="267209"/>
                </a:cubicBezTo>
                <a:cubicBezTo>
                  <a:pt x="6544052" y="267209"/>
                  <a:pt x="6567930" y="267209"/>
                  <a:pt x="6591809" y="267209"/>
                </a:cubicBezTo>
                <a:cubicBezTo>
                  <a:pt x="6592779" y="267209"/>
                  <a:pt x="6593556" y="267209"/>
                  <a:pt x="6594332" y="267209"/>
                </a:cubicBezTo>
                <a:cubicBezTo>
                  <a:pt x="6595885" y="267209"/>
                  <a:pt x="6597632" y="267404"/>
                  <a:pt x="6598409" y="269733"/>
                </a:cubicBezTo>
                <a:cubicBezTo>
                  <a:pt x="6598603" y="271286"/>
                  <a:pt x="6598409" y="273033"/>
                  <a:pt x="6596274" y="273227"/>
                </a:cubicBezTo>
                <a:cubicBezTo>
                  <a:pt x="6593750" y="273616"/>
                  <a:pt x="6593556" y="275169"/>
                  <a:pt x="6593556" y="277110"/>
                </a:cubicBezTo>
                <a:cubicBezTo>
                  <a:pt x="6593556" y="293223"/>
                  <a:pt x="6593556" y="309336"/>
                  <a:pt x="6593556" y="325449"/>
                </a:cubicBezTo>
                <a:cubicBezTo>
                  <a:pt x="6593556" y="327390"/>
                  <a:pt x="6594138" y="328361"/>
                  <a:pt x="6596079" y="329525"/>
                </a:cubicBezTo>
                <a:cubicBezTo>
                  <a:pt x="6599574" y="331467"/>
                  <a:pt x="6599574" y="334185"/>
                  <a:pt x="6595885" y="336126"/>
                </a:cubicBezTo>
                <a:cubicBezTo>
                  <a:pt x="6593750" y="337291"/>
                  <a:pt x="6593556" y="338650"/>
                  <a:pt x="6593556" y="340397"/>
                </a:cubicBezTo>
                <a:cubicBezTo>
                  <a:pt x="6593556" y="355927"/>
                  <a:pt x="6593556" y="371458"/>
                  <a:pt x="6593556" y="386988"/>
                </a:cubicBezTo>
                <a:cubicBezTo>
                  <a:pt x="6593556" y="388929"/>
                  <a:pt x="6593750" y="390482"/>
                  <a:pt x="6596079" y="391647"/>
                </a:cubicBezTo>
                <a:cubicBezTo>
                  <a:pt x="6599768" y="393589"/>
                  <a:pt x="6599574" y="396501"/>
                  <a:pt x="6595691" y="398442"/>
                </a:cubicBezTo>
                <a:cubicBezTo>
                  <a:pt x="6593750" y="399412"/>
                  <a:pt x="6593556" y="400771"/>
                  <a:pt x="6593556" y="402324"/>
                </a:cubicBezTo>
                <a:cubicBezTo>
                  <a:pt x="6593556" y="407954"/>
                  <a:pt x="6593556" y="413390"/>
                  <a:pt x="6593556" y="419020"/>
                </a:cubicBezTo>
                <a:cubicBezTo>
                  <a:pt x="6593556" y="429309"/>
                  <a:pt x="6593556" y="439403"/>
                  <a:pt x="6593556" y="449498"/>
                </a:cubicBezTo>
                <a:cubicBezTo>
                  <a:pt x="6593556" y="451828"/>
                  <a:pt x="6593167" y="453963"/>
                  <a:pt x="6596662" y="454934"/>
                </a:cubicBezTo>
                <a:cubicBezTo>
                  <a:pt x="6599186" y="455516"/>
                  <a:pt x="6599380" y="459981"/>
                  <a:pt x="6596662" y="460952"/>
                </a:cubicBezTo>
                <a:cubicBezTo>
                  <a:pt x="6592779" y="462505"/>
                  <a:pt x="6593362" y="465029"/>
                  <a:pt x="6593362" y="467746"/>
                </a:cubicBezTo>
                <a:cubicBezTo>
                  <a:pt x="6593362" y="482112"/>
                  <a:pt x="6593362" y="496283"/>
                  <a:pt x="6593362" y="510649"/>
                </a:cubicBezTo>
                <a:cubicBezTo>
                  <a:pt x="6593362" y="513367"/>
                  <a:pt x="6592973" y="515891"/>
                  <a:pt x="6596662" y="517444"/>
                </a:cubicBezTo>
                <a:cubicBezTo>
                  <a:pt x="6599380" y="518415"/>
                  <a:pt x="6599186" y="522685"/>
                  <a:pt x="6596468" y="523462"/>
                </a:cubicBezTo>
                <a:cubicBezTo>
                  <a:pt x="6593362" y="524238"/>
                  <a:pt x="6593362" y="525986"/>
                  <a:pt x="6593362" y="528315"/>
                </a:cubicBezTo>
                <a:cubicBezTo>
                  <a:pt x="6593362" y="539381"/>
                  <a:pt x="6593362" y="550640"/>
                  <a:pt x="6593362" y="561706"/>
                </a:cubicBezTo>
                <a:cubicBezTo>
                  <a:pt x="6593362" y="566365"/>
                  <a:pt x="6593362" y="570830"/>
                  <a:pt x="6593362" y="575489"/>
                </a:cubicBezTo>
                <a:cubicBezTo>
                  <a:pt x="6593362" y="577430"/>
                  <a:pt x="6593362" y="578983"/>
                  <a:pt x="6596079" y="579954"/>
                </a:cubicBezTo>
                <a:cubicBezTo>
                  <a:pt x="6598991" y="581119"/>
                  <a:pt x="6599186" y="584613"/>
                  <a:pt x="6596274" y="585584"/>
                </a:cubicBezTo>
                <a:cubicBezTo>
                  <a:pt x="6593167" y="586360"/>
                  <a:pt x="6593167" y="588107"/>
                  <a:pt x="6593167" y="590437"/>
                </a:cubicBezTo>
                <a:cubicBezTo>
                  <a:pt x="6593167" y="600920"/>
                  <a:pt x="6593167" y="611209"/>
                  <a:pt x="6593167" y="621498"/>
                </a:cubicBezTo>
                <a:cubicBezTo>
                  <a:pt x="6593167" y="626934"/>
                  <a:pt x="6593167" y="632175"/>
                  <a:pt x="6593167" y="637611"/>
                </a:cubicBezTo>
                <a:cubicBezTo>
                  <a:pt x="6593167" y="639747"/>
                  <a:pt x="6593556" y="641105"/>
                  <a:pt x="6595885" y="642270"/>
                </a:cubicBezTo>
                <a:cubicBezTo>
                  <a:pt x="6598991" y="644018"/>
                  <a:pt x="6599186" y="647124"/>
                  <a:pt x="6595885" y="648676"/>
                </a:cubicBezTo>
                <a:cubicBezTo>
                  <a:pt x="6593167" y="650036"/>
                  <a:pt x="6593167" y="651783"/>
                  <a:pt x="6593167" y="653918"/>
                </a:cubicBezTo>
                <a:cubicBezTo>
                  <a:pt x="6593167" y="676631"/>
                  <a:pt x="6593167" y="699150"/>
                  <a:pt x="6593167" y="721863"/>
                </a:cubicBezTo>
                <a:cubicBezTo>
                  <a:pt x="6593167" y="726522"/>
                  <a:pt x="6593362" y="726716"/>
                  <a:pt x="6598021" y="726716"/>
                </a:cubicBezTo>
                <a:cubicBezTo>
                  <a:pt x="6631412" y="726716"/>
                  <a:pt x="6664996" y="726716"/>
                  <a:pt x="6698387" y="726716"/>
                </a:cubicBezTo>
                <a:cubicBezTo>
                  <a:pt x="6703434" y="726716"/>
                  <a:pt x="6703434" y="726522"/>
                  <a:pt x="6703434" y="720892"/>
                </a:cubicBezTo>
                <a:cubicBezTo>
                  <a:pt x="6703434" y="682649"/>
                  <a:pt x="6703434" y="644600"/>
                  <a:pt x="6703434" y="606356"/>
                </a:cubicBezTo>
                <a:cubicBezTo>
                  <a:pt x="6703434" y="583836"/>
                  <a:pt x="6703434" y="561511"/>
                  <a:pt x="6703434" y="538992"/>
                </a:cubicBezTo>
                <a:cubicBezTo>
                  <a:pt x="6703434" y="536663"/>
                  <a:pt x="6702658" y="534139"/>
                  <a:pt x="6704405" y="532004"/>
                </a:cubicBezTo>
                <a:cubicBezTo>
                  <a:pt x="6704599" y="534721"/>
                  <a:pt x="6704599" y="537633"/>
                  <a:pt x="6704599" y="540351"/>
                </a:cubicBezTo>
                <a:cubicBezTo>
                  <a:pt x="6704599" y="599949"/>
                  <a:pt x="6704599" y="659548"/>
                  <a:pt x="6704599" y="719145"/>
                </a:cubicBezTo>
                <a:cubicBezTo>
                  <a:pt x="6704599" y="721863"/>
                  <a:pt x="6704405" y="724775"/>
                  <a:pt x="6704405" y="727493"/>
                </a:cubicBezTo>
                <a:cubicBezTo>
                  <a:pt x="6704599" y="727493"/>
                  <a:pt x="6704987" y="727493"/>
                  <a:pt x="6705181" y="727493"/>
                </a:cubicBezTo>
                <a:cubicBezTo>
                  <a:pt x="6705181" y="727493"/>
                  <a:pt x="6704987" y="727299"/>
                  <a:pt x="6704987" y="727299"/>
                </a:cubicBezTo>
                <a:cubicBezTo>
                  <a:pt x="6704987" y="663430"/>
                  <a:pt x="6704987" y="599367"/>
                  <a:pt x="6704987" y="535498"/>
                </a:cubicBezTo>
                <a:cubicBezTo>
                  <a:pt x="6704987" y="534333"/>
                  <a:pt x="6704793" y="533169"/>
                  <a:pt x="6705375" y="532004"/>
                </a:cubicBezTo>
                <a:cubicBezTo>
                  <a:pt x="6708482" y="504049"/>
                  <a:pt x="6734301" y="488518"/>
                  <a:pt x="6753132" y="490460"/>
                </a:cubicBezTo>
                <a:cubicBezTo>
                  <a:pt x="6777592" y="488907"/>
                  <a:pt x="6800111" y="511814"/>
                  <a:pt x="6799917" y="535304"/>
                </a:cubicBezTo>
                <a:cubicBezTo>
                  <a:pt x="6799723" y="583836"/>
                  <a:pt x="6799917" y="632564"/>
                  <a:pt x="6799917" y="681290"/>
                </a:cubicBezTo>
                <a:cubicBezTo>
                  <a:pt x="6799917" y="726522"/>
                  <a:pt x="6799917" y="771949"/>
                  <a:pt x="6799917" y="817181"/>
                </a:cubicBezTo>
                <a:cubicBezTo>
                  <a:pt x="6799917" y="819511"/>
                  <a:pt x="6798558" y="822423"/>
                  <a:pt x="6801858" y="823976"/>
                </a:cubicBezTo>
                <a:cubicBezTo>
                  <a:pt x="6804964" y="815046"/>
                  <a:pt x="6809429" y="806892"/>
                  <a:pt x="6814283" y="798933"/>
                </a:cubicBezTo>
                <a:cubicBezTo>
                  <a:pt x="6816612" y="795244"/>
                  <a:pt x="6817389" y="791750"/>
                  <a:pt x="6817389" y="787673"/>
                </a:cubicBezTo>
                <a:cubicBezTo>
                  <a:pt x="6817389" y="720698"/>
                  <a:pt x="6817389" y="653724"/>
                  <a:pt x="6817389" y="586749"/>
                </a:cubicBezTo>
                <a:cubicBezTo>
                  <a:pt x="6817389" y="570247"/>
                  <a:pt x="6817777" y="553746"/>
                  <a:pt x="6817389" y="537245"/>
                </a:cubicBezTo>
                <a:cubicBezTo>
                  <a:pt x="6816806" y="517055"/>
                  <a:pt x="6831366" y="495313"/>
                  <a:pt x="6856991" y="490460"/>
                </a:cubicBezTo>
                <a:cubicBezTo>
                  <a:pt x="6859709" y="489877"/>
                  <a:pt x="6862621" y="489877"/>
                  <a:pt x="6865339" y="490265"/>
                </a:cubicBezTo>
                <a:cubicBezTo>
                  <a:pt x="6890770" y="489101"/>
                  <a:pt x="6912125" y="512202"/>
                  <a:pt x="6912125" y="535110"/>
                </a:cubicBezTo>
                <a:cubicBezTo>
                  <a:pt x="6911930" y="594708"/>
                  <a:pt x="6912125" y="654306"/>
                  <a:pt x="6912125" y="713904"/>
                </a:cubicBezTo>
                <a:cubicBezTo>
                  <a:pt x="6912125" y="715845"/>
                  <a:pt x="6912125" y="717592"/>
                  <a:pt x="6912125" y="719339"/>
                </a:cubicBezTo>
                <a:cubicBezTo>
                  <a:pt x="6912125" y="721475"/>
                  <a:pt x="6913872" y="721669"/>
                  <a:pt x="6915425" y="721669"/>
                </a:cubicBezTo>
                <a:cubicBezTo>
                  <a:pt x="6936780" y="715068"/>
                  <a:pt x="6958910" y="713321"/>
                  <a:pt x="6980847" y="716039"/>
                </a:cubicBezTo>
                <a:cubicBezTo>
                  <a:pt x="7045687" y="724193"/>
                  <a:pt x="7092666" y="757971"/>
                  <a:pt x="7121398" y="816793"/>
                </a:cubicBezTo>
                <a:cubicBezTo>
                  <a:pt x="7125086" y="824558"/>
                  <a:pt x="7128386" y="832517"/>
                  <a:pt x="7130134" y="840865"/>
                </a:cubicBezTo>
                <a:cubicBezTo>
                  <a:pt x="7131298" y="841447"/>
                  <a:pt x="7132269" y="842030"/>
                  <a:pt x="7133434" y="842224"/>
                </a:cubicBezTo>
                <a:cubicBezTo>
                  <a:pt x="7140423" y="843777"/>
                  <a:pt x="7143140" y="846883"/>
                  <a:pt x="7143140" y="854066"/>
                </a:cubicBezTo>
                <a:lnTo>
                  <a:pt x="7143162" y="858635"/>
                </a:lnTo>
                <a:lnTo>
                  <a:pt x="7363499" y="801441"/>
                </a:lnTo>
                <a:cubicBezTo>
                  <a:pt x="7365074" y="800811"/>
                  <a:pt x="7366334" y="800181"/>
                  <a:pt x="7367909" y="799551"/>
                </a:cubicBezTo>
                <a:cubicBezTo>
                  <a:pt x="7367909" y="797346"/>
                  <a:pt x="7367909" y="795141"/>
                  <a:pt x="7367909" y="792936"/>
                </a:cubicBezTo>
                <a:cubicBezTo>
                  <a:pt x="7368224" y="788211"/>
                  <a:pt x="7367594" y="785061"/>
                  <a:pt x="7362239" y="782541"/>
                </a:cubicBezTo>
                <a:cubicBezTo>
                  <a:pt x="7355625" y="779392"/>
                  <a:pt x="7355625" y="775296"/>
                  <a:pt x="7360349" y="769312"/>
                </a:cubicBezTo>
                <a:cubicBezTo>
                  <a:pt x="7362239" y="767107"/>
                  <a:pt x="7364129" y="766792"/>
                  <a:pt x="7365389" y="769627"/>
                </a:cubicBezTo>
                <a:cubicBezTo>
                  <a:pt x="7366334" y="772462"/>
                  <a:pt x="7366649" y="772777"/>
                  <a:pt x="7368854" y="770257"/>
                </a:cubicBezTo>
                <a:cubicBezTo>
                  <a:pt x="7372319" y="766162"/>
                  <a:pt x="7372634" y="766477"/>
                  <a:pt x="7374839" y="772777"/>
                </a:cubicBezTo>
                <a:cubicBezTo>
                  <a:pt x="7377044" y="772462"/>
                  <a:pt x="7376729" y="769942"/>
                  <a:pt x="7378304" y="768682"/>
                </a:cubicBezTo>
                <a:cubicBezTo>
                  <a:pt x="7379564" y="768052"/>
                  <a:pt x="7381139" y="767107"/>
                  <a:pt x="7381769" y="768367"/>
                </a:cubicBezTo>
                <a:cubicBezTo>
                  <a:pt x="7383659" y="772462"/>
                  <a:pt x="7384289" y="771517"/>
                  <a:pt x="7387439" y="768682"/>
                </a:cubicBezTo>
                <a:cubicBezTo>
                  <a:pt x="7391534" y="764902"/>
                  <a:pt x="7391219" y="770257"/>
                  <a:pt x="7392164" y="772462"/>
                </a:cubicBezTo>
                <a:cubicBezTo>
                  <a:pt x="7395314" y="772147"/>
                  <a:pt x="7396259" y="763327"/>
                  <a:pt x="7401299" y="770257"/>
                </a:cubicBezTo>
                <a:cubicBezTo>
                  <a:pt x="7402244" y="771832"/>
                  <a:pt x="7402874" y="769627"/>
                  <a:pt x="7403819" y="768997"/>
                </a:cubicBezTo>
                <a:cubicBezTo>
                  <a:pt x="7408858" y="764587"/>
                  <a:pt x="7408544" y="769312"/>
                  <a:pt x="7409488" y="772462"/>
                </a:cubicBezTo>
                <a:cubicBezTo>
                  <a:pt x="7412008" y="771517"/>
                  <a:pt x="7412638" y="767737"/>
                  <a:pt x="7416103" y="767737"/>
                </a:cubicBezTo>
                <a:cubicBezTo>
                  <a:pt x="7416733" y="768367"/>
                  <a:pt x="7417678" y="768997"/>
                  <a:pt x="7417993" y="769627"/>
                </a:cubicBezTo>
                <a:cubicBezTo>
                  <a:pt x="7423978" y="780336"/>
                  <a:pt x="7422403" y="778762"/>
                  <a:pt x="7413268" y="784116"/>
                </a:cubicBezTo>
                <a:cubicBezTo>
                  <a:pt x="7410434" y="785691"/>
                  <a:pt x="7411694" y="786636"/>
                  <a:pt x="7413268" y="788211"/>
                </a:cubicBezTo>
                <a:cubicBezTo>
                  <a:pt x="7442563" y="780966"/>
                  <a:pt x="7471857" y="773406"/>
                  <a:pt x="7501152" y="765847"/>
                </a:cubicBezTo>
                <a:cubicBezTo>
                  <a:pt x="7550291" y="753247"/>
                  <a:pt x="7599745" y="740332"/>
                  <a:pt x="7648884" y="727417"/>
                </a:cubicBezTo>
                <a:cubicBezTo>
                  <a:pt x="7653609" y="726157"/>
                  <a:pt x="7657703" y="726157"/>
                  <a:pt x="7662113" y="727417"/>
                </a:cubicBezTo>
                <a:cubicBezTo>
                  <a:pt x="7670303" y="729307"/>
                  <a:pt x="7678493" y="732457"/>
                  <a:pt x="7687313" y="733402"/>
                </a:cubicBezTo>
                <a:cubicBezTo>
                  <a:pt x="7687313" y="667255"/>
                  <a:pt x="7687313" y="601421"/>
                  <a:pt x="7687313" y="535272"/>
                </a:cubicBezTo>
                <a:cubicBezTo>
                  <a:pt x="7687313" y="494323"/>
                  <a:pt x="7687313" y="453059"/>
                  <a:pt x="7687313" y="411795"/>
                </a:cubicBezTo>
                <a:cubicBezTo>
                  <a:pt x="7687313" y="402660"/>
                  <a:pt x="7687313" y="402660"/>
                  <a:pt x="7696133" y="402660"/>
                </a:cubicBezTo>
                <a:cubicBezTo>
                  <a:pt x="7700858" y="402660"/>
                  <a:pt x="7705898" y="402975"/>
                  <a:pt x="7710622" y="402975"/>
                </a:cubicBezTo>
                <a:cubicBezTo>
                  <a:pt x="7715977" y="402975"/>
                  <a:pt x="7721647" y="402660"/>
                  <a:pt x="7727002" y="402660"/>
                </a:cubicBezTo>
                <a:cubicBezTo>
                  <a:pt x="7730467" y="402660"/>
                  <a:pt x="7732042" y="404550"/>
                  <a:pt x="7732042" y="408015"/>
                </a:cubicBezTo>
                <a:cubicBezTo>
                  <a:pt x="7732042" y="409275"/>
                  <a:pt x="7732042" y="410535"/>
                  <a:pt x="7732042" y="411795"/>
                </a:cubicBezTo>
                <a:cubicBezTo>
                  <a:pt x="7732042" y="522673"/>
                  <a:pt x="7732042" y="633865"/>
                  <a:pt x="7732042" y="745057"/>
                </a:cubicBezTo>
                <a:cubicBezTo>
                  <a:pt x="7744012" y="749467"/>
                  <a:pt x="7756926" y="751987"/>
                  <a:pt x="7769211" y="755137"/>
                </a:cubicBezTo>
                <a:cubicBezTo>
                  <a:pt x="7773936" y="756397"/>
                  <a:pt x="7778346" y="760177"/>
                  <a:pt x="7783701" y="758602"/>
                </a:cubicBezTo>
                <a:cubicBezTo>
                  <a:pt x="7783701" y="644260"/>
                  <a:pt x="7783701" y="529917"/>
                  <a:pt x="7783701" y="415575"/>
                </a:cubicBezTo>
                <a:cubicBezTo>
                  <a:pt x="7783701" y="401085"/>
                  <a:pt x="7782126" y="402660"/>
                  <a:pt x="7796616" y="402660"/>
                </a:cubicBezTo>
                <a:cubicBezTo>
                  <a:pt x="7800396" y="402660"/>
                  <a:pt x="7803860" y="402975"/>
                  <a:pt x="7807325" y="402975"/>
                </a:cubicBezTo>
                <a:cubicBezTo>
                  <a:pt x="7812365" y="402975"/>
                  <a:pt x="7817720" y="402975"/>
                  <a:pt x="7822760" y="402660"/>
                </a:cubicBezTo>
                <a:cubicBezTo>
                  <a:pt x="7827485" y="402345"/>
                  <a:pt x="7829060" y="404550"/>
                  <a:pt x="7828745" y="408960"/>
                </a:cubicBezTo>
                <a:cubicBezTo>
                  <a:pt x="7828745" y="411795"/>
                  <a:pt x="7828745" y="414315"/>
                  <a:pt x="7828745" y="416835"/>
                </a:cubicBezTo>
                <a:cubicBezTo>
                  <a:pt x="7828745" y="534642"/>
                  <a:pt x="7828745" y="652765"/>
                  <a:pt x="7828745" y="770572"/>
                </a:cubicBezTo>
                <a:cubicBezTo>
                  <a:pt x="7841660" y="774036"/>
                  <a:pt x="7854260" y="777186"/>
                  <a:pt x="7867174" y="780652"/>
                </a:cubicBezTo>
                <a:cubicBezTo>
                  <a:pt x="7869064" y="780022"/>
                  <a:pt x="7870954" y="779706"/>
                  <a:pt x="7870954" y="777186"/>
                </a:cubicBezTo>
                <a:cubicBezTo>
                  <a:pt x="7870954" y="774036"/>
                  <a:pt x="7870954" y="771202"/>
                  <a:pt x="7870954" y="768367"/>
                </a:cubicBezTo>
                <a:cubicBezTo>
                  <a:pt x="7870954" y="696548"/>
                  <a:pt x="7870954" y="625046"/>
                  <a:pt x="7870954" y="553542"/>
                </a:cubicBezTo>
                <a:cubicBezTo>
                  <a:pt x="7870954" y="549762"/>
                  <a:pt x="7871269" y="545667"/>
                  <a:pt x="7871269" y="541887"/>
                </a:cubicBezTo>
                <a:cubicBezTo>
                  <a:pt x="7870954" y="534327"/>
                  <a:pt x="7870639" y="526452"/>
                  <a:pt x="7870639" y="518892"/>
                </a:cubicBezTo>
                <a:cubicBezTo>
                  <a:pt x="7870639" y="511018"/>
                  <a:pt x="7870954" y="511018"/>
                  <a:pt x="7878514" y="511018"/>
                </a:cubicBezTo>
                <a:cubicBezTo>
                  <a:pt x="7895524" y="511018"/>
                  <a:pt x="7912533" y="511018"/>
                  <a:pt x="7929543" y="511018"/>
                </a:cubicBezTo>
                <a:cubicBezTo>
                  <a:pt x="7942458" y="511018"/>
                  <a:pt x="7955058" y="511018"/>
                  <a:pt x="7967972" y="511018"/>
                </a:cubicBezTo>
                <a:cubicBezTo>
                  <a:pt x="7970807" y="511018"/>
                  <a:pt x="7974272" y="511963"/>
                  <a:pt x="7977107" y="509758"/>
                </a:cubicBezTo>
                <a:cubicBezTo>
                  <a:pt x="7976792" y="500308"/>
                  <a:pt x="7976792" y="490543"/>
                  <a:pt x="7976792" y="481093"/>
                </a:cubicBezTo>
                <a:cubicBezTo>
                  <a:pt x="7976792" y="479203"/>
                  <a:pt x="7976477" y="476683"/>
                  <a:pt x="7979627" y="476368"/>
                </a:cubicBezTo>
                <a:cubicBezTo>
                  <a:pt x="7983722" y="476054"/>
                  <a:pt x="7983407" y="478888"/>
                  <a:pt x="7983407" y="481409"/>
                </a:cubicBezTo>
                <a:cubicBezTo>
                  <a:pt x="7983722" y="491173"/>
                  <a:pt x="7983722" y="501253"/>
                  <a:pt x="7983722" y="511018"/>
                </a:cubicBezTo>
                <a:cubicBezTo>
                  <a:pt x="7986242" y="511018"/>
                  <a:pt x="7988447" y="511018"/>
                  <a:pt x="7990967" y="511018"/>
                </a:cubicBezTo>
                <a:cubicBezTo>
                  <a:pt x="7990967" y="502828"/>
                  <a:pt x="7991282" y="494323"/>
                  <a:pt x="7991282" y="486133"/>
                </a:cubicBezTo>
                <a:cubicBezTo>
                  <a:pt x="7991282" y="484243"/>
                  <a:pt x="7991282" y="482353"/>
                  <a:pt x="7991282" y="480463"/>
                </a:cubicBezTo>
                <a:cubicBezTo>
                  <a:pt x="7991282" y="477944"/>
                  <a:pt x="7992227" y="476054"/>
                  <a:pt x="7995062" y="476054"/>
                </a:cubicBezTo>
                <a:cubicBezTo>
                  <a:pt x="7998212" y="475739"/>
                  <a:pt x="7998842" y="477629"/>
                  <a:pt x="7998842" y="480149"/>
                </a:cubicBezTo>
                <a:cubicBezTo>
                  <a:pt x="7998842" y="488023"/>
                  <a:pt x="7998842" y="496213"/>
                  <a:pt x="7998842" y="504088"/>
                </a:cubicBezTo>
                <a:cubicBezTo>
                  <a:pt x="7998842" y="506293"/>
                  <a:pt x="7999157" y="508498"/>
                  <a:pt x="7999157" y="510703"/>
                </a:cubicBezTo>
                <a:cubicBezTo>
                  <a:pt x="8001676" y="510703"/>
                  <a:pt x="8003881" y="510703"/>
                  <a:pt x="8006401" y="510703"/>
                </a:cubicBezTo>
                <a:cubicBezTo>
                  <a:pt x="8006401" y="502513"/>
                  <a:pt x="8006716" y="494008"/>
                  <a:pt x="8006716" y="485818"/>
                </a:cubicBezTo>
                <a:cubicBezTo>
                  <a:pt x="8006716" y="483929"/>
                  <a:pt x="8006716" y="482039"/>
                  <a:pt x="8006716" y="480149"/>
                </a:cubicBezTo>
                <a:cubicBezTo>
                  <a:pt x="8006716" y="477313"/>
                  <a:pt x="8007661" y="475739"/>
                  <a:pt x="8010497" y="475739"/>
                </a:cubicBezTo>
                <a:cubicBezTo>
                  <a:pt x="8013646" y="475424"/>
                  <a:pt x="8014276" y="477313"/>
                  <a:pt x="8014276" y="479833"/>
                </a:cubicBezTo>
                <a:cubicBezTo>
                  <a:pt x="8014276" y="487709"/>
                  <a:pt x="8014276" y="495898"/>
                  <a:pt x="8014276" y="503773"/>
                </a:cubicBezTo>
                <a:cubicBezTo>
                  <a:pt x="8014276" y="505978"/>
                  <a:pt x="8014591" y="508183"/>
                  <a:pt x="8014591" y="510388"/>
                </a:cubicBezTo>
                <a:cubicBezTo>
                  <a:pt x="8044515" y="510388"/>
                  <a:pt x="8074755" y="510388"/>
                  <a:pt x="8104995" y="510388"/>
                </a:cubicBezTo>
                <a:cubicBezTo>
                  <a:pt x="8104679" y="504718"/>
                  <a:pt x="8107514" y="503143"/>
                  <a:pt x="8113184" y="503143"/>
                </a:cubicBezTo>
                <a:cubicBezTo>
                  <a:pt x="8138384" y="503458"/>
                  <a:pt x="8163898" y="503773"/>
                  <a:pt x="8189098" y="503143"/>
                </a:cubicBezTo>
                <a:cubicBezTo>
                  <a:pt x="8195398" y="502828"/>
                  <a:pt x="8198548" y="505033"/>
                  <a:pt x="8199807" y="510703"/>
                </a:cubicBezTo>
                <a:cubicBezTo>
                  <a:pt x="8213982" y="510703"/>
                  <a:pt x="8213982" y="510703"/>
                  <a:pt x="8213037" y="525192"/>
                </a:cubicBezTo>
                <a:cubicBezTo>
                  <a:pt x="8213037" y="530862"/>
                  <a:pt x="8213037" y="536532"/>
                  <a:pt x="8212722" y="542202"/>
                </a:cubicBezTo>
                <a:cubicBezTo>
                  <a:pt x="8212722" y="545982"/>
                  <a:pt x="8213037" y="549447"/>
                  <a:pt x="8213037" y="552912"/>
                </a:cubicBezTo>
                <a:lnTo>
                  <a:pt x="8213037" y="899839"/>
                </a:lnTo>
                <a:lnTo>
                  <a:pt x="8222585" y="899839"/>
                </a:lnTo>
                <a:lnTo>
                  <a:pt x="8222588" y="899188"/>
                </a:lnTo>
                <a:lnTo>
                  <a:pt x="8361723" y="819757"/>
                </a:lnTo>
                <a:lnTo>
                  <a:pt x="8400660" y="891401"/>
                </a:lnTo>
                <a:lnTo>
                  <a:pt x="8528374" y="819237"/>
                </a:lnTo>
                <a:lnTo>
                  <a:pt x="8564716" y="886728"/>
                </a:lnTo>
                <a:cubicBezTo>
                  <a:pt x="8564716" y="832735"/>
                  <a:pt x="8565754" y="778742"/>
                  <a:pt x="8566273" y="724750"/>
                </a:cubicBezTo>
                <a:cubicBezTo>
                  <a:pt x="8566273" y="702426"/>
                  <a:pt x="8567831" y="700868"/>
                  <a:pt x="8590674" y="700868"/>
                </a:cubicBezTo>
                <a:cubicBezTo>
                  <a:pt x="8620266" y="700868"/>
                  <a:pt x="8617151" y="704503"/>
                  <a:pt x="8617151" y="674910"/>
                </a:cubicBezTo>
                <a:cubicBezTo>
                  <a:pt x="8617151" y="658297"/>
                  <a:pt x="8617151" y="641165"/>
                  <a:pt x="8617151" y="624552"/>
                </a:cubicBezTo>
                <a:cubicBezTo>
                  <a:pt x="8617670" y="600671"/>
                  <a:pt x="8628053" y="582500"/>
                  <a:pt x="8649858" y="572636"/>
                </a:cubicBezTo>
                <a:cubicBezTo>
                  <a:pt x="8659722" y="568483"/>
                  <a:pt x="8663356" y="562771"/>
                  <a:pt x="8662318" y="552388"/>
                </a:cubicBezTo>
                <a:cubicBezTo>
                  <a:pt x="8661280" y="543043"/>
                  <a:pt x="8661799" y="533698"/>
                  <a:pt x="8661799" y="524353"/>
                </a:cubicBezTo>
                <a:cubicBezTo>
                  <a:pt x="8661280" y="514490"/>
                  <a:pt x="8665952" y="509298"/>
                  <a:pt x="8675816" y="509298"/>
                </a:cubicBezTo>
                <a:cubicBezTo>
                  <a:pt x="8715273" y="509298"/>
                  <a:pt x="8754729" y="509298"/>
                  <a:pt x="8794185" y="509298"/>
                </a:cubicBezTo>
                <a:cubicBezTo>
                  <a:pt x="8806645" y="509298"/>
                  <a:pt x="8810279" y="516566"/>
                  <a:pt x="8810279" y="527469"/>
                </a:cubicBezTo>
                <a:cubicBezTo>
                  <a:pt x="8809760" y="563810"/>
                  <a:pt x="8809760" y="600151"/>
                  <a:pt x="8810279" y="636493"/>
                </a:cubicBezTo>
                <a:cubicBezTo>
                  <a:pt x="8810279" y="649991"/>
                  <a:pt x="8811317" y="664008"/>
                  <a:pt x="8811837" y="677506"/>
                </a:cubicBezTo>
                <a:cubicBezTo>
                  <a:pt x="8811837" y="681659"/>
                  <a:pt x="8811837" y="686851"/>
                  <a:pt x="8817547" y="686332"/>
                </a:cubicBezTo>
                <a:cubicBezTo>
                  <a:pt x="8822739" y="685813"/>
                  <a:pt x="8822220" y="681659"/>
                  <a:pt x="8822220" y="678025"/>
                </a:cubicBezTo>
                <a:cubicBezTo>
                  <a:pt x="8822220" y="669200"/>
                  <a:pt x="8822739" y="660893"/>
                  <a:pt x="8822220" y="652587"/>
                </a:cubicBezTo>
                <a:cubicBezTo>
                  <a:pt x="8821701" y="641684"/>
                  <a:pt x="8826373" y="635454"/>
                  <a:pt x="8837795" y="637012"/>
                </a:cubicBezTo>
                <a:cubicBezTo>
                  <a:pt x="8849216" y="638569"/>
                  <a:pt x="8854408" y="634935"/>
                  <a:pt x="8854408" y="621956"/>
                </a:cubicBezTo>
                <a:cubicBezTo>
                  <a:pt x="8854408" y="603786"/>
                  <a:pt x="8863234" y="589249"/>
                  <a:pt x="8877770" y="577828"/>
                </a:cubicBezTo>
                <a:cubicBezTo>
                  <a:pt x="8884000" y="572636"/>
                  <a:pt x="8891268" y="569521"/>
                  <a:pt x="8895941" y="561214"/>
                </a:cubicBezTo>
                <a:cubicBezTo>
                  <a:pt x="8900613" y="552908"/>
                  <a:pt x="8927610" y="556023"/>
                  <a:pt x="8932282" y="564848"/>
                </a:cubicBezTo>
                <a:cubicBezTo>
                  <a:pt x="8934359" y="568483"/>
                  <a:pt x="8936955" y="570559"/>
                  <a:pt x="8940589" y="572636"/>
                </a:cubicBezTo>
                <a:cubicBezTo>
                  <a:pt x="8962394" y="585096"/>
                  <a:pt x="8972258" y="604305"/>
                  <a:pt x="8972258" y="628706"/>
                </a:cubicBezTo>
                <a:cubicBezTo>
                  <a:pt x="8972258" y="659855"/>
                  <a:pt x="8972258" y="691523"/>
                  <a:pt x="8972258" y="722673"/>
                </a:cubicBezTo>
                <a:lnTo>
                  <a:pt x="9035595" y="719558"/>
                </a:lnTo>
                <a:lnTo>
                  <a:pt x="9068822" y="146923"/>
                </a:lnTo>
                <a:lnTo>
                  <a:pt x="9146177" y="146923"/>
                </a:lnTo>
                <a:lnTo>
                  <a:pt x="9180961" y="716962"/>
                </a:lnTo>
                <a:lnTo>
                  <a:pt x="9225090" y="715405"/>
                </a:lnTo>
                <a:close/>
              </a:path>
            </a:pathLst>
          </a:custGeom>
          <a:solidFill>
            <a:schemeClr val="lt1">
              <a:alpha val="9803"/>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18" name="Google Shape;118;p15"/>
          <p:cNvGrpSpPr/>
          <p:nvPr/>
        </p:nvGrpSpPr>
        <p:grpSpPr>
          <a:xfrm>
            <a:off x="77391" y="2097808"/>
            <a:ext cx="11895401" cy="4751287"/>
            <a:chOff x="77391" y="2097808"/>
            <a:chExt cx="11895401" cy="4751287"/>
          </a:xfrm>
        </p:grpSpPr>
        <p:grpSp>
          <p:nvGrpSpPr>
            <p:cNvPr id="119" name="Google Shape;119;p15"/>
            <p:cNvGrpSpPr/>
            <p:nvPr/>
          </p:nvGrpSpPr>
          <p:grpSpPr>
            <a:xfrm rot="-9233215">
              <a:off x="10129411" y="5122363"/>
              <a:ext cx="1606966" cy="1446929"/>
              <a:chOff x="6486650" y="2648852"/>
              <a:chExt cx="2745260" cy="2471860"/>
            </a:xfrm>
          </p:grpSpPr>
          <p:sp>
            <p:nvSpPr>
              <p:cNvPr id="120" name="Google Shape;120;p15"/>
              <p:cNvSpPr/>
              <p:nvPr/>
            </p:nvSpPr>
            <p:spPr>
              <a:xfrm>
                <a:off x="6486650" y="3806165"/>
                <a:ext cx="1318090" cy="1314547"/>
              </a:xfrm>
              <a:custGeom>
                <a:avLst/>
                <a:gdLst/>
                <a:ahLst/>
                <a:cxnLst/>
                <a:rect l="l" t="t" r="r" b="b"/>
                <a:pathLst>
                  <a:path w="1919435" h="1914275" extrusionOk="0">
                    <a:moveTo>
                      <a:pt x="0" y="987194"/>
                    </a:moveTo>
                    <a:cubicBezTo>
                      <a:pt x="8256" y="971714"/>
                      <a:pt x="21155" y="963975"/>
                      <a:pt x="37667" y="959846"/>
                    </a:cubicBezTo>
                    <a:cubicBezTo>
                      <a:pt x="82041" y="947979"/>
                      <a:pt x="125383" y="934564"/>
                      <a:pt x="169757" y="922696"/>
                    </a:cubicBezTo>
                    <a:cubicBezTo>
                      <a:pt x="196587" y="915473"/>
                      <a:pt x="212583" y="900509"/>
                      <a:pt x="215163" y="872130"/>
                    </a:cubicBezTo>
                    <a:cubicBezTo>
                      <a:pt x="215679" y="864907"/>
                      <a:pt x="216710" y="857683"/>
                      <a:pt x="217743" y="850459"/>
                    </a:cubicBezTo>
                    <a:cubicBezTo>
                      <a:pt x="220323" y="826209"/>
                      <a:pt x="209487" y="809697"/>
                      <a:pt x="189364" y="797830"/>
                    </a:cubicBezTo>
                    <a:cubicBezTo>
                      <a:pt x="149118" y="774611"/>
                      <a:pt x="109388" y="750876"/>
                      <a:pt x="69657" y="727657"/>
                    </a:cubicBezTo>
                    <a:cubicBezTo>
                      <a:pt x="40246" y="710629"/>
                      <a:pt x="35087" y="697730"/>
                      <a:pt x="43858" y="664708"/>
                    </a:cubicBezTo>
                    <a:cubicBezTo>
                      <a:pt x="44890" y="661612"/>
                      <a:pt x="45406" y="658516"/>
                      <a:pt x="46438" y="655936"/>
                    </a:cubicBezTo>
                    <a:cubicBezTo>
                      <a:pt x="59337" y="613110"/>
                      <a:pt x="70689" y="604854"/>
                      <a:pt x="114547" y="608982"/>
                    </a:cubicBezTo>
                    <a:cubicBezTo>
                      <a:pt x="156857" y="613110"/>
                      <a:pt x="199167" y="617754"/>
                      <a:pt x="241478" y="623429"/>
                    </a:cubicBezTo>
                    <a:cubicBezTo>
                      <a:pt x="275016" y="627557"/>
                      <a:pt x="289463" y="621881"/>
                      <a:pt x="306491" y="593503"/>
                    </a:cubicBezTo>
                    <a:cubicBezTo>
                      <a:pt x="330741" y="554288"/>
                      <a:pt x="329710" y="541905"/>
                      <a:pt x="301331" y="505271"/>
                    </a:cubicBezTo>
                    <a:cubicBezTo>
                      <a:pt x="274500" y="470700"/>
                      <a:pt x="248185" y="435614"/>
                      <a:pt x="222386" y="400527"/>
                    </a:cubicBezTo>
                    <a:cubicBezTo>
                      <a:pt x="206907" y="379888"/>
                      <a:pt x="206907" y="362861"/>
                      <a:pt x="222386" y="342222"/>
                    </a:cubicBezTo>
                    <a:cubicBezTo>
                      <a:pt x="230126" y="331902"/>
                      <a:pt x="238382" y="321583"/>
                      <a:pt x="248185" y="313327"/>
                    </a:cubicBezTo>
                    <a:cubicBezTo>
                      <a:pt x="267792" y="296816"/>
                      <a:pt x="281208" y="294752"/>
                      <a:pt x="303395" y="307135"/>
                    </a:cubicBezTo>
                    <a:cubicBezTo>
                      <a:pt x="342609" y="328806"/>
                      <a:pt x="382856" y="348929"/>
                      <a:pt x="420522" y="373180"/>
                    </a:cubicBezTo>
                    <a:cubicBezTo>
                      <a:pt x="463864" y="401043"/>
                      <a:pt x="493791" y="382468"/>
                      <a:pt x="525265" y="343770"/>
                    </a:cubicBezTo>
                    <a:cubicBezTo>
                      <a:pt x="535585" y="330870"/>
                      <a:pt x="531973" y="313843"/>
                      <a:pt x="527845" y="298364"/>
                    </a:cubicBezTo>
                    <a:cubicBezTo>
                      <a:pt x="516493" y="254506"/>
                      <a:pt x="505142" y="210647"/>
                      <a:pt x="493791" y="166789"/>
                    </a:cubicBezTo>
                    <a:cubicBezTo>
                      <a:pt x="485535" y="135315"/>
                      <a:pt x="490694" y="122415"/>
                      <a:pt x="518557" y="105904"/>
                    </a:cubicBezTo>
                    <a:cubicBezTo>
                      <a:pt x="524749" y="102292"/>
                      <a:pt x="530941" y="98680"/>
                      <a:pt x="537649" y="95585"/>
                    </a:cubicBezTo>
                    <a:cubicBezTo>
                      <a:pt x="571187" y="80105"/>
                      <a:pt x="586150" y="83717"/>
                      <a:pt x="608853" y="113128"/>
                    </a:cubicBezTo>
                    <a:cubicBezTo>
                      <a:pt x="636200" y="147698"/>
                      <a:pt x="663547" y="182785"/>
                      <a:pt x="690894" y="217355"/>
                    </a:cubicBezTo>
                    <a:cubicBezTo>
                      <a:pt x="716693" y="249346"/>
                      <a:pt x="777062" y="249346"/>
                      <a:pt x="802861" y="216839"/>
                    </a:cubicBezTo>
                    <a:cubicBezTo>
                      <a:pt x="813697" y="202908"/>
                      <a:pt x="813697" y="185365"/>
                      <a:pt x="816277" y="169369"/>
                    </a:cubicBezTo>
                    <a:cubicBezTo>
                      <a:pt x="822468" y="129123"/>
                      <a:pt x="827628" y="88877"/>
                      <a:pt x="832788" y="48631"/>
                    </a:cubicBezTo>
                    <a:cubicBezTo>
                      <a:pt x="836916" y="16640"/>
                      <a:pt x="845687" y="7868"/>
                      <a:pt x="877677" y="2193"/>
                    </a:cubicBezTo>
                    <a:cubicBezTo>
                      <a:pt x="891093" y="-387"/>
                      <a:pt x="904509" y="-387"/>
                      <a:pt x="917924" y="645"/>
                    </a:cubicBezTo>
                    <a:cubicBezTo>
                      <a:pt x="937531" y="1677"/>
                      <a:pt x="950947" y="11996"/>
                      <a:pt x="956106" y="31603"/>
                    </a:cubicBezTo>
                    <a:cubicBezTo>
                      <a:pt x="968490" y="75461"/>
                      <a:pt x="981389" y="119835"/>
                      <a:pt x="993772" y="163693"/>
                    </a:cubicBezTo>
                    <a:cubicBezTo>
                      <a:pt x="1006672" y="208584"/>
                      <a:pt x="1043822" y="229739"/>
                      <a:pt x="1089745" y="217871"/>
                    </a:cubicBezTo>
                    <a:cubicBezTo>
                      <a:pt x="1104707" y="214259"/>
                      <a:pt x="1113479" y="203424"/>
                      <a:pt x="1120703" y="191040"/>
                    </a:cubicBezTo>
                    <a:cubicBezTo>
                      <a:pt x="1144438" y="150278"/>
                      <a:pt x="1168689" y="109516"/>
                      <a:pt x="1192940" y="68754"/>
                    </a:cubicBezTo>
                    <a:cubicBezTo>
                      <a:pt x="1208419" y="42439"/>
                      <a:pt x="1221835" y="36763"/>
                      <a:pt x="1251245" y="44503"/>
                    </a:cubicBezTo>
                    <a:cubicBezTo>
                      <a:pt x="1310067" y="59466"/>
                      <a:pt x="1317806" y="72366"/>
                      <a:pt x="1309035" y="137895"/>
                    </a:cubicBezTo>
                    <a:cubicBezTo>
                      <a:pt x="1303875" y="177109"/>
                      <a:pt x="1299231" y="216323"/>
                      <a:pt x="1294587" y="255538"/>
                    </a:cubicBezTo>
                    <a:cubicBezTo>
                      <a:pt x="1294071" y="259665"/>
                      <a:pt x="1294071" y="263793"/>
                      <a:pt x="1294587" y="267921"/>
                    </a:cubicBezTo>
                    <a:cubicBezTo>
                      <a:pt x="1301295" y="309715"/>
                      <a:pt x="1364760" y="338610"/>
                      <a:pt x="1399331" y="314359"/>
                    </a:cubicBezTo>
                    <a:cubicBezTo>
                      <a:pt x="1438545" y="286496"/>
                      <a:pt x="1476211" y="257085"/>
                      <a:pt x="1514394" y="228191"/>
                    </a:cubicBezTo>
                    <a:cubicBezTo>
                      <a:pt x="1542256" y="207036"/>
                      <a:pt x="1556188" y="207552"/>
                      <a:pt x="1584050" y="229223"/>
                    </a:cubicBezTo>
                    <a:cubicBezTo>
                      <a:pt x="1587663" y="232319"/>
                      <a:pt x="1591274" y="234898"/>
                      <a:pt x="1594886" y="238510"/>
                    </a:cubicBezTo>
                    <a:cubicBezTo>
                      <a:pt x="1627393" y="269469"/>
                      <a:pt x="1628941" y="278757"/>
                      <a:pt x="1606754" y="317971"/>
                    </a:cubicBezTo>
                    <a:cubicBezTo>
                      <a:pt x="1585599" y="355637"/>
                      <a:pt x="1565475" y="393819"/>
                      <a:pt x="1543288" y="430970"/>
                    </a:cubicBezTo>
                    <a:cubicBezTo>
                      <a:pt x="1527293" y="458317"/>
                      <a:pt x="1534517" y="481020"/>
                      <a:pt x="1552060" y="504239"/>
                    </a:cubicBezTo>
                    <a:cubicBezTo>
                      <a:pt x="1569604" y="527458"/>
                      <a:pt x="1589726" y="538809"/>
                      <a:pt x="1619137" y="531069"/>
                    </a:cubicBezTo>
                    <a:cubicBezTo>
                      <a:pt x="1664543" y="519202"/>
                      <a:pt x="1709949" y="507850"/>
                      <a:pt x="1754839" y="495467"/>
                    </a:cubicBezTo>
                    <a:cubicBezTo>
                      <a:pt x="1783734" y="487727"/>
                      <a:pt x="1796634" y="492371"/>
                      <a:pt x="1812629" y="517654"/>
                    </a:cubicBezTo>
                    <a:cubicBezTo>
                      <a:pt x="1819853" y="528490"/>
                      <a:pt x="1826044" y="539841"/>
                      <a:pt x="1830172" y="552225"/>
                    </a:cubicBezTo>
                    <a:cubicBezTo>
                      <a:pt x="1837912" y="574412"/>
                      <a:pt x="1834299" y="588343"/>
                      <a:pt x="1815724" y="603306"/>
                    </a:cubicBezTo>
                    <a:cubicBezTo>
                      <a:pt x="1777026" y="634265"/>
                      <a:pt x="1738844" y="665224"/>
                      <a:pt x="1699630" y="695666"/>
                    </a:cubicBezTo>
                    <a:cubicBezTo>
                      <a:pt x="1680022" y="710629"/>
                      <a:pt x="1674862" y="729205"/>
                      <a:pt x="1678990" y="751908"/>
                    </a:cubicBezTo>
                    <a:cubicBezTo>
                      <a:pt x="1680539" y="759647"/>
                      <a:pt x="1683119" y="766871"/>
                      <a:pt x="1685182" y="774611"/>
                    </a:cubicBezTo>
                    <a:cubicBezTo>
                      <a:pt x="1691890" y="798862"/>
                      <a:pt x="1707885" y="812277"/>
                      <a:pt x="1732652" y="815373"/>
                    </a:cubicBezTo>
                    <a:cubicBezTo>
                      <a:pt x="1779606" y="821565"/>
                      <a:pt x="1826560" y="828272"/>
                      <a:pt x="1872998" y="834464"/>
                    </a:cubicBezTo>
                    <a:cubicBezTo>
                      <a:pt x="1900861" y="838076"/>
                      <a:pt x="1915308" y="851491"/>
                      <a:pt x="1918404" y="879354"/>
                    </a:cubicBezTo>
                    <a:cubicBezTo>
                      <a:pt x="1919952" y="892770"/>
                      <a:pt x="1921500" y="906185"/>
                      <a:pt x="1919952" y="919600"/>
                    </a:cubicBezTo>
                    <a:cubicBezTo>
                      <a:pt x="1917372" y="940755"/>
                      <a:pt x="1906536" y="952623"/>
                      <a:pt x="1886930" y="958299"/>
                    </a:cubicBezTo>
                    <a:cubicBezTo>
                      <a:pt x="1843071" y="970682"/>
                      <a:pt x="1798697" y="983065"/>
                      <a:pt x="1754839" y="995965"/>
                    </a:cubicBezTo>
                    <a:cubicBezTo>
                      <a:pt x="1712013" y="1008348"/>
                      <a:pt x="1692406" y="1040855"/>
                      <a:pt x="1701178" y="1085229"/>
                    </a:cubicBezTo>
                    <a:cubicBezTo>
                      <a:pt x="1704273" y="1102256"/>
                      <a:pt x="1714077" y="1113092"/>
                      <a:pt x="1728524" y="1121348"/>
                    </a:cubicBezTo>
                    <a:cubicBezTo>
                      <a:pt x="1768771" y="1145083"/>
                      <a:pt x="1809016" y="1168817"/>
                      <a:pt x="1849779" y="1192552"/>
                    </a:cubicBezTo>
                    <a:cubicBezTo>
                      <a:pt x="1879706" y="1210096"/>
                      <a:pt x="1884350" y="1220415"/>
                      <a:pt x="1876094" y="1253954"/>
                    </a:cubicBezTo>
                    <a:cubicBezTo>
                      <a:pt x="1875578" y="1256018"/>
                      <a:pt x="1875578" y="1258082"/>
                      <a:pt x="1875062" y="1260145"/>
                    </a:cubicBezTo>
                    <a:cubicBezTo>
                      <a:pt x="1862678" y="1300908"/>
                      <a:pt x="1848747" y="1321031"/>
                      <a:pt x="1802309" y="1312259"/>
                    </a:cubicBezTo>
                    <a:cubicBezTo>
                      <a:pt x="1760515" y="1304003"/>
                      <a:pt x="1717689" y="1302456"/>
                      <a:pt x="1675379" y="1296264"/>
                    </a:cubicBezTo>
                    <a:cubicBezTo>
                      <a:pt x="1645452" y="1292136"/>
                      <a:pt x="1625845" y="1304003"/>
                      <a:pt x="1611398" y="1329286"/>
                    </a:cubicBezTo>
                    <a:cubicBezTo>
                      <a:pt x="1596434" y="1355085"/>
                      <a:pt x="1589726" y="1379336"/>
                      <a:pt x="1610365" y="1405651"/>
                    </a:cubicBezTo>
                    <a:cubicBezTo>
                      <a:pt x="1638228" y="1441254"/>
                      <a:pt x="1665059" y="1477888"/>
                      <a:pt x="1692406" y="1514006"/>
                    </a:cubicBezTo>
                    <a:cubicBezTo>
                      <a:pt x="1715109" y="1543417"/>
                      <a:pt x="1715109" y="1555285"/>
                      <a:pt x="1692406" y="1584695"/>
                    </a:cubicBezTo>
                    <a:cubicBezTo>
                      <a:pt x="1691374" y="1585727"/>
                      <a:pt x="1690342" y="1587275"/>
                      <a:pt x="1689310" y="1588307"/>
                    </a:cubicBezTo>
                    <a:cubicBezTo>
                      <a:pt x="1659383" y="1620298"/>
                      <a:pt x="1647516" y="1634229"/>
                      <a:pt x="1600562" y="1605850"/>
                    </a:cubicBezTo>
                    <a:cubicBezTo>
                      <a:pt x="1564444" y="1584179"/>
                      <a:pt x="1526261" y="1565604"/>
                      <a:pt x="1490659" y="1543933"/>
                    </a:cubicBezTo>
                    <a:cubicBezTo>
                      <a:pt x="1461248" y="1526390"/>
                      <a:pt x="1438545" y="1536709"/>
                      <a:pt x="1415326" y="1554769"/>
                    </a:cubicBezTo>
                    <a:cubicBezTo>
                      <a:pt x="1392107" y="1572312"/>
                      <a:pt x="1382819" y="1593467"/>
                      <a:pt x="1391075" y="1622877"/>
                    </a:cubicBezTo>
                    <a:cubicBezTo>
                      <a:pt x="1403974" y="1668284"/>
                      <a:pt x="1415326" y="1714205"/>
                      <a:pt x="1426677" y="1760128"/>
                    </a:cubicBezTo>
                    <a:cubicBezTo>
                      <a:pt x="1432870" y="1784894"/>
                      <a:pt x="1427710" y="1798310"/>
                      <a:pt x="1406554" y="1811725"/>
                    </a:cubicBezTo>
                    <a:cubicBezTo>
                      <a:pt x="1395203" y="1818949"/>
                      <a:pt x="1383335" y="1825657"/>
                      <a:pt x="1370436" y="1830300"/>
                    </a:cubicBezTo>
                    <a:cubicBezTo>
                      <a:pt x="1347733" y="1838556"/>
                      <a:pt x="1331222" y="1834428"/>
                      <a:pt x="1316258" y="1815337"/>
                    </a:cubicBezTo>
                    <a:cubicBezTo>
                      <a:pt x="1287879" y="1779735"/>
                      <a:pt x="1259501" y="1743616"/>
                      <a:pt x="1231122" y="1707498"/>
                    </a:cubicBezTo>
                    <a:cubicBezTo>
                      <a:pt x="1203775" y="1673443"/>
                      <a:pt x="1154242" y="1668800"/>
                      <a:pt x="1121219" y="1698210"/>
                    </a:cubicBezTo>
                    <a:cubicBezTo>
                      <a:pt x="1112447" y="1705950"/>
                      <a:pt x="1108320" y="1715753"/>
                      <a:pt x="1106771" y="1727105"/>
                    </a:cubicBezTo>
                    <a:cubicBezTo>
                      <a:pt x="1100064" y="1774575"/>
                      <a:pt x="1092324" y="1821529"/>
                      <a:pt x="1087165" y="1868999"/>
                    </a:cubicBezTo>
                    <a:cubicBezTo>
                      <a:pt x="1084068" y="1893766"/>
                      <a:pt x="1074265" y="1911309"/>
                      <a:pt x="1050014" y="1919049"/>
                    </a:cubicBezTo>
                    <a:cubicBezTo>
                      <a:pt x="1029375" y="1919049"/>
                      <a:pt x="1008220" y="1919049"/>
                      <a:pt x="987581" y="1919049"/>
                    </a:cubicBezTo>
                    <a:cubicBezTo>
                      <a:pt x="973133" y="1910277"/>
                      <a:pt x="964878" y="1897377"/>
                      <a:pt x="960234" y="1880866"/>
                    </a:cubicBezTo>
                    <a:cubicBezTo>
                      <a:pt x="947851" y="1835460"/>
                      <a:pt x="933919" y="1790054"/>
                      <a:pt x="921535" y="1744132"/>
                    </a:cubicBezTo>
                    <a:cubicBezTo>
                      <a:pt x="914828" y="1719881"/>
                      <a:pt x="899865" y="1706982"/>
                      <a:pt x="875614" y="1703886"/>
                    </a:cubicBezTo>
                    <a:cubicBezTo>
                      <a:pt x="866326" y="1702854"/>
                      <a:pt x="857038" y="1701306"/>
                      <a:pt x="847751" y="1700790"/>
                    </a:cubicBezTo>
                    <a:cubicBezTo>
                      <a:pt x="826080" y="1699242"/>
                      <a:pt x="811117" y="1709046"/>
                      <a:pt x="800281" y="1727105"/>
                    </a:cubicBezTo>
                    <a:cubicBezTo>
                      <a:pt x="796153" y="1733813"/>
                      <a:pt x="792541" y="1740520"/>
                      <a:pt x="788414" y="1747228"/>
                    </a:cubicBezTo>
                    <a:cubicBezTo>
                      <a:pt x="766742" y="1783862"/>
                      <a:pt x="745587" y="1821013"/>
                      <a:pt x="723401" y="1857131"/>
                    </a:cubicBezTo>
                    <a:cubicBezTo>
                      <a:pt x="711533" y="1877254"/>
                      <a:pt x="697085" y="1882414"/>
                      <a:pt x="674383" y="1877254"/>
                    </a:cubicBezTo>
                    <a:cubicBezTo>
                      <a:pt x="660451" y="1874158"/>
                      <a:pt x="647552" y="1869515"/>
                      <a:pt x="634652" y="1863839"/>
                    </a:cubicBezTo>
                    <a:cubicBezTo>
                      <a:pt x="611949" y="1853003"/>
                      <a:pt x="604726" y="1839072"/>
                      <a:pt x="607822" y="1813789"/>
                    </a:cubicBezTo>
                    <a:cubicBezTo>
                      <a:pt x="613497" y="1766835"/>
                      <a:pt x="618141" y="1719881"/>
                      <a:pt x="624848" y="1672927"/>
                    </a:cubicBezTo>
                    <a:cubicBezTo>
                      <a:pt x="629492" y="1639905"/>
                      <a:pt x="611949" y="1621846"/>
                      <a:pt x="586150" y="1607398"/>
                    </a:cubicBezTo>
                    <a:cubicBezTo>
                      <a:pt x="560868" y="1593467"/>
                      <a:pt x="538165" y="1591403"/>
                      <a:pt x="514430" y="1611010"/>
                    </a:cubicBezTo>
                    <a:cubicBezTo>
                      <a:pt x="481407" y="1637325"/>
                      <a:pt x="446836" y="1661576"/>
                      <a:pt x="413814" y="1687375"/>
                    </a:cubicBezTo>
                    <a:cubicBezTo>
                      <a:pt x="380276" y="1713690"/>
                      <a:pt x="365828" y="1719365"/>
                      <a:pt x="324550" y="1682215"/>
                    </a:cubicBezTo>
                    <a:cubicBezTo>
                      <a:pt x="321970" y="1679635"/>
                      <a:pt x="319390" y="1677055"/>
                      <a:pt x="316810" y="1674475"/>
                    </a:cubicBezTo>
                    <a:cubicBezTo>
                      <a:pt x="296687" y="1653836"/>
                      <a:pt x="294623" y="1637841"/>
                      <a:pt x="309071" y="1612558"/>
                    </a:cubicBezTo>
                    <a:cubicBezTo>
                      <a:pt x="331258" y="1572828"/>
                      <a:pt x="353960" y="1532581"/>
                      <a:pt x="376148" y="1492851"/>
                    </a:cubicBezTo>
                    <a:cubicBezTo>
                      <a:pt x="382339" y="1481500"/>
                      <a:pt x="389047" y="1470148"/>
                      <a:pt x="387499" y="1456217"/>
                    </a:cubicBezTo>
                    <a:cubicBezTo>
                      <a:pt x="383887" y="1414423"/>
                      <a:pt x="337449" y="1381400"/>
                      <a:pt x="297203" y="1391720"/>
                    </a:cubicBezTo>
                    <a:cubicBezTo>
                      <a:pt x="250765" y="1403587"/>
                      <a:pt x="204327" y="1415455"/>
                      <a:pt x="158405" y="1427838"/>
                    </a:cubicBezTo>
                    <a:cubicBezTo>
                      <a:pt x="139830" y="1432998"/>
                      <a:pt x="125899" y="1427322"/>
                      <a:pt x="114031" y="1412875"/>
                    </a:cubicBezTo>
                    <a:cubicBezTo>
                      <a:pt x="104228" y="1401007"/>
                      <a:pt x="98036" y="1387592"/>
                      <a:pt x="91844" y="1373660"/>
                    </a:cubicBezTo>
                    <a:cubicBezTo>
                      <a:pt x="81525" y="1349409"/>
                      <a:pt x="86169" y="1331866"/>
                      <a:pt x="106808" y="1315871"/>
                    </a:cubicBezTo>
                    <a:cubicBezTo>
                      <a:pt x="140862" y="1288524"/>
                      <a:pt x="175432" y="1261693"/>
                      <a:pt x="209487" y="1234347"/>
                    </a:cubicBezTo>
                    <a:cubicBezTo>
                      <a:pt x="245605" y="1206484"/>
                      <a:pt x="248701" y="1194616"/>
                      <a:pt x="236834" y="1151274"/>
                    </a:cubicBezTo>
                    <a:cubicBezTo>
                      <a:pt x="228578" y="1122896"/>
                      <a:pt x="211551" y="1107932"/>
                      <a:pt x="181624" y="1104836"/>
                    </a:cubicBezTo>
                    <a:cubicBezTo>
                      <a:pt x="138282" y="1100192"/>
                      <a:pt x="95456" y="1091937"/>
                      <a:pt x="52114" y="1087293"/>
                    </a:cubicBezTo>
                    <a:cubicBezTo>
                      <a:pt x="27347" y="1084713"/>
                      <a:pt x="9804" y="1074910"/>
                      <a:pt x="1032" y="1051175"/>
                    </a:cubicBezTo>
                    <a:cubicBezTo>
                      <a:pt x="0" y="1028988"/>
                      <a:pt x="0" y="1008348"/>
                      <a:pt x="0" y="987194"/>
                    </a:cubicBezTo>
                    <a:close/>
                    <a:moveTo>
                      <a:pt x="1198616" y="960879"/>
                    </a:moveTo>
                    <a:cubicBezTo>
                      <a:pt x="1200163" y="838592"/>
                      <a:pt x="1104192" y="720433"/>
                      <a:pt x="958686" y="720949"/>
                    </a:cubicBezTo>
                    <a:cubicBezTo>
                      <a:pt x="824016" y="721465"/>
                      <a:pt x="720821" y="824145"/>
                      <a:pt x="720304" y="959331"/>
                    </a:cubicBezTo>
                    <a:cubicBezTo>
                      <a:pt x="719788" y="1096581"/>
                      <a:pt x="827628" y="1197712"/>
                      <a:pt x="957654" y="1198744"/>
                    </a:cubicBezTo>
                    <a:cubicBezTo>
                      <a:pt x="1090776" y="1199776"/>
                      <a:pt x="1198100" y="1092969"/>
                      <a:pt x="1198616" y="960879"/>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21" name="Google Shape;121;p15"/>
              <p:cNvGrpSpPr/>
              <p:nvPr/>
            </p:nvGrpSpPr>
            <p:grpSpPr>
              <a:xfrm>
                <a:off x="7392963" y="2648852"/>
                <a:ext cx="1838947" cy="1835405"/>
                <a:chOff x="7167947" y="1624190"/>
                <a:chExt cx="2677922" cy="2672763"/>
              </a:xfrm>
            </p:grpSpPr>
            <p:sp>
              <p:nvSpPr>
                <p:cNvPr id="122" name="Google Shape;122;p15"/>
                <p:cNvSpPr/>
                <p:nvPr/>
              </p:nvSpPr>
              <p:spPr>
                <a:xfrm>
                  <a:off x="7167947" y="1624190"/>
                  <a:ext cx="2677922" cy="2672763"/>
                </a:xfrm>
                <a:custGeom>
                  <a:avLst/>
                  <a:gdLst/>
                  <a:ahLst/>
                  <a:cxnLst/>
                  <a:rect l="l" t="t" r="r" b="b"/>
                  <a:pathLst>
                    <a:path w="2677922" h="2672762" extrusionOk="0">
                      <a:moveTo>
                        <a:pt x="2538684" y="1897505"/>
                      </a:moveTo>
                      <a:cubicBezTo>
                        <a:pt x="2511337" y="1891313"/>
                        <a:pt x="2483990" y="1885121"/>
                        <a:pt x="2456643" y="1879446"/>
                      </a:cubicBezTo>
                      <a:cubicBezTo>
                        <a:pt x="2434456" y="1874286"/>
                        <a:pt x="2411753" y="1869642"/>
                        <a:pt x="2389566" y="1863966"/>
                      </a:cubicBezTo>
                      <a:cubicBezTo>
                        <a:pt x="2375119" y="1860354"/>
                        <a:pt x="2363767" y="1864482"/>
                        <a:pt x="2354479" y="1874802"/>
                      </a:cubicBezTo>
                      <a:cubicBezTo>
                        <a:pt x="2335389" y="1896989"/>
                        <a:pt x="2320425" y="1922272"/>
                        <a:pt x="2312170" y="1950651"/>
                      </a:cubicBezTo>
                      <a:cubicBezTo>
                        <a:pt x="2308042" y="1964066"/>
                        <a:pt x="2314234" y="1973869"/>
                        <a:pt x="2322489" y="1983157"/>
                      </a:cubicBezTo>
                      <a:cubicBezTo>
                        <a:pt x="2352416" y="2015664"/>
                        <a:pt x="2382858" y="2048170"/>
                        <a:pt x="2412785" y="2080161"/>
                      </a:cubicBezTo>
                      <a:cubicBezTo>
                        <a:pt x="2435488" y="2104412"/>
                        <a:pt x="2436520" y="2118859"/>
                        <a:pt x="2418461" y="2146722"/>
                      </a:cubicBezTo>
                      <a:cubicBezTo>
                        <a:pt x="2417429" y="2148270"/>
                        <a:pt x="2416397" y="2150334"/>
                        <a:pt x="2414849" y="2151882"/>
                      </a:cubicBezTo>
                      <a:cubicBezTo>
                        <a:pt x="2380795" y="2197804"/>
                        <a:pt x="2365831" y="2198320"/>
                        <a:pt x="2324037" y="2174585"/>
                      </a:cubicBezTo>
                      <a:cubicBezTo>
                        <a:pt x="2289982" y="2154978"/>
                        <a:pt x="2253864" y="2137434"/>
                        <a:pt x="2219294" y="2118859"/>
                      </a:cubicBezTo>
                      <a:cubicBezTo>
                        <a:pt x="2204846" y="2111120"/>
                        <a:pt x="2191431" y="2111120"/>
                        <a:pt x="2178531" y="2120407"/>
                      </a:cubicBezTo>
                      <a:cubicBezTo>
                        <a:pt x="2157892" y="2134855"/>
                        <a:pt x="2140349" y="2152398"/>
                        <a:pt x="2125386" y="2172521"/>
                      </a:cubicBezTo>
                      <a:cubicBezTo>
                        <a:pt x="2114550" y="2186968"/>
                        <a:pt x="2114034" y="2201416"/>
                        <a:pt x="2122806" y="2217411"/>
                      </a:cubicBezTo>
                      <a:cubicBezTo>
                        <a:pt x="2143961" y="2256109"/>
                        <a:pt x="2164600" y="2295323"/>
                        <a:pt x="2184723" y="2334538"/>
                      </a:cubicBezTo>
                      <a:cubicBezTo>
                        <a:pt x="2198655" y="2361885"/>
                        <a:pt x="2196591" y="2374268"/>
                        <a:pt x="2174404" y="2395423"/>
                      </a:cubicBezTo>
                      <a:cubicBezTo>
                        <a:pt x="2170792" y="2398519"/>
                        <a:pt x="2167696" y="2402131"/>
                        <a:pt x="2164084" y="2404711"/>
                      </a:cubicBezTo>
                      <a:cubicBezTo>
                        <a:pt x="2131062" y="2428962"/>
                        <a:pt x="2114034" y="2440829"/>
                        <a:pt x="2075336" y="2401615"/>
                      </a:cubicBezTo>
                      <a:cubicBezTo>
                        <a:pt x="2047473" y="2373236"/>
                        <a:pt x="2017547" y="2347953"/>
                        <a:pt x="1988652" y="2320606"/>
                      </a:cubicBezTo>
                      <a:cubicBezTo>
                        <a:pt x="1975236" y="2307707"/>
                        <a:pt x="1960789" y="2305127"/>
                        <a:pt x="1944277" y="2311835"/>
                      </a:cubicBezTo>
                      <a:cubicBezTo>
                        <a:pt x="1922607" y="2320606"/>
                        <a:pt x="1901968" y="2331958"/>
                        <a:pt x="1883392" y="2346405"/>
                      </a:cubicBezTo>
                      <a:cubicBezTo>
                        <a:pt x="1867913" y="2358273"/>
                        <a:pt x="1863785" y="2373236"/>
                        <a:pt x="1868429" y="2391811"/>
                      </a:cubicBezTo>
                      <a:cubicBezTo>
                        <a:pt x="1879264" y="2436701"/>
                        <a:pt x="1889584" y="2482107"/>
                        <a:pt x="1899388" y="2526997"/>
                      </a:cubicBezTo>
                      <a:cubicBezTo>
                        <a:pt x="1903516" y="2546604"/>
                        <a:pt x="1896808" y="2561568"/>
                        <a:pt x="1879264" y="2571887"/>
                      </a:cubicBezTo>
                      <a:cubicBezTo>
                        <a:pt x="1867397" y="2579111"/>
                        <a:pt x="1854498" y="2584787"/>
                        <a:pt x="1841082" y="2588915"/>
                      </a:cubicBezTo>
                      <a:cubicBezTo>
                        <a:pt x="1813736" y="2597686"/>
                        <a:pt x="1798256" y="2592526"/>
                        <a:pt x="1782777" y="2568276"/>
                      </a:cubicBezTo>
                      <a:cubicBezTo>
                        <a:pt x="1760074" y="2532157"/>
                        <a:pt x="1736855" y="2496555"/>
                        <a:pt x="1715184" y="2459404"/>
                      </a:cubicBezTo>
                      <a:cubicBezTo>
                        <a:pt x="1703316" y="2439281"/>
                        <a:pt x="1687837" y="2431542"/>
                        <a:pt x="1664618" y="2435669"/>
                      </a:cubicBezTo>
                      <a:cubicBezTo>
                        <a:pt x="1646043" y="2439281"/>
                        <a:pt x="1627984" y="2443925"/>
                        <a:pt x="1610440" y="2450117"/>
                      </a:cubicBezTo>
                      <a:cubicBezTo>
                        <a:pt x="1586190" y="2458888"/>
                        <a:pt x="1578450" y="2469208"/>
                        <a:pt x="1577418" y="2495007"/>
                      </a:cubicBezTo>
                      <a:cubicBezTo>
                        <a:pt x="1575870" y="2535769"/>
                        <a:pt x="1574838" y="2576015"/>
                        <a:pt x="1573806" y="2616777"/>
                      </a:cubicBezTo>
                      <a:cubicBezTo>
                        <a:pt x="1572774" y="2653928"/>
                        <a:pt x="1563487" y="2665795"/>
                        <a:pt x="1526852" y="2672503"/>
                      </a:cubicBezTo>
                      <a:cubicBezTo>
                        <a:pt x="1517049" y="2674567"/>
                        <a:pt x="1507245" y="2675599"/>
                        <a:pt x="1497441" y="2676115"/>
                      </a:cubicBezTo>
                      <a:cubicBezTo>
                        <a:pt x="1473191" y="2677663"/>
                        <a:pt x="1457711" y="2667859"/>
                        <a:pt x="1449972" y="2644124"/>
                      </a:cubicBezTo>
                      <a:cubicBezTo>
                        <a:pt x="1436040" y="2600782"/>
                        <a:pt x="1422624" y="2557956"/>
                        <a:pt x="1410241" y="2514614"/>
                      </a:cubicBezTo>
                      <a:cubicBezTo>
                        <a:pt x="1404565" y="2495007"/>
                        <a:pt x="1392698" y="2485719"/>
                        <a:pt x="1373091" y="2482623"/>
                      </a:cubicBezTo>
                      <a:cubicBezTo>
                        <a:pt x="1350388" y="2479527"/>
                        <a:pt x="1327685" y="2479527"/>
                        <a:pt x="1304982" y="2483139"/>
                      </a:cubicBezTo>
                      <a:cubicBezTo>
                        <a:pt x="1287955" y="2485719"/>
                        <a:pt x="1277119" y="2494491"/>
                        <a:pt x="1271959" y="2511518"/>
                      </a:cubicBezTo>
                      <a:cubicBezTo>
                        <a:pt x="1260092" y="2552280"/>
                        <a:pt x="1247192" y="2593042"/>
                        <a:pt x="1234293" y="2633805"/>
                      </a:cubicBezTo>
                      <a:cubicBezTo>
                        <a:pt x="1222941" y="2670439"/>
                        <a:pt x="1208494" y="2679727"/>
                        <a:pt x="1170828" y="2674567"/>
                      </a:cubicBezTo>
                      <a:cubicBezTo>
                        <a:pt x="1114070" y="2666827"/>
                        <a:pt x="1107362" y="2659087"/>
                        <a:pt x="1106847" y="2602330"/>
                      </a:cubicBezTo>
                      <a:cubicBezTo>
                        <a:pt x="1106331" y="2565180"/>
                        <a:pt x="1104783" y="2528545"/>
                        <a:pt x="1103751" y="2491395"/>
                      </a:cubicBezTo>
                      <a:cubicBezTo>
                        <a:pt x="1103234" y="2474368"/>
                        <a:pt x="1096527" y="2460952"/>
                        <a:pt x="1080532" y="2454244"/>
                      </a:cubicBezTo>
                      <a:cubicBezTo>
                        <a:pt x="1056281" y="2443925"/>
                        <a:pt x="1031514" y="2436701"/>
                        <a:pt x="1005199" y="2435153"/>
                      </a:cubicBezTo>
                      <a:cubicBezTo>
                        <a:pt x="989203" y="2434121"/>
                        <a:pt x="977852" y="2440313"/>
                        <a:pt x="969080" y="2454244"/>
                      </a:cubicBezTo>
                      <a:cubicBezTo>
                        <a:pt x="946894" y="2491395"/>
                        <a:pt x="923159" y="2527513"/>
                        <a:pt x="900456" y="2564148"/>
                      </a:cubicBezTo>
                      <a:cubicBezTo>
                        <a:pt x="882396" y="2593042"/>
                        <a:pt x="868465" y="2598202"/>
                        <a:pt x="836474" y="2587367"/>
                      </a:cubicBezTo>
                      <a:cubicBezTo>
                        <a:pt x="834926" y="2586851"/>
                        <a:pt x="833379" y="2586335"/>
                        <a:pt x="831830" y="2585819"/>
                      </a:cubicBezTo>
                      <a:cubicBezTo>
                        <a:pt x="782297" y="2565696"/>
                        <a:pt x="772493" y="2554344"/>
                        <a:pt x="785392" y="2504810"/>
                      </a:cubicBezTo>
                      <a:cubicBezTo>
                        <a:pt x="795196" y="2467144"/>
                        <a:pt x="802420" y="2428962"/>
                        <a:pt x="811707" y="2390779"/>
                      </a:cubicBezTo>
                      <a:cubicBezTo>
                        <a:pt x="816351" y="2371172"/>
                        <a:pt x="811191" y="2356209"/>
                        <a:pt x="794680" y="2344341"/>
                      </a:cubicBezTo>
                      <a:cubicBezTo>
                        <a:pt x="777137" y="2331958"/>
                        <a:pt x="759078" y="2321122"/>
                        <a:pt x="739470" y="2312351"/>
                      </a:cubicBezTo>
                      <a:cubicBezTo>
                        <a:pt x="720895" y="2304095"/>
                        <a:pt x="704900" y="2307191"/>
                        <a:pt x="689421" y="2321638"/>
                      </a:cubicBezTo>
                      <a:cubicBezTo>
                        <a:pt x="658462" y="2351049"/>
                        <a:pt x="626988" y="2379944"/>
                        <a:pt x="596029" y="2408838"/>
                      </a:cubicBezTo>
                      <a:cubicBezTo>
                        <a:pt x="572810" y="2431026"/>
                        <a:pt x="557847" y="2432057"/>
                        <a:pt x="530500" y="2415030"/>
                      </a:cubicBezTo>
                      <a:cubicBezTo>
                        <a:pt x="527404" y="2412966"/>
                        <a:pt x="524308" y="2410902"/>
                        <a:pt x="521212" y="2408838"/>
                      </a:cubicBezTo>
                      <a:cubicBezTo>
                        <a:pt x="481482" y="2380460"/>
                        <a:pt x="477870" y="2365496"/>
                        <a:pt x="500573" y="2322670"/>
                      </a:cubicBezTo>
                      <a:cubicBezTo>
                        <a:pt x="519148" y="2287584"/>
                        <a:pt x="537207" y="2252497"/>
                        <a:pt x="556298" y="2217927"/>
                      </a:cubicBezTo>
                      <a:cubicBezTo>
                        <a:pt x="566102" y="2199868"/>
                        <a:pt x="564555" y="2184388"/>
                        <a:pt x="552171" y="2168909"/>
                      </a:cubicBezTo>
                      <a:cubicBezTo>
                        <a:pt x="538756" y="2151882"/>
                        <a:pt x="523276" y="2136402"/>
                        <a:pt x="505733" y="2122987"/>
                      </a:cubicBezTo>
                      <a:cubicBezTo>
                        <a:pt x="490254" y="2111120"/>
                        <a:pt x="474774" y="2110088"/>
                        <a:pt x="457747" y="2119375"/>
                      </a:cubicBezTo>
                      <a:cubicBezTo>
                        <a:pt x="419564" y="2140014"/>
                        <a:pt x="380866" y="2160653"/>
                        <a:pt x="341652" y="2180777"/>
                      </a:cubicBezTo>
                      <a:cubicBezTo>
                        <a:pt x="314305" y="2195224"/>
                        <a:pt x="298310" y="2191612"/>
                        <a:pt x="278187" y="2168909"/>
                      </a:cubicBezTo>
                      <a:cubicBezTo>
                        <a:pt x="276639" y="2167361"/>
                        <a:pt x="275607" y="2165813"/>
                        <a:pt x="274059" y="2164265"/>
                      </a:cubicBezTo>
                      <a:cubicBezTo>
                        <a:pt x="238456" y="2122987"/>
                        <a:pt x="238972" y="2108540"/>
                        <a:pt x="276639" y="2069325"/>
                      </a:cubicBezTo>
                      <a:cubicBezTo>
                        <a:pt x="302954" y="2041463"/>
                        <a:pt x="327721" y="2013084"/>
                        <a:pt x="354551" y="1986253"/>
                      </a:cubicBezTo>
                      <a:cubicBezTo>
                        <a:pt x="367967" y="1972322"/>
                        <a:pt x="370547" y="1957874"/>
                        <a:pt x="363839" y="1940847"/>
                      </a:cubicBezTo>
                      <a:cubicBezTo>
                        <a:pt x="355067" y="1918660"/>
                        <a:pt x="342684" y="1898021"/>
                        <a:pt x="328237" y="1878930"/>
                      </a:cubicBezTo>
                      <a:cubicBezTo>
                        <a:pt x="316369" y="1863450"/>
                        <a:pt x="300374" y="1861902"/>
                        <a:pt x="283347" y="1866030"/>
                      </a:cubicBezTo>
                      <a:cubicBezTo>
                        <a:pt x="245680" y="1874802"/>
                        <a:pt x="208530" y="1883573"/>
                        <a:pt x="170864" y="1891829"/>
                      </a:cubicBezTo>
                      <a:cubicBezTo>
                        <a:pt x="165704" y="1892861"/>
                        <a:pt x="160544" y="1894409"/>
                        <a:pt x="155900" y="1895441"/>
                      </a:cubicBezTo>
                      <a:cubicBezTo>
                        <a:pt x="127521" y="1900601"/>
                        <a:pt x="113074" y="1893893"/>
                        <a:pt x="100175" y="1868094"/>
                      </a:cubicBezTo>
                      <a:cubicBezTo>
                        <a:pt x="95531" y="1858291"/>
                        <a:pt x="90887" y="1848487"/>
                        <a:pt x="87275" y="1838168"/>
                      </a:cubicBezTo>
                      <a:cubicBezTo>
                        <a:pt x="77988" y="1810821"/>
                        <a:pt x="83147" y="1795341"/>
                        <a:pt x="107915" y="1779862"/>
                      </a:cubicBezTo>
                      <a:cubicBezTo>
                        <a:pt x="143001" y="1757675"/>
                        <a:pt x="178603" y="1735488"/>
                        <a:pt x="213690" y="1713817"/>
                      </a:cubicBezTo>
                      <a:cubicBezTo>
                        <a:pt x="241552" y="1696274"/>
                        <a:pt x="245680" y="1686470"/>
                        <a:pt x="238972" y="1654480"/>
                      </a:cubicBezTo>
                      <a:cubicBezTo>
                        <a:pt x="234845" y="1636420"/>
                        <a:pt x="230201" y="1617845"/>
                        <a:pt x="222977" y="1600818"/>
                      </a:cubicBezTo>
                      <a:cubicBezTo>
                        <a:pt x="215753" y="1583791"/>
                        <a:pt x="203370" y="1575535"/>
                        <a:pt x="184279" y="1575019"/>
                      </a:cubicBezTo>
                      <a:cubicBezTo>
                        <a:pt x="142485" y="1574503"/>
                        <a:pt x="101207" y="1572955"/>
                        <a:pt x="59413" y="1571407"/>
                      </a:cubicBezTo>
                      <a:cubicBezTo>
                        <a:pt x="21746" y="1570375"/>
                        <a:pt x="10395" y="1560572"/>
                        <a:pt x="3687" y="1524453"/>
                      </a:cubicBezTo>
                      <a:cubicBezTo>
                        <a:pt x="3171" y="1520841"/>
                        <a:pt x="2139" y="1517230"/>
                        <a:pt x="1623" y="1513618"/>
                      </a:cubicBezTo>
                      <a:cubicBezTo>
                        <a:pt x="-4053" y="1467696"/>
                        <a:pt x="3687" y="1455828"/>
                        <a:pt x="48577" y="1442413"/>
                      </a:cubicBezTo>
                      <a:cubicBezTo>
                        <a:pt x="85727" y="1431061"/>
                        <a:pt x="122877" y="1418678"/>
                        <a:pt x="160544" y="1408358"/>
                      </a:cubicBezTo>
                      <a:cubicBezTo>
                        <a:pt x="181183" y="1402683"/>
                        <a:pt x="192018" y="1390815"/>
                        <a:pt x="194083" y="1370692"/>
                      </a:cubicBezTo>
                      <a:cubicBezTo>
                        <a:pt x="196147" y="1346957"/>
                        <a:pt x="197178" y="1322706"/>
                        <a:pt x="192534" y="1298971"/>
                      </a:cubicBezTo>
                      <a:cubicBezTo>
                        <a:pt x="189954" y="1283492"/>
                        <a:pt x="181183" y="1274204"/>
                        <a:pt x="166220" y="1269560"/>
                      </a:cubicBezTo>
                      <a:cubicBezTo>
                        <a:pt x="126490" y="1257693"/>
                        <a:pt x="86759" y="1245310"/>
                        <a:pt x="47029" y="1232926"/>
                      </a:cubicBezTo>
                      <a:cubicBezTo>
                        <a:pt x="3687" y="1219511"/>
                        <a:pt x="-957" y="1212287"/>
                        <a:pt x="1623" y="1166881"/>
                      </a:cubicBezTo>
                      <a:cubicBezTo>
                        <a:pt x="2139" y="1157593"/>
                        <a:pt x="4203" y="1148306"/>
                        <a:pt x="6267" y="1139534"/>
                      </a:cubicBezTo>
                      <a:cubicBezTo>
                        <a:pt x="12459" y="1116831"/>
                        <a:pt x="25358" y="1106512"/>
                        <a:pt x="49093" y="1105480"/>
                      </a:cubicBezTo>
                      <a:cubicBezTo>
                        <a:pt x="87791" y="1103932"/>
                        <a:pt x="125974" y="1102900"/>
                        <a:pt x="164672" y="1101868"/>
                      </a:cubicBezTo>
                      <a:cubicBezTo>
                        <a:pt x="170348" y="1101868"/>
                        <a:pt x="176023" y="1101352"/>
                        <a:pt x="181699" y="1101352"/>
                      </a:cubicBezTo>
                      <a:cubicBezTo>
                        <a:pt x="207498" y="1102384"/>
                        <a:pt x="220913" y="1087936"/>
                        <a:pt x="227621" y="1065233"/>
                      </a:cubicBezTo>
                      <a:cubicBezTo>
                        <a:pt x="232781" y="1048206"/>
                        <a:pt x="237425" y="1031179"/>
                        <a:pt x="241036" y="1014152"/>
                      </a:cubicBezTo>
                      <a:cubicBezTo>
                        <a:pt x="245680" y="990417"/>
                        <a:pt x="240005" y="979065"/>
                        <a:pt x="219366" y="965650"/>
                      </a:cubicBezTo>
                      <a:cubicBezTo>
                        <a:pt x="184279" y="943463"/>
                        <a:pt x="148676" y="921276"/>
                        <a:pt x="113590" y="899605"/>
                      </a:cubicBezTo>
                      <a:cubicBezTo>
                        <a:pt x="82116" y="879997"/>
                        <a:pt x="77472" y="867614"/>
                        <a:pt x="89855" y="832012"/>
                      </a:cubicBezTo>
                      <a:cubicBezTo>
                        <a:pt x="93467" y="820660"/>
                        <a:pt x="98111" y="809309"/>
                        <a:pt x="104818" y="799505"/>
                      </a:cubicBezTo>
                      <a:cubicBezTo>
                        <a:pt x="115654" y="782994"/>
                        <a:pt x="130617" y="774738"/>
                        <a:pt x="151256" y="779898"/>
                      </a:cubicBezTo>
                      <a:cubicBezTo>
                        <a:pt x="195114" y="790217"/>
                        <a:pt x="239489" y="799505"/>
                        <a:pt x="283347" y="810341"/>
                      </a:cubicBezTo>
                      <a:cubicBezTo>
                        <a:pt x="303469" y="815500"/>
                        <a:pt x="318949" y="810857"/>
                        <a:pt x="331332" y="794345"/>
                      </a:cubicBezTo>
                      <a:cubicBezTo>
                        <a:pt x="344232" y="776802"/>
                        <a:pt x="355584" y="757711"/>
                        <a:pt x="363839" y="737588"/>
                      </a:cubicBezTo>
                      <a:cubicBezTo>
                        <a:pt x="371063" y="719529"/>
                        <a:pt x="368999" y="704049"/>
                        <a:pt x="354551" y="689086"/>
                      </a:cubicBezTo>
                      <a:cubicBezTo>
                        <a:pt x="324625" y="658643"/>
                        <a:pt x="296246" y="627169"/>
                        <a:pt x="266835" y="595694"/>
                      </a:cubicBezTo>
                      <a:cubicBezTo>
                        <a:pt x="244132" y="570927"/>
                        <a:pt x="243100" y="556996"/>
                        <a:pt x="261675" y="529133"/>
                      </a:cubicBezTo>
                      <a:cubicBezTo>
                        <a:pt x="264771" y="525005"/>
                        <a:pt x="267351" y="520361"/>
                        <a:pt x="270447" y="516233"/>
                      </a:cubicBezTo>
                      <a:cubicBezTo>
                        <a:pt x="296762" y="481663"/>
                        <a:pt x="311209" y="478567"/>
                        <a:pt x="349907" y="498690"/>
                      </a:cubicBezTo>
                      <a:cubicBezTo>
                        <a:pt x="386026" y="517781"/>
                        <a:pt x="422144" y="536357"/>
                        <a:pt x="457231" y="555964"/>
                      </a:cubicBezTo>
                      <a:cubicBezTo>
                        <a:pt x="475806" y="566283"/>
                        <a:pt x="492318" y="564219"/>
                        <a:pt x="507797" y="551320"/>
                      </a:cubicBezTo>
                      <a:cubicBezTo>
                        <a:pt x="523276" y="538421"/>
                        <a:pt x="537723" y="523973"/>
                        <a:pt x="551139" y="508494"/>
                      </a:cubicBezTo>
                      <a:cubicBezTo>
                        <a:pt x="564555" y="492499"/>
                        <a:pt x="567650" y="476503"/>
                        <a:pt x="556815" y="456896"/>
                      </a:cubicBezTo>
                      <a:cubicBezTo>
                        <a:pt x="535143" y="418198"/>
                        <a:pt x="515020" y="378983"/>
                        <a:pt x="494381" y="339769"/>
                      </a:cubicBezTo>
                      <a:cubicBezTo>
                        <a:pt x="480966" y="313970"/>
                        <a:pt x="484062" y="300039"/>
                        <a:pt x="505217" y="280432"/>
                      </a:cubicBezTo>
                      <a:cubicBezTo>
                        <a:pt x="515020" y="271144"/>
                        <a:pt x="525856" y="263405"/>
                        <a:pt x="537723" y="256181"/>
                      </a:cubicBezTo>
                      <a:cubicBezTo>
                        <a:pt x="558362" y="244313"/>
                        <a:pt x="572810" y="245861"/>
                        <a:pt x="590353" y="261857"/>
                      </a:cubicBezTo>
                      <a:cubicBezTo>
                        <a:pt x="620280" y="289203"/>
                        <a:pt x="650207" y="317066"/>
                        <a:pt x="679617" y="344929"/>
                      </a:cubicBezTo>
                      <a:cubicBezTo>
                        <a:pt x="710576" y="374340"/>
                        <a:pt x="717284" y="375372"/>
                        <a:pt x="754950" y="355765"/>
                      </a:cubicBezTo>
                      <a:cubicBezTo>
                        <a:pt x="769913" y="348025"/>
                        <a:pt x="783845" y="339769"/>
                        <a:pt x="797260" y="329450"/>
                      </a:cubicBezTo>
                      <a:cubicBezTo>
                        <a:pt x="811707" y="317582"/>
                        <a:pt x="816351" y="303651"/>
                        <a:pt x="811707" y="285076"/>
                      </a:cubicBezTo>
                      <a:cubicBezTo>
                        <a:pt x="800872" y="242249"/>
                        <a:pt x="791585" y="198907"/>
                        <a:pt x="781781" y="156081"/>
                      </a:cubicBezTo>
                      <a:cubicBezTo>
                        <a:pt x="775589" y="128218"/>
                        <a:pt x="782297" y="114287"/>
                        <a:pt x="807064" y="100872"/>
                      </a:cubicBezTo>
                      <a:cubicBezTo>
                        <a:pt x="818415" y="95196"/>
                        <a:pt x="829766" y="90552"/>
                        <a:pt x="841634" y="86424"/>
                      </a:cubicBezTo>
                      <a:cubicBezTo>
                        <a:pt x="866917" y="78685"/>
                        <a:pt x="881364" y="83328"/>
                        <a:pt x="896328" y="106031"/>
                      </a:cubicBezTo>
                      <a:cubicBezTo>
                        <a:pt x="920062" y="142666"/>
                        <a:pt x="943798" y="179300"/>
                        <a:pt x="965469" y="217483"/>
                      </a:cubicBezTo>
                      <a:cubicBezTo>
                        <a:pt x="976820" y="237090"/>
                        <a:pt x="992299" y="243797"/>
                        <a:pt x="1013455" y="240702"/>
                      </a:cubicBezTo>
                      <a:cubicBezTo>
                        <a:pt x="1035641" y="237090"/>
                        <a:pt x="1057313" y="231414"/>
                        <a:pt x="1077952" y="222642"/>
                      </a:cubicBezTo>
                      <a:cubicBezTo>
                        <a:pt x="1092915" y="215935"/>
                        <a:pt x="1101171" y="205615"/>
                        <a:pt x="1101687" y="188072"/>
                      </a:cubicBezTo>
                      <a:cubicBezTo>
                        <a:pt x="1102719" y="143182"/>
                        <a:pt x="1105298" y="98808"/>
                        <a:pt x="1106847" y="53918"/>
                      </a:cubicBezTo>
                      <a:cubicBezTo>
                        <a:pt x="1107878" y="25023"/>
                        <a:pt x="1117166" y="12640"/>
                        <a:pt x="1145029" y="4900"/>
                      </a:cubicBezTo>
                      <a:cubicBezTo>
                        <a:pt x="1149672" y="3868"/>
                        <a:pt x="1154316" y="2320"/>
                        <a:pt x="1158960" y="1804"/>
                      </a:cubicBezTo>
                      <a:cubicBezTo>
                        <a:pt x="1210042" y="-3872"/>
                        <a:pt x="1222426" y="1804"/>
                        <a:pt x="1235841" y="48758"/>
                      </a:cubicBezTo>
                      <a:cubicBezTo>
                        <a:pt x="1246676" y="86940"/>
                        <a:pt x="1259576" y="124091"/>
                        <a:pt x="1269895" y="162273"/>
                      </a:cubicBezTo>
                      <a:cubicBezTo>
                        <a:pt x="1275055" y="180332"/>
                        <a:pt x="1285890" y="190136"/>
                        <a:pt x="1303434" y="192716"/>
                      </a:cubicBezTo>
                      <a:cubicBezTo>
                        <a:pt x="1327685" y="195812"/>
                        <a:pt x="1352452" y="195812"/>
                        <a:pt x="1376702" y="192716"/>
                      </a:cubicBezTo>
                      <a:cubicBezTo>
                        <a:pt x="1393730" y="190652"/>
                        <a:pt x="1404049" y="180332"/>
                        <a:pt x="1409209" y="163305"/>
                      </a:cubicBezTo>
                      <a:cubicBezTo>
                        <a:pt x="1421593" y="121511"/>
                        <a:pt x="1434492" y="79717"/>
                        <a:pt x="1447392" y="37922"/>
                      </a:cubicBezTo>
                      <a:cubicBezTo>
                        <a:pt x="1457195" y="6964"/>
                        <a:pt x="1466998" y="-260"/>
                        <a:pt x="1499505" y="256"/>
                      </a:cubicBezTo>
                      <a:cubicBezTo>
                        <a:pt x="1504149" y="256"/>
                        <a:pt x="1508793" y="256"/>
                        <a:pt x="1513436" y="772"/>
                      </a:cubicBezTo>
                      <a:cubicBezTo>
                        <a:pt x="1559358" y="5416"/>
                        <a:pt x="1572258" y="19347"/>
                        <a:pt x="1573290" y="65269"/>
                      </a:cubicBezTo>
                      <a:cubicBezTo>
                        <a:pt x="1574322" y="105515"/>
                        <a:pt x="1575870" y="145246"/>
                        <a:pt x="1576902" y="185492"/>
                      </a:cubicBezTo>
                      <a:cubicBezTo>
                        <a:pt x="1577418" y="201487"/>
                        <a:pt x="1583093" y="213871"/>
                        <a:pt x="1598057" y="220578"/>
                      </a:cubicBezTo>
                      <a:cubicBezTo>
                        <a:pt x="1622308" y="231414"/>
                        <a:pt x="1647590" y="238638"/>
                        <a:pt x="1674422" y="240702"/>
                      </a:cubicBezTo>
                      <a:cubicBezTo>
                        <a:pt x="1690933" y="241733"/>
                        <a:pt x="1702285" y="235026"/>
                        <a:pt x="1710540" y="221610"/>
                      </a:cubicBezTo>
                      <a:cubicBezTo>
                        <a:pt x="1733243" y="184976"/>
                        <a:pt x="1756462" y="148342"/>
                        <a:pt x="1779165" y="111707"/>
                      </a:cubicBezTo>
                      <a:cubicBezTo>
                        <a:pt x="1798772" y="80749"/>
                        <a:pt x="1810640" y="76621"/>
                        <a:pt x="1845726" y="88488"/>
                      </a:cubicBezTo>
                      <a:cubicBezTo>
                        <a:pt x="1849854" y="90036"/>
                        <a:pt x="1853466" y="91068"/>
                        <a:pt x="1857594" y="92616"/>
                      </a:cubicBezTo>
                      <a:cubicBezTo>
                        <a:pt x="1898356" y="110159"/>
                        <a:pt x="1905063" y="123059"/>
                        <a:pt x="1895260" y="166401"/>
                      </a:cubicBezTo>
                      <a:cubicBezTo>
                        <a:pt x="1886488" y="205099"/>
                        <a:pt x="1877717" y="243281"/>
                        <a:pt x="1868429" y="281980"/>
                      </a:cubicBezTo>
                      <a:cubicBezTo>
                        <a:pt x="1863269" y="303135"/>
                        <a:pt x="1868429" y="319646"/>
                        <a:pt x="1887004" y="332030"/>
                      </a:cubicBezTo>
                      <a:cubicBezTo>
                        <a:pt x="1906096" y="344929"/>
                        <a:pt x="1925187" y="356796"/>
                        <a:pt x="1946857" y="365052"/>
                      </a:cubicBezTo>
                      <a:cubicBezTo>
                        <a:pt x="1962337" y="370728"/>
                        <a:pt x="1974720" y="367116"/>
                        <a:pt x="1986588" y="355765"/>
                      </a:cubicBezTo>
                      <a:cubicBezTo>
                        <a:pt x="2018062" y="325838"/>
                        <a:pt x="2049537" y="296943"/>
                        <a:pt x="2081528" y="267532"/>
                      </a:cubicBezTo>
                      <a:cubicBezTo>
                        <a:pt x="2107843" y="242765"/>
                        <a:pt x="2122290" y="241733"/>
                        <a:pt x="2151701" y="261857"/>
                      </a:cubicBezTo>
                      <a:cubicBezTo>
                        <a:pt x="2153248" y="262889"/>
                        <a:pt x="2154281" y="263405"/>
                        <a:pt x="2155312" y="264437"/>
                      </a:cubicBezTo>
                      <a:cubicBezTo>
                        <a:pt x="2205363" y="300555"/>
                        <a:pt x="2198139" y="316034"/>
                        <a:pt x="2177500" y="353701"/>
                      </a:cubicBezTo>
                      <a:cubicBezTo>
                        <a:pt x="2158925" y="387755"/>
                        <a:pt x="2141381" y="422842"/>
                        <a:pt x="2122290" y="456896"/>
                      </a:cubicBezTo>
                      <a:cubicBezTo>
                        <a:pt x="2112487" y="474955"/>
                        <a:pt x="2114550" y="490435"/>
                        <a:pt x="2126934" y="505914"/>
                      </a:cubicBezTo>
                      <a:cubicBezTo>
                        <a:pt x="2140865" y="522941"/>
                        <a:pt x="2156345" y="538421"/>
                        <a:pt x="2173372" y="551836"/>
                      </a:cubicBezTo>
                      <a:cubicBezTo>
                        <a:pt x="2187819" y="563187"/>
                        <a:pt x="2202783" y="564735"/>
                        <a:pt x="2219810" y="555964"/>
                      </a:cubicBezTo>
                      <a:cubicBezTo>
                        <a:pt x="2258508" y="534809"/>
                        <a:pt x="2297722" y="514170"/>
                        <a:pt x="2336937" y="494046"/>
                      </a:cubicBezTo>
                      <a:cubicBezTo>
                        <a:pt x="2364799" y="479599"/>
                        <a:pt x="2380795" y="482695"/>
                        <a:pt x="2400917" y="507462"/>
                      </a:cubicBezTo>
                      <a:cubicBezTo>
                        <a:pt x="2408141" y="515717"/>
                        <a:pt x="2414849" y="524489"/>
                        <a:pt x="2420525" y="533777"/>
                      </a:cubicBezTo>
                      <a:cubicBezTo>
                        <a:pt x="2434972" y="556480"/>
                        <a:pt x="2433424" y="571443"/>
                        <a:pt x="2415365" y="591566"/>
                      </a:cubicBezTo>
                      <a:cubicBezTo>
                        <a:pt x="2384406" y="625105"/>
                        <a:pt x="2353448" y="659159"/>
                        <a:pt x="2321973" y="692182"/>
                      </a:cubicBezTo>
                      <a:cubicBezTo>
                        <a:pt x="2310106" y="704565"/>
                        <a:pt x="2307526" y="717981"/>
                        <a:pt x="2313718" y="733460"/>
                      </a:cubicBezTo>
                      <a:cubicBezTo>
                        <a:pt x="2323005" y="755647"/>
                        <a:pt x="2334357" y="776286"/>
                        <a:pt x="2349320" y="795377"/>
                      </a:cubicBezTo>
                      <a:cubicBezTo>
                        <a:pt x="2361187" y="810857"/>
                        <a:pt x="2375635" y="814984"/>
                        <a:pt x="2394726" y="810341"/>
                      </a:cubicBezTo>
                      <a:cubicBezTo>
                        <a:pt x="2438584" y="799505"/>
                        <a:pt x="2482958" y="789701"/>
                        <a:pt x="2526816" y="780414"/>
                      </a:cubicBezTo>
                      <a:cubicBezTo>
                        <a:pt x="2550035" y="775254"/>
                        <a:pt x="2563967" y="781962"/>
                        <a:pt x="2575834" y="803117"/>
                      </a:cubicBezTo>
                      <a:cubicBezTo>
                        <a:pt x="2582026" y="814468"/>
                        <a:pt x="2587186" y="826336"/>
                        <a:pt x="2591313" y="838719"/>
                      </a:cubicBezTo>
                      <a:cubicBezTo>
                        <a:pt x="2600085" y="867098"/>
                        <a:pt x="2595441" y="880514"/>
                        <a:pt x="2570158" y="896509"/>
                      </a:cubicBezTo>
                      <a:cubicBezTo>
                        <a:pt x="2534040" y="919212"/>
                        <a:pt x="2498437" y="942947"/>
                        <a:pt x="2461287" y="964102"/>
                      </a:cubicBezTo>
                      <a:cubicBezTo>
                        <a:pt x="2440132" y="976485"/>
                        <a:pt x="2434456" y="992997"/>
                        <a:pt x="2438068" y="1014668"/>
                      </a:cubicBezTo>
                      <a:cubicBezTo>
                        <a:pt x="2441164" y="1034791"/>
                        <a:pt x="2446840" y="1054398"/>
                        <a:pt x="2454063" y="1073489"/>
                      </a:cubicBezTo>
                      <a:cubicBezTo>
                        <a:pt x="2460771" y="1091032"/>
                        <a:pt x="2472638" y="1100320"/>
                        <a:pt x="2492762" y="1100836"/>
                      </a:cubicBezTo>
                      <a:cubicBezTo>
                        <a:pt x="2538168" y="1101352"/>
                        <a:pt x="2583058" y="1104448"/>
                        <a:pt x="2628464" y="1105996"/>
                      </a:cubicBezTo>
                      <a:cubicBezTo>
                        <a:pt x="2653230" y="1107028"/>
                        <a:pt x="2665614" y="1116831"/>
                        <a:pt x="2672322" y="1140566"/>
                      </a:cubicBezTo>
                      <a:cubicBezTo>
                        <a:pt x="2676449" y="1153982"/>
                        <a:pt x="2677998" y="1167913"/>
                        <a:pt x="2677998" y="1182360"/>
                      </a:cubicBezTo>
                      <a:cubicBezTo>
                        <a:pt x="2677998" y="1210223"/>
                        <a:pt x="2670258" y="1221575"/>
                        <a:pt x="2644459" y="1229830"/>
                      </a:cubicBezTo>
                      <a:cubicBezTo>
                        <a:pt x="2603697" y="1242730"/>
                        <a:pt x="2562934" y="1255113"/>
                        <a:pt x="2522172" y="1267497"/>
                      </a:cubicBezTo>
                      <a:cubicBezTo>
                        <a:pt x="2492762" y="1276268"/>
                        <a:pt x="2485022" y="1285556"/>
                        <a:pt x="2483990" y="1315998"/>
                      </a:cubicBezTo>
                      <a:cubicBezTo>
                        <a:pt x="2483474" y="1337153"/>
                        <a:pt x="2481926" y="1358824"/>
                        <a:pt x="2486570" y="1379980"/>
                      </a:cubicBezTo>
                      <a:cubicBezTo>
                        <a:pt x="2489666" y="1394427"/>
                        <a:pt x="2498437" y="1403199"/>
                        <a:pt x="2512885" y="1407842"/>
                      </a:cubicBezTo>
                      <a:cubicBezTo>
                        <a:pt x="2555711" y="1420742"/>
                        <a:pt x="2598537" y="1433641"/>
                        <a:pt x="2641363" y="1447057"/>
                      </a:cubicBezTo>
                      <a:cubicBezTo>
                        <a:pt x="2671290" y="1456344"/>
                        <a:pt x="2678514" y="1466664"/>
                        <a:pt x="2677998" y="1498138"/>
                      </a:cubicBezTo>
                      <a:cubicBezTo>
                        <a:pt x="2677998" y="1501234"/>
                        <a:pt x="2677998" y="1504330"/>
                        <a:pt x="2677998" y="1507426"/>
                      </a:cubicBezTo>
                      <a:cubicBezTo>
                        <a:pt x="2675934" y="1555928"/>
                        <a:pt x="2660454" y="1571407"/>
                        <a:pt x="2611952" y="1572955"/>
                      </a:cubicBezTo>
                      <a:cubicBezTo>
                        <a:pt x="2571190" y="1573987"/>
                        <a:pt x="2530944" y="1576051"/>
                        <a:pt x="2490182" y="1576567"/>
                      </a:cubicBezTo>
                      <a:cubicBezTo>
                        <a:pt x="2474702" y="1577083"/>
                        <a:pt x="2463867" y="1583791"/>
                        <a:pt x="2457675" y="1596690"/>
                      </a:cubicBezTo>
                      <a:cubicBezTo>
                        <a:pt x="2446324" y="1620941"/>
                        <a:pt x="2439100" y="1646224"/>
                        <a:pt x="2437036" y="1673055"/>
                      </a:cubicBezTo>
                      <a:cubicBezTo>
                        <a:pt x="2435488" y="1690082"/>
                        <a:pt x="2442712" y="1701434"/>
                        <a:pt x="2457159" y="1710205"/>
                      </a:cubicBezTo>
                      <a:cubicBezTo>
                        <a:pt x="2493278" y="1732392"/>
                        <a:pt x="2528880" y="1754579"/>
                        <a:pt x="2564483" y="1777282"/>
                      </a:cubicBezTo>
                      <a:cubicBezTo>
                        <a:pt x="2596989" y="1797405"/>
                        <a:pt x="2601117" y="1809789"/>
                        <a:pt x="2588733" y="1845907"/>
                      </a:cubicBezTo>
                      <a:cubicBezTo>
                        <a:pt x="2584606" y="1858291"/>
                        <a:pt x="2578930" y="1870158"/>
                        <a:pt x="2571706" y="1880994"/>
                      </a:cubicBezTo>
                      <a:cubicBezTo>
                        <a:pt x="2564998" y="1890797"/>
                        <a:pt x="2554163" y="1897505"/>
                        <a:pt x="2538684" y="1897505"/>
                      </a:cubicBezTo>
                      <a:close/>
                      <a:moveTo>
                        <a:pt x="1338521" y="2312867"/>
                      </a:moveTo>
                      <a:cubicBezTo>
                        <a:pt x="1869461" y="2314931"/>
                        <a:pt x="2317329" y="1887701"/>
                        <a:pt x="2316814" y="1335605"/>
                      </a:cubicBezTo>
                      <a:cubicBezTo>
                        <a:pt x="2316298" y="792797"/>
                        <a:pt x="1880813" y="359892"/>
                        <a:pt x="1340068" y="359376"/>
                      </a:cubicBezTo>
                      <a:cubicBezTo>
                        <a:pt x="796228" y="358860"/>
                        <a:pt x="363839" y="794861"/>
                        <a:pt x="361775" y="1331994"/>
                      </a:cubicBezTo>
                      <a:cubicBezTo>
                        <a:pt x="359711" y="1882026"/>
                        <a:pt x="806032" y="2314415"/>
                        <a:pt x="1338521" y="2312867"/>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3" name="Google Shape;123;p15"/>
                <p:cNvSpPr/>
                <p:nvPr/>
              </p:nvSpPr>
              <p:spPr>
                <a:xfrm>
                  <a:off x="7558586" y="2011427"/>
                  <a:ext cx="1898797" cy="1893637"/>
                </a:xfrm>
                <a:custGeom>
                  <a:avLst/>
                  <a:gdLst/>
                  <a:ahLst/>
                  <a:cxnLst/>
                  <a:rect l="l" t="t" r="r" b="b"/>
                  <a:pathLst>
                    <a:path w="1898796" h="1893636" extrusionOk="0">
                      <a:moveTo>
                        <a:pt x="30" y="947852"/>
                      </a:moveTo>
                      <a:cubicBezTo>
                        <a:pt x="-3065" y="428263"/>
                        <a:pt x="426228" y="-1030"/>
                        <a:pt x="950461" y="2"/>
                      </a:cubicBezTo>
                      <a:cubicBezTo>
                        <a:pt x="1472114" y="1034"/>
                        <a:pt x="1899859" y="427747"/>
                        <a:pt x="1898827" y="950948"/>
                      </a:cubicBezTo>
                      <a:cubicBezTo>
                        <a:pt x="1897795" y="1468473"/>
                        <a:pt x="1477790" y="1899315"/>
                        <a:pt x="946849" y="1898283"/>
                      </a:cubicBezTo>
                      <a:cubicBezTo>
                        <a:pt x="411781" y="1896735"/>
                        <a:pt x="-4097" y="1460218"/>
                        <a:pt x="30" y="947852"/>
                      </a:cubicBezTo>
                      <a:close/>
                      <a:moveTo>
                        <a:pt x="1187811" y="949916"/>
                      </a:moveTo>
                      <a:cubicBezTo>
                        <a:pt x="1188327" y="817310"/>
                        <a:pt x="1084099" y="710503"/>
                        <a:pt x="949429" y="710503"/>
                      </a:cubicBezTo>
                      <a:cubicBezTo>
                        <a:pt x="805987" y="710503"/>
                        <a:pt x="710015" y="828146"/>
                        <a:pt x="710532" y="948368"/>
                      </a:cubicBezTo>
                      <a:cubicBezTo>
                        <a:pt x="711048" y="1081490"/>
                        <a:pt x="815791" y="1188298"/>
                        <a:pt x="948397" y="1188298"/>
                      </a:cubicBezTo>
                      <a:cubicBezTo>
                        <a:pt x="1081003" y="1188298"/>
                        <a:pt x="1187294" y="1083038"/>
                        <a:pt x="1187811" y="949916"/>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4" name="Google Shape;124;p15"/>
            <p:cNvSpPr/>
            <p:nvPr/>
          </p:nvSpPr>
          <p:spPr>
            <a:xfrm>
              <a:off x="10132589" y="4237994"/>
              <a:ext cx="577306" cy="577307"/>
            </a:xfrm>
            <a:custGeom>
              <a:avLst/>
              <a:gdLst/>
              <a:ahLst/>
              <a:cxnLst/>
              <a:rect l="l" t="t" r="r" b="b"/>
              <a:pathLst>
                <a:path w="1243505" h="1243505" extrusionOk="0">
                  <a:moveTo>
                    <a:pt x="686157" y="1016068"/>
                  </a:moveTo>
                  <a:cubicBezTo>
                    <a:pt x="644363" y="1024840"/>
                    <a:pt x="602053" y="1021743"/>
                    <a:pt x="560258" y="1016068"/>
                  </a:cubicBezTo>
                  <a:cubicBezTo>
                    <a:pt x="550455" y="1015036"/>
                    <a:pt x="547359" y="1018132"/>
                    <a:pt x="545811" y="1026903"/>
                  </a:cubicBezTo>
                  <a:cubicBezTo>
                    <a:pt x="542199" y="1047542"/>
                    <a:pt x="537039" y="1068181"/>
                    <a:pt x="533944" y="1088821"/>
                  </a:cubicBezTo>
                  <a:cubicBezTo>
                    <a:pt x="529816" y="1117715"/>
                    <a:pt x="519496" y="1144030"/>
                    <a:pt x="505565" y="1169829"/>
                  </a:cubicBezTo>
                  <a:cubicBezTo>
                    <a:pt x="492666" y="1192532"/>
                    <a:pt x="481314" y="1216267"/>
                    <a:pt x="469447" y="1240002"/>
                  </a:cubicBezTo>
                  <a:cubicBezTo>
                    <a:pt x="465835" y="1247741"/>
                    <a:pt x="461191" y="1249290"/>
                    <a:pt x="452935" y="1246710"/>
                  </a:cubicBezTo>
                  <a:cubicBezTo>
                    <a:pt x="401853" y="1231230"/>
                    <a:pt x="352836" y="1211107"/>
                    <a:pt x="305366" y="1185824"/>
                  </a:cubicBezTo>
                  <a:cubicBezTo>
                    <a:pt x="297110" y="1181696"/>
                    <a:pt x="295562" y="1177053"/>
                    <a:pt x="298142" y="1168281"/>
                  </a:cubicBezTo>
                  <a:cubicBezTo>
                    <a:pt x="310525" y="1132163"/>
                    <a:pt x="321877" y="1095528"/>
                    <a:pt x="333744" y="1059410"/>
                  </a:cubicBezTo>
                  <a:cubicBezTo>
                    <a:pt x="335808" y="1053734"/>
                    <a:pt x="338904" y="1048574"/>
                    <a:pt x="342000" y="1043415"/>
                  </a:cubicBezTo>
                  <a:cubicBezTo>
                    <a:pt x="360059" y="1016584"/>
                    <a:pt x="377602" y="989753"/>
                    <a:pt x="395662" y="962922"/>
                  </a:cubicBezTo>
                  <a:cubicBezTo>
                    <a:pt x="399790" y="956730"/>
                    <a:pt x="399790" y="952603"/>
                    <a:pt x="393598" y="947959"/>
                  </a:cubicBezTo>
                  <a:cubicBezTo>
                    <a:pt x="356963" y="921644"/>
                    <a:pt x="326005" y="889653"/>
                    <a:pt x="299174" y="853535"/>
                  </a:cubicBezTo>
                  <a:cubicBezTo>
                    <a:pt x="295046" y="847859"/>
                    <a:pt x="290918" y="847859"/>
                    <a:pt x="285243" y="851471"/>
                  </a:cubicBezTo>
                  <a:cubicBezTo>
                    <a:pt x="267183" y="863855"/>
                    <a:pt x="248092" y="875206"/>
                    <a:pt x="230549" y="888106"/>
                  </a:cubicBezTo>
                  <a:cubicBezTo>
                    <a:pt x="205782" y="906681"/>
                    <a:pt x="178435" y="918548"/>
                    <a:pt x="148509" y="926804"/>
                  </a:cubicBezTo>
                  <a:cubicBezTo>
                    <a:pt x="124774" y="933511"/>
                    <a:pt x="101555" y="941767"/>
                    <a:pt x="78852" y="949507"/>
                  </a:cubicBezTo>
                  <a:cubicBezTo>
                    <a:pt x="71112" y="952087"/>
                    <a:pt x="66468" y="950539"/>
                    <a:pt x="62340" y="942799"/>
                  </a:cubicBezTo>
                  <a:cubicBezTo>
                    <a:pt x="36541" y="895329"/>
                    <a:pt x="15902" y="845795"/>
                    <a:pt x="939" y="794198"/>
                  </a:cubicBezTo>
                  <a:cubicBezTo>
                    <a:pt x="-1125" y="786458"/>
                    <a:pt x="-93" y="782330"/>
                    <a:pt x="7131" y="778718"/>
                  </a:cubicBezTo>
                  <a:cubicBezTo>
                    <a:pt x="42733" y="760659"/>
                    <a:pt x="77820" y="741052"/>
                    <a:pt x="114454" y="725056"/>
                  </a:cubicBezTo>
                  <a:cubicBezTo>
                    <a:pt x="137673" y="714737"/>
                    <a:pt x="164504" y="714221"/>
                    <a:pt x="189787" y="708545"/>
                  </a:cubicBezTo>
                  <a:cubicBezTo>
                    <a:pt x="200106" y="705965"/>
                    <a:pt x="210942" y="704417"/>
                    <a:pt x="221261" y="702354"/>
                  </a:cubicBezTo>
                  <a:cubicBezTo>
                    <a:pt x="229001" y="700806"/>
                    <a:pt x="233129" y="698226"/>
                    <a:pt x="231581" y="688938"/>
                  </a:cubicBezTo>
                  <a:cubicBezTo>
                    <a:pt x="229001" y="669847"/>
                    <a:pt x="226937" y="650756"/>
                    <a:pt x="225905" y="631149"/>
                  </a:cubicBezTo>
                  <a:cubicBezTo>
                    <a:pt x="224873" y="606898"/>
                    <a:pt x="229517" y="583163"/>
                    <a:pt x="231581" y="559428"/>
                  </a:cubicBezTo>
                  <a:cubicBezTo>
                    <a:pt x="232613" y="549624"/>
                    <a:pt x="229001" y="546528"/>
                    <a:pt x="220745" y="544980"/>
                  </a:cubicBezTo>
                  <a:cubicBezTo>
                    <a:pt x="204750" y="542401"/>
                    <a:pt x="188755" y="537757"/>
                    <a:pt x="172760" y="535693"/>
                  </a:cubicBezTo>
                  <a:cubicBezTo>
                    <a:pt x="118582" y="530533"/>
                    <a:pt x="74208" y="502154"/>
                    <a:pt x="27770" y="478419"/>
                  </a:cubicBezTo>
                  <a:cubicBezTo>
                    <a:pt x="-2157" y="463456"/>
                    <a:pt x="-1125" y="463456"/>
                    <a:pt x="8163" y="431465"/>
                  </a:cubicBezTo>
                  <a:cubicBezTo>
                    <a:pt x="21062" y="387091"/>
                    <a:pt x="41701" y="345813"/>
                    <a:pt x="62340" y="305051"/>
                  </a:cubicBezTo>
                  <a:cubicBezTo>
                    <a:pt x="66468" y="296795"/>
                    <a:pt x="71112" y="295247"/>
                    <a:pt x="79884" y="297827"/>
                  </a:cubicBezTo>
                  <a:cubicBezTo>
                    <a:pt x="116002" y="310211"/>
                    <a:pt x="152636" y="321562"/>
                    <a:pt x="188755" y="333430"/>
                  </a:cubicBezTo>
                  <a:cubicBezTo>
                    <a:pt x="194430" y="335494"/>
                    <a:pt x="199590" y="338589"/>
                    <a:pt x="204750" y="341685"/>
                  </a:cubicBezTo>
                  <a:cubicBezTo>
                    <a:pt x="231581" y="359745"/>
                    <a:pt x="258412" y="377288"/>
                    <a:pt x="285243" y="395347"/>
                  </a:cubicBezTo>
                  <a:cubicBezTo>
                    <a:pt x="291434" y="399475"/>
                    <a:pt x="295562" y="399475"/>
                    <a:pt x="300206" y="393283"/>
                  </a:cubicBezTo>
                  <a:cubicBezTo>
                    <a:pt x="326521" y="357165"/>
                    <a:pt x="357479" y="326206"/>
                    <a:pt x="393598" y="299891"/>
                  </a:cubicBezTo>
                  <a:cubicBezTo>
                    <a:pt x="400305" y="294731"/>
                    <a:pt x="399790" y="290604"/>
                    <a:pt x="395662" y="283896"/>
                  </a:cubicBezTo>
                  <a:cubicBezTo>
                    <a:pt x="381214" y="263257"/>
                    <a:pt x="367799" y="241586"/>
                    <a:pt x="353352" y="220947"/>
                  </a:cubicBezTo>
                  <a:cubicBezTo>
                    <a:pt x="340452" y="202887"/>
                    <a:pt x="331681" y="183280"/>
                    <a:pt x="325489" y="162125"/>
                  </a:cubicBezTo>
                  <a:cubicBezTo>
                    <a:pt x="317749" y="135294"/>
                    <a:pt x="308978" y="108980"/>
                    <a:pt x="299690" y="82665"/>
                  </a:cubicBezTo>
                  <a:cubicBezTo>
                    <a:pt x="296078" y="72345"/>
                    <a:pt x="297626" y="66669"/>
                    <a:pt x="307946" y="61510"/>
                  </a:cubicBezTo>
                  <a:cubicBezTo>
                    <a:pt x="353867" y="37259"/>
                    <a:pt x="401853" y="17136"/>
                    <a:pt x="451903" y="2172"/>
                  </a:cubicBezTo>
                  <a:cubicBezTo>
                    <a:pt x="461191" y="-408"/>
                    <a:pt x="465835" y="624"/>
                    <a:pt x="470478" y="9396"/>
                  </a:cubicBezTo>
                  <a:cubicBezTo>
                    <a:pt x="487506" y="43451"/>
                    <a:pt x="505565" y="77505"/>
                    <a:pt x="522076" y="111559"/>
                  </a:cubicBezTo>
                  <a:cubicBezTo>
                    <a:pt x="531880" y="132199"/>
                    <a:pt x="532396" y="155934"/>
                    <a:pt x="537555" y="177605"/>
                  </a:cubicBezTo>
                  <a:cubicBezTo>
                    <a:pt x="541167" y="192568"/>
                    <a:pt x="543747" y="208047"/>
                    <a:pt x="546843" y="223011"/>
                  </a:cubicBezTo>
                  <a:cubicBezTo>
                    <a:pt x="548391" y="230234"/>
                    <a:pt x="550971" y="232814"/>
                    <a:pt x="559227" y="231782"/>
                  </a:cubicBezTo>
                  <a:cubicBezTo>
                    <a:pt x="602569" y="225590"/>
                    <a:pt x="645395" y="225074"/>
                    <a:pt x="688737" y="231782"/>
                  </a:cubicBezTo>
                  <a:cubicBezTo>
                    <a:pt x="699056" y="233330"/>
                    <a:pt x="702152" y="229718"/>
                    <a:pt x="704216" y="220431"/>
                  </a:cubicBezTo>
                  <a:cubicBezTo>
                    <a:pt x="707828" y="199276"/>
                    <a:pt x="713504" y="178636"/>
                    <a:pt x="716600" y="156966"/>
                  </a:cubicBezTo>
                  <a:cubicBezTo>
                    <a:pt x="720727" y="129103"/>
                    <a:pt x="730531" y="103820"/>
                    <a:pt x="743430" y="79569"/>
                  </a:cubicBezTo>
                  <a:cubicBezTo>
                    <a:pt x="756330" y="56350"/>
                    <a:pt x="768197" y="32099"/>
                    <a:pt x="780065" y="8364"/>
                  </a:cubicBezTo>
                  <a:cubicBezTo>
                    <a:pt x="784193" y="108"/>
                    <a:pt x="788320" y="-1440"/>
                    <a:pt x="797092" y="1140"/>
                  </a:cubicBezTo>
                  <a:cubicBezTo>
                    <a:pt x="848174" y="16620"/>
                    <a:pt x="897192" y="36743"/>
                    <a:pt x="944146" y="62542"/>
                  </a:cubicBezTo>
                  <a:cubicBezTo>
                    <a:pt x="951885" y="66669"/>
                    <a:pt x="953949" y="70797"/>
                    <a:pt x="950853" y="79053"/>
                  </a:cubicBezTo>
                  <a:cubicBezTo>
                    <a:pt x="938470" y="115687"/>
                    <a:pt x="927118" y="152838"/>
                    <a:pt x="914735" y="189472"/>
                  </a:cubicBezTo>
                  <a:cubicBezTo>
                    <a:pt x="912671" y="195148"/>
                    <a:pt x="909575" y="200308"/>
                    <a:pt x="906479" y="205467"/>
                  </a:cubicBezTo>
                  <a:cubicBezTo>
                    <a:pt x="888936" y="231782"/>
                    <a:pt x="871393" y="258613"/>
                    <a:pt x="853334" y="284928"/>
                  </a:cubicBezTo>
                  <a:cubicBezTo>
                    <a:pt x="848690" y="291635"/>
                    <a:pt x="849206" y="296279"/>
                    <a:pt x="855398" y="300923"/>
                  </a:cubicBezTo>
                  <a:cubicBezTo>
                    <a:pt x="891516" y="327238"/>
                    <a:pt x="922475" y="358713"/>
                    <a:pt x="948789" y="394315"/>
                  </a:cubicBezTo>
                  <a:cubicBezTo>
                    <a:pt x="953433" y="401023"/>
                    <a:pt x="957561" y="400507"/>
                    <a:pt x="963753" y="396379"/>
                  </a:cubicBezTo>
                  <a:cubicBezTo>
                    <a:pt x="981296" y="384511"/>
                    <a:pt x="999355" y="373676"/>
                    <a:pt x="1015866" y="360777"/>
                  </a:cubicBezTo>
                  <a:cubicBezTo>
                    <a:pt x="1041149" y="341685"/>
                    <a:pt x="1069528" y="329302"/>
                    <a:pt x="1099971" y="320530"/>
                  </a:cubicBezTo>
                  <a:cubicBezTo>
                    <a:pt x="1123190" y="314339"/>
                    <a:pt x="1145893" y="306083"/>
                    <a:pt x="1168596" y="298343"/>
                  </a:cubicBezTo>
                  <a:cubicBezTo>
                    <a:pt x="1177368" y="295247"/>
                    <a:pt x="1181495" y="297311"/>
                    <a:pt x="1186139" y="305567"/>
                  </a:cubicBezTo>
                  <a:cubicBezTo>
                    <a:pt x="1211422" y="352521"/>
                    <a:pt x="1232061" y="401539"/>
                    <a:pt x="1247024" y="453136"/>
                  </a:cubicBezTo>
                  <a:cubicBezTo>
                    <a:pt x="1249604" y="461392"/>
                    <a:pt x="1247540" y="465520"/>
                    <a:pt x="1240317" y="469648"/>
                  </a:cubicBezTo>
                  <a:cubicBezTo>
                    <a:pt x="1205230" y="487191"/>
                    <a:pt x="1171176" y="506282"/>
                    <a:pt x="1135573" y="522277"/>
                  </a:cubicBezTo>
                  <a:cubicBezTo>
                    <a:pt x="1111838" y="533113"/>
                    <a:pt x="1084492" y="533629"/>
                    <a:pt x="1059209" y="539821"/>
                  </a:cubicBezTo>
                  <a:cubicBezTo>
                    <a:pt x="1053017" y="541369"/>
                    <a:pt x="1046309" y="542401"/>
                    <a:pt x="1040117" y="543433"/>
                  </a:cubicBezTo>
                  <a:cubicBezTo>
                    <a:pt x="1015866" y="548592"/>
                    <a:pt x="1014318" y="548592"/>
                    <a:pt x="1017930" y="572843"/>
                  </a:cubicBezTo>
                  <a:cubicBezTo>
                    <a:pt x="1024122" y="611541"/>
                    <a:pt x="1021542" y="649724"/>
                    <a:pt x="1016383" y="688422"/>
                  </a:cubicBezTo>
                  <a:cubicBezTo>
                    <a:pt x="1014835" y="699258"/>
                    <a:pt x="1019478" y="701837"/>
                    <a:pt x="1028250" y="703386"/>
                  </a:cubicBezTo>
                  <a:cubicBezTo>
                    <a:pt x="1058177" y="709061"/>
                    <a:pt x="1088103" y="715253"/>
                    <a:pt x="1118030" y="720929"/>
                  </a:cubicBezTo>
                  <a:cubicBezTo>
                    <a:pt x="1126802" y="722477"/>
                    <a:pt x="1134541" y="725572"/>
                    <a:pt x="1142281" y="729184"/>
                  </a:cubicBezTo>
                  <a:cubicBezTo>
                    <a:pt x="1173756" y="745696"/>
                    <a:pt x="1205746" y="762207"/>
                    <a:pt x="1237737" y="777686"/>
                  </a:cubicBezTo>
                  <a:cubicBezTo>
                    <a:pt x="1247024" y="782330"/>
                    <a:pt x="1249604" y="786974"/>
                    <a:pt x="1246508" y="797809"/>
                  </a:cubicBezTo>
                  <a:cubicBezTo>
                    <a:pt x="1231545" y="847859"/>
                    <a:pt x="1211422" y="895329"/>
                    <a:pt x="1186655" y="941767"/>
                  </a:cubicBezTo>
                  <a:cubicBezTo>
                    <a:pt x="1182011" y="950539"/>
                    <a:pt x="1177368" y="953634"/>
                    <a:pt x="1167564" y="950023"/>
                  </a:cubicBezTo>
                  <a:cubicBezTo>
                    <a:pt x="1132477" y="938155"/>
                    <a:pt x="1097391" y="926804"/>
                    <a:pt x="1062304" y="915452"/>
                  </a:cubicBezTo>
                  <a:cubicBezTo>
                    <a:pt x="1055081" y="913388"/>
                    <a:pt x="1048889" y="909776"/>
                    <a:pt x="1042697" y="905649"/>
                  </a:cubicBezTo>
                  <a:cubicBezTo>
                    <a:pt x="1016383" y="888106"/>
                    <a:pt x="989552" y="870562"/>
                    <a:pt x="963237" y="852503"/>
                  </a:cubicBezTo>
                  <a:cubicBezTo>
                    <a:pt x="956529" y="847859"/>
                    <a:pt x="952401" y="848375"/>
                    <a:pt x="947241" y="855083"/>
                  </a:cubicBezTo>
                  <a:cubicBezTo>
                    <a:pt x="921443" y="890169"/>
                    <a:pt x="891000" y="921128"/>
                    <a:pt x="855914" y="946927"/>
                  </a:cubicBezTo>
                  <a:cubicBezTo>
                    <a:pt x="847658" y="953119"/>
                    <a:pt x="848174" y="958278"/>
                    <a:pt x="853850" y="966018"/>
                  </a:cubicBezTo>
                  <a:cubicBezTo>
                    <a:pt x="866749" y="984077"/>
                    <a:pt x="877584" y="1002652"/>
                    <a:pt x="890484" y="1020711"/>
                  </a:cubicBezTo>
                  <a:cubicBezTo>
                    <a:pt x="906479" y="1042899"/>
                    <a:pt x="917831" y="1067149"/>
                    <a:pt x="925054" y="1093464"/>
                  </a:cubicBezTo>
                  <a:cubicBezTo>
                    <a:pt x="932278" y="1119263"/>
                    <a:pt x="941050" y="1144030"/>
                    <a:pt x="949821" y="1169313"/>
                  </a:cubicBezTo>
                  <a:cubicBezTo>
                    <a:pt x="952401" y="1177053"/>
                    <a:pt x="950853" y="1181696"/>
                    <a:pt x="943114" y="1185824"/>
                  </a:cubicBezTo>
                  <a:cubicBezTo>
                    <a:pt x="895644" y="1211623"/>
                    <a:pt x="846110" y="1232262"/>
                    <a:pt x="794512" y="1247226"/>
                  </a:cubicBezTo>
                  <a:cubicBezTo>
                    <a:pt x="786773" y="1249290"/>
                    <a:pt x="782645" y="1248258"/>
                    <a:pt x="779033" y="1241034"/>
                  </a:cubicBezTo>
                  <a:cubicBezTo>
                    <a:pt x="760974" y="1205432"/>
                    <a:pt x="742399" y="1169829"/>
                    <a:pt x="724855" y="1134226"/>
                  </a:cubicBezTo>
                  <a:cubicBezTo>
                    <a:pt x="720211" y="1125455"/>
                    <a:pt x="720211" y="1115136"/>
                    <a:pt x="718148" y="1105332"/>
                  </a:cubicBezTo>
                  <a:cubicBezTo>
                    <a:pt x="712988" y="1080565"/>
                    <a:pt x="708344" y="1055798"/>
                    <a:pt x="703184" y="1031031"/>
                  </a:cubicBezTo>
                  <a:cubicBezTo>
                    <a:pt x="700604" y="1015552"/>
                    <a:pt x="701120" y="1015552"/>
                    <a:pt x="686157" y="1016068"/>
                  </a:cubicBezTo>
                  <a:close/>
                  <a:moveTo>
                    <a:pt x="624240" y="791102"/>
                  </a:moveTo>
                  <a:cubicBezTo>
                    <a:pt x="720211" y="788522"/>
                    <a:pt x="791416" y="716801"/>
                    <a:pt x="790900" y="623925"/>
                  </a:cubicBezTo>
                  <a:cubicBezTo>
                    <a:pt x="790384" y="528985"/>
                    <a:pt x="717632" y="457780"/>
                    <a:pt x="624240" y="458296"/>
                  </a:cubicBezTo>
                  <a:cubicBezTo>
                    <a:pt x="530332" y="458296"/>
                    <a:pt x="458095" y="530533"/>
                    <a:pt x="458095" y="624441"/>
                  </a:cubicBezTo>
                  <a:cubicBezTo>
                    <a:pt x="458095" y="718349"/>
                    <a:pt x="530848" y="788522"/>
                    <a:pt x="624240" y="791102"/>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25" name="Google Shape;125;p15"/>
            <p:cNvGrpSpPr/>
            <p:nvPr/>
          </p:nvGrpSpPr>
          <p:grpSpPr>
            <a:xfrm rot="2159485">
              <a:off x="10055501" y="2964359"/>
              <a:ext cx="1639387" cy="985059"/>
              <a:chOff x="2753518" y="3556278"/>
              <a:chExt cx="2028524" cy="1218879"/>
            </a:xfrm>
          </p:grpSpPr>
          <p:sp>
            <p:nvSpPr>
              <p:cNvPr id="126" name="Google Shape;126;p15"/>
              <p:cNvSpPr/>
              <p:nvPr/>
            </p:nvSpPr>
            <p:spPr>
              <a:xfrm>
                <a:off x="2753518" y="3683131"/>
                <a:ext cx="796648" cy="799367"/>
              </a:xfrm>
              <a:custGeom>
                <a:avLst/>
                <a:gdLst/>
                <a:ahLst/>
                <a:cxnLst/>
                <a:rect l="l" t="t" r="r" b="b"/>
                <a:pathLst>
                  <a:path w="1511813" h="1516973" extrusionOk="0">
                    <a:moveTo>
                      <a:pt x="817500" y="1518710"/>
                    </a:moveTo>
                    <a:cubicBezTo>
                      <a:pt x="809245" y="1520774"/>
                      <a:pt x="805633" y="1516130"/>
                      <a:pt x="802537" y="1507875"/>
                    </a:cubicBezTo>
                    <a:cubicBezTo>
                      <a:pt x="795829" y="1486204"/>
                      <a:pt x="788090" y="1464532"/>
                      <a:pt x="780866" y="1442862"/>
                    </a:cubicBezTo>
                    <a:cubicBezTo>
                      <a:pt x="774674" y="1424286"/>
                      <a:pt x="777770" y="1404679"/>
                      <a:pt x="776738" y="1385072"/>
                    </a:cubicBezTo>
                    <a:cubicBezTo>
                      <a:pt x="776222" y="1369593"/>
                      <a:pt x="775706" y="1370109"/>
                      <a:pt x="760227" y="1369593"/>
                    </a:cubicBezTo>
                    <a:cubicBezTo>
                      <a:pt x="738556" y="1369593"/>
                      <a:pt x="716369" y="1368045"/>
                      <a:pt x="694698" y="1366497"/>
                    </a:cubicBezTo>
                    <a:cubicBezTo>
                      <a:pt x="683346" y="1365465"/>
                      <a:pt x="676638" y="1365981"/>
                      <a:pt x="676638" y="1379912"/>
                    </a:cubicBezTo>
                    <a:cubicBezTo>
                      <a:pt x="676638" y="1424286"/>
                      <a:pt x="655483" y="1462469"/>
                      <a:pt x="637940" y="1501683"/>
                    </a:cubicBezTo>
                    <a:cubicBezTo>
                      <a:pt x="634844" y="1508907"/>
                      <a:pt x="630716" y="1510454"/>
                      <a:pt x="622977" y="1508907"/>
                    </a:cubicBezTo>
                    <a:cubicBezTo>
                      <a:pt x="556416" y="1496523"/>
                      <a:pt x="492434" y="1475368"/>
                      <a:pt x="430517" y="1447505"/>
                    </a:cubicBezTo>
                    <a:cubicBezTo>
                      <a:pt x="423294" y="1443893"/>
                      <a:pt x="420198" y="1440282"/>
                      <a:pt x="422262" y="1431510"/>
                    </a:cubicBezTo>
                    <a:cubicBezTo>
                      <a:pt x="427421" y="1409323"/>
                      <a:pt x="431033" y="1386620"/>
                      <a:pt x="435677" y="1364433"/>
                    </a:cubicBezTo>
                    <a:cubicBezTo>
                      <a:pt x="439805" y="1344310"/>
                      <a:pt x="452704" y="1327798"/>
                      <a:pt x="461992" y="1310255"/>
                    </a:cubicBezTo>
                    <a:cubicBezTo>
                      <a:pt x="467152" y="1300452"/>
                      <a:pt x="466120" y="1295808"/>
                      <a:pt x="456316" y="1290132"/>
                    </a:cubicBezTo>
                    <a:cubicBezTo>
                      <a:pt x="435677" y="1278265"/>
                      <a:pt x="415554" y="1264849"/>
                      <a:pt x="395431" y="1251434"/>
                    </a:cubicBezTo>
                    <a:cubicBezTo>
                      <a:pt x="388207" y="1246274"/>
                      <a:pt x="383563" y="1246274"/>
                      <a:pt x="378919" y="1254014"/>
                    </a:cubicBezTo>
                    <a:cubicBezTo>
                      <a:pt x="356216" y="1293228"/>
                      <a:pt x="319066" y="1317479"/>
                      <a:pt x="283464" y="1342246"/>
                    </a:cubicBezTo>
                    <a:cubicBezTo>
                      <a:pt x="276240" y="1346890"/>
                      <a:pt x="272112" y="1346374"/>
                      <a:pt x="265920" y="1341214"/>
                    </a:cubicBezTo>
                    <a:cubicBezTo>
                      <a:pt x="214323" y="1297356"/>
                      <a:pt x="169433" y="1246790"/>
                      <a:pt x="130218" y="1191580"/>
                    </a:cubicBezTo>
                    <a:cubicBezTo>
                      <a:pt x="125575" y="1185389"/>
                      <a:pt x="125059" y="1180745"/>
                      <a:pt x="130734" y="1174553"/>
                    </a:cubicBezTo>
                    <a:cubicBezTo>
                      <a:pt x="146730" y="1157010"/>
                      <a:pt x="161177" y="1138435"/>
                      <a:pt x="177688" y="1121408"/>
                    </a:cubicBezTo>
                    <a:cubicBezTo>
                      <a:pt x="191104" y="1107476"/>
                      <a:pt x="209163" y="1099221"/>
                      <a:pt x="225674" y="1089417"/>
                    </a:cubicBezTo>
                    <a:cubicBezTo>
                      <a:pt x="236510" y="1083225"/>
                      <a:pt x="237026" y="1078065"/>
                      <a:pt x="230834" y="1067230"/>
                    </a:cubicBezTo>
                    <a:cubicBezTo>
                      <a:pt x="218967" y="1047107"/>
                      <a:pt x="208647" y="1025436"/>
                      <a:pt x="198327" y="1004281"/>
                    </a:cubicBezTo>
                    <a:cubicBezTo>
                      <a:pt x="194716" y="997057"/>
                      <a:pt x="192136" y="993445"/>
                      <a:pt x="183880" y="998089"/>
                    </a:cubicBezTo>
                    <a:cubicBezTo>
                      <a:pt x="147246" y="1017180"/>
                      <a:pt x="108031" y="1024920"/>
                      <a:pt x="67269" y="1025952"/>
                    </a:cubicBezTo>
                    <a:cubicBezTo>
                      <a:pt x="63657" y="1025952"/>
                      <a:pt x="59529" y="1026984"/>
                      <a:pt x="55918" y="1027500"/>
                    </a:cubicBezTo>
                    <a:cubicBezTo>
                      <a:pt x="48694" y="1028532"/>
                      <a:pt x="44050" y="1025952"/>
                      <a:pt x="41470" y="1018212"/>
                    </a:cubicBezTo>
                    <a:cubicBezTo>
                      <a:pt x="21347" y="960939"/>
                      <a:pt x="6384" y="902117"/>
                      <a:pt x="1224" y="841748"/>
                    </a:cubicBezTo>
                    <a:cubicBezTo>
                      <a:pt x="-1872" y="808725"/>
                      <a:pt x="-1356" y="809241"/>
                      <a:pt x="30635" y="797374"/>
                    </a:cubicBezTo>
                    <a:cubicBezTo>
                      <a:pt x="64173" y="784474"/>
                      <a:pt x="98744" y="775703"/>
                      <a:pt x="134862" y="778799"/>
                    </a:cubicBezTo>
                    <a:cubicBezTo>
                      <a:pt x="144150" y="779315"/>
                      <a:pt x="147246" y="775187"/>
                      <a:pt x="147246" y="765899"/>
                    </a:cubicBezTo>
                    <a:cubicBezTo>
                      <a:pt x="147246" y="742680"/>
                      <a:pt x="148278" y="719461"/>
                      <a:pt x="150342" y="696242"/>
                    </a:cubicBezTo>
                    <a:cubicBezTo>
                      <a:pt x="151373" y="685923"/>
                      <a:pt x="150858" y="678699"/>
                      <a:pt x="137442" y="678699"/>
                    </a:cubicBezTo>
                    <a:cubicBezTo>
                      <a:pt x="92552" y="678699"/>
                      <a:pt x="53854" y="657544"/>
                      <a:pt x="14639" y="639485"/>
                    </a:cubicBezTo>
                    <a:cubicBezTo>
                      <a:pt x="7932" y="636389"/>
                      <a:pt x="6384" y="632261"/>
                      <a:pt x="7932" y="625037"/>
                    </a:cubicBezTo>
                    <a:cubicBezTo>
                      <a:pt x="20315" y="558476"/>
                      <a:pt x="40954" y="494495"/>
                      <a:pt x="69333" y="432578"/>
                    </a:cubicBezTo>
                    <a:cubicBezTo>
                      <a:pt x="72945" y="424838"/>
                      <a:pt x="77073" y="421742"/>
                      <a:pt x="86360" y="423806"/>
                    </a:cubicBezTo>
                    <a:cubicBezTo>
                      <a:pt x="107515" y="428450"/>
                      <a:pt x="129186" y="432578"/>
                      <a:pt x="150858" y="436706"/>
                    </a:cubicBezTo>
                    <a:cubicBezTo>
                      <a:pt x="171497" y="440833"/>
                      <a:pt x="188008" y="453733"/>
                      <a:pt x="206583" y="463536"/>
                    </a:cubicBezTo>
                    <a:cubicBezTo>
                      <a:pt x="216903" y="468696"/>
                      <a:pt x="221546" y="467664"/>
                      <a:pt x="227738" y="457345"/>
                    </a:cubicBezTo>
                    <a:cubicBezTo>
                      <a:pt x="239606" y="436706"/>
                      <a:pt x="253021" y="416582"/>
                      <a:pt x="266952" y="396459"/>
                    </a:cubicBezTo>
                    <a:cubicBezTo>
                      <a:pt x="271596" y="389752"/>
                      <a:pt x="271596" y="385108"/>
                      <a:pt x="264373" y="380980"/>
                    </a:cubicBezTo>
                    <a:cubicBezTo>
                      <a:pt x="225158" y="357761"/>
                      <a:pt x="200391" y="320611"/>
                      <a:pt x="175108" y="284492"/>
                    </a:cubicBezTo>
                    <a:cubicBezTo>
                      <a:pt x="170465" y="277785"/>
                      <a:pt x="170981" y="273657"/>
                      <a:pt x="176140" y="267981"/>
                    </a:cubicBezTo>
                    <a:cubicBezTo>
                      <a:pt x="219998" y="216383"/>
                      <a:pt x="270048" y="171493"/>
                      <a:pt x="325258" y="132279"/>
                    </a:cubicBezTo>
                    <a:cubicBezTo>
                      <a:pt x="331966" y="127635"/>
                      <a:pt x="336609" y="126603"/>
                      <a:pt x="343317" y="132795"/>
                    </a:cubicBezTo>
                    <a:cubicBezTo>
                      <a:pt x="360344" y="148274"/>
                      <a:pt x="378404" y="162722"/>
                      <a:pt x="395431" y="178717"/>
                    </a:cubicBezTo>
                    <a:cubicBezTo>
                      <a:pt x="409362" y="191616"/>
                      <a:pt x="416070" y="209160"/>
                      <a:pt x="426389" y="224639"/>
                    </a:cubicBezTo>
                    <a:cubicBezTo>
                      <a:pt x="437741" y="241666"/>
                      <a:pt x="435161" y="240634"/>
                      <a:pt x="451156" y="231347"/>
                    </a:cubicBezTo>
                    <a:cubicBezTo>
                      <a:pt x="470763" y="219995"/>
                      <a:pt x="491403" y="209676"/>
                      <a:pt x="512042" y="200388"/>
                    </a:cubicBezTo>
                    <a:cubicBezTo>
                      <a:pt x="521329" y="196260"/>
                      <a:pt x="522361" y="192132"/>
                      <a:pt x="518233" y="183877"/>
                    </a:cubicBezTo>
                    <a:cubicBezTo>
                      <a:pt x="499142" y="148274"/>
                      <a:pt x="492434" y="109576"/>
                      <a:pt x="491403" y="69846"/>
                    </a:cubicBezTo>
                    <a:cubicBezTo>
                      <a:pt x="491403" y="66234"/>
                      <a:pt x="490371" y="62106"/>
                      <a:pt x="489855" y="58494"/>
                    </a:cubicBezTo>
                    <a:cubicBezTo>
                      <a:pt x="488307" y="50239"/>
                      <a:pt x="491403" y="46111"/>
                      <a:pt x="499658" y="43015"/>
                    </a:cubicBezTo>
                    <a:cubicBezTo>
                      <a:pt x="563123" y="20312"/>
                      <a:pt x="628653" y="6380"/>
                      <a:pt x="695730" y="189"/>
                    </a:cubicBezTo>
                    <a:cubicBezTo>
                      <a:pt x="706049" y="-843"/>
                      <a:pt x="710693" y="2253"/>
                      <a:pt x="713273" y="12056"/>
                    </a:cubicBezTo>
                    <a:cubicBezTo>
                      <a:pt x="715337" y="19796"/>
                      <a:pt x="717917" y="27536"/>
                      <a:pt x="721012" y="35275"/>
                    </a:cubicBezTo>
                    <a:cubicBezTo>
                      <a:pt x="734428" y="67266"/>
                      <a:pt x="741136" y="99772"/>
                      <a:pt x="738556" y="134343"/>
                    </a:cubicBezTo>
                    <a:cubicBezTo>
                      <a:pt x="737524" y="145694"/>
                      <a:pt x="742168" y="148790"/>
                      <a:pt x="753519" y="148790"/>
                    </a:cubicBezTo>
                    <a:cubicBezTo>
                      <a:pt x="775706" y="148274"/>
                      <a:pt x="797893" y="149822"/>
                      <a:pt x="820596" y="151886"/>
                    </a:cubicBezTo>
                    <a:cubicBezTo>
                      <a:pt x="831948" y="152918"/>
                      <a:pt x="838655" y="152402"/>
                      <a:pt x="838655" y="138471"/>
                    </a:cubicBezTo>
                    <a:cubicBezTo>
                      <a:pt x="838655" y="94097"/>
                      <a:pt x="859810" y="55914"/>
                      <a:pt x="877354" y="16700"/>
                    </a:cubicBezTo>
                    <a:cubicBezTo>
                      <a:pt x="880449" y="9476"/>
                      <a:pt x="885093" y="7928"/>
                      <a:pt x="892317" y="9476"/>
                    </a:cubicBezTo>
                    <a:cubicBezTo>
                      <a:pt x="958878" y="21860"/>
                      <a:pt x="1022859" y="42499"/>
                      <a:pt x="1084777" y="70878"/>
                    </a:cubicBezTo>
                    <a:cubicBezTo>
                      <a:pt x="1092000" y="74489"/>
                      <a:pt x="1095096" y="78617"/>
                      <a:pt x="1093032" y="86873"/>
                    </a:cubicBezTo>
                    <a:cubicBezTo>
                      <a:pt x="1088388" y="108544"/>
                      <a:pt x="1084261" y="130731"/>
                      <a:pt x="1079617" y="152402"/>
                    </a:cubicBezTo>
                    <a:cubicBezTo>
                      <a:pt x="1075489" y="172525"/>
                      <a:pt x="1062590" y="189036"/>
                      <a:pt x="1053302" y="206580"/>
                    </a:cubicBezTo>
                    <a:cubicBezTo>
                      <a:pt x="1047626" y="217415"/>
                      <a:pt x="1048658" y="222575"/>
                      <a:pt x="1060010" y="228251"/>
                    </a:cubicBezTo>
                    <a:cubicBezTo>
                      <a:pt x="1080133" y="239602"/>
                      <a:pt x="1099740" y="252502"/>
                      <a:pt x="1118315" y="265917"/>
                    </a:cubicBezTo>
                    <a:cubicBezTo>
                      <a:pt x="1126571" y="272109"/>
                      <a:pt x="1131214" y="271593"/>
                      <a:pt x="1136374" y="262821"/>
                    </a:cubicBezTo>
                    <a:cubicBezTo>
                      <a:pt x="1159077" y="223607"/>
                      <a:pt x="1196744" y="199872"/>
                      <a:pt x="1232346" y="174589"/>
                    </a:cubicBezTo>
                    <a:cubicBezTo>
                      <a:pt x="1238538" y="170461"/>
                      <a:pt x="1242666" y="170977"/>
                      <a:pt x="1247825" y="175621"/>
                    </a:cubicBezTo>
                    <a:cubicBezTo>
                      <a:pt x="1299939" y="219995"/>
                      <a:pt x="1345345" y="270045"/>
                      <a:pt x="1384559" y="325770"/>
                    </a:cubicBezTo>
                    <a:cubicBezTo>
                      <a:pt x="1389203" y="331962"/>
                      <a:pt x="1389719" y="336606"/>
                      <a:pt x="1384043" y="342798"/>
                    </a:cubicBezTo>
                    <a:cubicBezTo>
                      <a:pt x="1368048" y="360857"/>
                      <a:pt x="1352569" y="379432"/>
                      <a:pt x="1336057" y="396975"/>
                    </a:cubicBezTo>
                    <a:cubicBezTo>
                      <a:pt x="1323674" y="409875"/>
                      <a:pt x="1306131" y="417098"/>
                      <a:pt x="1291167" y="426902"/>
                    </a:cubicBezTo>
                    <a:cubicBezTo>
                      <a:pt x="1276720" y="436706"/>
                      <a:pt x="1276720" y="436190"/>
                      <a:pt x="1284976" y="451153"/>
                    </a:cubicBezTo>
                    <a:cubicBezTo>
                      <a:pt x="1295811" y="471792"/>
                      <a:pt x="1306647" y="492431"/>
                      <a:pt x="1316450" y="513070"/>
                    </a:cubicBezTo>
                    <a:cubicBezTo>
                      <a:pt x="1320062" y="520294"/>
                      <a:pt x="1323158" y="523390"/>
                      <a:pt x="1330898" y="519262"/>
                    </a:cubicBezTo>
                    <a:cubicBezTo>
                      <a:pt x="1367532" y="500171"/>
                      <a:pt x="1406746" y="492431"/>
                      <a:pt x="1447509" y="491399"/>
                    </a:cubicBezTo>
                    <a:cubicBezTo>
                      <a:pt x="1451120" y="491399"/>
                      <a:pt x="1455248" y="490367"/>
                      <a:pt x="1458860" y="489851"/>
                    </a:cubicBezTo>
                    <a:cubicBezTo>
                      <a:pt x="1466600" y="488819"/>
                      <a:pt x="1470728" y="491399"/>
                      <a:pt x="1473307" y="499139"/>
                    </a:cubicBezTo>
                    <a:cubicBezTo>
                      <a:pt x="1493431" y="556412"/>
                      <a:pt x="1508394" y="615234"/>
                      <a:pt x="1513554" y="675603"/>
                    </a:cubicBezTo>
                    <a:cubicBezTo>
                      <a:pt x="1513554" y="676635"/>
                      <a:pt x="1513554" y="678183"/>
                      <a:pt x="1514070" y="679215"/>
                    </a:cubicBezTo>
                    <a:cubicBezTo>
                      <a:pt x="1518713" y="714301"/>
                      <a:pt x="1519745" y="706046"/>
                      <a:pt x="1490335" y="717397"/>
                    </a:cubicBezTo>
                    <a:cubicBezTo>
                      <a:pt x="1454732" y="730813"/>
                      <a:pt x="1418614" y="741648"/>
                      <a:pt x="1379916" y="738036"/>
                    </a:cubicBezTo>
                    <a:cubicBezTo>
                      <a:pt x="1371144" y="737004"/>
                      <a:pt x="1368048" y="740616"/>
                      <a:pt x="1367532" y="749904"/>
                    </a:cubicBezTo>
                    <a:cubicBezTo>
                      <a:pt x="1367016" y="774155"/>
                      <a:pt x="1365984" y="797890"/>
                      <a:pt x="1363920" y="822141"/>
                    </a:cubicBezTo>
                    <a:cubicBezTo>
                      <a:pt x="1363404" y="831944"/>
                      <a:pt x="1363920" y="838136"/>
                      <a:pt x="1375788" y="838136"/>
                    </a:cubicBezTo>
                    <a:cubicBezTo>
                      <a:pt x="1420678" y="838136"/>
                      <a:pt x="1459376" y="858775"/>
                      <a:pt x="1498590" y="876834"/>
                    </a:cubicBezTo>
                    <a:cubicBezTo>
                      <a:pt x="1505298" y="879930"/>
                      <a:pt x="1507878" y="883542"/>
                      <a:pt x="1506330" y="891798"/>
                    </a:cubicBezTo>
                    <a:cubicBezTo>
                      <a:pt x="1493947" y="958875"/>
                      <a:pt x="1472791" y="1023372"/>
                      <a:pt x="1444413" y="1085289"/>
                    </a:cubicBezTo>
                    <a:cubicBezTo>
                      <a:pt x="1441317" y="1092513"/>
                      <a:pt x="1437189" y="1094577"/>
                      <a:pt x="1429449" y="1093029"/>
                    </a:cubicBezTo>
                    <a:cubicBezTo>
                      <a:pt x="1386623" y="1085289"/>
                      <a:pt x="1343797" y="1078581"/>
                      <a:pt x="1306647" y="1052783"/>
                    </a:cubicBezTo>
                    <a:cubicBezTo>
                      <a:pt x="1297875" y="1046591"/>
                      <a:pt x="1293231" y="1048655"/>
                      <a:pt x="1287556" y="1057942"/>
                    </a:cubicBezTo>
                    <a:cubicBezTo>
                      <a:pt x="1275688" y="1078581"/>
                      <a:pt x="1262273" y="1098705"/>
                      <a:pt x="1248857" y="1118828"/>
                    </a:cubicBezTo>
                    <a:cubicBezTo>
                      <a:pt x="1244214" y="1125535"/>
                      <a:pt x="1242150" y="1130179"/>
                      <a:pt x="1250405" y="1135339"/>
                    </a:cubicBezTo>
                    <a:cubicBezTo>
                      <a:pt x="1289620" y="1158558"/>
                      <a:pt x="1313871" y="1194676"/>
                      <a:pt x="1339153" y="1230795"/>
                    </a:cubicBezTo>
                    <a:cubicBezTo>
                      <a:pt x="1344313" y="1238018"/>
                      <a:pt x="1343797" y="1242662"/>
                      <a:pt x="1337605" y="1249370"/>
                    </a:cubicBezTo>
                    <a:cubicBezTo>
                      <a:pt x="1293747" y="1300968"/>
                      <a:pt x="1244214" y="1345342"/>
                      <a:pt x="1189004" y="1384040"/>
                    </a:cubicBezTo>
                    <a:cubicBezTo>
                      <a:pt x="1182296" y="1388684"/>
                      <a:pt x="1177652" y="1389716"/>
                      <a:pt x="1170945" y="1383524"/>
                    </a:cubicBezTo>
                    <a:cubicBezTo>
                      <a:pt x="1153918" y="1368045"/>
                      <a:pt x="1135858" y="1353597"/>
                      <a:pt x="1118831" y="1337602"/>
                    </a:cubicBezTo>
                    <a:cubicBezTo>
                      <a:pt x="1104384" y="1324187"/>
                      <a:pt x="1096644" y="1306128"/>
                      <a:pt x="1086840" y="1289616"/>
                    </a:cubicBezTo>
                    <a:cubicBezTo>
                      <a:pt x="1080133" y="1278265"/>
                      <a:pt x="1074973" y="1277749"/>
                      <a:pt x="1064137" y="1284456"/>
                    </a:cubicBezTo>
                    <a:cubicBezTo>
                      <a:pt x="1044530" y="1296324"/>
                      <a:pt x="1023375" y="1306643"/>
                      <a:pt x="1002220" y="1316447"/>
                    </a:cubicBezTo>
                    <a:cubicBezTo>
                      <a:pt x="993449" y="1320575"/>
                      <a:pt x="991385" y="1324703"/>
                      <a:pt x="996028" y="1332958"/>
                    </a:cubicBezTo>
                    <a:cubicBezTo>
                      <a:pt x="1015120" y="1368561"/>
                      <a:pt x="1021827" y="1407259"/>
                      <a:pt x="1022859" y="1446989"/>
                    </a:cubicBezTo>
                    <a:cubicBezTo>
                      <a:pt x="1022859" y="1451117"/>
                      <a:pt x="1023891" y="1455245"/>
                      <a:pt x="1024407" y="1459889"/>
                    </a:cubicBezTo>
                    <a:cubicBezTo>
                      <a:pt x="1025439" y="1466596"/>
                      <a:pt x="1022859" y="1470724"/>
                      <a:pt x="1015636" y="1473304"/>
                    </a:cubicBezTo>
                    <a:cubicBezTo>
                      <a:pt x="970745" y="1493943"/>
                      <a:pt x="870646" y="1516130"/>
                      <a:pt x="817500" y="1518710"/>
                    </a:cubicBezTo>
                    <a:close/>
                    <a:moveTo>
                      <a:pt x="758163" y="1148238"/>
                    </a:moveTo>
                    <a:cubicBezTo>
                      <a:pt x="974357" y="1144627"/>
                      <a:pt x="1145146" y="976418"/>
                      <a:pt x="1145146" y="758675"/>
                    </a:cubicBezTo>
                    <a:cubicBezTo>
                      <a:pt x="1145146" y="542481"/>
                      <a:pt x="974357" y="371176"/>
                      <a:pt x="757131" y="371176"/>
                    </a:cubicBezTo>
                    <a:cubicBezTo>
                      <a:pt x="539904" y="371176"/>
                      <a:pt x="368600" y="542481"/>
                      <a:pt x="368600" y="759707"/>
                    </a:cubicBezTo>
                    <a:cubicBezTo>
                      <a:pt x="369116" y="977966"/>
                      <a:pt x="541452" y="1145659"/>
                      <a:pt x="758163" y="1148238"/>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27" name="Google Shape;127;p15"/>
              <p:cNvGrpSpPr/>
              <p:nvPr/>
            </p:nvGrpSpPr>
            <p:grpSpPr>
              <a:xfrm>
                <a:off x="3563163" y="3556278"/>
                <a:ext cx="1218879" cy="1218879"/>
                <a:chOff x="3264582" y="1870309"/>
                <a:chExt cx="1774962" cy="1774962"/>
              </a:xfrm>
            </p:grpSpPr>
            <p:sp>
              <p:nvSpPr>
                <p:cNvPr id="128" name="Google Shape;128;p15"/>
                <p:cNvSpPr/>
                <p:nvPr/>
              </p:nvSpPr>
              <p:spPr>
                <a:xfrm>
                  <a:off x="3264582" y="1870309"/>
                  <a:ext cx="1774962" cy="1774962"/>
                </a:xfrm>
                <a:custGeom>
                  <a:avLst/>
                  <a:gdLst/>
                  <a:ahLst/>
                  <a:cxnLst/>
                  <a:rect l="l" t="t" r="r" b="b"/>
                  <a:pathLst>
                    <a:path w="1774962" h="1774962" extrusionOk="0">
                      <a:moveTo>
                        <a:pt x="894776" y="1775736"/>
                      </a:moveTo>
                      <a:cubicBezTo>
                        <a:pt x="880845" y="1775736"/>
                        <a:pt x="866397" y="1775736"/>
                        <a:pt x="852466" y="1775736"/>
                      </a:cubicBezTo>
                      <a:cubicBezTo>
                        <a:pt x="844726" y="1775736"/>
                        <a:pt x="840599" y="1772640"/>
                        <a:pt x="839567" y="1764901"/>
                      </a:cubicBezTo>
                      <a:cubicBezTo>
                        <a:pt x="833375" y="1731878"/>
                        <a:pt x="826151" y="1699371"/>
                        <a:pt x="819960" y="1666349"/>
                      </a:cubicBezTo>
                      <a:cubicBezTo>
                        <a:pt x="817896" y="1656545"/>
                        <a:pt x="820992" y="1646742"/>
                        <a:pt x="822024" y="1636938"/>
                      </a:cubicBezTo>
                      <a:cubicBezTo>
                        <a:pt x="823056" y="1628682"/>
                        <a:pt x="820992" y="1624555"/>
                        <a:pt x="811704" y="1623523"/>
                      </a:cubicBezTo>
                      <a:cubicBezTo>
                        <a:pt x="772490" y="1619395"/>
                        <a:pt x="733275" y="1612171"/>
                        <a:pt x="695093" y="1601852"/>
                      </a:cubicBezTo>
                      <a:cubicBezTo>
                        <a:pt x="686837" y="1599788"/>
                        <a:pt x="682194" y="1602368"/>
                        <a:pt x="680130" y="1610623"/>
                      </a:cubicBezTo>
                      <a:cubicBezTo>
                        <a:pt x="669294" y="1655513"/>
                        <a:pt x="636788" y="1688020"/>
                        <a:pt x="615116" y="1727234"/>
                      </a:cubicBezTo>
                      <a:cubicBezTo>
                        <a:pt x="612537" y="1731878"/>
                        <a:pt x="608409" y="1731878"/>
                        <a:pt x="603765" y="1730330"/>
                      </a:cubicBezTo>
                      <a:cubicBezTo>
                        <a:pt x="572807" y="1720011"/>
                        <a:pt x="542364" y="1707627"/>
                        <a:pt x="512953" y="1694212"/>
                      </a:cubicBezTo>
                      <a:cubicBezTo>
                        <a:pt x="506761" y="1691632"/>
                        <a:pt x="506245" y="1686988"/>
                        <a:pt x="507277" y="1681828"/>
                      </a:cubicBezTo>
                      <a:cubicBezTo>
                        <a:pt x="513985" y="1648806"/>
                        <a:pt x="519661" y="1615783"/>
                        <a:pt x="527400" y="1583277"/>
                      </a:cubicBezTo>
                      <a:cubicBezTo>
                        <a:pt x="529980" y="1572441"/>
                        <a:pt x="536172" y="1562637"/>
                        <a:pt x="541848" y="1552834"/>
                      </a:cubicBezTo>
                      <a:cubicBezTo>
                        <a:pt x="545460" y="1546642"/>
                        <a:pt x="544428" y="1543030"/>
                        <a:pt x="537720" y="1539418"/>
                      </a:cubicBezTo>
                      <a:cubicBezTo>
                        <a:pt x="501601" y="1520327"/>
                        <a:pt x="467547" y="1497624"/>
                        <a:pt x="435041" y="1472857"/>
                      </a:cubicBezTo>
                      <a:cubicBezTo>
                        <a:pt x="429365" y="1468214"/>
                        <a:pt x="425237" y="1468214"/>
                        <a:pt x="420593" y="1474921"/>
                      </a:cubicBezTo>
                      <a:cubicBezTo>
                        <a:pt x="393762" y="1512588"/>
                        <a:pt x="350936" y="1531163"/>
                        <a:pt x="315334" y="1559026"/>
                      </a:cubicBezTo>
                      <a:cubicBezTo>
                        <a:pt x="310690" y="1562637"/>
                        <a:pt x="307078" y="1561090"/>
                        <a:pt x="302950" y="1557478"/>
                      </a:cubicBezTo>
                      <a:cubicBezTo>
                        <a:pt x="278699" y="1536323"/>
                        <a:pt x="255996" y="1513104"/>
                        <a:pt x="233809" y="1490401"/>
                      </a:cubicBezTo>
                      <a:cubicBezTo>
                        <a:pt x="229682" y="1485757"/>
                        <a:pt x="229165" y="1482145"/>
                        <a:pt x="232777" y="1476985"/>
                      </a:cubicBezTo>
                      <a:cubicBezTo>
                        <a:pt x="251352" y="1449122"/>
                        <a:pt x="269928" y="1421260"/>
                        <a:pt x="289019" y="1393397"/>
                      </a:cubicBezTo>
                      <a:cubicBezTo>
                        <a:pt x="295210" y="1384625"/>
                        <a:pt x="304498" y="1378949"/>
                        <a:pt x="312754" y="1371726"/>
                      </a:cubicBezTo>
                      <a:cubicBezTo>
                        <a:pt x="318946" y="1366566"/>
                        <a:pt x="319978" y="1361922"/>
                        <a:pt x="314818" y="1355731"/>
                      </a:cubicBezTo>
                      <a:cubicBezTo>
                        <a:pt x="289535" y="1324256"/>
                        <a:pt x="266316" y="1291233"/>
                        <a:pt x="246193" y="1255631"/>
                      </a:cubicBezTo>
                      <a:cubicBezTo>
                        <a:pt x="241549" y="1247375"/>
                        <a:pt x="236905" y="1248923"/>
                        <a:pt x="230713" y="1253051"/>
                      </a:cubicBezTo>
                      <a:cubicBezTo>
                        <a:pt x="191499" y="1277302"/>
                        <a:pt x="145577" y="1277818"/>
                        <a:pt x="102751" y="1289685"/>
                      </a:cubicBezTo>
                      <a:cubicBezTo>
                        <a:pt x="97075" y="1291233"/>
                        <a:pt x="93979" y="1288137"/>
                        <a:pt x="91916" y="1282978"/>
                      </a:cubicBezTo>
                      <a:cubicBezTo>
                        <a:pt x="77984" y="1254083"/>
                        <a:pt x="65085" y="1224156"/>
                        <a:pt x="53733" y="1194230"/>
                      </a:cubicBezTo>
                      <a:cubicBezTo>
                        <a:pt x="51669" y="1188038"/>
                        <a:pt x="53217" y="1184426"/>
                        <a:pt x="58377" y="1181330"/>
                      </a:cubicBezTo>
                      <a:cubicBezTo>
                        <a:pt x="86240" y="1162755"/>
                        <a:pt x="113587" y="1143664"/>
                        <a:pt x="142481" y="1125605"/>
                      </a:cubicBezTo>
                      <a:cubicBezTo>
                        <a:pt x="151769" y="1119929"/>
                        <a:pt x="163120" y="1117349"/>
                        <a:pt x="173956" y="1114253"/>
                      </a:cubicBezTo>
                      <a:cubicBezTo>
                        <a:pt x="180664" y="1112189"/>
                        <a:pt x="182727" y="1109093"/>
                        <a:pt x="180664" y="1101870"/>
                      </a:cubicBezTo>
                      <a:cubicBezTo>
                        <a:pt x="168796" y="1062139"/>
                        <a:pt x="160541" y="1021893"/>
                        <a:pt x="154865" y="981131"/>
                      </a:cubicBezTo>
                      <a:cubicBezTo>
                        <a:pt x="153833" y="974423"/>
                        <a:pt x="150737" y="972359"/>
                        <a:pt x="144029" y="973391"/>
                      </a:cubicBezTo>
                      <a:cubicBezTo>
                        <a:pt x="98107" y="981131"/>
                        <a:pt x="54765" y="963588"/>
                        <a:pt x="10391" y="958428"/>
                      </a:cubicBezTo>
                      <a:cubicBezTo>
                        <a:pt x="4715" y="957912"/>
                        <a:pt x="2652" y="954300"/>
                        <a:pt x="2135" y="948624"/>
                      </a:cubicBezTo>
                      <a:cubicBezTo>
                        <a:pt x="-960" y="916118"/>
                        <a:pt x="72" y="883611"/>
                        <a:pt x="588" y="850589"/>
                      </a:cubicBezTo>
                      <a:cubicBezTo>
                        <a:pt x="588" y="844397"/>
                        <a:pt x="4715" y="841817"/>
                        <a:pt x="10391" y="840785"/>
                      </a:cubicBezTo>
                      <a:cubicBezTo>
                        <a:pt x="43930" y="834077"/>
                        <a:pt x="76952" y="827370"/>
                        <a:pt x="110491" y="820662"/>
                      </a:cubicBezTo>
                      <a:cubicBezTo>
                        <a:pt x="120294" y="818598"/>
                        <a:pt x="130098" y="821694"/>
                        <a:pt x="139901" y="822726"/>
                      </a:cubicBezTo>
                      <a:cubicBezTo>
                        <a:pt x="148157" y="823758"/>
                        <a:pt x="152285" y="820662"/>
                        <a:pt x="153317" y="811890"/>
                      </a:cubicBezTo>
                      <a:cubicBezTo>
                        <a:pt x="157445" y="773192"/>
                        <a:pt x="164668" y="734494"/>
                        <a:pt x="174472" y="696827"/>
                      </a:cubicBezTo>
                      <a:cubicBezTo>
                        <a:pt x="177052" y="687024"/>
                        <a:pt x="173440" y="682380"/>
                        <a:pt x="164152" y="680316"/>
                      </a:cubicBezTo>
                      <a:cubicBezTo>
                        <a:pt x="120294" y="668965"/>
                        <a:pt x="87272" y="636974"/>
                        <a:pt x="49090" y="615819"/>
                      </a:cubicBezTo>
                      <a:cubicBezTo>
                        <a:pt x="44961" y="613755"/>
                        <a:pt x="44961" y="610143"/>
                        <a:pt x="45993" y="606015"/>
                      </a:cubicBezTo>
                      <a:cubicBezTo>
                        <a:pt x="56313" y="574541"/>
                        <a:pt x="69212" y="544098"/>
                        <a:pt x="82628" y="513655"/>
                      </a:cubicBezTo>
                      <a:cubicBezTo>
                        <a:pt x="85208" y="507980"/>
                        <a:pt x="89336" y="506948"/>
                        <a:pt x="93979" y="508496"/>
                      </a:cubicBezTo>
                      <a:cubicBezTo>
                        <a:pt x="137322" y="519847"/>
                        <a:pt x="183760" y="518815"/>
                        <a:pt x="224006" y="543066"/>
                      </a:cubicBezTo>
                      <a:cubicBezTo>
                        <a:pt x="230713" y="547194"/>
                        <a:pt x="233809" y="544614"/>
                        <a:pt x="236905" y="538938"/>
                      </a:cubicBezTo>
                      <a:cubicBezTo>
                        <a:pt x="255996" y="503336"/>
                        <a:pt x="278183" y="469281"/>
                        <a:pt x="302434" y="437291"/>
                      </a:cubicBezTo>
                      <a:cubicBezTo>
                        <a:pt x="305530" y="433163"/>
                        <a:pt x="310690" y="428519"/>
                        <a:pt x="302950" y="423359"/>
                      </a:cubicBezTo>
                      <a:cubicBezTo>
                        <a:pt x="273540" y="404268"/>
                        <a:pt x="258576" y="373826"/>
                        <a:pt x="238453" y="346995"/>
                      </a:cubicBezTo>
                      <a:cubicBezTo>
                        <a:pt x="234841" y="342351"/>
                        <a:pt x="232262" y="337707"/>
                        <a:pt x="228650" y="333063"/>
                      </a:cubicBezTo>
                      <a:cubicBezTo>
                        <a:pt x="212654" y="310360"/>
                        <a:pt x="212138" y="309844"/>
                        <a:pt x="230713" y="290237"/>
                      </a:cubicBezTo>
                      <a:cubicBezTo>
                        <a:pt x="248257" y="271662"/>
                        <a:pt x="266316" y="254119"/>
                        <a:pt x="283859" y="236060"/>
                      </a:cubicBezTo>
                      <a:cubicBezTo>
                        <a:pt x="289535" y="230384"/>
                        <a:pt x="294179" y="229868"/>
                        <a:pt x="300370" y="234512"/>
                      </a:cubicBezTo>
                      <a:cubicBezTo>
                        <a:pt x="327201" y="252571"/>
                        <a:pt x="354032" y="270114"/>
                        <a:pt x="380863" y="288173"/>
                      </a:cubicBezTo>
                      <a:cubicBezTo>
                        <a:pt x="390150" y="294365"/>
                        <a:pt x="396342" y="303137"/>
                        <a:pt x="403050" y="311392"/>
                      </a:cubicBezTo>
                      <a:cubicBezTo>
                        <a:pt x="408726" y="319132"/>
                        <a:pt x="413885" y="320680"/>
                        <a:pt x="422141" y="313972"/>
                      </a:cubicBezTo>
                      <a:cubicBezTo>
                        <a:pt x="452584" y="288689"/>
                        <a:pt x="485606" y="266502"/>
                        <a:pt x="519661" y="246895"/>
                      </a:cubicBezTo>
                      <a:cubicBezTo>
                        <a:pt x="524820" y="243799"/>
                        <a:pt x="529464" y="240703"/>
                        <a:pt x="524820" y="233996"/>
                      </a:cubicBezTo>
                      <a:cubicBezTo>
                        <a:pt x="502633" y="202005"/>
                        <a:pt x="501086" y="163823"/>
                        <a:pt x="492314" y="127704"/>
                      </a:cubicBezTo>
                      <a:cubicBezTo>
                        <a:pt x="484574" y="96230"/>
                        <a:pt x="485606" y="96746"/>
                        <a:pt x="514501" y="82298"/>
                      </a:cubicBezTo>
                      <a:cubicBezTo>
                        <a:pt x="535140" y="71979"/>
                        <a:pt x="557327" y="64239"/>
                        <a:pt x="578482" y="55468"/>
                      </a:cubicBezTo>
                      <a:cubicBezTo>
                        <a:pt x="586222" y="52372"/>
                        <a:pt x="590866" y="52888"/>
                        <a:pt x="595509" y="60111"/>
                      </a:cubicBezTo>
                      <a:cubicBezTo>
                        <a:pt x="613053" y="86942"/>
                        <a:pt x="630596" y="113257"/>
                        <a:pt x="648655" y="139572"/>
                      </a:cubicBezTo>
                      <a:cubicBezTo>
                        <a:pt x="655363" y="149375"/>
                        <a:pt x="657427" y="160727"/>
                        <a:pt x="661039" y="172078"/>
                      </a:cubicBezTo>
                      <a:cubicBezTo>
                        <a:pt x="663618" y="180334"/>
                        <a:pt x="667230" y="182914"/>
                        <a:pt x="675486" y="180334"/>
                      </a:cubicBezTo>
                      <a:cubicBezTo>
                        <a:pt x="713668" y="168983"/>
                        <a:pt x="752882" y="160727"/>
                        <a:pt x="792613" y="155567"/>
                      </a:cubicBezTo>
                      <a:cubicBezTo>
                        <a:pt x="800352" y="154535"/>
                        <a:pt x="802932" y="151439"/>
                        <a:pt x="801900" y="143700"/>
                      </a:cubicBezTo>
                      <a:cubicBezTo>
                        <a:pt x="795193" y="98294"/>
                        <a:pt x="811704" y="55468"/>
                        <a:pt x="816864" y="11094"/>
                      </a:cubicBezTo>
                      <a:cubicBezTo>
                        <a:pt x="817380" y="5934"/>
                        <a:pt x="820476" y="2838"/>
                        <a:pt x="826151" y="2322"/>
                      </a:cubicBezTo>
                      <a:cubicBezTo>
                        <a:pt x="859174" y="-1290"/>
                        <a:pt x="892196" y="258"/>
                        <a:pt x="925219" y="774"/>
                      </a:cubicBezTo>
                      <a:cubicBezTo>
                        <a:pt x="930895" y="774"/>
                        <a:pt x="933475" y="4902"/>
                        <a:pt x="934507" y="10062"/>
                      </a:cubicBezTo>
                      <a:cubicBezTo>
                        <a:pt x="941214" y="43600"/>
                        <a:pt x="948438" y="77139"/>
                        <a:pt x="954114" y="111193"/>
                      </a:cubicBezTo>
                      <a:cubicBezTo>
                        <a:pt x="955662" y="120481"/>
                        <a:pt x="953082" y="130800"/>
                        <a:pt x="952050" y="140604"/>
                      </a:cubicBezTo>
                      <a:cubicBezTo>
                        <a:pt x="951018" y="148343"/>
                        <a:pt x="954114" y="151955"/>
                        <a:pt x="962369" y="152987"/>
                      </a:cubicBezTo>
                      <a:cubicBezTo>
                        <a:pt x="1001584" y="157115"/>
                        <a:pt x="1040798" y="164339"/>
                        <a:pt x="1078980" y="174658"/>
                      </a:cubicBezTo>
                      <a:cubicBezTo>
                        <a:pt x="1085172" y="176206"/>
                        <a:pt x="1091364" y="176722"/>
                        <a:pt x="1093428" y="168467"/>
                      </a:cubicBezTo>
                      <a:cubicBezTo>
                        <a:pt x="1101683" y="130284"/>
                        <a:pt x="1127482" y="101390"/>
                        <a:pt x="1147089" y="69399"/>
                      </a:cubicBezTo>
                      <a:cubicBezTo>
                        <a:pt x="1162569" y="43084"/>
                        <a:pt x="1163601" y="43600"/>
                        <a:pt x="1192495" y="54436"/>
                      </a:cubicBezTo>
                      <a:cubicBezTo>
                        <a:pt x="1214682" y="62691"/>
                        <a:pt x="1236353" y="71979"/>
                        <a:pt x="1258024" y="81266"/>
                      </a:cubicBezTo>
                      <a:cubicBezTo>
                        <a:pt x="1265764" y="84362"/>
                        <a:pt x="1268860" y="88490"/>
                        <a:pt x="1267312" y="96746"/>
                      </a:cubicBezTo>
                      <a:cubicBezTo>
                        <a:pt x="1260604" y="128736"/>
                        <a:pt x="1254928" y="160727"/>
                        <a:pt x="1247705" y="192718"/>
                      </a:cubicBezTo>
                      <a:cubicBezTo>
                        <a:pt x="1245125" y="203553"/>
                        <a:pt x="1238417" y="213873"/>
                        <a:pt x="1233258" y="224192"/>
                      </a:cubicBezTo>
                      <a:cubicBezTo>
                        <a:pt x="1229646" y="230384"/>
                        <a:pt x="1230678" y="233996"/>
                        <a:pt x="1237385" y="237608"/>
                      </a:cubicBezTo>
                      <a:cubicBezTo>
                        <a:pt x="1273504" y="256699"/>
                        <a:pt x="1307558" y="279402"/>
                        <a:pt x="1340065" y="304169"/>
                      </a:cubicBezTo>
                      <a:cubicBezTo>
                        <a:pt x="1345741" y="308812"/>
                        <a:pt x="1349868" y="309328"/>
                        <a:pt x="1354512" y="302621"/>
                      </a:cubicBezTo>
                      <a:cubicBezTo>
                        <a:pt x="1381343" y="264954"/>
                        <a:pt x="1424169" y="246379"/>
                        <a:pt x="1459771" y="218516"/>
                      </a:cubicBezTo>
                      <a:cubicBezTo>
                        <a:pt x="1464415" y="214905"/>
                        <a:pt x="1468027" y="216452"/>
                        <a:pt x="1472155" y="220064"/>
                      </a:cubicBezTo>
                      <a:cubicBezTo>
                        <a:pt x="1496406" y="241219"/>
                        <a:pt x="1519109" y="264438"/>
                        <a:pt x="1541296" y="287657"/>
                      </a:cubicBezTo>
                      <a:cubicBezTo>
                        <a:pt x="1545424" y="292301"/>
                        <a:pt x="1545940" y="296429"/>
                        <a:pt x="1542328" y="301073"/>
                      </a:cubicBezTo>
                      <a:cubicBezTo>
                        <a:pt x="1523237" y="329452"/>
                        <a:pt x="1505177" y="357830"/>
                        <a:pt x="1485570" y="385693"/>
                      </a:cubicBezTo>
                      <a:cubicBezTo>
                        <a:pt x="1479895" y="393949"/>
                        <a:pt x="1470607" y="400140"/>
                        <a:pt x="1462868" y="406332"/>
                      </a:cubicBezTo>
                      <a:cubicBezTo>
                        <a:pt x="1456676" y="411492"/>
                        <a:pt x="1455644" y="416136"/>
                        <a:pt x="1460803" y="422327"/>
                      </a:cubicBezTo>
                      <a:cubicBezTo>
                        <a:pt x="1486086" y="453802"/>
                        <a:pt x="1509305" y="487341"/>
                        <a:pt x="1529428" y="522427"/>
                      </a:cubicBezTo>
                      <a:cubicBezTo>
                        <a:pt x="1534072" y="530167"/>
                        <a:pt x="1538716" y="529135"/>
                        <a:pt x="1544908" y="525007"/>
                      </a:cubicBezTo>
                      <a:cubicBezTo>
                        <a:pt x="1584122" y="500756"/>
                        <a:pt x="1630044" y="500240"/>
                        <a:pt x="1672870" y="488373"/>
                      </a:cubicBezTo>
                      <a:cubicBezTo>
                        <a:pt x="1678546" y="486825"/>
                        <a:pt x="1681642" y="489921"/>
                        <a:pt x="1683706" y="495080"/>
                      </a:cubicBezTo>
                      <a:cubicBezTo>
                        <a:pt x="1697637" y="523975"/>
                        <a:pt x="1710537" y="553902"/>
                        <a:pt x="1721888" y="583828"/>
                      </a:cubicBezTo>
                      <a:cubicBezTo>
                        <a:pt x="1723952" y="590020"/>
                        <a:pt x="1722404" y="593632"/>
                        <a:pt x="1717244" y="596728"/>
                      </a:cubicBezTo>
                      <a:cubicBezTo>
                        <a:pt x="1689381" y="615303"/>
                        <a:pt x="1662035" y="634394"/>
                        <a:pt x="1633140" y="652453"/>
                      </a:cubicBezTo>
                      <a:cubicBezTo>
                        <a:pt x="1623852" y="658129"/>
                        <a:pt x="1612501" y="660709"/>
                        <a:pt x="1601665" y="663805"/>
                      </a:cubicBezTo>
                      <a:cubicBezTo>
                        <a:pt x="1594958" y="665869"/>
                        <a:pt x="1592894" y="668965"/>
                        <a:pt x="1594958" y="676188"/>
                      </a:cubicBezTo>
                      <a:cubicBezTo>
                        <a:pt x="1606309" y="715403"/>
                        <a:pt x="1615081" y="755133"/>
                        <a:pt x="1620241" y="795895"/>
                      </a:cubicBezTo>
                      <a:cubicBezTo>
                        <a:pt x="1621272" y="803119"/>
                        <a:pt x="1624368" y="805699"/>
                        <a:pt x="1631076" y="804667"/>
                      </a:cubicBezTo>
                      <a:cubicBezTo>
                        <a:pt x="1676482" y="797959"/>
                        <a:pt x="1719308" y="814470"/>
                        <a:pt x="1763682" y="819630"/>
                      </a:cubicBezTo>
                      <a:cubicBezTo>
                        <a:pt x="1769874" y="820146"/>
                        <a:pt x="1772454" y="823758"/>
                        <a:pt x="1773486" y="829950"/>
                      </a:cubicBezTo>
                      <a:cubicBezTo>
                        <a:pt x="1776582" y="862456"/>
                        <a:pt x="1775034" y="895479"/>
                        <a:pt x="1775034" y="927985"/>
                      </a:cubicBezTo>
                      <a:cubicBezTo>
                        <a:pt x="1775034" y="933661"/>
                        <a:pt x="1771422" y="936241"/>
                        <a:pt x="1766262" y="937273"/>
                      </a:cubicBezTo>
                      <a:cubicBezTo>
                        <a:pt x="1732207" y="943981"/>
                        <a:pt x="1698153" y="951204"/>
                        <a:pt x="1663583" y="957396"/>
                      </a:cubicBezTo>
                      <a:cubicBezTo>
                        <a:pt x="1654811" y="958944"/>
                        <a:pt x="1645523" y="956364"/>
                        <a:pt x="1636752" y="955332"/>
                      </a:cubicBezTo>
                      <a:cubicBezTo>
                        <a:pt x="1627980" y="954300"/>
                        <a:pt x="1623336" y="956364"/>
                        <a:pt x="1622304" y="966684"/>
                      </a:cubicBezTo>
                      <a:cubicBezTo>
                        <a:pt x="1618177" y="1005382"/>
                        <a:pt x="1610953" y="1044080"/>
                        <a:pt x="1601149" y="1081746"/>
                      </a:cubicBezTo>
                      <a:cubicBezTo>
                        <a:pt x="1598569" y="1091034"/>
                        <a:pt x="1601665" y="1095678"/>
                        <a:pt x="1610437" y="1097742"/>
                      </a:cubicBezTo>
                      <a:cubicBezTo>
                        <a:pt x="1654811" y="1108577"/>
                        <a:pt x="1687318" y="1140568"/>
                        <a:pt x="1726016" y="1161723"/>
                      </a:cubicBezTo>
                      <a:cubicBezTo>
                        <a:pt x="1731176" y="1164819"/>
                        <a:pt x="1731176" y="1168947"/>
                        <a:pt x="1729112" y="1174107"/>
                      </a:cubicBezTo>
                      <a:cubicBezTo>
                        <a:pt x="1718792" y="1204549"/>
                        <a:pt x="1706409" y="1234476"/>
                        <a:pt x="1693509" y="1263887"/>
                      </a:cubicBezTo>
                      <a:cubicBezTo>
                        <a:pt x="1690929" y="1269562"/>
                        <a:pt x="1687318" y="1271626"/>
                        <a:pt x="1681126" y="1270078"/>
                      </a:cubicBezTo>
                      <a:cubicBezTo>
                        <a:pt x="1648103" y="1263371"/>
                        <a:pt x="1614565" y="1257179"/>
                        <a:pt x="1581542" y="1249955"/>
                      </a:cubicBezTo>
                      <a:cubicBezTo>
                        <a:pt x="1571223" y="1247375"/>
                        <a:pt x="1561935" y="1241184"/>
                        <a:pt x="1552647" y="1236024"/>
                      </a:cubicBezTo>
                      <a:cubicBezTo>
                        <a:pt x="1545940" y="1232412"/>
                        <a:pt x="1542328" y="1232928"/>
                        <a:pt x="1538200" y="1240152"/>
                      </a:cubicBezTo>
                      <a:cubicBezTo>
                        <a:pt x="1519109" y="1275238"/>
                        <a:pt x="1497954" y="1309293"/>
                        <a:pt x="1473187" y="1340767"/>
                      </a:cubicBezTo>
                      <a:cubicBezTo>
                        <a:pt x="1467511" y="1347991"/>
                        <a:pt x="1466479" y="1352635"/>
                        <a:pt x="1475251" y="1358310"/>
                      </a:cubicBezTo>
                      <a:cubicBezTo>
                        <a:pt x="1502598" y="1375854"/>
                        <a:pt x="1516013" y="1405264"/>
                        <a:pt x="1535104" y="1430031"/>
                      </a:cubicBezTo>
                      <a:cubicBezTo>
                        <a:pt x="1538716" y="1434675"/>
                        <a:pt x="1541812" y="1439835"/>
                        <a:pt x="1545424" y="1444995"/>
                      </a:cubicBezTo>
                      <a:cubicBezTo>
                        <a:pt x="1566063" y="1474921"/>
                        <a:pt x="1565031" y="1464602"/>
                        <a:pt x="1542844" y="1489885"/>
                      </a:cubicBezTo>
                      <a:cubicBezTo>
                        <a:pt x="1526849" y="1508460"/>
                        <a:pt x="1508273" y="1524971"/>
                        <a:pt x="1491246" y="1542514"/>
                      </a:cubicBezTo>
                      <a:cubicBezTo>
                        <a:pt x="1485054" y="1549222"/>
                        <a:pt x="1479895" y="1549222"/>
                        <a:pt x="1472155" y="1544062"/>
                      </a:cubicBezTo>
                      <a:cubicBezTo>
                        <a:pt x="1446356" y="1526519"/>
                        <a:pt x="1420041" y="1508976"/>
                        <a:pt x="1393726" y="1491948"/>
                      </a:cubicBezTo>
                      <a:cubicBezTo>
                        <a:pt x="1383923" y="1485241"/>
                        <a:pt x="1377215" y="1475437"/>
                        <a:pt x="1369992" y="1466666"/>
                      </a:cubicBezTo>
                      <a:cubicBezTo>
                        <a:pt x="1364316" y="1459958"/>
                        <a:pt x="1359672" y="1458926"/>
                        <a:pt x="1352964" y="1464602"/>
                      </a:cubicBezTo>
                      <a:cubicBezTo>
                        <a:pt x="1322005" y="1489885"/>
                        <a:pt x="1288983" y="1512588"/>
                        <a:pt x="1254413" y="1532711"/>
                      </a:cubicBezTo>
                      <a:cubicBezTo>
                        <a:pt x="1249769" y="1535291"/>
                        <a:pt x="1244609" y="1537871"/>
                        <a:pt x="1248737" y="1544578"/>
                      </a:cubicBezTo>
                      <a:cubicBezTo>
                        <a:pt x="1272472" y="1580181"/>
                        <a:pt x="1274020" y="1622491"/>
                        <a:pt x="1284339" y="1662221"/>
                      </a:cubicBezTo>
                      <a:cubicBezTo>
                        <a:pt x="1290531" y="1685440"/>
                        <a:pt x="1292079" y="1682344"/>
                        <a:pt x="1268860" y="1693180"/>
                      </a:cubicBezTo>
                      <a:cubicBezTo>
                        <a:pt x="1244609" y="1704531"/>
                        <a:pt x="1219842" y="1714335"/>
                        <a:pt x="1195591" y="1724654"/>
                      </a:cubicBezTo>
                      <a:cubicBezTo>
                        <a:pt x="1187851" y="1727750"/>
                        <a:pt x="1183208" y="1726718"/>
                        <a:pt x="1178564" y="1719495"/>
                      </a:cubicBezTo>
                      <a:cubicBezTo>
                        <a:pt x="1161021" y="1692664"/>
                        <a:pt x="1142962" y="1666865"/>
                        <a:pt x="1125418" y="1640034"/>
                      </a:cubicBezTo>
                      <a:cubicBezTo>
                        <a:pt x="1118711" y="1629715"/>
                        <a:pt x="1116131" y="1617847"/>
                        <a:pt x="1113035" y="1606496"/>
                      </a:cubicBezTo>
                      <a:cubicBezTo>
                        <a:pt x="1110971" y="1599272"/>
                        <a:pt x="1107359" y="1597208"/>
                        <a:pt x="1099619" y="1599272"/>
                      </a:cubicBezTo>
                      <a:cubicBezTo>
                        <a:pt x="1060405" y="1611139"/>
                        <a:pt x="1020675" y="1619395"/>
                        <a:pt x="979913" y="1624555"/>
                      </a:cubicBezTo>
                      <a:cubicBezTo>
                        <a:pt x="973205" y="1625587"/>
                        <a:pt x="971141" y="1628682"/>
                        <a:pt x="972173" y="1634874"/>
                      </a:cubicBezTo>
                      <a:cubicBezTo>
                        <a:pt x="979397" y="1680280"/>
                        <a:pt x="962885" y="1723106"/>
                        <a:pt x="957726" y="1767481"/>
                      </a:cubicBezTo>
                      <a:cubicBezTo>
                        <a:pt x="956694" y="1775220"/>
                        <a:pt x="952566" y="1777800"/>
                        <a:pt x="945858" y="1777800"/>
                      </a:cubicBezTo>
                      <a:cubicBezTo>
                        <a:pt x="929347" y="1778316"/>
                        <a:pt x="912320" y="1779348"/>
                        <a:pt x="895808" y="1779864"/>
                      </a:cubicBezTo>
                      <a:cubicBezTo>
                        <a:pt x="894776" y="1776252"/>
                        <a:pt x="894776" y="1776252"/>
                        <a:pt x="894776" y="1775736"/>
                      </a:cubicBezTo>
                      <a:close/>
                      <a:moveTo>
                        <a:pt x="890648" y="1454798"/>
                      </a:moveTo>
                      <a:cubicBezTo>
                        <a:pt x="1199203" y="1449638"/>
                        <a:pt x="1454096" y="1207645"/>
                        <a:pt x="1452548" y="884127"/>
                      </a:cubicBezTo>
                      <a:cubicBezTo>
                        <a:pt x="1451516" y="575057"/>
                        <a:pt x="1205395" y="320164"/>
                        <a:pt x="881361" y="322228"/>
                      </a:cubicBezTo>
                      <a:cubicBezTo>
                        <a:pt x="571775" y="324292"/>
                        <a:pt x="318429" y="570929"/>
                        <a:pt x="320494" y="893415"/>
                      </a:cubicBezTo>
                      <a:cubicBezTo>
                        <a:pt x="323073" y="1202485"/>
                        <a:pt x="569195" y="1452218"/>
                        <a:pt x="890648" y="1454798"/>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9" name="Google Shape;129;p15"/>
                <p:cNvSpPr/>
                <p:nvPr/>
              </p:nvSpPr>
              <p:spPr>
                <a:xfrm>
                  <a:off x="3733675" y="2339591"/>
                  <a:ext cx="835883" cy="835883"/>
                </a:xfrm>
                <a:custGeom>
                  <a:avLst/>
                  <a:gdLst/>
                  <a:ahLst/>
                  <a:cxnLst/>
                  <a:rect l="l" t="t" r="r" b="b"/>
                  <a:pathLst>
                    <a:path w="835883" h="835883" extrusionOk="0">
                      <a:moveTo>
                        <a:pt x="836916" y="418458"/>
                      </a:moveTo>
                      <a:cubicBezTo>
                        <a:pt x="833821" y="651679"/>
                        <a:pt x="651165" y="836915"/>
                        <a:pt x="418459" y="836399"/>
                      </a:cubicBezTo>
                      <a:cubicBezTo>
                        <a:pt x="182657" y="836399"/>
                        <a:pt x="-515" y="649615"/>
                        <a:pt x="1" y="417426"/>
                      </a:cubicBezTo>
                      <a:cubicBezTo>
                        <a:pt x="517" y="181624"/>
                        <a:pt x="187301" y="0"/>
                        <a:pt x="418975" y="0"/>
                      </a:cubicBezTo>
                      <a:cubicBezTo>
                        <a:pt x="651680" y="516"/>
                        <a:pt x="833821" y="186268"/>
                        <a:pt x="836916" y="418458"/>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0" name="Google Shape;130;p15"/>
            <p:cNvSpPr/>
            <p:nvPr/>
          </p:nvSpPr>
          <p:spPr>
            <a:xfrm>
              <a:off x="5436819" y="3673417"/>
              <a:ext cx="936646" cy="931442"/>
            </a:xfrm>
            <a:custGeom>
              <a:avLst/>
              <a:gdLst/>
              <a:ahLst/>
              <a:cxnLst/>
              <a:rect l="l" t="t" r="r" b="b"/>
              <a:pathLst>
                <a:path w="1857518" h="1847198" extrusionOk="0">
                  <a:moveTo>
                    <a:pt x="959201" y="1852264"/>
                  </a:moveTo>
                  <a:cubicBezTo>
                    <a:pt x="943206" y="1852264"/>
                    <a:pt x="927211" y="1852264"/>
                    <a:pt x="910700" y="1852264"/>
                  </a:cubicBezTo>
                  <a:cubicBezTo>
                    <a:pt x="900380" y="1848652"/>
                    <a:pt x="894704" y="1840913"/>
                    <a:pt x="891608" y="1830593"/>
                  </a:cubicBezTo>
                  <a:cubicBezTo>
                    <a:pt x="874065" y="1776931"/>
                    <a:pt x="856006" y="1723270"/>
                    <a:pt x="838463" y="1669608"/>
                  </a:cubicBezTo>
                  <a:cubicBezTo>
                    <a:pt x="834335" y="1657224"/>
                    <a:pt x="826080" y="1649485"/>
                    <a:pt x="813180" y="1646905"/>
                  </a:cubicBezTo>
                  <a:cubicBezTo>
                    <a:pt x="785833" y="1640713"/>
                    <a:pt x="757970" y="1635037"/>
                    <a:pt x="730624" y="1628330"/>
                  </a:cubicBezTo>
                  <a:cubicBezTo>
                    <a:pt x="716176" y="1624718"/>
                    <a:pt x="704309" y="1628330"/>
                    <a:pt x="693990" y="1639165"/>
                  </a:cubicBezTo>
                  <a:cubicBezTo>
                    <a:pt x="654259" y="1680443"/>
                    <a:pt x="613497" y="1720690"/>
                    <a:pt x="573251" y="1761452"/>
                  </a:cubicBezTo>
                  <a:cubicBezTo>
                    <a:pt x="563963" y="1770739"/>
                    <a:pt x="553127" y="1772804"/>
                    <a:pt x="542292" y="1766612"/>
                  </a:cubicBezTo>
                  <a:cubicBezTo>
                    <a:pt x="498950" y="1742361"/>
                    <a:pt x="456123" y="1718110"/>
                    <a:pt x="412782" y="1693859"/>
                  </a:cubicBezTo>
                  <a:cubicBezTo>
                    <a:pt x="397818" y="1685603"/>
                    <a:pt x="394206" y="1676832"/>
                    <a:pt x="398334" y="1660836"/>
                  </a:cubicBezTo>
                  <a:cubicBezTo>
                    <a:pt x="412265" y="1605111"/>
                    <a:pt x="426713" y="1549901"/>
                    <a:pt x="440644" y="1494176"/>
                  </a:cubicBezTo>
                  <a:cubicBezTo>
                    <a:pt x="443741" y="1482308"/>
                    <a:pt x="441676" y="1471473"/>
                    <a:pt x="432904" y="1462185"/>
                  </a:cubicBezTo>
                  <a:cubicBezTo>
                    <a:pt x="412265" y="1440514"/>
                    <a:pt x="391110" y="1418843"/>
                    <a:pt x="370471" y="1397172"/>
                  </a:cubicBezTo>
                  <a:cubicBezTo>
                    <a:pt x="362216" y="1388400"/>
                    <a:pt x="351896" y="1385820"/>
                    <a:pt x="340545" y="1388400"/>
                  </a:cubicBezTo>
                  <a:cubicBezTo>
                    <a:pt x="330226" y="1390464"/>
                    <a:pt x="320422" y="1393044"/>
                    <a:pt x="310618" y="1395108"/>
                  </a:cubicBezTo>
                  <a:cubicBezTo>
                    <a:pt x="263664" y="1405428"/>
                    <a:pt x="217226" y="1416263"/>
                    <a:pt x="170273" y="1426583"/>
                  </a:cubicBezTo>
                  <a:cubicBezTo>
                    <a:pt x="157373" y="1429679"/>
                    <a:pt x="147054" y="1425035"/>
                    <a:pt x="141377" y="1413683"/>
                  </a:cubicBezTo>
                  <a:cubicBezTo>
                    <a:pt x="117642" y="1368277"/>
                    <a:pt x="94423" y="1322355"/>
                    <a:pt x="70689" y="1276949"/>
                  </a:cubicBezTo>
                  <a:cubicBezTo>
                    <a:pt x="65529" y="1266630"/>
                    <a:pt x="67593" y="1255278"/>
                    <a:pt x="75848" y="1247539"/>
                  </a:cubicBezTo>
                  <a:cubicBezTo>
                    <a:pt x="119191" y="1207292"/>
                    <a:pt x="163049" y="1166530"/>
                    <a:pt x="206391" y="1126284"/>
                  </a:cubicBezTo>
                  <a:cubicBezTo>
                    <a:pt x="215162" y="1118544"/>
                    <a:pt x="218258" y="1108225"/>
                    <a:pt x="216710" y="1096873"/>
                  </a:cubicBezTo>
                  <a:cubicBezTo>
                    <a:pt x="211551" y="1069010"/>
                    <a:pt x="206391" y="1040631"/>
                    <a:pt x="201231" y="1012769"/>
                  </a:cubicBezTo>
                  <a:cubicBezTo>
                    <a:pt x="199167" y="1000901"/>
                    <a:pt x="192459" y="993162"/>
                    <a:pt x="181108" y="989034"/>
                  </a:cubicBezTo>
                  <a:cubicBezTo>
                    <a:pt x="142925" y="975103"/>
                    <a:pt x="104743" y="961171"/>
                    <a:pt x="67077" y="947240"/>
                  </a:cubicBezTo>
                  <a:cubicBezTo>
                    <a:pt x="44890" y="938984"/>
                    <a:pt x="22187" y="931760"/>
                    <a:pt x="0" y="921957"/>
                  </a:cubicBezTo>
                  <a:cubicBezTo>
                    <a:pt x="0" y="912153"/>
                    <a:pt x="0" y="902866"/>
                    <a:pt x="0" y="893062"/>
                  </a:cubicBezTo>
                  <a:cubicBezTo>
                    <a:pt x="1548" y="876035"/>
                    <a:pt x="3096" y="859524"/>
                    <a:pt x="4643" y="842496"/>
                  </a:cubicBezTo>
                  <a:cubicBezTo>
                    <a:pt x="7740" y="809474"/>
                    <a:pt x="12383" y="776451"/>
                    <a:pt x="17543" y="743945"/>
                  </a:cubicBezTo>
                  <a:cubicBezTo>
                    <a:pt x="19091" y="733109"/>
                    <a:pt x="26831" y="725369"/>
                    <a:pt x="38182" y="723305"/>
                  </a:cubicBezTo>
                  <a:cubicBezTo>
                    <a:pt x="97003" y="712470"/>
                    <a:pt x="155309" y="702150"/>
                    <a:pt x="214131" y="691315"/>
                  </a:cubicBezTo>
                  <a:cubicBezTo>
                    <a:pt x="226514" y="689251"/>
                    <a:pt x="234770" y="682543"/>
                    <a:pt x="239929" y="671192"/>
                  </a:cubicBezTo>
                  <a:cubicBezTo>
                    <a:pt x="248701" y="649521"/>
                    <a:pt x="257989" y="627850"/>
                    <a:pt x="266760" y="606695"/>
                  </a:cubicBezTo>
                  <a:cubicBezTo>
                    <a:pt x="272436" y="593279"/>
                    <a:pt x="270888" y="581928"/>
                    <a:pt x="262116" y="570060"/>
                  </a:cubicBezTo>
                  <a:cubicBezTo>
                    <a:pt x="227546" y="525170"/>
                    <a:pt x="193492" y="479764"/>
                    <a:pt x="159437" y="434874"/>
                  </a:cubicBezTo>
                  <a:cubicBezTo>
                    <a:pt x="150665" y="423007"/>
                    <a:pt x="150665" y="412687"/>
                    <a:pt x="159953" y="401336"/>
                  </a:cubicBezTo>
                  <a:cubicBezTo>
                    <a:pt x="192975" y="360058"/>
                    <a:pt x="225998" y="319295"/>
                    <a:pt x="259536" y="278017"/>
                  </a:cubicBezTo>
                  <a:cubicBezTo>
                    <a:pt x="270372" y="265118"/>
                    <a:pt x="279144" y="262538"/>
                    <a:pt x="294623" y="268729"/>
                  </a:cubicBezTo>
                  <a:cubicBezTo>
                    <a:pt x="348801" y="291433"/>
                    <a:pt x="402978" y="313620"/>
                    <a:pt x="457672" y="336322"/>
                  </a:cubicBezTo>
                  <a:cubicBezTo>
                    <a:pt x="468507" y="340966"/>
                    <a:pt x="479342" y="340450"/>
                    <a:pt x="489146" y="333743"/>
                  </a:cubicBezTo>
                  <a:cubicBezTo>
                    <a:pt x="506690" y="321875"/>
                    <a:pt x="523717" y="310008"/>
                    <a:pt x="540744" y="298140"/>
                  </a:cubicBezTo>
                  <a:cubicBezTo>
                    <a:pt x="548999" y="292464"/>
                    <a:pt x="553127" y="284209"/>
                    <a:pt x="553127" y="273889"/>
                  </a:cubicBezTo>
                  <a:cubicBezTo>
                    <a:pt x="553127" y="267697"/>
                    <a:pt x="552612" y="261506"/>
                    <a:pt x="552096" y="255830"/>
                  </a:cubicBezTo>
                  <a:cubicBezTo>
                    <a:pt x="550032" y="228999"/>
                    <a:pt x="547968" y="202684"/>
                    <a:pt x="545904" y="175854"/>
                  </a:cubicBezTo>
                  <a:cubicBezTo>
                    <a:pt x="543840" y="149023"/>
                    <a:pt x="541776" y="122708"/>
                    <a:pt x="539712" y="95877"/>
                  </a:cubicBezTo>
                  <a:cubicBezTo>
                    <a:pt x="538680" y="83493"/>
                    <a:pt x="544872" y="73690"/>
                    <a:pt x="556739" y="69562"/>
                  </a:cubicBezTo>
                  <a:cubicBezTo>
                    <a:pt x="609885" y="51503"/>
                    <a:pt x="663031" y="33444"/>
                    <a:pt x="716176" y="15901"/>
                  </a:cubicBezTo>
                  <a:cubicBezTo>
                    <a:pt x="719788" y="14869"/>
                    <a:pt x="722884" y="14353"/>
                    <a:pt x="726496" y="14353"/>
                  </a:cubicBezTo>
                  <a:cubicBezTo>
                    <a:pt x="736299" y="14869"/>
                    <a:pt x="742491" y="21060"/>
                    <a:pt x="748167" y="28800"/>
                  </a:cubicBezTo>
                  <a:cubicBezTo>
                    <a:pt x="781189" y="76786"/>
                    <a:pt x="814728" y="124772"/>
                    <a:pt x="847750" y="172758"/>
                  </a:cubicBezTo>
                  <a:cubicBezTo>
                    <a:pt x="855490" y="183593"/>
                    <a:pt x="865810" y="188753"/>
                    <a:pt x="878709" y="187721"/>
                  </a:cubicBezTo>
                  <a:cubicBezTo>
                    <a:pt x="896252" y="186173"/>
                    <a:pt x="914312" y="185657"/>
                    <a:pt x="931855" y="185657"/>
                  </a:cubicBezTo>
                  <a:cubicBezTo>
                    <a:pt x="939079" y="185657"/>
                    <a:pt x="944239" y="183077"/>
                    <a:pt x="948366" y="177401"/>
                  </a:cubicBezTo>
                  <a:cubicBezTo>
                    <a:pt x="950430" y="174822"/>
                    <a:pt x="952494" y="171726"/>
                    <a:pt x="954042" y="169146"/>
                  </a:cubicBezTo>
                  <a:cubicBezTo>
                    <a:pt x="962814" y="153150"/>
                    <a:pt x="971069" y="137155"/>
                    <a:pt x="979840" y="121676"/>
                  </a:cubicBezTo>
                  <a:cubicBezTo>
                    <a:pt x="998932" y="85558"/>
                    <a:pt x="1018539" y="49955"/>
                    <a:pt x="1037630" y="13837"/>
                  </a:cubicBezTo>
                  <a:cubicBezTo>
                    <a:pt x="1043822" y="2485"/>
                    <a:pt x="1053626" y="-2159"/>
                    <a:pt x="1066525" y="937"/>
                  </a:cubicBezTo>
                  <a:cubicBezTo>
                    <a:pt x="1122251" y="14353"/>
                    <a:pt x="1177976" y="27252"/>
                    <a:pt x="1233702" y="40667"/>
                  </a:cubicBezTo>
                  <a:cubicBezTo>
                    <a:pt x="1245569" y="43763"/>
                    <a:pt x="1252793" y="52535"/>
                    <a:pt x="1253309" y="64918"/>
                  </a:cubicBezTo>
                  <a:cubicBezTo>
                    <a:pt x="1253825" y="71626"/>
                    <a:pt x="1253825" y="78334"/>
                    <a:pt x="1254341" y="85042"/>
                  </a:cubicBezTo>
                  <a:cubicBezTo>
                    <a:pt x="1255888" y="126836"/>
                    <a:pt x="1256921" y="168630"/>
                    <a:pt x="1258468" y="209908"/>
                  </a:cubicBezTo>
                  <a:cubicBezTo>
                    <a:pt x="1258985" y="221260"/>
                    <a:pt x="1259501" y="233127"/>
                    <a:pt x="1260016" y="244478"/>
                  </a:cubicBezTo>
                  <a:cubicBezTo>
                    <a:pt x="1260532" y="255830"/>
                    <a:pt x="1266208" y="264602"/>
                    <a:pt x="1276012" y="270277"/>
                  </a:cubicBezTo>
                  <a:cubicBezTo>
                    <a:pt x="1288395" y="277501"/>
                    <a:pt x="1301295" y="284209"/>
                    <a:pt x="1313678" y="291948"/>
                  </a:cubicBezTo>
                  <a:cubicBezTo>
                    <a:pt x="1326062" y="299172"/>
                    <a:pt x="1337413" y="298656"/>
                    <a:pt x="1349797" y="291948"/>
                  </a:cubicBezTo>
                  <a:cubicBezTo>
                    <a:pt x="1400879" y="263570"/>
                    <a:pt x="1451444" y="235191"/>
                    <a:pt x="1502526" y="206812"/>
                  </a:cubicBezTo>
                  <a:cubicBezTo>
                    <a:pt x="1514394" y="200105"/>
                    <a:pt x="1525745" y="202168"/>
                    <a:pt x="1535033" y="211456"/>
                  </a:cubicBezTo>
                  <a:cubicBezTo>
                    <a:pt x="1574763" y="251702"/>
                    <a:pt x="1613977" y="292464"/>
                    <a:pt x="1653707" y="332711"/>
                  </a:cubicBezTo>
                  <a:cubicBezTo>
                    <a:pt x="1664027" y="343546"/>
                    <a:pt x="1665575" y="353350"/>
                    <a:pt x="1657835" y="366249"/>
                  </a:cubicBezTo>
                  <a:cubicBezTo>
                    <a:pt x="1628424" y="416299"/>
                    <a:pt x="1598497" y="465833"/>
                    <a:pt x="1569087" y="515883"/>
                  </a:cubicBezTo>
                  <a:cubicBezTo>
                    <a:pt x="1562379" y="527234"/>
                    <a:pt x="1561863" y="539102"/>
                    <a:pt x="1568571" y="550453"/>
                  </a:cubicBezTo>
                  <a:cubicBezTo>
                    <a:pt x="1576311" y="564384"/>
                    <a:pt x="1583534" y="578316"/>
                    <a:pt x="1591274" y="592247"/>
                  </a:cubicBezTo>
                  <a:cubicBezTo>
                    <a:pt x="1596950" y="602567"/>
                    <a:pt x="1605721" y="608243"/>
                    <a:pt x="1617589" y="608759"/>
                  </a:cubicBezTo>
                  <a:cubicBezTo>
                    <a:pt x="1637196" y="610307"/>
                    <a:pt x="1657319" y="611339"/>
                    <a:pt x="1676926" y="612886"/>
                  </a:cubicBezTo>
                  <a:cubicBezTo>
                    <a:pt x="1717172" y="615466"/>
                    <a:pt x="1757419" y="618046"/>
                    <a:pt x="1797665" y="620626"/>
                  </a:cubicBezTo>
                  <a:cubicBezTo>
                    <a:pt x="1809016" y="621142"/>
                    <a:pt x="1818304" y="628882"/>
                    <a:pt x="1820884" y="640233"/>
                  </a:cubicBezTo>
                  <a:cubicBezTo>
                    <a:pt x="1833267" y="695959"/>
                    <a:pt x="1845135" y="752200"/>
                    <a:pt x="1857518" y="808442"/>
                  </a:cubicBezTo>
                  <a:cubicBezTo>
                    <a:pt x="1859066" y="816181"/>
                    <a:pt x="1857002" y="822889"/>
                    <a:pt x="1851842" y="829081"/>
                  </a:cubicBezTo>
                  <a:cubicBezTo>
                    <a:pt x="1849262" y="832177"/>
                    <a:pt x="1845135" y="834241"/>
                    <a:pt x="1841523" y="836305"/>
                  </a:cubicBezTo>
                  <a:cubicBezTo>
                    <a:pt x="1789925" y="862103"/>
                    <a:pt x="1738327" y="887902"/>
                    <a:pt x="1686214" y="913701"/>
                  </a:cubicBezTo>
                  <a:cubicBezTo>
                    <a:pt x="1675378" y="919377"/>
                    <a:pt x="1669187" y="927633"/>
                    <a:pt x="1668670" y="940016"/>
                  </a:cubicBezTo>
                  <a:cubicBezTo>
                    <a:pt x="1667639" y="959623"/>
                    <a:pt x="1666090" y="978714"/>
                    <a:pt x="1665059" y="998322"/>
                  </a:cubicBezTo>
                  <a:cubicBezTo>
                    <a:pt x="1664543" y="1009673"/>
                    <a:pt x="1668670" y="1019477"/>
                    <a:pt x="1678474" y="1026184"/>
                  </a:cubicBezTo>
                  <a:cubicBezTo>
                    <a:pt x="1726460" y="1061271"/>
                    <a:pt x="1773930" y="1096873"/>
                    <a:pt x="1821916" y="1131960"/>
                  </a:cubicBezTo>
                  <a:cubicBezTo>
                    <a:pt x="1833267" y="1140215"/>
                    <a:pt x="1836879" y="1150535"/>
                    <a:pt x="1831720" y="1163950"/>
                  </a:cubicBezTo>
                  <a:cubicBezTo>
                    <a:pt x="1822948" y="1188201"/>
                    <a:pt x="1814176" y="1212452"/>
                    <a:pt x="1805404" y="1236703"/>
                  </a:cubicBezTo>
                  <a:cubicBezTo>
                    <a:pt x="1795601" y="1263534"/>
                    <a:pt x="1785798" y="1290881"/>
                    <a:pt x="1775478" y="1317711"/>
                  </a:cubicBezTo>
                  <a:cubicBezTo>
                    <a:pt x="1771350" y="1329063"/>
                    <a:pt x="1761546" y="1335255"/>
                    <a:pt x="1750195" y="1334223"/>
                  </a:cubicBezTo>
                  <a:cubicBezTo>
                    <a:pt x="1728524" y="1332159"/>
                    <a:pt x="1707369" y="1329579"/>
                    <a:pt x="1685698" y="1327515"/>
                  </a:cubicBezTo>
                  <a:cubicBezTo>
                    <a:pt x="1648548" y="1323387"/>
                    <a:pt x="1611397" y="1319259"/>
                    <a:pt x="1574247" y="1315648"/>
                  </a:cubicBezTo>
                  <a:cubicBezTo>
                    <a:pt x="1562379" y="1314616"/>
                    <a:pt x="1553092" y="1318743"/>
                    <a:pt x="1545868" y="1328547"/>
                  </a:cubicBezTo>
                  <a:cubicBezTo>
                    <a:pt x="1532453" y="1346606"/>
                    <a:pt x="1519553" y="1365181"/>
                    <a:pt x="1505622" y="1383241"/>
                  </a:cubicBezTo>
                  <a:cubicBezTo>
                    <a:pt x="1497366" y="1394076"/>
                    <a:pt x="1496334" y="1405428"/>
                    <a:pt x="1500978" y="1417811"/>
                  </a:cubicBezTo>
                  <a:cubicBezTo>
                    <a:pt x="1521617" y="1472505"/>
                    <a:pt x="1542772" y="1527198"/>
                    <a:pt x="1563411" y="1581892"/>
                  </a:cubicBezTo>
                  <a:cubicBezTo>
                    <a:pt x="1569087" y="1596339"/>
                    <a:pt x="1565991" y="1606143"/>
                    <a:pt x="1554124" y="1615430"/>
                  </a:cubicBezTo>
                  <a:cubicBezTo>
                    <a:pt x="1512845" y="1646389"/>
                    <a:pt x="1472083" y="1677864"/>
                    <a:pt x="1430805" y="1708822"/>
                  </a:cubicBezTo>
                  <a:cubicBezTo>
                    <a:pt x="1418938" y="1717594"/>
                    <a:pt x="1408618" y="1717594"/>
                    <a:pt x="1397266" y="1708306"/>
                  </a:cubicBezTo>
                  <a:cubicBezTo>
                    <a:pt x="1352892" y="1672704"/>
                    <a:pt x="1308003" y="1636585"/>
                    <a:pt x="1263628" y="1600467"/>
                  </a:cubicBezTo>
                  <a:cubicBezTo>
                    <a:pt x="1253825" y="1592727"/>
                    <a:pt x="1243505" y="1590147"/>
                    <a:pt x="1232154" y="1594275"/>
                  </a:cubicBezTo>
                  <a:cubicBezTo>
                    <a:pt x="1205839" y="1604079"/>
                    <a:pt x="1179524" y="1613883"/>
                    <a:pt x="1153725" y="1624202"/>
                  </a:cubicBezTo>
                  <a:cubicBezTo>
                    <a:pt x="1143406" y="1628330"/>
                    <a:pt x="1137214" y="1636070"/>
                    <a:pt x="1134634" y="1646905"/>
                  </a:cubicBezTo>
                  <a:cubicBezTo>
                    <a:pt x="1131022" y="1663932"/>
                    <a:pt x="1127411" y="1681475"/>
                    <a:pt x="1123798" y="1698503"/>
                  </a:cubicBezTo>
                  <a:cubicBezTo>
                    <a:pt x="1115027" y="1739781"/>
                    <a:pt x="1106771" y="1780543"/>
                    <a:pt x="1097999" y="1821821"/>
                  </a:cubicBezTo>
                  <a:cubicBezTo>
                    <a:pt x="1095420" y="1833689"/>
                    <a:pt x="1088196" y="1840913"/>
                    <a:pt x="1076329" y="1842460"/>
                  </a:cubicBezTo>
                  <a:cubicBezTo>
                    <a:pt x="1048982" y="1846072"/>
                    <a:pt x="1021635" y="1848652"/>
                    <a:pt x="994288" y="1851232"/>
                  </a:cubicBezTo>
                  <a:cubicBezTo>
                    <a:pt x="980873" y="1850200"/>
                    <a:pt x="970037" y="1851232"/>
                    <a:pt x="959201" y="1852264"/>
                  </a:cubicBezTo>
                  <a:close/>
                  <a:moveTo>
                    <a:pt x="928759" y="382245"/>
                  </a:moveTo>
                  <a:cubicBezTo>
                    <a:pt x="633620" y="381729"/>
                    <a:pt x="388015" y="619594"/>
                    <a:pt x="386983" y="921957"/>
                  </a:cubicBezTo>
                  <a:cubicBezTo>
                    <a:pt x="385951" y="1222772"/>
                    <a:pt x="627428" y="1464765"/>
                    <a:pt x="926695" y="1465797"/>
                  </a:cubicBezTo>
                  <a:cubicBezTo>
                    <a:pt x="1229058" y="1466829"/>
                    <a:pt x="1470019" y="1222772"/>
                    <a:pt x="1470535" y="924537"/>
                  </a:cubicBezTo>
                  <a:cubicBezTo>
                    <a:pt x="1470535" y="625270"/>
                    <a:pt x="1228026" y="381729"/>
                    <a:pt x="928759" y="382245"/>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1" name="Google Shape;131;p15"/>
            <p:cNvSpPr/>
            <p:nvPr/>
          </p:nvSpPr>
          <p:spPr>
            <a:xfrm>
              <a:off x="4032637" y="2622975"/>
              <a:ext cx="1051669" cy="1070562"/>
            </a:xfrm>
            <a:custGeom>
              <a:avLst/>
              <a:gdLst/>
              <a:ahLst/>
              <a:cxnLst/>
              <a:rect l="l" t="t" r="r" b="b"/>
              <a:pathLst>
                <a:path w="1723364" h="1754322" extrusionOk="0">
                  <a:moveTo>
                    <a:pt x="879664" y="267"/>
                  </a:moveTo>
                  <a:cubicBezTo>
                    <a:pt x="907527" y="2332"/>
                    <a:pt x="935906" y="4395"/>
                    <a:pt x="964801" y="5943"/>
                  </a:cubicBezTo>
                  <a:cubicBezTo>
                    <a:pt x="974088" y="6459"/>
                    <a:pt x="976668" y="11103"/>
                    <a:pt x="979248" y="18843"/>
                  </a:cubicBezTo>
                  <a:cubicBezTo>
                    <a:pt x="994727" y="65797"/>
                    <a:pt x="985956" y="112235"/>
                    <a:pt x="977700" y="158673"/>
                  </a:cubicBezTo>
                  <a:cubicBezTo>
                    <a:pt x="974604" y="176732"/>
                    <a:pt x="972024" y="195307"/>
                    <a:pt x="968928" y="213366"/>
                  </a:cubicBezTo>
                  <a:cubicBezTo>
                    <a:pt x="967380" y="222654"/>
                    <a:pt x="969960" y="227813"/>
                    <a:pt x="979764" y="229877"/>
                  </a:cubicBezTo>
                  <a:cubicBezTo>
                    <a:pt x="1038585" y="240713"/>
                    <a:pt x="1095343" y="259804"/>
                    <a:pt x="1149520" y="285087"/>
                  </a:cubicBezTo>
                  <a:cubicBezTo>
                    <a:pt x="1158808" y="289215"/>
                    <a:pt x="1162420" y="286119"/>
                    <a:pt x="1166548" y="278379"/>
                  </a:cubicBezTo>
                  <a:cubicBezTo>
                    <a:pt x="1180995" y="248969"/>
                    <a:pt x="1197506" y="220590"/>
                    <a:pt x="1210406" y="190663"/>
                  </a:cubicBezTo>
                  <a:cubicBezTo>
                    <a:pt x="1222273" y="163316"/>
                    <a:pt x="1240848" y="142161"/>
                    <a:pt x="1263035" y="123070"/>
                  </a:cubicBezTo>
                  <a:cubicBezTo>
                    <a:pt x="1282643" y="106043"/>
                    <a:pt x="1282127" y="106559"/>
                    <a:pt x="1304314" y="119458"/>
                  </a:cubicBezTo>
                  <a:cubicBezTo>
                    <a:pt x="1359523" y="151449"/>
                    <a:pt x="1409573" y="190663"/>
                    <a:pt x="1458075" y="231941"/>
                  </a:cubicBezTo>
                  <a:cubicBezTo>
                    <a:pt x="1465299" y="238133"/>
                    <a:pt x="1467362" y="243809"/>
                    <a:pt x="1462203" y="251549"/>
                  </a:cubicBezTo>
                  <a:cubicBezTo>
                    <a:pt x="1461687" y="252064"/>
                    <a:pt x="1461171" y="253096"/>
                    <a:pt x="1461171" y="254128"/>
                  </a:cubicBezTo>
                  <a:cubicBezTo>
                    <a:pt x="1448271" y="291279"/>
                    <a:pt x="1425052" y="320689"/>
                    <a:pt x="1396158" y="347004"/>
                  </a:cubicBezTo>
                  <a:cubicBezTo>
                    <a:pt x="1375518" y="365064"/>
                    <a:pt x="1356943" y="385703"/>
                    <a:pt x="1337336" y="404794"/>
                  </a:cubicBezTo>
                  <a:cubicBezTo>
                    <a:pt x="1332177" y="409954"/>
                    <a:pt x="1330628" y="413565"/>
                    <a:pt x="1336304" y="419757"/>
                  </a:cubicBezTo>
                  <a:cubicBezTo>
                    <a:pt x="1347656" y="432141"/>
                    <a:pt x="1357459" y="445556"/>
                    <a:pt x="1369327" y="457939"/>
                  </a:cubicBezTo>
                  <a:cubicBezTo>
                    <a:pt x="1399769" y="489930"/>
                    <a:pt x="1419893" y="528628"/>
                    <a:pt x="1442596" y="565263"/>
                  </a:cubicBezTo>
                  <a:cubicBezTo>
                    <a:pt x="1448271" y="574550"/>
                    <a:pt x="1452915" y="576098"/>
                    <a:pt x="1462719" y="570938"/>
                  </a:cubicBezTo>
                  <a:cubicBezTo>
                    <a:pt x="1499353" y="551847"/>
                    <a:pt x="1535988" y="533272"/>
                    <a:pt x="1573138" y="514697"/>
                  </a:cubicBezTo>
                  <a:cubicBezTo>
                    <a:pt x="1597389" y="502830"/>
                    <a:pt x="1624220" y="504893"/>
                    <a:pt x="1650018" y="501281"/>
                  </a:cubicBezTo>
                  <a:cubicBezTo>
                    <a:pt x="1655694" y="500250"/>
                    <a:pt x="1658274" y="505409"/>
                    <a:pt x="1659822" y="509537"/>
                  </a:cubicBezTo>
                  <a:cubicBezTo>
                    <a:pt x="1687685" y="574034"/>
                    <a:pt x="1709872" y="640595"/>
                    <a:pt x="1724835" y="709220"/>
                  </a:cubicBezTo>
                  <a:cubicBezTo>
                    <a:pt x="1726383" y="716444"/>
                    <a:pt x="1723803" y="720572"/>
                    <a:pt x="1717611" y="723668"/>
                  </a:cubicBezTo>
                  <a:cubicBezTo>
                    <a:pt x="1702132" y="731923"/>
                    <a:pt x="1686653" y="740695"/>
                    <a:pt x="1671173" y="748950"/>
                  </a:cubicBezTo>
                  <a:cubicBezTo>
                    <a:pt x="1654662" y="757722"/>
                    <a:pt x="1636087" y="757206"/>
                    <a:pt x="1618544" y="760302"/>
                  </a:cubicBezTo>
                  <a:cubicBezTo>
                    <a:pt x="1589133" y="765462"/>
                    <a:pt x="1559207" y="770106"/>
                    <a:pt x="1529280" y="774234"/>
                  </a:cubicBezTo>
                  <a:cubicBezTo>
                    <a:pt x="1517412" y="775781"/>
                    <a:pt x="1514316" y="780941"/>
                    <a:pt x="1515349" y="791777"/>
                  </a:cubicBezTo>
                  <a:cubicBezTo>
                    <a:pt x="1517412" y="813448"/>
                    <a:pt x="1518444" y="835635"/>
                    <a:pt x="1521024" y="857306"/>
                  </a:cubicBezTo>
                  <a:cubicBezTo>
                    <a:pt x="1524636" y="889813"/>
                    <a:pt x="1518960" y="921803"/>
                    <a:pt x="1516380" y="953794"/>
                  </a:cubicBezTo>
                  <a:cubicBezTo>
                    <a:pt x="1514316" y="980109"/>
                    <a:pt x="1513284" y="980109"/>
                    <a:pt x="1538567" y="983720"/>
                  </a:cubicBezTo>
                  <a:cubicBezTo>
                    <a:pt x="1576750" y="989912"/>
                    <a:pt x="1614932" y="995588"/>
                    <a:pt x="1653114" y="1001779"/>
                  </a:cubicBezTo>
                  <a:cubicBezTo>
                    <a:pt x="1671173" y="1004875"/>
                    <a:pt x="1685105" y="1016227"/>
                    <a:pt x="1700584" y="1024483"/>
                  </a:cubicBezTo>
                  <a:cubicBezTo>
                    <a:pt x="1726899" y="1038414"/>
                    <a:pt x="1725867" y="1038930"/>
                    <a:pt x="1719675" y="1067825"/>
                  </a:cubicBezTo>
                  <a:cubicBezTo>
                    <a:pt x="1706260" y="1128710"/>
                    <a:pt x="1685105" y="1186500"/>
                    <a:pt x="1661370" y="1243773"/>
                  </a:cubicBezTo>
                  <a:cubicBezTo>
                    <a:pt x="1657242" y="1253577"/>
                    <a:pt x="1651566" y="1256157"/>
                    <a:pt x="1641763" y="1255124"/>
                  </a:cubicBezTo>
                  <a:cubicBezTo>
                    <a:pt x="1606160" y="1252028"/>
                    <a:pt x="1572622" y="1244805"/>
                    <a:pt x="1541663" y="1226230"/>
                  </a:cubicBezTo>
                  <a:cubicBezTo>
                    <a:pt x="1515864" y="1210750"/>
                    <a:pt x="1488001" y="1198883"/>
                    <a:pt x="1461687" y="1184436"/>
                  </a:cubicBezTo>
                  <a:cubicBezTo>
                    <a:pt x="1453947" y="1180308"/>
                    <a:pt x="1448787" y="1180308"/>
                    <a:pt x="1444143" y="1189079"/>
                  </a:cubicBezTo>
                  <a:cubicBezTo>
                    <a:pt x="1415249" y="1241709"/>
                    <a:pt x="1380162" y="1290211"/>
                    <a:pt x="1339400" y="1333553"/>
                  </a:cubicBezTo>
                  <a:cubicBezTo>
                    <a:pt x="1332177" y="1341293"/>
                    <a:pt x="1332177" y="1345936"/>
                    <a:pt x="1339916" y="1353160"/>
                  </a:cubicBezTo>
                  <a:cubicBezTo>
                    <a:pt x="1370359" y="1382571"/>
                    <a:pt x="1400801" y="1412498"/>
                    <a:pt x="1430212" y="1443456"/>
                  </a:cubicBezTo>
                  <a:cubicBezTo>
                    <a:pt x="1448271" y="1462547"/>
                    <a:pt x="1453947" y="1488862"/>
                    <a:pt x="1465814" y="1511565"/>
                  </a:cubicBezTo>
                  <a:cubicBezTo>
                    <a:pt x="1467879" y="1515693"/>
                    <a:pt x="1464267" y="1518789"/>
                    <a:pt x="1461171" y="1521369"/>
                  </a:cubicBezTo>
                  <a:cubicBezTo>
                    <a:pt x="1408025" y="1568323"/>
                    <a:pt x="1351784" y="1610117"/>
                    <a:pt x="1290382" y="1645203"/>
                  </a:cubicBezTo>
                  <a:cubicBezTo>
                    <a:pt x="1284707" y="1648815"/>
                    <a:pt x="1280579" y="1648299"/>
                    <a:pt x="1275419" y="1643655"/>
                  </a:cubicBezTo>
                  <a:cubicBezTo>
                    <a:pt x="1247040" y="1619404"/>
                    <a:pt x="1221757" y="1593606"/>
                    <a:pt x="1207310" y="1558003"/>
                  </a:cubicBezTo>
                  <a:cubicBezTo>
                    <a:pt x="1195958" y="1530140"/>
                    <a:pt x="1179963" y="1504341"/>
                    <a:pt x="1167064" y="1477511"/>
                  </a:cubicBezTo>
                  <a:cubicBezTo>
                    <a:pt x="1162936" y="1469255"/>
                    <a:pt x="1158808" y="1467191"/>
                    <a:pt x="1150036" y="1470803"/>
                  </a:cubicBezTo>
                  <a:cubicBezTo>
                    <a:pt x="1096375" y="1496086"/>
                    <a:pt x="1040133" y="1514661"/>
                    <a:pt x="981312" y="1526013"/>
                  </a:cubicBezTo>
                  <a:cubicBezTo>
                    <a:pt x="969960" y="1528076"/>
                    <a:pt x="967896" y="1534268"/>
                    <a:pt x="969960" y="1544072"/>
                  </a:cubicBezTo>
                  <a:cubicBezTo>
                    <a:pt x="976668" y="1583802"/>
                    <a:pt x="982860" y="1623532"/>
                    <a:pt x="989052" y="1663779"/>
                  </a:cubicBezTo>
                  <a:cubicBezTo>
                    <a:pt x="993179" y="1691641"/>
                    <a:pt x="982344" y="1716924"/>
                    <a:pt x="978216" y="1743755"/>
                  </a:cubicBezTo>
                  <a:cubicBezTo>
                    <a:pt x="977184" y="1749431"/>
                    <a:pt x="971508" y="1749431"/>
                    <a:pt x="966864" y="1749947"/>
                  </a:cubicBezTo>
                  <a:cubicBezTo>
                    <a:pt x="897207" y="1757170"/>
                    <a:pt x="828067" y="1756655"/>
                    <a:pt x="758410" y="1749947"/>
                  </a:cubicBezTo>
                  <a:cubicBezTo>
                    <a:pt x="749638" y="1748915"/>
                    <a:pt x="748090" y="1744271"/>
                    <a:pt x="745510" y="1737047"/>
                  </a:cubicBezTo>
                  <a:cubicBezTo>
                    <a:pt x="730031" y="1690609"/>
                    <a:pt x="738286" y="1644687"/>
                    <a:pt x="747058" y="1598249"/>
                  </a:cubicBezTo>
                  <a:cubicBezTo>
                    <a:pt x="750154" y="1580190"/>
                    <a:pt x="752734" y="1561615"/>
                    <a:pt x="756346" y="1543556"/>
                  </a:cubicBezTo>
                  <a:cubicBezTo>
                    <a:pt x="758410" y="1533236"/>
                    <a:pt x="755314" y="1527560"/>
                    <a:pt x="744478" y="1525496"/>
                  </a:cubicBezTo>
                  <a:cubicBezTo>
                    <a:pt x="685657" y="1514661"/>
                    <a:pt x="629931" y="1496086"/>
                    <a:pt x="575754" y="1470287"/>
                  </a:cubicBezTo>
                  <a:cubicBezTo>
                    <a:pt x="568014" y="1466675"/>
                    <a:pt x="563886" y="1467707"/>
                    <a:pt x="559758" y="1475963"/>
                  </a:cubicBezTo>
                  <a:cubicBezTo>
                    <a:pt x="541699" y="1512597"/>
                    <a:pt x="522608" y="1548715"/>
                    <a:pt x="504549" y="1585350"/>
                  </a:cubicBezTo>
                  <a:cubicBezTo>
                    <a:pt x="491649" y="1611149"/>
                    <a:pt x="466882" y="1626112"/>
                    <a:pt x="447275" y="1645719"/>
                  </a:cubicBezTo>
                  <a:cubicBezTo>
                    <a:pt x="442631" y="1650363"/>
                    <a:pt x="438504" y="1646235"/>
                    <a:pt x="434376" y="1643655"/>
                  </a:cubicBezTo>
                  <a:cubicBezTo>
                    <a:pt x="384326" y="1612697"/>
                    <a:pt x="334276" y="1581738"/>
                    <a:pt x="290418" y="1542008"/>
                  </a:cubicBezTo>
                  <a:cubicBezTo>
                    <a:pt x="282678" y="1534784"/>
                    <a:pt x="273907" y="1528076"/>
                    <a:pt x="265651" y="1521369"/>
                  </a:cubicBezTo>
                  <a:cubicBezTo>
                    <a:pt x="259975" y="1516725"/>
                    <a:pt x="259459" y="1512597"/>
                    <a:pt x="262039" y="1505889"/>
                  </a:cubicBezTo>
                  <a:cubicBezTo>
                    <a:pt x="276487" y="1472351"/>
                    <a:pt x="292998" y="1440360"/>
                    <a:pt x="321893" y="1415593"/>
                  </a:cubicBezTo>
                  <a:cubicBezTo>
                    <a:pt x="345112" y="1395986"/>
                    <a:pt x="365235" y="1372767"/>
                    <a:pt x="386906" y="1351096"/>
                  </a:cubicBezTo>
                  <a:cubicBezTo>
                    <a:pt x="393098" y="1345421"/>
                    <a:pt x="394129" y="1341293"/>
                    <a:pt x="387938" y="1334069"/>
                  </a:cubicBezTo>
                  <a:cubicBezTo>
                    <a:pt x="376586" y="1321685"/>
                    <a:pt x="366783" y="1308270"/>
                    <a:pt x="354915" y="1295887"/>
                  </a:cubicBezTo>
                  <a:cubicBezTo>
                    <a:pt x="324989" y="1264412"/>
                    <a:pt x="305382" y="1225714"/>
                    <a:pt x="282678" y="1189595"/>
                  </a:cubicBezTo>
                  <a:cubicBezTo>
                    <a:pt x="277003" y="1180308"/>
                    <a:pt x="272359" y="1178760"/>
                    <a:pt x="262555" y="1183920"/>
                  </a:cubicBezTo>
                  <a:cubicBezTo>
                    <a:pt x="225921" y="1203011"/>
                    <a:pt x="189287" y="1221586"/>
                    <a:pt x="152136" y="1240161"/>
                  </a:cubicBezTo>
                  <a:cubicBezTo>
                    <a:pt x="127885" y="1252545"/>
                    <a:pt x="101054" y="1249965"/>
                    <a:pt x="75256" y="1253577"/>
                  </a:cubicBezTo>
                  <a:cubicBezTo>
                    <a:pt x="69580" y="1254608"/>
                    <a:pt x="67000" y="1249965"/>
                    <a:pt x="65452" y="1245321"/>
                  </a:cubicBezTo>
                  <a:cubicBezTo>
                    <a:pt x="37589" y="1180824"/>
                    <a:pt x="15402" y="1114263"/>
                    <a:pt x="439" y="1045637"/>
                  </a:cubicBezTo>
                  <a:cubicBezTo>
                    <a:pt x="-1109" y="1038414"/>
                    <a:pt x="1471" y="1034286"/>
                    <a:pt x="7663" y="1031190"/>
                  </a:cubicBezTo>
                  <a:cubicBezTo>
                    <a:pt x="23142" y="1022935"/>
                    <a:pt x="38621" y="1014163"/>
                    <a:pt x="54101" y="1005907"/>
                  </a:cubicBezTo>
                  <a:cubicBezTo>
                    <a:pt x="70612" y="997136"/>
                    <a:pt x="89187" y="997652"/>
                    <a:pt x="106730" y="994556"/>
                  </a:cubicBezTo>
                  <a:cubicBezTo>
                    <a:pt x="136657" y="989396"/>
                    <a:pt x="167099" y="984236"/>
                    <a:pt x="197026" y="980109"/>
                  </a:cubicBezTo>
                  <a:cubicBezTo>
                    <a:pt x="207346" y="978560"/>
                    <a:pt x="210442" y="973917"/>
                    <a:pt x="209410" y="964113"/>
                  </a:cubicBezTo>
                  <a:cubicBezTo>
                    <a:pt x="207346" y="941926"/>
                    <a:pt x="206314" y="919739"/>
                    <a:pt x="203734" y="897552"/>
                  </a:cubicBezTo>
                  <a:cubicBezTo>
                    <a:pt x="200122" y="865045"/>
                    <a:pt x="205798" y="833055"/>
                    <a:pt x="208378" y="801064"/>
                  </a:cubicBezTo>
                  <a:cubicBezTo>
                    <a:pt x="210442" y="774749"/>
                    <a:pt x="211474" y="774749"/>
                    <a:pt x="185159" y="770622"/>
                  </a:cubicBezTo>
                  <a:cubicBezTo>
                    <a:pt x="148009" y="764430"/>
                    <a:pt x="110342" y="758754"/>
                    <a:pt x="73192" y="753079"/>
                  </a:cubicBezTo>
                  <a:cubicBezTo>
                    <a:pt x="54616" y="750499"/>
                    <a:pt x="40169" y="738631"/>
                    <a:pt x="24690" y="730375"/>
                  </a:cubicBezTo>
                  <a:cubicBezTo>
                    <a:pt x="-1625" y="715928"/>
                    <a:pt x="-593" y="715928"/>
                    <a:pt x="5599" y="687033"/>
                  </a:cubicBezTo>
                  <a:cubicBezTo>
                    <a:pt x="19014" y="626148"/>
                    <a:pt x="40169" y="568358"/>
                    <a:pt x="63904" y="511085"/>
                  </a:cubicBezTo>
                  <a:cubicBezTo>
                    <a:pt x="68032" y="501281"/>
                    <a:pt x="73192" y="498701"/>
                    <a:pt x="83511" y="499733"/>
                  </a:cubicBezTo>
                  <a:cubicBezTo>
                    <a:pt x="119114" y="502830"/>
                    <a:pt x="152652" y="510053"/>
                    <a:pt x="183611" y="528628"/>
                  </a:cubicBezTo>
                  <a:cubicBezTo>
                    <a:pt x="208894" y="543592"/>
                    <a:pt x="236241" y="555459"/>
                    <a:pt x="262555" y="569390"/>
                  </a:cubicBezTo>
                  <a:cubicBezTo>
                    <a:pt x="271327" y="574034"/>
                    <a:pt x="277003" y="574034"/>
                    <a:pt x="282163" y="564231"/>
                  </a:cubicBezTo>
                  <a:cubicBezTo>
                    <a:pt x="311057" y="511601"/>
                    <a:pt x="346144" y="463615"/>
                    <a:pt x="386906" y="419757"/>
                  </a:cubicBezTo>
                  <a:cubicBezTo>
                    <a:pt x="393614" y="412534"/>
                    <a:pt x="393098" y="408922"/>
                    <a:pt x="386390" y="402214"/>
                  </a:cubicBezTo>
                  <a:cubicBezTo>
                    <a:pt x="355947" y="372287"/>
                    <a:pt x="325505" y="342360"/>
                    <a:pt x="296094" y="311918"/>
                  </a:cubicBezTo>
                  <a:cubicBezTo>
                    <a:pt x="277519" y="292827"/>
                    <a:pt x="271843" y="265996"/>
                    <a:pt x="259975" y="242777"/>
                  </a:cubicBezTo>
                  <a:cubicBezTo>
                    <a:pt x="257912" y="238649"/>
                    <a:pt x="261524" y="235553"/>
                    <a:pt x="264619" y="232973"/>
                  </a:cubicBezTo>
                  <a:cubicBezTo>
                    <a:pt x="317765" y="186019"/>
                    <a:pt x="374007" y="144225"/>
                    <a:pt x="435408" y="109139"/>
                  </a:cubicBezTo>
                  <a:cubicBezTo>
                    <a:pt x="441084" y="105527"/>
                    <a:pt x="445211" y="106043"/>
                    <a:pt x="450371" y="110687"/>
                  </a:cubicBezTo>
                  <a:cubicBezTo>
                    <a:pt x="478750" y="134937"/>
                    <a:pt x="504033" y="160736"/>
                    <a:pt x="518480" y="196339"/>
                  </a:cubicBezTo>
                  <a:cubicBezTo>
                    <a:pt x="530348" y="224202"/>
                    <a:pt x="545827" y="250516"/>
                    <a:pt x="559758" y="277863"/>
                  </a:cubicBezTo>
                  <a:cubicBezTo>
                    <a:pt x="563370" y="285087"/>
                    <a:pt x="566982" y="287151"/>
                    <a:pt x="574722" y="283539"/>
                  </a:cubicBezTo>
                  <a:cubicBezTo>
                    <a:pt x="629415" y="257740"/>
                    <a:pt x="686173" y="238649"/>
                    <a:pt x="746026" y="227813"/>
                  </a:cubicBezTo>
                  <a:cubicBezTo>
                    <a:pt x="756346" y="225750"/>
                    <a:pt x="757893" y="220074"/>
                    <a:pt x="756346" y="211302"/>
                  </a:cubicBezTo>
                  <a:cubicBezTo>
                    <a:pt x="749638" y="171572"/>
                    <a:pt x="743446" y="131326"/>
                    <a:pt x="737254" y="91596"/>
                  </a:cubicBezTo>
                  <a:cubicBezTo>
                    <a:pt x="732611" y="63217"/>
                    <a:pt x="743446" y="37418"/>
                    <a:pt x="748090" y="10587"/>
                  </a:cubicBezTo>
                  <a:cubicBezTo>
                    <a:pt x="749122" y="5427"/>
                    <a:pt x="753766" y="4395"/>
                    <a:pt x="758410" y="4395"/>
                  </a:cubicBezTo>
                  <a:cubicBezTo>
                    <a:pt x="797624" y="4395"/>
                    <a:pt x="837870" y="-1280"/>
                    <a:pt x="879664" y="267"/>
                  </a:cubicBezTo>
                  <a:close/>
                  <a:moveTo>
                    <a:pt x="861605" y="1409918"/>
                  </a:moveTo>
                  <a:cubicBezTo>
                    <a:pt x="1155712" y="1407338"/>
                    <a:pt x="1392030" y="1176180"/>
                    <a:pt x="1392546" y="879493"/>
                  </a:cubicBezTo>
                  <a:cubicBezTo>
                    <a:pt x="1393062" y="585902"/>
                    <a:pt x="1160356" y="349068"/>
                    <a:pt x="862637" y="348552"/>
                  </a:cubicBezTo>
                  <a:cubicBezTo>
                    <a:pt x="568014" y="348036"/>
                    <a:pt x="331180" y="581774"/>
                    <a:pt x="331180" y="879493"/>
                  </a:cubicBezTo>
                  <a:cubicBezTo>
                    <a:pt x="331180" y="1173600"/>
                    <a:pt x="565950" y="1406822"/>
                    <a:pt x="861605" y="1409918"/>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 name="Google Shape;132;p15"/>
            <p:cNvSpPr/>
            <p:nvPr/>
          </p:nvSpPr>
          <p:spPr>
            <a:xfrm>
              <a:off x="4673077" y="4204265"/>
              <a:ext cx="853923" cy="853924"/>
            </a:xfrm>
            <a:custGeom>
              <a:avLst/>
              <a:gdLst/>
              <a:ahLst/>
              <a:cxnLst/>
              <a:rect l="l" t="t" r="r" b="b"/>
              <a:pathLst>
                <a:path w="1243505" h="1243505" extrusionOk="0">
                  <a:moveTo>
                    <a:pt x="686157" y="1016068"/>
                  </a:moveTo>
                  <a:cubicBezTo>
                    <a:pt x="644363" y="1024840"/>
                    <a:pt x="602053" y="1021743"/>
                    <a:pt x="560258" y="1016068"/>
                  </a:cubicBezTo>
                  <a:cubicBezTo>
                    <a:pt x="550455" y="1015036"/>
                    <a:pt x="547359" y="1018132"/>
                    <a:pt x="545811" y="1026903"/>
                  </a:cubicBezTo>
                  <a:cubicBezTo>
                    <a:pt x="542199" y="1047542"/>
                    <a:pt x="537039" y="1068181"/>
                    <a:pt x="533944" y="1088821"/>
                  </a:cubicBezTo>
                  <a:cubicBezTo>
                    <a:pt x="529816" y="1117715"/>
                    <a:pt x="519496" y="1144030"/>
                    <a:pt x="505565" y="1169829"/>
                  </a:cubicBezTo>
                  <a:cubicBezTo>
                    <a:pt x="492666" y="1192532"/>
                    <a:pt x="481314" y="1216267"/>
                    <a:pt x="469447" y="1240002"/>
                  </a:cubicBezTo>
                  <a:cubicBezTo>
                    <a:pt x="465835" y="1247741"/>
                    <a:pt x="461191" y="1249290"/>
                    <a:pt x="452935" y="1246710"/>
                  </a:cubicBezTo>
                  <a:cubicBezTo>
                    <a:pt x="401853" y="1231230"/>
                    <a:pt x="352836" y="1211107"/>
                    <a:pt x="305366" y="1185824"/>
                  </a:cubicBezTo>
                  <a:cubicBezTo>
                    <a:pt x="297110" y="1181696"/>
                    <a:pt x="295562" y="1177053"/>
                    <a:pt x="298142" y="1168281"/>
                  </a:cubicBezTo>
                  <a:cubicBezTo>
                    <a:pt x="310525" y="1132163"/>
                    <a:pt x="321877" y="1095528"/>
                    <a:pt x="333744" y="1059410"/>
                  </a:cubicBezTo>
                  <a:cubicBezTo>
                    <a:pt x="335808" y="1053734"/>
                    <a:pt x="338904" y="1048574"/>
                    <a:pt x="342000" y="1043415"/>
                  </a:cubicBezTo>
                  <a:cubicBezTo>
                    <a:pt x="360059" y="1016584"/>
                    <a:pt x="377602" y="989753"/>
                    <a:pt x="395662" y="962922"/>
                  </a:cubicBezTo>
                  <a:cubicBezTo>
                    <a:pt x="399790" y="956730"/>
                    <a:pt x="399790" y="952603"/>
                    <a:pt x="393598" y="947959"/>
                  </a:cubicBezTo>
                  <a:cubicBezTo>
                    <a:pt x="356963" y="921644"/>
                    <a:pt x="326005" y="889653"/>
                    <a:pt x="299174" y="853535"/>
                  </a:cubicBezTo>
                  <a:cubicBezTo>
                    <a:pt x="295046" y="847859"/>
                    <a:pt x="290918" y="847859"/>
                    <a:pt x="285243" y="851471"/>
                  </a:cubicBezTo>
                  <a:cubicBezTo>
                    <a:pt x="267183" y="863855"/>
                    <a:pt x="248092" y="875206"/>
                    <a:pt x="230549" y="888106"/>
                  </a:cubicBezTo>
                  <a:cubicBezTo>
                    <a:pt x="205782" y="906681"/>
                    <a:pt x="178435" y="918548"/>
                    <a:pt x="148509" y="926804"/>
                  </a:cubicBezTo>
                  <a:cubicBezTo>
                    <a:pt x="124774" y="933511"/>
                    <a:pt x="101555" y="941767"/>
                    <a:pt x="78852" y="949507"/>
                  </a:cubicBezTo>
                  <a:cubicBezTo>
                    <a:pt x="71112" y="952087"/>
                    <a:pt x="66468" y="950539"/>
                    <a:pt x="62340" y="942799"/>
                  </a:cubicBezTo>
                  <a:cubicBezTo>
                    <a:pt x="36541" y="895329"/>
                    <a:pt x="15902" y="845795"/>
                    <a:pt x="939" y="794198"/>
                  </a:cubicBezTo>
                  <a:cubicBezTo>
                    <a:pt x="-1125" y="786458"/>
                    <a:pt x="-93" y="782330"/>
                    <a:pt x="7131" y="778718"/>
                  </a:cubicBezTo>
                  <a:cubicBezTo>
                    <a:pt x="42733" y="760659"/>
                    <a:pt x="77820" y="741052"/>
                    <a:pt x="114454" y="725056"/>
                  </a:cubicBezTo>
                  <a:cubicBezTo>
                    <a:pt x="137673" y="714737"/>
                    <a:pt x="164504" y="714221"/>
                    <a:pt x="189787" y="708545"/>
                  </a:cubicBezTo>
                  <a:cubicBezTo>
                    <a:pt x="200106" y="705965"/>
                    <a:pt x="210942" y="704417"/>
                    <a:pt x="221261" y="702354"/>
                  </a:cubicBezTo>
                  <a:cubicBezTo>
                    <a:pt x="229001" y="700806"/>
                    <a:pt x="233129" y="698226"/>
                    <a:pt x="231581" y="688938"/>
                  </a:cubicBezTo>
                  <a:cubicBezTo>
                    <a:pt x="229001" y="669847"/>
                    <a:pt x="226937" y="650756"/>
                    <a:pt x="225905" y="631149"/>
                  </a:cubicBezTo>
                  <a:cubicBezTo>
                    <a:pt x="224873" y="606898"/>
                    <a:pt x="229517" y="583163"/>
                    <a:pt x="231581" y="559428"/>
                  </a:cubicBezTo>
                  <a:cubicBezTo>
                    <a:pt x="232613" y="549624"/>
                    <a:pt x="229001" y="546528"/>
                    <a:pt x="220745" y="544980"/>
                  </a:cubicBezTo>
                  <a:cubicBezTo>
                    <a:pt x="204750" y="542401"/>
                    <a:pt x="188755" y="537757"/>
                    <a:pt x="172760" y="535693"/>
                  </a:cubicBezTo>
                  <a:cubicBezTo>
                    <a:pt x="118582" y="530533"/>
                    <a:pt x="74208" y="502154"/>
                    <a:pt x="27770" y="478419"/>
                  </a:cubicBezTo>
                  <a:cubicBezTo>
                    <a:pt x="-2157" y="463456"/>
                    <a:pt x="-1125" y="463456"/>
                    <a:pt x="8163" y="431465"/>
                  </a:cubicBezTo>
                  <a:cubicBezTo>
                    <a:pt x="21062" y="387091"/>
                    <a:pt x="41701" y="345813"/>
                    <a:pt x="62340" y="305051"/>
                  </a:cubicBezTo>
                  <a:cubicBezTo>
                    <a:pt x="66468" y="296795"/>
                    <a:pt x="71112" y="295247"/>
                    <a:pt x="79884" y="297827"/>
                  </a:cubicBezTo>
                  <a:cubicBezTo>
                    <a:pt x="116002" y="310211"/>
                    <a:pt x="152636" y="321562"/>
                    <a:pt x="188755" y="333430"/>
                  </a:cubicBezTo>
                  <a:cubicBezTo>
                    <a:pt x="194430" y="335494"/>
                    <a:pt x="199590" y="338589"/>
                    <a:pt x="204750" y="341685"/>
                  </a:cubicBezTo>
                  <a:cubicBezTo>
                    <a:pt x="231581" y="359745"/>
                    <a:pt x="258412" y="377288"/>
                    <a:pt x="285243" y="395347"/>
                  </a:cubicBezTo>
                  <a:cubicBezTo>
                    <a:pt x="291434" y="399475"/>
                    <a:pt x="295562" y="399475"/>
                    <a:pt x="300206" y="393283"/>
                  </a:cubicBezTo>
                  <a:cubicBezTo>
                    <a:pt x="326521" y="357165"/>
                    <a:pt x="357479" y="326206"/>
                    <a:pt x="393598" y="299891"/>
                  </a:cubicBezTo>
                  <a:cubicBezTo>
                    <a:pt x="400305" y="294731"/>
                    <a:pt x="399790" y="290604"/>
                    <a:pt x="395662" y="283896"/>
                  </a:cubicBezTo>
                  <a:cubicBezTo>
                    <a:pt x="381214" y="263257"/>
                    <a:pt x="367799" y="241586"/>
                    <a:pt x="353352" y="220947"/>
                  </a:cubicBezTo>
                  <a:cubicBezTo>
                    <a:pt x="340452" y="202887"/>
                    <a:pt x="331681" y="183280"/>
                    <a:pt x="325489" y="162125"/>
                  </a:cubicBezTo>
                  <a:cubicBezTo>
                    <a:pt x="317749" y="135294"/>
                    <a:pt x="308978" y="108980"/>
                    <a:pt x="299690" y="82665"/>
                  </a:cubicBezTo>
                  <a:cubicBezTo>
                    <a:pt x="296078" y="72345"/>
                    <a:pt x="297626" y="66669"/>
                    <a:pt x="307946" y="61510"/>
                  </a:cubicBezTo>
                  <a:cubicBezTo>
                    <a:pt x="353867" y="37259"/>
                    <a:pt x="401853" y="17136"/>
                    <a:pt x="451903" y="2172"/>
                  </a:cubicBezTo>
                  <a:cubicBezTo>
                    <a:pt x="461191" y="-408"/>
                    <a:pt x="465835" y="624"/>
                    <a:pt x="470478" y="9396"/>
                  </a:cubicBezTo>
                  <a:cubicBezTo>
                    <a:pt x="487506" y="43451"/>
                    <a:pt x="505565" y="77505"/>
                    <a:pt x="522076" y="111559"/>
                  </a:cubicBezTo>
                  <a:cubicBezTo>
                    <a:pt x="531880" y="132199"/>
                    <a:pt x="532396" y="155934"/>
                    <a:pt x="537555" y="177605"/>
                  </a:cubicBezTo>
                  <a:cubicBezTo>
                    <a:pt x="541167" y="192568"/>
                    <a:pt x="543747" y="208047"/>
                    <a:pt x="546843" y="223011"/>
                  </a:cubicBezTo>
                  <a:cubicBezTo>
                    <a:pt x="548391" y="230234"/>
                    <a:pt x="550971" y="232814"/>
                    <a:pt x="559227" y="231782"/>
                  </a:cubicBezTo>
                  <a:cubicBezTo>
                    <a:pt x="602569" y="225590"/>
                    <a:pt x="645395" y="225074"/>
                    <a:pt x="688737" y="231782"/>
                  </a:cubicBezTo>
                  <a:cubicBezTo>
                    <a:pt x="699056" y="233330"/>
                    <a:pt x="702152" y="229718"/>
                    <a:pt x="704216" y="220431"/>
                  </a:cubicBezTo>
                  <a:cubicBezTo>
                    <a:pt x="707828" y="199276"/>
                    <a:pt x="713504" y="178636"/>
                    <a:pt x="716600" y="156966"/>
                  </a:cubicBezTo>
                  <a:cubicBezTo>
                    <a:pt x="720727" y="129103"/>
                    <a:pt x="730531" y="103820"/>
                    <a:pt x="743430" y="79569"/>
                  </a:cubicBezTo>
                  <a:cubicBezTo>
                    <a:pt x="756330" y="56350"/>
                    <a:pt x="768197" y="32099"/>
                    <a:pt x="780065" y="8364"/>
                  </a:cubicBezTo>
                  <a:cubicBezTo>
                    <a:pt x="784193" y="108"/>
                    <a:pt x="788320" y="-1440"/>
                    <a:pt x="797092" y="1140"/>
                  </a:cubicBezTo>
                  <a:cubicBezTo>
                    <a:pt x="848174" y="16620"/>
                    <a:pt x="897192" y="36743"/>
                    <a:pt x="944146" y="62542"/>
                  </a:cubicBezTo>
                  <a:cubicBezTo>
                    <a:pt x="951885" y="66669"/>
                    <a:pt x="953949" y="70797"/>
                    <a:pt x="950853" y="79053"/>
                  </a:cubicBezTo>
                  <a:cubicBezTo>
                    <a:pt x="938470" y="115687"/>
                    <a:pt x="927118" y="152838"/>
                    <a:pt x="914735" y="189472"/>
                  </a:cubicBezTo>
                  <a:cubicBezTo>
                    <a:pt x="912671" y="195148"/>
                    <a:pt x="909575" y="200308"/>
                    <a:pt x="906479" y="205467"/>
                  </a:cubicBezTo>
                  <a:cubicBezTo>
                    <a:pt x="888936" y="231782"/>
                    <a:pt x="871393" y="258613"/>
                    <a:pt x="853334" y="284928"/>
                  </a:cubicBezTo>
                  <a:cubicBezTo>
                    <a:pt x="848690" y="291635"/>
                    <a:pt x="849206" y="296279"/>
                    <a:pt x="855398" y="300923"/>
                  </a:cubicBezTo>
                  <a:cubicBezTo>
                    <a:pt x="891516" y="327238"/>
                    <a:pt x="922475" y="358713"/>
                    <a:pt x="948789" y="394315"/>
                  </a:cubicBezTo>
                  <a:cubicBezTo>
                    <a:pt x="953433" y="401023"/>
                    <a:pt x="957561" y="400507"/>
                    <a:pt x="963753" y="396379"/>
                  </a:cubicBezTo>
                  <a:cubicBezTo>
                    <a:pt x="981296" y="384511"/>
                    <a:pt x="999355" y="373676"/>
                    <a:pt x="1015866" y="360777"/>
                  </a:cubicBezTo>
                  <a:cubicBezTo>
                    <a:pt x="1041149" y="341685"/>
                    <a:pt x="1069528" y="329302"/>
                    <a:pt x="1099971" y="320530"/>
                  </a:cubicBezTo>
                  <a:cubicBezTo>
                    <a:pt x="1123190" y="314339"/>
                    <a:pt x="1145893" y="306083"/>
                    <a:pt x="1168596" y="298343"/>
                  </a:cubicBezTo>
                  <a:cubicBezTo>
                    <a:pt x="1177368" y="295247"/>
                    <a:pt x="1181495" y="297311"/>
                    <a:pt x="1186139" y="305567"/>
                  </a:cubicBezTo>
                  <a:cubicBezTo>
                    <a:pt x="1211422" y="352521"/>
                    <a:pt x="1232061" y="401539"/>
                    <a:pt x="1247024" y="453136"/>
                  </a:cubicBezTo>
                  <a:cubicBezTo>
                    <a:pt x="1249604" y="461392"/>
                    <a:pt x="1247540" y="465520"/>
                    <a:pt x="1240317" y="469648"/>
                  </a:cubicBezTo>
                  <a:cubicBezTo>
                    <a:pt x="1205230" y="487191"/>
                    <a:pt x="1171176" y="506282"/>
                    <a:pt x="1135573" y="522277"/>
                  </a:cubicBezTo>
                  <a:cubicBezTo>
                    <a:pt x="1111838" y="533113"/>
                    <a:pt x="1084492" y="533629"/>
                    <a:pt x="1059209" y="539821"/>
                  </a:cubicBezTo>
                  <a:cubicBezTo>
                    <a:pt x="1053017" y="541369"/>
                    <a:pt x="1046309" y="542401"/>
                    <a:pt x="1040117" y="543433"/>
                  </a:cubicBezTo>
                  <a:cubicBezTo>
                    <a:pt x="1015866" y="548592"/>
                    <a:pt x="1014318" y="548592"/>
                    <a:pt x="1017930" y="572843"/>
                  </a:cubicBezTo>
                  <a:cubicBezTo>
                    <a:pt x="1024122" y="611541"/>
                    <a:pt x="1021542" y="649724"/>
                    <a:pt x="1016383" y="688422"/>
                  </a:cubicBezTo>
                  <a:cubicBezTo>
                    <a:pt x="1014835" y="699258"/>
                    <a:pt x="1019478" y="701837"/>
                    <a:pt x="1028250" y="703386"/>
                  </a:cubicBezTo>
                  <a:cubicBezTo>
                    <a:pt x="1058177" y="709061"/>
                    <a:pt x="1088103" y="715253"/>
                    <a:pt x="1118030" y="720929"/>
                  </a:cubicBezTo>
                  <a:cubicBezTo>
                    <a:pt x="1126802" y="722477"/>
                    <a:pt x="1134541" y="725572"/>
                    <a:pt x="1142281" y="729184"/>
                  </a:cubicBezTo>
                  <a:cubicBezTo>
                    <a:pt x="1173756" y="745696"/>
                    <a:pt x="1205746" y="762207"/>
                    <a:pt x="1237737" y="777686"/>
                  </a:cubicBezTo>
                  <a:cubicBezTo>
                    <a:pt x="1247024" y="782330"/>
                    <a:pt x="1249604" y="786974"/>
                    <a:pt x="1246508" y="797809"/>
                  </a:cubicBezTo>
                  <a:cubicBezTo>
                    <a:pt x="1231545" y="847859"/>
                    <a:pt x="1211422" y="895329"/>
                    <a:pt x="1186655" y="941767"/>
                  </a:cubicBezTo>
                  <a:cubicBezTo>
                    <a:pt x="1182011" y="950539"/>
                    <a:pt x="1177368" y="953634"/>
                    <a:pt x="1167564" y="950023"/>
                  </a:cubicBezTo>
                  <a:cubicBezTo>
                    <a:pt x="1132477" y="938155"/>
                    <a:pt x="1097391" y="926804"/>
                    <a:pt x="1062304" y="915452"/>
                  </a:cubicBezTo>
                  <a:cubicBezTo>
                    <a:pt x="1055081" y="913388"/>
                    <a:pt x="1048889" y="909776"/>
                    <a:pt x="1042697" y="905649"/>
                  </a:cubicBezTo>
                  <a:cubicBezTo>
                    <a:pt x="1016383" y="888106"/>
                    <a:pt x="989552" y="870562"/>
                    <a:pt x="963237" y="852503"/>
                  </a:cubicBezTo>
                  <a:cubicBezTo>
                    <a:pt x="956529" y="847859"/>
                    <a:pt x="952401" y="848375"/>
                    <a:pt x="947241" y="855083"/>
                  </a:cubicBezTo>
                  <a:cubicBezTo>
                    <a:pt x="921443" y="890169"/>
                    <a:pt x="891000" y="921128"/>
                    <a:pt x="855914" y="946927"/>
                  </a:cubicBezTo>
                  <a:cubicBezTo>
                    <a:pt x="847658" y="953119"/>
                    <a:pt x="848174" y="958278"/>
                    <a:pt x="853850" y="966018"/>
                  </a:cubicBezTo>
                  <a:cubicBezTo>
                    <a:pt x="866749" y="984077"/>
                    <a:pt x="877584" y="1002652"/>
                    <a:pt x="890484" y="1020711"/>
                  </a:cubicBezTo>
                  <a:cubicBezTo>
                    <a:pt x="906479" y="1042899"/>
                    <a:pt x="917831" y="1067149"/>
                    <a:pt x="925054" y="1093464"/>
                  </a:cubicBezTo>
                  <a:cubicBezTo>
                    <a:pt x="932278" y="1119263"/>
                    <a:pt x="941050" y="1144030"/>
                    <a:pt x="949821" y="1169313"/>
                  </a:cubicBezTo>
                  <a:cubicBezTo>
                    <a:pt x="952401" y="1177053"/>
                    <a:pt x="950853" y="1181696"/>
                    <a:pt x="943114" y="1185824"/>
                  </a:cubicBezTo>
                  <a:cubicBezTo>
                    <a:pt x="895644" y="1211623"/>
                    <a:pt x="846110" y="1232262"/>
                    <a:pt x="794512" y="1247226"/>
                  </a:cubicBezTo>
                  <a:cubicBezTo>
                    <a:pt x="786773" y="1249290"/>
                    <a:pt x="782645" y="1248258"/>
                    <a:pt x="779033" y="1241034"/>
                  </a:cubicBezTo>
                  <a:cubicBezTo>
                    <a:pt x="760974" y="1205432"/>
                    <a:pt x="742399" y="1169829"/>
                    <a:pt x="724855" y="1134226"/>
                  </a:cubicBezTo>
                  <a:cubicBezTo>
                    <a:pt x="720211" y="1125455"/>
                    <a:pt x="720211" y="1115136"/>
                    <a:pt x="718148" y="1105332"/>
                  </a:cubicBezTo>
                  <a:cubicBezTo>
                    <a:pt x="712988" y="1080565"/>
                    <a:pt x="708344" y="1055798"/>
                    <a:pt x="703184" y="1031031"/>
                  </a:cubicBezTo>
                  <a:cubicBezTo>
                    <a:pt x="700604" y="1015552"/>
                    <a:pt x="701120" y="1015552"/>
                    <a:pt x="686157" y="1016068"/>
                  </a:cubicBezTo>
                  <a:close/>
                  <a:moveTo>
                    <a:pt x="624240" y="791102"/>
                  </a:moveTo>
                  <a:cubicBezTo>
                    <a:pt x="720211" y="788522"/>
                    <a:pt x="791416" y="716801"/>
                    <a:pt x="790900" y="623925"/>
                  </a:cubicBezTo>
                  <a:cubicBezTo>
                    <a:pt x="790384" y="528985"/>
                    <a:pt x="717632" y="457780"/>
                    <a:pt x="624240" y="458296"/>
                  </a:cubicBezTo>
                  <a:cubicBezTo>
                    <a:pt x="530332" y="458296"/>
                    <a:pt x="458095" y="530533"/>
                    <a:pt x="458095" y="624441"/>
                  </a:cubicBezTo>
                  <a:cubicBezTo>
                    <a:pt x="458095" y="718349"/>
                    <a:pt x="530848" y="788522"/>
                    <a:pt x="624240" y="791102"/>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33" name="Google Shape;133;p15"/>
            <p:cNvGrpSpPr/>
            <p:nvPr/>
          </p:nvGrpSpPr>
          <p:grpSpPr>
            <a:xfrm rot="2246763">
              <a:off x="932314" y="2900862"/>
              <a:ext cx="3054679" cy="1218879"/>
              <a:chOff x="1727363" y="3556278"/>
              <a:chExt cx="3054679" cy="1218879"/>
            </a:xfrm>
          </p:grpSpPr>
          <p:sp>
            <p:nvSpPr>
              <p:cNvPr id="134" name="Google Shape;134;p15"/>
              <p:cNvSpPr/>
              <p:nvPr/>
            </p:nvSpPr>
            <p:spPr>
              <a:xfrm>
                <a:off x="2753518" y="3683131"/>
                <a:ext cx="796648" cy="799367"/>
              </a:xfrm>
              <a:custGeom>
                <a:avLst/>
                <a:gdLst/>
                <a:ahLst/>
                <a:cxnLst/>
                <a:rect l="l" t="t" r="r" b="b"/>
                <a:pathLst>
                  <a:path w="1511813" h="1516973" extrusionOk="0">
                    <a:moveTo>
                      <a:pt x="817500" y="1518710"/>
                    </a:moveTo>
                    <a:cubicBezTo>
                      <a:pt x="809245" y="1520774"/>
                      <a:pt x="805633" y="1516130"/>
                      <a:pt x="802537" y="1507875"/>
                    </a:cubicBezTo>
                    <a:cubicBezTo>
                      <a:pt x="795829" y="1486204"/>
                      <a:pt x="788090" y="1464532"/>
                      <a:pt x="780866" y="1442862"/>
                    </a:cubicBezTo>
                    <a:cubicBezTo>
                      <a:pt x="774674" y="1424286"/>
                      <a:pt x="777770" y="1404679"/>
                      <a:pt x="776738" y="1385072"/>
                    </a:cubicBezTo>
                    <a:cubicBezTo>
                      <a:pt x="776222" y="1369593"/>
                      <a:pt x="775706" y="1370109"/>
                      <a:pt x="760227" y="1369593"/>
                    </a:cubicBezTo>
                    <a:cubicBezTo>
                      <a:pt x="738556" y="1369593"/>
                      <a:pt x="716369" y="1368045"/>
                      <a:pt x="694698" y="1366497"/>
                    </a:cubicBezTo>
                    <a:cubicBezTo>
                      <a:pt x="683346" y="1365465"/>
                      <a:pt x="676638" y="1365981"/>
                      <a:pt x="676638" y="1379912"/>
                    </a:cubicBezTo>
                    <a:cubicBezTo>
                      <a:pt x="676638" y="1424286"/>
                      <a:pt x="655483" y="1462469"/>
                      <a:pt x="637940" y="1501683"/>
                    </a:cubicBezTo>
                    <a:cubicBezTo>
                      <a:pt x="634844" y="1508907"/>
                      <a:pt x="630716" y="1510454"/>
                      <a:pt x="622977" y="1508907"/>
                    </a:cubicBezTo>
                    <a:cubicBezTo>
                      <a:pt x="556416" y="1496523"/>
                      <a:pt x="492434" y="1475368"/>
                      <a:pt x="430517" y="1447505"/>
                    </a:cubicBezTo>
                    <a:cubicBezTo>
                      <a:pt x="423294" y="1443893"/>
                      <a:pt x="420198" y="1440282"/>
                      <a:pt x="422262" y="1431510"/>
                    </a:cubicBezTo>
                    <a:cubicBezTo>
                      <a:pt x="427421" y="1409323"/>
                      <a:pt x="431033" y="1386620"/>
                      <a:pt x="435677" y="1364433"/>
                    </a:cubicBezTo>
                    <a:cubicBezTo>
                      <a:pt x="439805" y="1344310"/>
                      <a:pt x="452704" y="1327798"/>
                      <a:pt x="461992" y="1310255"/>
                    </a:cubicBezTo>
                    <a:cubicBezTo>
                      <a:pt x="467152" y="1300452"/>
                      <a:pt x="466120" y="1295808"/>
                      <a:pt x="456316" y="1290132"/>
                    </a:cubicBezTo>
                    <a:cubicBezTo>
                      <a:pt x="435677" y="1278265"/>
                      <a:pt x="415554" y="1264849"/>
                      <a:pt x="395431" y="1251434"/>
                    </a:cubicBezTo>
                    <a:cubicBezTo>
                      <a:pt x="388207" y="1246274"/>
                      <a:pt x="383563" y="1246274"/>
                      <a:pt x="378919" y="1254014"/>
                    </a:cubicBezTo>
                    <a:cubicBezTo>
                      <a:pt x="356216" y="1293228"/>
                      <a:pt x="319066" y="1317479"/>
                      <a:pt x="283464" y="1342246"/>
                    </a:cubicBezTo>
                    <a:cubicBezTo>
                      <a:pt x="276240" y="1346890"/>
                      <a:pt x="272112" y="1346374"/>
                      <a:pt x="265920" y="1341214"/>
                    </a:cubicBezTo>
                    <a:cubicBezTo>
                      <a:pt x="214323" y="1297356"/>
                      <a:pt x="169433" y="1246790"/>
                      <a:pt x="130218" y="1191580"/>
                    </a:cubicBezTo>
                    <a:cubicBezTo>
                      <a:pt x="125575" y="1185389"/>
                      <a:pt x="125059" y="1180745"/>
                      <a:pt x="130734" y="1174553"/>
                    </a:cubicBezTo>
                    <a:cubicBezTo>
                      <a:pt x="146730" y="1157010"/>
                      <a:pt x="161177" y="1138435"/>
                      <a:pt x="177688" y="1121408"/>
                    </a:cubicBezTo>
                    <a:cubicBezTo>
                      <a:pt x="191104" y="1107476"/>
                      <a:pt x="209163" y="1099221"/>
                      <a:pt x="225674" y="1089417"/>
                    </a:cubicBezTo>
                    <a:cubicBezTo>
                      <a:pt x="236510" y="1083225"/>
                      <a:pt x="237026" y="1078065"/>
                      <a:pt x="230834" y="1067230"/>
                    </a:cubicBezTo>
                    <a:cubicBezTo>
                      <a:pt x="218967" y="1047107"/>
                      <a:pt x="208647" y="1025436"/>
                      <a:pt x="198327" y="1004281"/>
                    </a:cubicBezTo>
                    <a:cubicBezTo>
                      <a:pt x="194716" y="997057"/>
                      <a:pt x="192136" y="993445"/>
                      <a:pt x="183880" y="998089"/>
                    </a:cubicBezTo>
                    <a:cubicBezTo>
                      <a:pt x="147246" y="1017180"/>
                      <a:pt x="108031" y="1024920"/>
                      <a:pt x="67269" y="1025952"/>
                    </a:cubicBezTo>
                    <a:cubicBezTo>
                      <a:pt x="63657" y="1025952"/>
                      <a:pt x="59529" y="1026984"/>
                      <a:pt x="55918" y="1027500"/>
                    </a:cubicBezTo>
                    <a:cubicBezTo>
                      <a:pt x="48694" y="1028532"/>
                      <a:pt x="44050" y="1025952"/>
                      <a:pt x="41470" y="1018212"/>
                    </a:cubicBezTo>
                    <a:cubicBezTo>
                      <a:pt x="21347" y="960939"/>
                      <a:pt x="6384" y="902117"/>
                      <a:pt x="1224" y="841748"/>
                    </a:cubicBezTo>
                    <a:cubicBezTo>
                      <a:pt x="-1872" y="808725"/>
                      <a:pt x="-1356" y="809241"/>
                      <a:pt x="30635" y="797374"/>
                    </a:cubicBezTo>
                    <a:cubicBezTo>
                      <a:pt x="64173" y="784474"/>
                      <a:pt x="98744" y="775703"/>
                      <a:pt x="134862" y="778799"/>
                    </a:cubicBezTo>
                    <a:cubicBezTo>
                      <a:pt x="144150" y="779315"/>
                      <a:pt x="147246" y="775187"/>
                      <a:pt x="147246" y="765899"/>
                    </a:cubicBezTo>
                    <a:cubicBezTo>
                      <a:pt x="147246" y="742680"/>
                      <a:pt x="148278" y="719461"/>
                      <a:pt x="150342" y="696242"/>
                    </a:cubicBezTo>
                    <a:cubicBezTo>
                      <a:pt x="151373" y="685923"/>
                      <a:pt x="150858" y="678699"/>
                      <a:pt x="137442" y="678699"/>
                    </a:cubicBezTo>
                    <a:cubicBezTo>
                      <a:pt x="92552" y="678699"/>
                      <a:pt x="53854" y="657544"/>
                      <a:pt x="14639" y="639485"/>
                    </a:cubicBezTo>
                    <a:cubicBezTo>
                      <a:pt x="7932" y="636389"/>
                      <a:pt x="6384" y="632261"/>
                      <a:pt x="7932" y="625037"/>
                    </a:cubicBezTo>
                    <a:cubicBezTo>
                      <a:pt x="20315" y="558476"/>
                      <a:pt x="40954" y="494495"/>
                      <a:pt x="69333" y="432578"/>
                    </a:cubicBezTo>
                    <a:cubicBezTo>
                      <a:pt x="72945" y="424838"/>
                      <a:pt x="77073" y="421742"/>
                      <a:pt x="86360" y="423806"/>
                    </a:cubicBezTo>
                    <a:cubicBezTo>
                      <a:pt x="107515" y="428450"/>
                      <a:pt x="129186" y="432578"/>
                      <a:pt x="150858" y="436706"/>
                    </a:cubicBezTo>
                    <a:cubicBezTo>
                      <a:pt x="171497" y="440833"/>
                      <a:pt x="188008" y="453733"/>
                      <a:pt x="206583" y="463536"/>
                    </a:cubicBezTo>
                    <a:cubicBezTo>
                      <a:pt x="216903" y="468696"/>
                      <a:pt x="221546" y="467664"/>
                      <a:pt x="227738" y="457345"/>
                    </a:cubicBezTo>
                    <a:cubicBezTo>
                      <a:pt x="239606" y="436706"/>
                      <a:pt x="253021" y="416582"/>
                      <a:pt x="266952" y="396459"/>
                    </a:cubicBezTo>
                    <a:cubicBezTo>
                      <a:pt x="271596" y="389752"/>
                      <a:pt x="271596" y="385108"/>
                      <a:pt x="264373" y="380980"/>
                    </a:cubicBezTo>
                    <a:cubicBezTo>
                      <a:pt x="225158" y="357761"/>
                      <a:pt x="200391" y="320611"/>
                      <a:pt x="175108" y="284492"/>
                    </a:cubicBezTo>
                    <a:cubicBezTo>
                      <a:pt x="170465" y="277785"/>
                      <a:pt x="170981" y="273657"/>
                      <a:pt x="176140" y="267981"/>
                    </a:cubicBezTo>
                    <a:cubicBezTo>
                      <a:pt x="219998" y="216383"/>
                      <a:pt x="270048" y="171493"/>
                      <a:pt x="325258" y="132279"/>
                    </a:cubicBezTo>
                    <a:cubicBezTo>
                      <a:pt x="331966" y="127635"/>
                      <a:pt x="336609" y="126603"/>
                      <a:pt x="343317" y="132795"/>
                    </a:cubicBezTo>
                    <a:cubicBezTo>
                      <a:pt x="360344" y="148274"/>
                      <a:pt x="378404" y="162722"/>
                      <a:pt x="395431" y="178717"/>
                    </a:cubicBezTo>
                    <a:cubicBezTo>
                      <a:pt x="409362" y="191616"/>
                      <a:pt x="416070" y="209160"/>
                      <a:pt x="426389" y="224639"/>
                    </a:cubicBezTo>
                    <a:cubicBezTo>
                      <a:pt x="437741" y="241666"/>
                      <a:pt x="435161" y="240634"/>
                      <a:pt x="451156" y="231347"/>
                    </a:cubicBezTo>
                    <a:cubicBezTo>
                      <a:pt x="470763" y="219995"/>
                      <a:pt x="491403" y="209676"/>
                      <a:pt x="512042" y="200388"/>
                    </a:cubicBezTo>
                    <a:cubicBezTo>
                      <a:pt x="521329" y="196260"/>
                      <a:pt x="522361" y="192132"/>
                      <a:pt x="518233" y="183877"/>
                    </a:cubicBezTo>
                    <a:cubicBezTo>
                      <a:pt x="499142" y="148274"/>
                      <a:pt x="492434" y="109576"/>
                      <a:pt x="491403" y="69846"/>
                    </a:cubicBezTo>
                    <a:cubicBezTo>
                      <a:pt x="491403" y="66234"/>
                      <a:pt x="490371" y="62106"/>
                      <a:pt x="489855" y="58494"/>
                    </a:cubicBezTo>
                    <a:cubicBezTo>
                      <a:pt x="488307" y="50239"/>
                      <a:pt x="491403" y="46111"/>
                      <a:pt x="499658" y="43015"/>
                    </a:cubicBezTo>
                    <a:cubicBezTo>
                      <a:pt x="563123" y="20312"/>
                      <a:pt x="628653" y="6380"/>
                      <a:pt x="695730" y="189"/>
                    </a:cubicBezTo>
                    <a:cubicBezTo>
                      <a:pt x="706049" y="-843"/>
                      <a:pt x="710693" y="2253"/>
                      <a:pt x="713273" y="12056"/>
                    </a:cubicBezTo>
                    <a:cubicBezTo>
                      <a:pt x="715337" y="19796"/>
                      <a:pt x="717917" y="27536"/>
                      <a:pt x="721012" y="35275"/>
                    </a:cubicBezTo>
                    <a:cubicBezTo>
                      <a:pt x="734428" y="67266"/>
                      <a:pt x="741136" y="99772"/>
                      <a:pt x="738556" y="134343"/>
                    </a:cubicBezTo>
                    <a:cubicBezTo>
                      <a:pt x="737524" y="145694"/>
                      <a:pt x="742168" y="148790"/>
                      <a:pt x="753519" y="148790"/>
                    </a:cubicBezTo>
                    <a:cubicBezTo>
                      <a:pt x="775706" y="148274"/>
                      <a:pt x="797893" y="149822"/>
                      <a:pt x="820596" y="151886"/>
                    </a:cubicBezTo>
                    <a:cubicBezTo>
                      <a:pt x="831948" y="152918"/>
                      <a:pt x="838655" y="152402"/>
                      <a:pt x="838655" y="138471"/>
                    </a:cubicBezTo>
                    <a:cubicBezTo>
                      <a:pt x="838655" y="94097"/>
                      <a:pt x="859810" y="55914"/>
                      <a:pt x="877354" y="16700"/>
                    </a:cubicBezTo>
                    <a:cubicBezTo>
                      <a:pt x="880449" y="9476"/>
                      <a:pt x="885093" y="7928"/>
                      <a:pt x="892317" y="9476"/>
                    </a:cubicBezTo>
                    <a:cubicBezTo>
                      <a:pt x="958878" y="21860"/>
                      <a:pt x="1022859" y="42499"/>
                      <a:pt x="1084777" y="70878"/>
                    </a:cubicBezTo>
                    <a:cubicBezTo>
                      <a:pt x="1092000" y="74489"/>
                      <a:pt x="1095096" y="78617"/>
                      <a:pt x="1093032" y="86873"/>
                    </a:cubicBezTo>
                    <a:cubicBezTo>
                      <a:pt x="1088388" y="108544"/>
                      <a:pt x="1084261" y="130731"/>
                      <a:pt x="1079617" y="152402"/>
                    </a:cubicBezTo>
                    <a:cubicBezTo>
                      <a:pt x="1075489" y="172525"/>
                      <a:pt x="1062590" y="189036"/>
                      <a:pt x="1053302" y="206580"/>
                    </a:cubicBezTo>
                    <a:cubicBezTo>
                      <a:pt x="1047626" y="217415"/>
                      <a:pt x="1048658" y="222575"/>
                      <a:pt x="1060010" y="228251"/>
                    </a:cubicBezTo>
                    <a:cubicBezTo>
                      <a:pt x="1080133" y="239602"/>
                      <a:pt x="1099740" y="252502"/>
                      <a:pt x="1118315" y="265917"/>
                    </a:cubicBezTo>
                    <a:cubicBezTo>
                      <a:pt x="1126571" y="272109"/>
                      <a:pt x="1131214" y="271593"/>
                      <a:pt x="1136374" y="262821"/>
                    </a:cubicBezTo>
                    <a:cubicBezTo>
                      <a:pt x="1159077" y="223607"/>
                      <a:pt x="1196744" y="199872"/>
                      <a:pt x="1232346" y="174589"/>
                    </a:cubicBezTo>
                    <a:cubicBezTo>
                      <a:pt x="1238538" y="170461"/>
                      <a:pt x="1242666" y="170977"/>
                      <a:pt x="1247825" y="175621"/>
                    </a:cubicBezTo>
                    <a:cubicBezTo>
                      <a:pt x="1299939" y="219995"/>
                      <a:pt x="1345345" y="270045"/>
                      <a:pt x="1384559" y="325770"/>
                    </a:cubicBezTo>
                    <a:cubicBezTo>
                      <a:pt x="1389203" y="331962"/>
                      <a:pt x="1389719" y="336606"/>
                      <a:pt x="1384043" y="342798"/>
                    </a:cubicBezTo>
                    <a:cubicBezTo>
                      <a:pt x="1368048" y="360857"/>
                      <a:pt x="1352569" y="379432"/>
                      <a:pt x="1336057" y="396975"/>
                    </a:cubicBezTo>
                    <a:cubicBezTo>
                      <a:pt x="1323674" y="409875"/>
                      <a:pt x="1306131" y="417098"/>
                      <a:pt x="1291167" y="426902"/>
                    </a:cubicBezTo>
                    <a:cubicBezTo>
                      <a:pt x="1276720" y="436706"/>
                      <a:pt x="1276720" y="436190"/>
                      <a:pt x="1284976" y="451153"/>
                    </a:cubicBezTo>
                    <a:cubicBezTo>
                      <a:pt x="1295811" y="471792"/>
                      <a:pt x="1306647" y="492431"/>
                      <a:pt x="1316450" y="513070"/>
                    </a:cubicBezTo>
                    <a:cubicBezTo>
                      <a:pt x="1320062" y="520294"/>
                      <a:pt x="1323158" y="523390"/>
                      <a:pt x="1330898" y="519262"/>
                    </a:cubicBezTo>
                    <a:cubicBezTo>
                      <a:pt x="1367532" y="500171"/>
                      <a:pt x="1406746" y="492431"/>
                      <a:pt x="1447509" y="491399"/>
                    </a:cubicBezTo>
                    <a:cubicBezTo>
                      <a:pt x="1451120" y="491399"/>
                      <a:pt x="1455248" y="490367"/>
                      <a:pt x="1458860" y="489851"/>
                    </a:cubicBezTo>
                    <a:cubicBezTo>
                      <a:pt x="1466600" y="488819"/>
                      <a:pt x="1470728" y="491399"/>
                      <a:pt x="1473307" y="499139"/>
                    </a:cubicBezTo>
                    <a:cubicBezTo>
                      <a:pt x="1493431" y="556412"/>
                      <a:pt x="1508394" y="615234"/>
                      <a:pt x="1513554" y="675603"/>
                    </a:cubicBezTo>
                    <a:cubicBezTo>
                      <a:pt x="1513554" y="676635"/>
                      <a:pt x="1513554" y="678183"/>
                      <a:pt x="1514070" y="679215"/>
                    </a:cubicBezTo>
                    <a:cubicBezTo>
                      <a:pt x="1518713" y="714301"/>
                      <a:pt x="1519745" y="706046"/>
                      <a:pt x="1490335" y="717397"/>
                    </a:cubicBezTo>
                    <a:cubicBezTo>
                      <a:pt x="1454732" y="730813"/>
                      <a:pt x="1418614" y="741648"/>
                      <a:pt x="1379916" y="738036"/>
                    </a:cubicBezTo>
                    <a:cubicBezTo>
                      <a:pt x="1371144" y="737004"/>
                      <a:pt x="1368048" y="740616"/>
                      <a:pt x="1367532" y="749904"/>
                    </a:cubicBezTo>
                    <a:cubicBezTo>
                      <a:pt x="1367016" y="774155"/>
                      <a:pt x="1365984" y="797890"/>
                      <a:pt x="1363920" y="822141"/>
                    </a:cubicBezTo>
                    <a:cubicBezTo>
                      <a:pt x="1363404" y="831944"/>
                      <a:pt x="1363920" y="838136"/>
                      <a:pt x="1375788" y="838136"/>
                    </a:cubicBezTo>
                    <a:cubicBezTo>
                      <a:pt x="1420678" y="838136"/>
                      <a:pt x="1459376" y="858775"/>
                      <a:pt x="1498590" y="876834"/>
                    </a:cubicBezTo>
                    <a:cubicBezTo>
                      <a:pt x="1505298" y="879930"/>
                      <a:pt x="1507878" y="883542"/>
                      <a:pt x="1506330" y="891798"/>
                    </a:cubicBezTo>
                    <a:cubicBezTo>
                      <a:pt x="1493947" y="958875"/>
                      <a:pt x="1472791" y="1023372"/>
                      <a:pt x="1444413" y="1085289"/>
                    </a:cubicBezTo>
                    <a:cubicBezTo>
                      <a:pt x="1441317" y="1092513"/>
                      <a:pt x="1437189" y="1094577"/>
                      <a:pt x="1429449" y="1093029"/>
                    </a:cubicBezTo>
                    <a:cubicBezTo>
                      <a:pt x="1386623" y="1085289"/>
                      <a:pt x="1343797" y="1078581"/>
                      <a:pt x="1306647" y="1052783"/>
                    </a:cubicBezTo>
                    <a:cubicBezTo>
                      <a:pt x="1297875" y="1046591"/>
                      <a:pt x="1293231" y="1048655"/>
                      <a:pt x="1287556" y="1057942"/>
                    </a:cubicBezTo>
                    <a:cubicBezTo>
                      <a:pt x="1275688" y="1078581"/>
                      <a:pt x="1262273" y="1098705"/>
                      <a:pt x="1248857" y="1118828"/>
                    </a:cubicBezTo>
                    <a:cubicBezTo>
                      <a:pt x="1244214" y="1125535"/>
                      <a:pt x="1242150" y="1130179"/>
                      <a:pt x="1250405" y="1135339"/>
                    </a:cubicBezTo>
                    <a:cubicBezTo>
                      <a:pt x="1289620" y="1158558"/>
                      <a:pt x="1313871" y="1194676"/>
                      <a:pt x="1339153" y="1230795"/>
                    </a:cubicBezTo>
                    <a:cubicBezTo>
                      <a:pt x="1344313" y="1238018"/>
                      <a:pt x="1343797" y="1242662"/>
                      <a:pt x="1337605" y="1249370"/>
                    </a:cubicBezTo>
                    <a:cubicBezTo>
                      <a:pt x="1293747" y="1300968"/>
                      <a:pt x="1244214" y="1345342"/>
                      <a:pt x="1189004" y="1384040"/>
                    </a:cubicBezTo>
                    <a:cubicBezTo>
                      <a:pt x="1182296" y="1388684"/>
                      <a:pt x="1177652" y="1389716"/>
                      <a:pt x="1170945" y="1383524"/>
                    </a:cubicBezTo>
                    <a:cubicBezTo>
                      <a:pt x="1153918" y="1368045"/>
                      <a:pt x="1135858" y="1353597"/>
                      <a:pt x="1118831" y="1337602"/>
                    </a:cubicBezTo>
                    <a:cubicBezTo>
                      <a:pt x="1104384" y="1324187"/>
                      <a:pt x="1096644" y="1306128"/>
                      <a:pt x="1086840" y="1289616"/>
                    </a:cubicBezTo>
                    <a:cubicBezTo>
                      <a:pt x="1080133" y="1278265"/>
                      <a:pt x="1074973" y="1277749"/>
                      <a:pt x="1064137" y="1284456"/>
                    </a:cubicBezTo>
                    <a:cubicBezTo>
                      <a:pt x="1044530" y="1296324"/>
                      <a:pt x="1023375" y="1306643"/>
                      <a:pt x="1002220" y="1316447"/>
                    </a:cubicBezTo>
                    <a:cubicBezTo>
                      <a:pt x="993449" y="1320575"/>
                      <a:pt x="991385" y="1324703"/>
                      <a:pt x="996028" y="1332958"/>
                    </a:cubicBezTo>
                    <a:cubicBezTo>
                      <a:pt x="1015120" y="1368561"/>
                      <a:pt x="1021827" y="1407259"/>
                      <a:pt x="1022859" y="1446989"/>
                    </a:cubicBezTo>
                    <a:cubicBezTo>
                      <a:pt x="1022859" y="1451117"/>
                      <a:pt x="1023891" y="1455245"/>
                      <a:pt x="1024407" y="1459889"/>
                    </a:cubicBezTo>
                    <a:cubicBezTo>
                      <a:pt x="1025439" y="1466596"/>
                      <a:pt x="1022859" y="1470724"/>
                      <a:pt x="1015636" y="1473304"/>
                    </a:cubicBezTo>
                    <a:cubicBezTo>
                      <a:pt x="970745" y="1493943"/>
                      <a:pt x="870646" y="1516130"/>
                      <a:pt x="817500" y="1518710"/>
                    </a:cubicBezTo>
                    <a:close/>
                    <a:moveTo>
                      <a:pt x="758163" y="1148238"/>
                    </a:moveTo>
                    <a:cubicBezTo>
                      <a:pt x="974357" y="1144627"/>
                      <a:pt x="1145146" y="976418"/>
                      <a:pt x="1145146" y="758675"/>
                    </a:cubicBezTo>
                    <a:cubicBezTo>
                      <a:pt x="1145146" y="542481"/>
                      <a:pt x="974357" y="371176"/>
                      <a:pt x="757131" y="371176"/>
                    </a:cubicBezTo>
                    <a:cubicBezTo>
                      <a:pt x="539904" y="371176"/>
                      <a:pt x="368600" y="542481"/>
                      <a:pt x="368600" y="759707"/>
                    </a:cubicBezTo>
                    <a:cubicBezTo>
                      <a:pt x="369116" y="977966"/>
                      <a:pt x="541452" y="1145659"/>
                      <a:pt x="758163" y="1148238"/>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35" name="Google Shape;135;p15"/>
              <p:cNvGrpSpPr/>
              <p:nvPr/>
            </p:nvGrpSpPr>
            <p:grpSpPr>
              <a:xfrm>
                <a:off x="3563163" y="3556278"/>
                <a:ext cx="1218879" cy="1218879"/>
                <a:chOff x="3264582" y="1870309"/>
                <a:chExt cx="1774962" cy="1774962"/>
              </a:xfrm>
            </p:grpSpPr>
            <p:sp>
              <p:nvSpPr>
                <p:cNvPr id="136" name="Google Shape;136;p15"/>
                <p:cNvSpPr/>
                <p:nvPr/>
              </p:nvSpPr>
              <p:spPr>
                <a:xfrm>
                  <a:off x="3264582" y="1870309"/>
                  <a:ext cx="1774962" cy="1774962"/>
                </a:xfrm>
                <a:custGeom>
                  <a:avLst/>
                  <a:gdLst/>
                  <a:ahLst/>
                  <a:cxnLst/>
                  <a:rect l="l" t="t" r="r" b="b"/>
                  <a:pathLst>
                    <a:path w="1774962" h="1774962" extrusionOk="0">
                      <a:moveTo>
                        <a:pt x="894776" y="1775736"/>
                      </a:moveTo>
                      <a:cubicBezTo>
                        <a:pt x="880845" y="1775736"/>
                        <a:pt x="866397" y="1775736"/>
                        <a:pt x="852466" y="1775736"/>
                      </a:cubicBezTo>
                      <a:cubicBezTo>
                        <a:pt x="844726" y="1775736"/>
                        <a:pt x="840599" y="1772640"/>
                        <a:pt x="839567" y="1764901"/>
                      </a:cubicBezTo>
                      <a:cubicBezTo>
                        <a:pt x="833375" y="1731878"/>
                        <a:pt x="826151" y="1699371"/>
                        <a:pt x="819960" y="1666349"/>
                      </a:cubicBezTo>
                      <a:cubicBezTo>
                        <a:pt x="817896" y="1656545"/>
                        <a:pt x="820992" y="1646742"/>
                        <a:pt x="822024" y="1636938"/>
                      </a:cubicBezTo>
                      <a:cubicBezTo>
                        <a:pt x="823056" y="1628682"/>
                        <a:pt x="820992" y="1624555"/>
                        <a:pt x="811704" y="1623523"/>
                      </a:cubicBezTo>
                      <a:cubicBezTo>
                        <a:pt x="772490" y="1619395"/>
                        <a:pt x="733275" y="1612171"/>
                        <a:pt x="695093" y="1601852"/>
                      </a:cubicBezTo>
                      <a:cubicBezTo>
                        <a:pt x="686837" y="1599788"/>
                        <a:pt x="682194" y="1602368"/>
                        <a:pt x="680130" y="1610623"/>
                      </a:cubicBezTo>
                      <a:cubicBezTo>
                        <a:pt x="669294" y="1655513"/>
                        <a:pt x="636788" y="1688020"/>
                        <a:pt x="615116" y="1727234"/>
                      </a:cubicBezTo>
                      <a:cubicBezTo>
                        <a:pt x="612537" y="1731878"/>
                        <a:pt x="608409" y="1731878"/>
                        <a:pt x="603765" y="1730330"/>
                      </a:cubicBezTo>
                      <a:cubicBezTo>
                        <a:pt x="572807" y="1720011"/>
                        <a:pt x="542364" y="1707627"/>
                        <a:pt x="512953" y="1694212"/>
                      </a:cubicBezTo>
                      <a:cubicBezTo>
                        <a:pt x="506761" y="1691632"/>
                        <a:pt x="506245" y="1686988"/>
                        <a:pt x="507277" y="1681828"/>
                      </a:cubicBezTo>
                      <a:cubicBezTo>
                        <a:pt x="513985" y="1648806"/>
                        <a:pt x="519661" y="1615783"/>
                        <a:pt x="527400" y="1583277"/>
                      </a:cubicBezTo>
                      <a:cubicBezTo>
                        <a:pt x="529980" y="1572441"/>
                        <a:pt x="536172" y="1562637"/>
                        <a:pt x="541848" y="1552834"/>
                      </a:cubicBezTo>
                      <a:cubicBezTo>
                        <a:pt x="545460" y="1546642"/>
                        <a:pt x="544428" y="1543030"/>
                        <a:pt x="537720" y="1539418"/>
                      </a:cubicBezTo>
                      <a:cubicBezTo>
                        <a:pt x="501601" y="1520327"/>
                        <a:pt x="467547" y="1497624"/>
                        <a:pt x="435041" y="1472857"/>
                      </a:cubicBezTo>
                      <a:cubicBezTo>
                        <a:pt x="429365" y="1468214"/>
                        <a:pt x="425237" y="1468214"/>
                        <a:pt x="420593" y="1474921"/>
                      </a:cubicBezTo>
                      <a:cubicBezTo>
                        <a:pt x="393762" y="1512588"/>
                        <a:pt x="350936" y="1531163"/>
                        <a:pt x="315334" y="1559026"/>
                      </a:cubicBezTo>
                      <a:cubicBezTo>
                        <a:pt x="310690" y="1562637"/>
                        <a:pt x="307078" y="1561090"/>
                        <a:pt x="302950" y="1557478"/>
                      </a:cubicBezTo>
                      <a:cubicBezTo>
                        <a:pt x="278699" y="1536323"/>
                        <a:pt x="255996" y="1513104"/>
                        <a:pt x="233809" y="1490401"/>
                      </a:cubicBezTo>
                      <a:cubicBezTo>
                        <a:pt x="229682" y="1485757"/>
                        <a:pt x="229165" y="1482145"/>
                        <a:pt x="232777" y="1476985"/>
                      </a:cubicBezTo>
                      <a:cubicBezTo>
                        <a:pt x="251352" y="1449122"/>
                        <a:pt x="269928" y="1421260"/>
                        <a:pt x="289019" y="1393397"/>
                      </a:cubicBezTo>
                      <a:cubicBezTo>
                        <a:pt x="295210" y="1384625"/>
                        <a:pt x="304498" y="1378949"/>
                        <a:pt x="312754" y="1371726"/>
                      </a:cubicBezTo>
                      <a:cubicBezTo>
                        <a:pt x="318946" y="1366566"/>
                        <a:pt x="319978" y="1361922"/>
                        <a:pt x="314818" y="1355731"/>
                      </a:cubicBezTo>
                      <a:cubicBezTo>
                        <a:pt x="289535" y="1324256"/>
                        <a:pt x="266316" y="1291233"/>
                        <a:pt x="246193" y="1255631"/>
                      </a:cubicBezTo>
                      <a:cubicBezTo>
                        <a:pt x="241549" y="1247375"/>
                        <a:pt x="236905" y="1248923"/>
                        <a:pt x="230713" y="1253051"/>
                      </a:cubicBezTo>
                      <a:cubicBezTo>
                        <a:pt x="191499" y="1277302"/>
                        <a:pt x="145577" y="1277818"/>
                        <a:pt x="102751" y="1289685"/>
                      </a:cubicBezTo>
                      <a:cubicBezTo>
                        <a:pt x="97075" y="1291233"/>
                        <a:pt x="93979" y="1288137"/>
                        <a:pt x="91916" y="1282978"/>
                      </a:cubicBezTo>
                      <a:cubicBezTo>
                        <a:pt x="77984" y="1254083"/>
                        <a:pt x="65085" y="1224156"/>
                        <a:pt x="53733" y="1194230"/>
                      </a:cubicBezTo>
                      <a:cubicBezTo>
                        <a:pt x="51669" y="1188038"/>
                        <a:pt x="53217" y="1184426"/>
                        <a:pt x="58377" y="1181330"/>
                      </a:cubicBezTo>
                      <a:cubicBezTo>
                        <a:pt x="86240" y="1162755"/>
                        <a:pt x="113587" y="1143664"/>
                        <a:pt x="142481" y="1125605"/>
                      </a:cubicBezTo>
                      <a:cubicBezTo>
                        <a:pt x="151769" y="1119929"/>
                        <a:pt x="163120" y="1117349"/>
                        <a:pt x="173956" y="1114253"/>
                      </a:cubicBezTo>
                      <a:cubicBezTo>
                        <a:pt x="180664" y="1112189"/>
                        <a:pt x="182727" y="1109093"/>
                        <a:pt x="180664" y="1101870"/>
                      </a:cubicBezTo>
                      <a:cubicBezTo>
                        <a:pt x="168796" y="1062139"/>
                        <a:pt x="160541" y="1021893"/>
                        <a:pt x="154865" y="981131"/>
                      </a:cubicBezTo>
                      <a:cubicBezTo>
                        <a:pt x="153833" y="974423"/>
                        <a:pt x="150737" y="972359"/>
                        <a:pt x="144029" y="973391"/>
                      </a:cubicBezTo>
                      <a:cubicBezTo>
                        <a:pt x="98107" y="981131"/>
                        <a:pt x="54765" y="963588"/>
                        <a:pt x="10391" y="958428"/>
                      </a:cubicBezTo>
                      <a:cubicBezTo>
                        <a:pt x="4715" y="957912"/>
                        <a:pt x="2652" y="954300"/>
                        <a:pt x="2135" y="948624"/>
                      </a:cubicBezTo>
                      <a:cubicBezTo>
                        <a:pt x="-960" y="916118"/>
                        <a:pt x="72" y="883611"/>
                        <a:pt x="588" y="850589"/>
                      </a:cubicBezTo>
                      <a:cubicBezTo>
                        <a:pt x="588" y="844397"/>
                        <a:pt x="4715" y="841817"/>
                        <a:pt x="10391" y="840785"/>
                      </a:cubicBezTo>
                      <a:cubicBezTo>
                        <a:pt x="43930" y="834077"/>
                        <a:pt x="76952" y="827370"/>
                        <a:pt x="110491" y="820662"/>
                      </a:cubicBezTo>
                      <a:cubicBezTo>
                        <a:pt x="120294" y="818598"/>
                        <a:pt x="130098" y="821694"/>
                        <a:pt x="139901" y="822726"/>
                      </a:cubicBezTo>
                      <a:cubicBezTo>
                        <a:pt x="148157" y="823758"/>
                        <a:pt x="152285" y="820662"/>
                        <a:pt x="153317" y="811890"/>
                      </a:cubicBezTo>
                      <a:cubicBezTo>
                        <a:pt x="157445" y="773192"/>
                        <a:pt x="164668" y="734494"/>
                        <a:pt x="174472" y="696827"/>
                      </a:cubicBezTo>
                      <a:cubicBezTo>
                        <a:pt x="177052" y="687024"/>
                        <a:pt x="173440" y="682380"/>
                        <a:pt x="164152" y="680316"/>
                      </a:cubicBezTo>
                      <a:cubicBezTo>
                        <a:pt x="120294" y="668965"/>
                        <a:pt x="87272" y="636974"/>
                        <a:pt x="49090" y="615819"/>
                      </a:cubicBezTo>
                      <a:cubicBezTo>
                        <a:pt x="44961" y="613755"/>
                        <a:pt x="44961" y="610143"/>
                        <a:pt x="45993" y="606015"/>
                      </a:cubicBezTo>
                      <a:cubicBezTo>
                        <a:pt x="56313" y="574541"/>
                        <a:pt x="69212" y="544098"/>
                        <a:pt x="82628" y="513655"/>
                      </a:cubicBezTo>
                      <a:cubicBezTo>
                        <a:pt x="85208" y="507980"/>
                        <a:pt x="89336" y="506948"/>
                        <a:pt x="93979" y="508496"/>
                      </a:cubicBezTo>
                      <a:cubicBezTo>
                        <a:pt x="137322" y="519847"/>
                        <a:pt x="183760" y="518815"/>
                        <a:pt x="224006" y="543066"/>
                      </a:cubicBezTo>
                      <a:cubicBezTo>
                        <a:pt x="230713" y="547194"/>
                        <a:pt x="233809" y="544614"/>
                        <a:pt x="236905" y="538938"/>
                      </a:cubicBezTo>
                      <a:cubicBezTo>
                        <a:pt x="255996" y="503336"/>
                        <a:pt x="278183" y="469281"/>
                        <a:pt x="302434" y="437291"/>
                      </a:cubicBezTo>
                      <a:cubicBezTo>
                        <a:pt x="305530" y="433163"/>
                        <a:pt x="310690" y="428519"/>
                        <a:pt x="302950" y="423359"/>
                      </a:cubicBezTo>
                      <a:cubicBezTo>
                        <a:pt x="273540" y="404268"/>
                        <a:pt x="258576" y="373826"/>
                        <a:pt x="238453" y="346995"/>
                      </a:cubicBezTo>
                      <a:cubicBezTo>
                        <a:pt x="234841" y="342351"/>
                        <a:pt x="232262" y="337707"/>
                        <a:pt x="228650" y="333063"/>
                      </a:cubicBezTo>
                      <a:cubicBezTo>
                        <a:pt x="212654" y="310360"/>
                        <a:pt x="212138" y="309844"/>
                        <a:pt x="230713" y="290237"/>
                      </a:cubicBezTo>
                      <a:cubicBezTo>
                        <a:pt x="248257" y="271662"/>
                        <a:pt x="266316" y="254119"/>
                        <a:pt x="283859" y="236060"/>
                      </a:cubicBezTo>
                      <a:cubicBezTo>
                        <a:pt x="289535" y="230384"/>
                        <a:pt x="294179" y="229868"/>
                        <a:pt x="300370" y="234512"/>
                      </a:cubicBezTo>
                      <a:cubicBezTo>
                        <a:pt x="327201" y="252571"/>
                        <a:pt x="354032" y="270114"/>
                        <a:pt x="380863" y="288173"/>
                      </a:cubicBezTo>
                      <a:cubicBezTo>
                        <a:pt x="390150" y="294365"/>
                        <a:pt x="396342" y="303137"/>
                        <a:pt x="403050" y="311392"/>
                      </a:cubicBezTo>
                      <a:cubicBezTo>
                        <a:pt x="408726" y="319132"/>
                        <a:pt x="413885" y="320680"/>
                        <a:pt x="422141" y="313972"/>
                      </a:cubicBezTo>
                      <a:cubicBezTo>
                        <a:pt x="452584" y="288689"/>
                        <a:pt x="485606" y="266502"/>
                        <a:pt x="519661" y="246895"/>
                      </a:cubicBezTo>
                      <a:cubicBezTo>
                        <a:pt x="524820" y="243799"/>
                        <a:pt x="529464" y="240703"/>
                        <a:pt x="524820" y="233996"/>
                      </a:cubicBezTo>
                      <a:cubicBezTo>
                        <a:pt x="502633" y="202005"/>
                        <a:pt x="501086" y="163823"/>
                        <a:pt x="492314" y="127704"/>
                      </a:cubicBezTo>
                      <a:cubicBezTo>
                        <a:pt x="484574" y="96230"/>
                        <a:pt x="485606" y="96746"/>
                        <a:pt x="514501" y="82298"/>
                      </a:cubicBezTo>
                      <a:cubicBezTo>
                        <a:pt x="535140" y="71979"/>
                        <a:pt x="557327" y="64239"/>
                        <a:pt x="578482" y="55468"/>
                      </a:cubicBezTo>
                      <a:cubicBezTo>
                        <a:pt x="586222" y="52372"/>
                        <a:pt x="590866" y="52888"/>
                        <a:pt x="595509" y="60111"/>
                      </a:cubicBezTo>
                      <a:cubicBezTo>
                        <a:pt x="613053" y="86942"/>
                        <a:pt x="630596" y="113257"/>
                        <a:pt x="648655" y="139572"/>
                      </a:cubicBezTo>
                      <a:cubicBezTo>
                        <a:pt x="655363" y="149375"/>
                        <a:pt x="657427" y="160727"/>
                        <a:pt x="661039" y="172078"/>
                      </a:cubicBezTo>
                      <a:cubicBezTo>
                        <a:pt x="663618" y="180334"/>
                        <a:pt x="667230" y="182914"/>
                        <a:pt x="675486" y="180334"/>
                      </a:cubicBezTo>
                      <a:cubicBezTo>
                        <a:pt x="713668" y="168983"/>
                        <a:pt x="752882" y="160727"/>
                        <a:pt x="792613" y="155567"/>
                      </a:cubicBezTo>
                      <a:cubicBezTo>
                        <a:pt x="800352" y="154535"/>
                        <a:pt x="802932" y="151439"/>
                        <a:pt x="801900" y="143700"/>
                      </a:cubicBezTo>
                      <a:cubicBezTo>
                        <a:pt x="795193" y="98294"/>
                        <a:pt x="811704" y="55468"/>
                        <a:pt x="816864" y="11094"/>
                      </a:cubicBezTo>
                      <a:cubicBezTo>
                        <a:pt x="817380" y="5934"/>
                        <a:pt x="820476" y="2838"/>
                        <a:pt x="826151" y="2322"/>
                      </a:cubicBezTo>
                      <a:cubicBezTo>
                        <a:pt x="859174" y="-1290"/>
                        <a:pt x="892196" y="258"/>
                        <a:pt x="925219" y="774"/>
                      </a:cubicBezTo>
                      <a:cubicBezTo>
                        <a:pt x="930895" y="774"/>
                        <a:pt x="933475" y="4902"/>
                        <a:pt x="934507" y="10062"/>
                      </a:cubicBezTo>
                      <a:cubicBezTo>
                        <a:pt x="941214" y="43600"/>
                        <a:pt x="948438" y="77139"/>
                        <a:pt x="954114" y="111193"/>
                      </a:cubicBezTo>
                      <a:cubicBezTo>
                        <a:pt x="955662" y="120481"/>
                        <a:pt x="953082" y="130800"/>
                        <a:pt x="952050" y="140604"/>
                      </a:cubicBezTo>
                      <a:cubicBezTo>
                        <a:pt x="951018" y="148343"/>
                        <a:pt x="954114" y="151955"/>
                        <a:pt x="962369" y="152987"/>
                      </a:cubicBezTo>
                      <a:cubicBezTo>
                        <a:pt x="1001584" y="157115"/>
                        <a:pt x="1040798" y="164339"/>
                        <a:pt x="1078980" y="174658"/>
                      </a:cubicBezTo>
                      <a:cubicBezTo>
                        <a:pt x="1085172" y="176206"/>
                        <a:pt x="1091364" y="176722"/>
                        <a:pt x="1093428" y="168467"/>
                      </a:cubicBezTo>
                      <a:cubicBezTo>
                        <a:pt x="1101683" y="130284"/>
                        <a:pt x="1127482" y="101390"/>
                        <a:pt x="1147089" y="69399"/>
                      </a:cubicBezTo>
                      <a:cubicBezTo>
                        <a:pt x="1162569" y="43084"/>
                        <a:pt x="1163601" y="43600"/>
                        <a:pt x="1192495" y="54436"/>
                      </a:cubicBezTo>
                      <a:cubicBezTo>
                        <a:pt x="1214682" y="62691"/>
                        <a:pt x="1236353" y="71979"/>
                        <a:pt x="1258024" y="81266"/>
                      </a:cubicBezTo>
                      <a:cubicBezTo>
                        <a:pt x="1265764" y="84362"/>
                        <a:pt x="1268860" y="88490"/>
                        <a:pt x="1267312" y="96746"/>
                      </a:cubicBezTo>
                      <a:cubicBezTo>
                        <a:pt x="1260604" y="128736"/>
                        <a:pt x="1254928" y="160727"/>
                        <a:pt x="1247705" y="192718"/>
                      </a:cubicBezTo>
                      <a:cubicBezTo>
                        <a:pt x="1245125" y="203553"/>
                        <a:pt x="1238417" y="213873"/>
                        <a:pt x="1233258" y="224192"/>
                      </a:cubicBezTo>
                      <a:cubicBezTo>
                        <a:pt x="1229646" y="230384"/>
                        <a:pt x="1230678" y="233996"/>
                        <a:pt x="1237385" y="237608"/>
                      </a:cubicBezTo>
                      <a:cubicBezTo>
                        <a:pt x="1273504" y="256699"/>
                        <a:pt x="1307558" y="279402"/>
                        <a:pt x="1340065" y="304169"/>
                      </a:cubicBezTo>
                      <a:cubicBezTo>
                        <a:pt x="1345741" y="308812"/>
                        <a:pt x="1349868" y="309328"/>
                        <a:pt x="1354512" y="302621"/>
                      </a:cubicBezTo>
                      <a:cubicBezTo>
                        <a:pt x="1381343" y="264954"/>
                        <a:pt x="1424169" y="246379"/>
                        <a:pt x="1459771" y="218516"/>
                      </a:cubicBezTo>
                      <a:cubicBezTo>
                        <a:pt x="1464415" y="214905"/>
                        <a:pt x="1468027" y="216452"/>
                        <a:pt x="1472155" y="220064"/>
                      </a:cubicBezTo>
                      <a:cubicBezTo>
                        <a:pt x="1496406" y="241219"/>
                        <a:pt x="1519109" y="264438"/>
                        <a:pt x="1541296" y="287657"/>
                      </a:cubicBezTo>
                      <a:cubicBezTo>
                        <a:pt x="1545424" y="292301"/>
                        <a:pt x="1545940" y="296429"/>
                        <a:pt x="1542328" y="301073"/>
                      </a:cubicBezTo>
                      <a:cubicBezTo>
                        <a:pt x="1523237" y="329452"/>
                        <a:pt x="1505177" y="357830"/>
                        <a:pt x="1485570" y="385693"/>
                      </a:cubicBezTo>
                      <a:cubicBezTo>
                        <a:pt x="1479895" y="393949"/>
                        <a:pt x="1470607" y="400140"/>
                        <a:pt x="1462868" y="406332"/>
                      </a:cubicBezTo>
                      <a:cubicBezTo>
                        <a:pt x="1456676" y="411492"/>
                        <a:pt x="1455644" y="416136"/>
                        <a:pt x="1460803" y="422327"/>
                      </a:cubicBezTo>
                      <a:cubicBezTo>
                        <a:pt x="1486086" y="453802"/>
                        <a:pt x="1509305" y="487341"/>
                        <a:pt x="1529428" y="522427"/>
                      </a:cubicBezTo>
                      <a:cubicBezTo>
                        <a:pt x="1534072" y="530167"/>
                        <a:pt x="1538716" y="529135"/>
                        <a:pt x="1544908" y="525007"/>
                      </a:cubicBezTo>
                      <a:cubicBezTo>
                        <a:pt x="1584122" y="500756"/>
                        <a:pt x="1630044" y="500240"/>
                        <a:pt x="1672870" y="488373"/>
                      </a:cubicBezTo>
                      <a:cubicBezTo>
                        <a:pt x="1678546" y="486825"/>
                        <a:pt x="1681642" y="489921"/>
                        <a:pt x="1683706" y="495080"/>
                      </a:cubicBezTo>
                      <a:cubicBezTo>
                        <a:pt x="1697637" y="523975"/>
                        <a:pt x="1710537" y="553902"/>
                        <a:pt x="1721888" y="583828"/>
                      </a:cubicBezTo>
                      <a:cubicBezTo>
                        <a:pt x="1723952" y="590020"/>
                        <a:pt x="1722404" y="593632"/>
                        <a:pt x="1717244" y="596728"/>
                      </a:cubicBezTo>
                      <a:cubicBezTo>
                        <a:pt x="1689381" y="615303"/>
                        <a:pt x="1662035" y="634394"/>
                        <a:pt x="1633140" y="652453"/>
                      </a:cubicBezTo>
                      <a:cubicBezTo>
                        <a:pt x="1623852" y="658129"/>
                        <a:pt x="1612501" y="660709"/>
                        <a:pt x="1601665" y="663805"/>
                      </a:cubicBezTo>
                      <a:cubicBezTo>
                        <a:pt x="1594958" y="665869"/>
                        <a:pt x="1592894" y="668965"/>
                        <a:pt x="1594958" y="676188"/>
                      </a:cubicBezTo>
                      <a:cubicBezTo>
                        <a:pt x="1606309" y="715403"/>
                        <a:pt x="1615081" y="755133"/>
                        <a:pt x="1620241" y="795895"/>
                      </a:cubicBezTo>
                      <a:cubicBezTo>
                        <a:pt x="1621272" y="803119"/>
                        <a:pt x="1624368" y="805699"/>
                        <a:pt x="1631076" y="804667"/>
                      </a:cubicBezTo>
                      <a:cubicBezTo>
                        <a:pt x="1676482" y="797959"/>
                        <a:pt x="1719308" y="814470"/>
                        <a:pt x="1763682" y="819630"/>
                      </a:cubicBezTo>
                      <a:cubicBezTo>
                        <a:pt x="1769874" y="820146"/>
                        <a:pt x="1772454" y="823758"/>
                        <a:pt x="1773486" y="829950"/>
                      </a:cubicBezTo>
                      <a:cubicBezTo>
                        <a:pt x="1776582" y="862456"/>
                        <a:pt x="1775034" y="895479"/>
                        <a:pt x="1775034" y="927985"/>
                      </a:cubicBezTo>
                      <a:cubicBezTo>
                        <a:pt x="1775034" y="933661"/>
                        <a:pt x="1771422" y="936241"/>
                        <a:pt x="1766262" y="937273"/>
                      </a:cubicBezTo>
                      <a:cubicBezTo>
                        <a:pt x="1732207" y="943981"/>
                        <a:pt x="1698153" y="951204"/>
                        <a:pt x="1663583" y="957396"/>
                      </a:cubicBezTo>
                      <a:cubicBezTo>
                        <a:pt x="1654811" y="958944"/>
                        <a:pt x="1645523" y="956364"/>
                        <a:pt x="1636752" y="955332"/>
                      </a:cubicBezTo>
                      <a:cubicBezTo>
                        <a:pt x="1627980" y="954300"/>
                        <a:pt x="1623336" y="956364"/>
                        <a:pt x="1622304" y="966684"/>
                      </a:cubicBezTo>
                      <a:cubicBezTo>
                        <a:pt x="1618177" y="1005382"/>
                        <a:pt x="1610953" y="1044080"/>
                        <a:pt x="1601149" y="1081746"/>
                      </a:cubicBezTo>
                      <a:cubicBezTo>
                        <a:pt x="1598569" y="1091034"/>
                        <a:pt x="1601665" y="1095678"/>
                        <a:pt x="1610437" y="1097742"/>
                      </a:cubicBezTo>
                      <a:cubicBezTo>
                        <a:pt x="1654811" y="1108577"/>
                        <a:pt x="1687318" y="1140568"/>
                        <a:pt x="1726016" y="1161723"/>
                      </a:cubicBezTo>
                      <a:cubicBezTo>
                        <a:pt x="1731176" y="1164819"/>
                        <a:pt x="1731176" y="1168947"/>
                        <a:pt x="1729112" y="1174107"/>
                      </a:cubicBezTo>
                      <a:cubicBezTo>
                        <a:pt x="1718792" y="1204549"/>
                        <a:pt x="1706409" y="1234476"/>
                        <a:pt x="1693509" y="1263887"/>
                      </a:cubicBezTo>
                      <a:cubicBezTo>
                        <a:pt x="1690929" y="1269562"/>
                        <a:pt x="1687318" y="1271626"/>
                        <a:pt x="1681126" y="1270078"/>
                      </a:cubicBezTo>
                      <a:cubicBezTo>
                        <a:pt x="1648103" y="1263371"/>
                        <a:pt x="1614565" y="1257179"/>
                        <a:pt x="1581542" y="1249955"/>
                      </a:cubicBezTo>
                      <a:cubicBezTo>
                        <a:pt x="1571223" y="1247375"/>
                        <a:pt x="1561935" y="1241184"/>
                        <a:pt x="1552647" y="1236024"/>
                      </a:cubicBezTo>
                      <a:cubicBezTo>
                        <a:pt x="1545940" y="1232412"/>
                        <a:pt x="1542328" y="1232928"/>
                        <a:pt x="1538200" y="1240152"/>
                      </a:cubicBezTo>
                      <a:cubicBezTo>
                        <a:pt x="1519109" y="1275238"/>
                        <a:pt x="1497954" y="1309293"/>
                        <a:pt x="1473187" y="1340767"/>
                      </a:cubicBezTo>
                      <a:cubicBezTo>
                        <a:pt x="1467511" y="1347991"/>
                        <a:pt x="1466479" y="1352635"/>
                        <a:pt x="1475251" y="1358310"/>
                      </a:cubicBezTo>
                      <a:cubicBezTo>
                        <a:pt x="1502598" y="1375854"/>
                        <a:pt x="1516013" y="1405264"/>
                        <a:pt x="1535104" y="1430031"/>
                      </a:cubicBezTo>
                      <a:cubicBezTo>
                        <a:pt x="1538716" y="1434675"/>
                        <a:pt x="1541812" y="1439835"/>
                        <a:pt x="1545424" y="1444995"/>
                      </a:cubicBezTo>
                      <a:cubicBezTo>
                        <a:pt x="1566063" y="1474921"/>
                        <a:pt x="1565031" y="1464602"/>
                        <a:pt x="1542844" y="1489885"/>
                      </a:cubicBezTo>
                      <a:cubicBezTo>
                        <a:pt x="1526849" y="1508460"/>
                        <a:pt x="1508273" y="1524971"/>
                        <a:pt x="1491246" y="1542514"/>
                      </a:cubicBezTo>
                      <a:cubicBezTo>
                        <a:pt x="1485054" y="1549222"/>
                        <a:pt x="1479895" y="1549222"/>
                        <a:pt x="1472155" y="1544062"/>
                      </a:cubicBezTo>
                      <a:cubicBezTo>
                        <a:pt x="1446356" y="1526519"/>
                        <a:pt x="1420041" y="1508976"/>
                        <a:pt x="1393726" y="1491948"/>
                      </a:cubicBezTo>
                      <a:cubicBezTo>
                        <a:pt x="1383923" y="1485241"/>
                        <a:pt x="1377215" y="1475437"/>
                        <a:pt x="1369992" y="1466666"/>
                      </a:cubicBezTo>
                      <a:cubicBezTo>
                        <a:pt x="1364316" y="1459958"/>
                        <a:pt x="1359672" y="1458926"/>
                        <a:pt x="1352964" y="1464602"/>
                      </a:cubicBezTo>
                      <a:cubicBezTo>
                        <a:pt x="1322005" y="1489885"/>
                        <a:pt x="1288983" y="1512588"/>
                        <a:pt x="1254413" y="1532711"/>
                      </a:cubicBezTo>
                      <a:cubicBezTo>
                        <a:pt x="1249769" y="1535291"/>
                        <a:pt x="1244609" y="1537871"/>
                        <a:pt x="1248737" y="1544578"/>
                      </a:cubicBezTo>
                      <a:cubicBezTo>
                        <a:pt x="1272472" y="1580181"/>
                        <a:pt x="1274020" y="1622491"/>
                        <a:pt x="1284339" y="1662221"/>
                      </a:cubicBezTo>
                      <a:cubicBezTo>
                        <a:pt x="1290531" y="1685440"/>
                        <a:pt x="1292079" y="1682344"/>
                        <a:pt x="1268860" y="1693180"/>
                      </a:cubicBezTo>
                      <a:cubicBezTo>
                        <a:pt x="1244609" y="1704531"/>
                        <a:pt x="1219842" y="1714335"/>
                        <a:pt x="1195591" y="1724654"/>
                      </a:cubicBezTo>
                      <a:cubicBezTo>
                        <a:pt x="1187851" y="1727750"/>
                        <a:pt x="1183208" y="1726718"/>
                        <a:pt x="1178564" y="1719495"/>
                      </a:cubicBezTo>
                      <a:cubicBezTo>
                        <a:pt x="1161021" y="1692664"/>
                        <a:pt x="1142962" y="1666865"/>
                        <a:pt x="1125418" y="1640034"/>
                      </a:cubicBezTo>
                      <a:cubicBezTo>
                        <a:pt x="1118711" y="1629715"/>
                        <a:pt x="1116131" y="1617847"/>
                        <a:pt x="1113035" y="1606496"/>
                      </a:cubicBezTo>
                      <a:cubicBezTo>
                        <a:pt x="1110971" y="1599272"/>
                        <a:pt x="1107359" y="1597208"/>
                        <a:pt x="1099619" y="1599272"/>
                      </a:cubicBezTo>
                      <a:cubicBezTo>
                        <a:pt x="1060405" y="1611139"/>
                        <a:pt x="1020675" y="1619395"/>
                        <a:pt x="979913" y="1624555"/>
                      </a:cubicBezTo>
                      <a:cubicBezTo>
                        <a:pt x="973205" y="1625587"/>
                        <a:pt x="971141" y="1628682"/>
                        <a:pt x="972173" y="1634874"/>
                      </a:cubicBezTo>
                      <a:cubicBezTo>
                        <a:pt x="979397" y="1680280"/>
                        <a:pt x="962885" y="1723106"/>
                        <a:pt x="957726" y="1767481"/>
                      </a:cubicBezTo>
                      <a:cubicBezTo>
                        <a:pt x="956694" y="1775220"/>
                        <a:pt x="952566" y="1777800"/>
                        <a:pt x="945858" y="1777800"/>
                      </a:cubicBezTo>
                      <a:cubicBezTo>
                        <a:pt x="929347" y="1778316"/>
                        <a:pt x="912320" y="1779348"/>
                        <a:pt x="895808" y="1779864"/>
                      </a:cubicBezTo>
                      <a:cubicBezTo>
                        <a:pt x="894776" y="1776252"/>
                        <a:pt x="894776" y="1776252"/>
                        <a:pt x="894776" y="1775736"/>
                      </a:cubicBezTo>
                      <a:close/>
                      <a:moveTo>
                        <a:pt x="890648" y="1454798"/>
                      </a:moveTo>
                      <a:cubicBezTo>
                        <a:pt x="1199203" y="1449638"/>
                        <a:pt x="1454096" y="1207645"/>
                        <a:pt x="1452548" y="884127"/>
                      </a:cubicBezTo>
                      <a:cubicBezTo>
                        <a:pt x="1451516" y="575057"/>
                        <a:pt x="1205395" y="320164"/>
                        <a:pt x="881361" y="322228"/>
                      </a:cubicBezTo>
                      <a:cubicBezTo>
                        <a:pt x="571775" y="324292"/>
                        <a:pt x="318429" y="570929"/>
                        <a:pt x="320494" y="893415"/>
                      </a:cubicBezTo>
                      <a:cubicBezTo>
                        <a:pt x="323073" y="1202485"/>
                        <a:pt x="569195" y="1452218"/>
                        <a:pt x="890648" y="1454798"/>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7" name="Google Shape;137;p15"/>
                <p:cNvSpPr/>
                <p:nvPr/>
              </p:nvSpPr>
              <p:spPr>
                <a:xfrm>
                  <a:off x="3733675" y="2339591"/>
                  <a:ext cx="835883" cy="835883"/>
                </a:xfrm>
                <a:custGeom>
                  <a:avLst/>
                  <a:gdLst/>
                  <a:ahLst/>
                  <a:cxnLst/>
                  <a:rect l="l" t="t" r="r" b="b"/>
                  <a:pathLst>
                    <a:path w="835883" h="835883" extrusionOk="0">
                      <a:moveTo>
                        <a:pt x="836916" y="418458"/>
                      </a:moveTo>
                      <a:cubicBezTo>
                        <a:pt x="833821" y="651679"/>
                        <a:pt x="651165" y="836915"/>
                        <a:pt x="418459" y="836399"/>
                      </a:cubicBezTo>
                      <a:cubicBezTo>
                        <a:pt x="182657" y="836399"/>
                        <a:pt x="-515" y="649615"/>
                        <a:pt x="1" y="417426"/>
                      </a:cubicBezTo>
                      <a:cubicBezTo>
                        <a:pt x="517" y="181624"/>
                        <a:pt x="187301" y="0"/>
                        <a:pt x="418975" y="0"/>
                      </a:cubicBezTo>
                      <a:cubicBezTo>
                        <a:pt x="651680" y="516"/>
                        <a:pt x="833821" y="186268"/>
                        <a:pt x="836916" y="418458"/>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38" name="Google Shape;138;p15"/>
              <p:cNvSpPr/>
              <p:nvPr/>
            </p:nvSpPr>
            <p:spPr>
              <a:xfrm>
                <a:off x="1727363" y="4086481"/>
                <a:ext cx="683882" cy="686216"/>
              </a:xfrm>
              <a:custGeom>
                <a:avLst/>
                <a:gdLst/>
                <a:ahLst/>
                <a:cxnLst/>
                <a:rect l="l" t="t" r="r" b="b"/>
                <a:pathLst>
                  <a:path w="1511813" h="1516973" extrusionOk="0">
                    <a:moveTo>
                      <a:pt x="817500" y="1518710"/>
                    </a:moveTo>
                    <a:cubicBezTo>
                      <a:pt x="809245" y="1520774"/>
                      <a:pt x="805633" y="1516130"/>
                      <a:pt x="802537" y="1507875"/>
                    </a:cubicBezTo>
                    <a:cubicBezTo>
                      <a:pt x="795829" y="1486204"/>
                      <a:pt x="788090" y="1464532"/>
                      <a:pt x="780866" y="1442862"/>
                    </a:cubicBezTo>
                    <a:cubicBezTo>
                      <a:pt x="774674" y="1424286"/>
                      <a:pt x="777770" y="1404679"/>
                      <a:pt x="776738" y="1385072"/>
                    </a:cubicBezTo>
                    <a:cubicBezTo>
                      <a:pt x="776222" y="1369593"/>
                      <a:pt x="775706" y="1370109"/>
                      <a:pt x="760227" y="1369593"/>
                    </a:cubicBezTo>
                    <a:cubicBezTo>
                      <a:pt x="738556" y="1369593"/>
                      <a:pt x="716369" y="1368045"/>
                      <a:pt x="694698" y="1366497"/>
                    </a:cubicBezTo>
                    <a:cubicBezTo>
                      <a:pt x="683346" y="1365465"/>
                      <a:pt x="676638" y="1365981"/>
                      <a:pt x="676638" y="1379912"/>
                    </a:cubicBezTo>
                    <a:cubicBezTo>
                      <a:pt x="676638" y="1424286"/>
                      <a:pt x="655483" y="1462469"/>
                      <a:pt x="637940" y="1501683"/>
                    </a:cubicBezTo>
                    <a:cubicBezTo>
                      <a:pt x="634844" y="1508907"/>
                      <a:pt x="630716" y="1510454"/>
                      <a:pt x="622977" y="1508907"/>
                    </a:cubicBezTo>
                    <a:cubicBezTo>
                      <a:pt x="556416" y="1496523"/>
                      <a:pt x="492434" y="1475368"/>
                      <a:pt x="430517" y="1447505"/>
                    </a:cubicBezTo>
                    <a:cubicBezTo>
                      <a:pt x="423294" y="1443893"/>
                      <a:pt x="420198" y="1440282"/>
                      <a:pt x="422262" y="1431510"/>
                    </a:cubicBezTo>
                    <a:cubicBezTo>
                      <a:pt x="427421" y="1409323"/>
                      <a:pt x="431033" y="1386620"/>
                      <a:pt x="435677" y="1364433"/>
                    </a:cubicBezTo>
                    <a:cubicBezTo>
                      <a:pt x="439805" y="1344310"/>
                      <a:pt x="452704" y="1327798"/>
                      <a:pt x="461992" y="1310255"/>
                    </a:cubicBezTo>
                    <a:cubicBezTo>
                      <a:pt x="467152" y="1300452"/>
                      <a:pt x="466120" y="1295808"/>
                      <a:pt x="456316" y="1290132"/>
                    </a:cubicBezTo>
                    <a:cubicBezTo>
                      <a:pt x="435677" y="1278265"/>
                      <a:pt x="415554" y="1264849"/>
                      <a:pt x="395431" y="1251434"/>
                    </a:cubicBezTo>
                    <a:cubicBezTo>
                      <a:pt x="388207" y="1246274"/>
                      <a:pt x="383563" y="1246274"/>
                      <a:pt x="378919" y="1254014"/>
                    </a:cubicBezTo>
                    <a:cubicBezTo>
                      <a:pt x="356216" y="1293228"/>
                      <a:pt x="319066" y="1317479"/>
                      <a:pt x="283464" y="1342246"/>
                    </a:cubicBezTo>
                    <a:cubicBezTo>
                      <a:pt x="276240" y="1346890"/>
                      <a:pt x="272112" y="1346374"/>
                      <a:pt x="265920" y="1341214"/>
                    </a:cubicBezTo>
                    <a:cubicBezTo>
                      <a:pt x="214323" y="1297356"/>
                      <a:pt x="169433" y="1246790"/>
                      <a:pt x="130218" y="1191580"/>
                    </a:cubicBezTo>
                    <a:cubicBezTo>
                      <a:pt x="125575" y="1185389"/>
                      <a:pt x="125059" y="1180745"/>
                      <a:pt x="130734" y="1174553"/>
                    </a:cubicBezTo>
                    <a:cubicBezTo>
                      <a:pt x="146730" y="1157010"/>
                      <a:pt x="161177" y="1138435"/>
                      <a:pt x="177688" y="1121408"/>
                    </a:cubicBezTo>
                    <a:cubicBezTo>
                      <a:pt x="191104" y="1107476"/>
                      <a:pt x="209163" y="1099221"/>
                      <a:pt x="225674" y="1089417"/>
                    </a:cubicBezTo>
                    <a:cubicBezTo>
                      <a:pt x="236510" y="1083225"/>
                      <a:pt x="237026" y="1078065"/>
                      <a:pt x="230834" y="1067230"/>
                    </a:cubicBezTo>
                    <a:cubicBezTo>
                      <a:pt x="218967" y="1047107"/>
                      <a:pt x="208647" y="1025436"/>
                      <a:pt x="198327" y="1004281"/>
                    </a:cubicBezTo>
                    <a:cubicBezTo>
                      <a:pt x="194716" y="997057"/>
                      <a:pt x="192136" y="993445"/>
                      <a:pt x="183880" y="998089"/>
                    </a:cubicBezTo>
                    <a:cubicBezTo>
                      <a:pt x="147246" y="1017180"/>
                      <a:pt x="108031" y="1024920"/>
                      <a:pt x="67269" y="1025952"/>
                    </a:cubicBezTo>
                    <a:cubicBezTo>
                      <a:pt x="63657" y="1025952"/>
                      <a:pt x="59529" y="1026984"/>
                      <a:pt x="55918" y="1027500"/>
                    </a:cubicBezTo>
                    <a:cubicBezTo>
                      <a:pt x="48694" y="1028532"/>
                      <a:pt x="44050" y="1025952"/>
                      <a:pt x="41470" y="1018212"/>
                    </a:cubicBezTo>
                    <a:cubicBezTo>
                      <a:pt x="21347" y="960939"/>
                      <a:pt x="6384" y="902117"/>
                      <a:pt x="1224" y="841748"/>
                    </a:cubicBezTo>
                    <a:cubicBezTo>
                      <a:pt x="-1872" y="808725"/>
                      <a:pt x="-1356" y="809241"/>
                      <a:pt x="30635" y="797374"/>
                    </a:cubicBezTo>
                    <a:cubicBezTo>
                      <a:pt x="64173" y="784474"/>
                      <a:pt x="98744" y="775703"/>
                      <a:pt x="134862" y="778799"/>
                    </a:cubicBezTo>
                    <a:cubicBezTo>
                      <a:pt x="144150" y="779315"/>
                      <a:pt x="147246" y="775187"/>
                      <a:pt x="147246" y="765899"/>
                    </a:cubicBezTo>
                    <a:cubicBezTo>
                      <a:pt x="147246" y="742680"/>
                      <a:pt x="148278" y="719461"/>
                      <a:pt x="150342" y="696242"/>
                    </a:cubicBezTo>
                    <a:cubicBezTo>
                      <a:pt x="151373" y="685923"/>
                      <a:pt x="150858" y="678699"/>
                      <a:pt x="137442" y="678699"/>
                    </a:cubicBezTo>
                    <a:cubicBezTo>
                      <a:pt x="92552" y="678699"/>
                      <a:pt x="53854" y="657544"/>
                      <a:pt x="14639" y="639485"/>
                    </a:cubicBezTo>
                    <a:cubicBezTo>
                      <a:pt x="7932" y="636389"/>
                      <a:pt x="6384" y="632261"/>
                      <a:pt x="7932" y="625037"/>
                    </a:cubicBezTo>
                    <a:cubicBezTo>
                      <a:pt x="20315" y="558476"/>
                      <a:pt x="40954" y="494495"/>
                      <a:pt x="69333" y="432578"/>
                    </a:cubicBezTo>
                    <a:cubicBezTo>
                      <a:pt x="72945" y="424838"/>
                      <a:pt x="77073" y="421742"/>
                      <a:pt x="86360" y="423806"/>
                    </a:cubicBezTo>
                    <a:cubicBezTo>
                      <a:pt x="107515" y="428450"/>
                      <a:pt x="129186" y="432578"/>
                      <a:pt x="150858" y="436706"/>
                    </a:cubicBezTo>
                    <a:cubicBezTo>
                      <a:pt x="171497" y="440833"/>
                      <a:pt x="188008" y="453733"/>
                      <a:pt x="206583" y="463536"/>
                    </a:cubicBezTo>
                    <a:cubicBezTo>
                      <a:pt x="216903" y="468696"/>
                      <a:pt x="221546" y="467664"/>
                      <a:pt x="227738" y="457345"/>
                    </a:cubicBezTo>
                    <a:cubicBezTo>
                      <a:pt x="239606" y="436706"/>
                      <a:pt x="253021" y="416582"/>
                      <a:pt x="266952" y="396459"/>
                    </a:cubicBezTo>
                    <a:cubicBezTo>
                      <a:pt x="271596" y="389752"/>
                      <a:pt x="271596" y="385108"/>
                      <a:pt x="264373" y="380980"/>
                    </a:cubicBezTo>
                    <a:cubicBezTo>
                      <a:pt x="225158" y="357761"/>
                      <a:pt x="200391" y="320611"/>
                      <a:pt x="175108" y="284492"/>
                    </a:cubicBezTo>
                    <a:cubicBezTo>
                      <a:pt x="170465" y="277785"/>
                      <a:pt x="170981" y="273657"/>
                      <a:pt x="176140" y="267981"/>
                    </a:cubicBezTo>
                    <a:cubicBezTo>
                      <a:pt x="219998" y="216383"/>
                      <a:pt x="270048" y="171493"/>
                      <a:pt x="325258" y="132279"/>
                    </a:cubicBezTo>
                    <a:cubicBezTo>
                      <a:pt x="331966" y="127635"/>
                      <a:pt x="336609" y="126603"/>
                      <a:pt x="343317" y="132795"/>
                    </a:cubicBezTo>
                    <a:cubicBezTo>
                      <a:pt x="360344" y="148274"/>
                      <a:pt x="378404" y="162722"/>
                      <a:pt x="395431" y="178717"/>
                    </a:cubicBezTo>
                    <a:cubicBezTo>
                      <a:pt x="409362" y="191616"/>
                      <a:pt x="416070" y="209160"/>
                      <a:pt x="426389" y="224639"/>
                    </a:cubicBezTo>
                    <a:cubicBezTo>
                      <a:pt x="437741" y="241666"/>
                      <a:pt x="435161" y="240634"/>
                      <a:pt x="451156" y="231347"/>
                    </a:cubicBezTo>
                    <a:cubicBezTo>
                      <a:pt x="470763" y="219995"/>
                      <a:pt x="491403" y="209676"/>
                      <a:pt x="512042" y="200388"/>
                    </a:cubicBezTo>
                    <a:cubicBezTo>
                      <a:pt x="521329" y="196260"/>
                      <a:pt x="522361" y="192132"/>
                      <a:pt x="518233" y="183877"/>
                    </a:cubicBezTo>
                    <a:cubicBezTo>
                      <a:pt x="499142" y="148274"/>
                      <a:pt x="492434" y="109576"/>
                      <a:pt x="491403" y="69846"/>
                    </a:cubicBezTo>
                    <a:cubicBezTo>
                      <a:pt x="491403" y="66234"/>
                      <a:pt x="490371" y="62106"/>
                      <a:pt x="489855" y="58494"/>
                    </a:cubicBezTo>
                    <a:cubicBezTo>
                      <a:pt x="488307" y="50239"/>
                      <a:pt x="491403" y="46111"/>
                      <a:pt x="499658" y="43015"/>
                    </a:cubicBezTo>
                    <a:cubicBezTo>
                      <a:pt x="563123" y="20312"/>
                      <a:pt x="628653" y="6380"/>
                      <a:pt x="695730" y="189"/>
                    </a:cubicBezTo>
                    <a:cubicBezTo>
                      <a:pt x="706049" y="-843"/>
                      <a:pt x="710693" y="2253"/>
                      <a:pt x="713273" y="12056"/>
                    </a:cubicBezTo>
                    <a:cubicBezTo>
                      <a:pt x="715337" y="19796"/>
                      <a:pt x="717917" y="27536"/>
                      <a:pt x="721012" y="35275"/>
                    </a:cubicBezTo>
                    <a:cubicBezTo>
                      <a:pt x="734428" y="67266"/>
                      <a:pt x="741136" y="99772"/>
                      <a:pt x="738556" y="134343"/>
                    </a:cubicBezTo>
                    <a:cubicBezTo>
                      <a:pt x="737524" y="145694"/>
                      <a:pt x="742168" y="148790"/>
                      <a:pt x="753519" y="148790"/>
                    </a:cubicBezTo>
                    <a:cubicBezTo>
                      <a:pt x="775706" y="148274"/>
                      <a:pt x="797893" y="149822"/>
                      <a:pt x="820596" y="151886"/>
                    </a:cubicBezTo>
                    <a:cubicBezTo>
                      <a:pt x="831948" y="152918"/>
                      <a:pt x="838655" y="152402"/>
                      <a:pt x="838655" y="138471"/>
                    </a:cubicBezTo>
                    <a:cubicBezTo>
                      <a:pt x="838655" y="94097"/>
                      <a:pt x="859810" y="55914"/>
                      <a:pt x="877354" y="16700"/>
                    </a:cubicBezTo>
                    <a:cubicBezTo>
                      <a:pt x="880449" y="9476"/>
                      <a:pt x="885093" y="7928"/>
                      <a:pt x="892317" y="9476"/>
                    </a:cubicBezTo>
                    <a:cubicBezTo>
                      <a:pt x="958878" y="21860"/>
                      <a:pt x="1022859" y="42499"/>
                      <a:pt x="1084777" y="70878"/>
                    </a:cubicBezTo>
                    <a:cubicBezTo>
                      <a:pt x="1092000" y="74489"/>
                      <a:pt x="1095096" y="78617"/>
                      <a:pt x="1093032" y="86873"/>
                    </a:cubicBezTo>
                    <a:cubicBezTo>
                      <a:pt x="1088388" y="108544"/>
                      <a:pt x="1084261" y="130731"/>
                      <a:pt x="1079617" y="152402"/>
                    </a:cubicBezTo>
                    <a:cubicBezTo>
                      <a:pt x="1075489" y="172525"/>
                      <a:pt x="1062590" y="189036"/>
                      <a:pt x="1053302" y="206580"/>
                    </a:cubicBezTo>
                    <a:cubicBezTo>
                      <a:pt x="1047626" y="217415"/>
                      <a:pt x="1048658" y="222575"/>
                      <a:pt x="1060010" y="228251"/>
                    </a:cubicBezTo>
                    <a:cubicBezTo>
                      <a:pt x="1080133" y="239602"/>
                      <a:pt x="1099740" y="252502"/>
                      <a:pt x="1118315" y="265917"/>
                    </a:cubicBezTo>
                    <a:cubicBezTo>
                      <a:pt x="1126571" y="272109"/>
                      <a:pt x="1131214" y="271593"/>
                      <a:pt x="1136374" y="262821"/>
                    </a:cubicBezTo>
                    <a:cubicBezTo>
                      <a:pt x="1159077" y="223607"/>
                      <a:pt x="1196744" y="199872"/>
                      <a:pt x="1232346" y="174589"/>
                    </a:cubicBezTo>
                    <a:cubicBezTo>
                      <a:pt x="1238538" y="170461"/>
                      <a:pt x="1242666" y="170977"/>
                      <a:pt x="1247825" y="175621"/>
                    </a:cubicBezTo>
                    <a:cubicBezTo>
                      <a:pt x="1299939" y="219995"/>
                      <a:pt x="1345345" y="270045"/>
                      <a:pt x="1384559" y="325770"/>
                    </a:cubicBezTo>
                    <a:cubicBezTo>
                      <a:pt x="1389203" y="331962"/>
                      <a:pt x="1389719" y="336606"/>
                      <a:pt x="1384043" y="342798"/>
                    </a:cubicBezTo>
                    <a:cubicBezTo>
                      <a:pt x="1368048" y="360857"/>
                      <a:pt x="1352569" y="379432"/>
                      <a:pt x="1336057" y="396975"/>
                    </a:cubicBezTo>
                    <a:cubicBezTo>
                      <a:pt x="1323674" y="409875"/>
                      <a:pt x="1306131" y="417098"/>
                      <a:pt x="1291167" y="426902"/>
                    </a:cubicBezTo>
                    <a:cubicBezTo>
                      <a:pt x="1276720" y="436706"/>
                      <a:pt x="1276720" y="436190"/>
                      <a:pt x="1284976" y="451153"/>
                    </a:cubicBezTo>
                    <a:cubicBezTo>
                      <a:pt x="1295811" y="471792"/>
                      <a:pt x="1306647" y="492431"/>
                      <a:pt x="1316450" y="513070"/>
                    </a:cubicBezTo>
                    <a:cubicBezTo>
                      <a:pt x="1320062" y="520294"/>
                      <a:pt x="1323158" y="523390"/>
                      <a:pt x="1330898" y="519262"/>
                    </a:cubicBezTo>
                    <a:cubicBezTo>
                      <a:pt x="1367532" y="500171"/>
                      <a:pt x="1406746" y="492431"/>
                      <a:pt x="1447509" y="491399"/>
                    </a:cubicBezTo>
                    <a:cubicBezTo>
                      <a:pt x="1451120" y="491399"/>
                      <a:pt x="1455248" y="490367"/>
                      <a:pt x="1458860" y="489851"/>
                    </a:cubicBezTo>
                    <a:cubicBezTo>
                      <a:pt x="1466600" y="488819"/>
                      <a:pt x="1470728" y="491399"/>
                      <a:pt x="1473307" y="499139"/>
                    </a:cubicBezTo>
                    <a:cubicBezTo>
                      <a:pt x="1493431" y="556412"/>
                      <a:pt x="1508394" y="615234"/>
                      <a:pt x="1513554" y="675603"/>
                    </a:cubicBezTo>
                    <a:cubicBezTo>
                      <a:pt x="1513554" y="676635"/>
                      <a:pt x="1513554" y="678183"/>
                      <a:pt x="1514070" y="679215"/>
                    </a:cubicBezTo>
                    <a:cubicBezTo>
                      <a:pt x="1518713" y="714301"/>
                      <a:pt x="1519745" y="706046"/>
                      <a:pt x="1490335" y="717397"/>
                    </a:cubicBezTo>
                    <a:cubicBezTo>
                      <a:pt x="1454732" y="730813"/>
                      <a:pt x="1418614" y="741648"/>
                      <a:pt x="1379916" y="738036"/>
                    </a:cubicBezTo>
                    <a:cubicBezTo>
                      <a:pt x="1371144" y="737004"/>
                      <a:pt x="1368048" y="740616"/>
                      <a:pt x="1367532" y="749904"/>
                    </a:cubicBezTo>
                    <a:cubicBezTo>
                      <a:pt x="1367016" y="774155"/>
                      <a:pt x="1365984" y="797890"/>
                      <a:pt x="1363920" y="822141"/>
                    </a:cubicBezTo>
                    <a:cubicBezTo>
                      <a:pt x="1363404" y="831944"/>
                      <a:pt x="1363920" y="838136"/>
                      <a:pt x="1375788" y="838136"/>
                    </a:cubicBezTo>
                    <a:cubicBezTo>
                      <a:pt x="1420678" y="838136"/>
                      <a:pt x="1459376" y="858775"/>
                      <a:pt x="1498590" y="876834"/>
                    </a:cubicBezTo>
                    <a:cubicBezTo>
                      <a:pt x="1505298" y="879930"/>
                      <a:pt x="1507878" y="883542"/>
                      <a:pt x="1506330" y="891798"/>
                    </a:cubicBezTo>
                    <a:cubicBezTo>
                      <a:pt x="1493947" y="958875"/>
                      <a:pt x="1472791" y="1023372"/>
                      <a:pt x="1444413" y="1085289"/>
                    </a:cubicBezTo>
                    <a:cubicBezTo>
                      <a:pt x="1441317" y="1092513"/>
                      <a:pt x="1437189" y="1094577"/>
                      <a:pt x="1429449" y="1093029"/>
                    </a:cubicBezTo>
                    <a:cubicBezTo>
                      <a:pt x="1386623" y="1085289"/>
                      <a:pt x="1343797" y="1078581"/>
                      <a:pt x="1306647" y="1052783"/>
                    </a:cubicBezTo>
                    <a:cubicBezTo>
                      <a:pt x="1297875" y="1046591"/>
                      <a:pt x="1293231" y="1048655"/>
                      <a:pt x="1287556" y="1057942"/>
                    </a:cubicBezTo>
                    <a:cubicBezTo>
                      <a:pt x="1275688" y="1078581"/>
                      <a:pt x="1262273" y="1098705"/>
                      <a:pt x="1248857" y="1118828"/>
                    </a:cubicBezTo>
                    <a:cubicBezTo>
                      <a:pt x="1244214" y="1125535"/>
                      <a:pt x="1242150" y="1130179"/>
                      <a:pt x="1250405" y="1135339"/>
                    </a:cubicBezTo>
                    <a:cubicBezTo>
                      <a:pt x="1289620" y="1158558"/>
                      <a:pt x="1313871" y="1194676"/>
                      <a:pt x="1339153" y="1230795"/>
                    </a:cubicBezTo>
                    <a:cubicBezTo>
                      <a:pt x="1344313" y="1238018"/>
                      <a:pt x="1343797" y="1242662"/>
                      <a:pt x="1337605" y="1249370"/>
                    </a:cubicBezTo>
                    <a:cubicBezTo>
                      <a:pt x="1293747" y="1300968"/>
                      <a:pt x="1244214" y="1345342"/>
                      <a:pt x="1189004" y="1384040"/>
                    </a:cubicBezTo>
                    <a:cubicBezTo>
                      <a:pt x="1182296" y="1388684"/>
                      <a:pt x="1177652" y="1389716"/>
                      <a:pt x="1170945" y="1383524"/>
                    </a:cubicBezTo>
                    <a:cubicBezTo>
                      <a:pt x="1153918" y="1368045"/>
                      <a:pt x="1135858" y="1353597"/>
                      <a:pt x="1118831" y="1337602"/>
                    </a:cubicBezTo>
                    <a:cubicBezTo>
                      <a:pt x="1104384" y="1324187"/>
                      <a:pt x="1096644" y="1306128"/>
                      <a:pt x="1086840" y="1289616"/>
                    </a:cubicBezTo>
                    <a:cubicBezTo>
                      <a:pt x="1080133" y="1278265"/>
                      <a:pt x="1074973" y="1277749"/>
                      <a:pt x="1064137" y="1284456"/>
                    </a:cubicBezTo>
                    <a:cubicBezTo>
                      <a:pt x="1044530" y="1296324"/>
                      <a:pt x="1023375" y="1306643"/>
                      <a:pt x="1002220" y="1316447"/>
                    </a:cubicBezTo>
                    <a:cubicBezTo>
                      <a:pt x="993449" y="1320575"/>
                      <a:pt x="991385" y="1324703"/>
                      <a:pt x="996028" y="1332958"/>
                    </a:cubicBezTo>
                    <a:cubicBezTo>
                      <a:pt x="1015120" y="1368561"/>
                      <a:pt x="1021827" y="1407259"/>
                      <a:pt x="1022859" y="1446989"/>
                    </a:cubicBezTo>
                    <a:cubicBezTo>
                      <a:pt x="1022859" y="1451117"/>
                      <a:pt x="1023891" y="1455245"/>
                      <a:pt x="1024407" y="1459889"/>
                    </a:cubicBezTo>
                    <a:cubicBezTo>
                      <a:pt x="1025439" y="1466596"/>
                      <a:pt x="1022859" y="1470724"/>
                      <a:pt x="1015636" y="1473304"/>
                    </a:cubicBezTo>
                    <a:cubicBezTo>
                      <a:pt x="970745" y="1493943"/>
                      <a:pt x="870646" y="1516130"/>
                      <a:pt x="817500" y="1518710"/>
                    </a:cubicBezTo>
                    <a:close/>
                    <a:moveTo>
                      <a:pt x="758163" y="1148238"/>
                    </a:moveTo>
                    <a:cubicBezTo>
                      <a:pt x="974357" y="1144627"/>
                      <a:pt x="1145146" y="976418"/>
                      <a:pt x="1145146" y="758675"/>
                    </a:cubicBezTo>
                    <a:cubicBezTo>
                      <a:pt x="1145146" y="542481"/>
                      <a:pt x="974357" y="371176"/>
                      <a:pt x="757131" y="371176"/>
                    </a:cubicBezTo>
                    <a:cubicBezTo>
                      <a:pt x="539904" y="371176"/>
                      <a:pt x="368600" y="542481"/>
                      <a:pt x="368600" y="759707"/>
                    </a:cubicBezTo>
                    <a:cubicBezTo>
                      <a:pt x="369116" y="977966"/>
                      <a:pt x="541452" y="1145659"/>
                      <a:pt x="758163" y="1148238"/>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139" name="Google Shape;139;p15"/>
            <p:cNvGrpSpPr/>
            <p:nvPr/>
          </p:nvGrpSpPr>
          <p:grpSpPr>
            <a:xfrm>
              <a:off x="6486650" y="2648852"/>
              <a:ext cx="2745260" cy="2471860"/>
              <a:chOff x="6486650" y="2648852"/>
              <a:chExt cx="2745260" cy="2471860"/>
            </a:xfrm>
          </p:grpSpPr>
          <p:sp>
            <p:nvSpPr>
              <p:cNvPr id="140" name="Google Shape;140;p15"/>
              <p:cNvSpPr/>
              <p:nvPr/>
            </p:nvSpPr>
            <p:spPr>
              <a:xfrm>
                <a:off x="6486650" y="3806165"/>
                <a:ext cx="1318090" cy="1314547"/>
              </a:xfrm>
              <a:custGeom>
                <a:avLst/>
                <a:gdLst/>
                <a:ahLst/>
                <a:cxnLst/>
                <a:rect l="l" t="t" r="r" b="b"/>
                <a:pathLst>
                  <a:path w="1919435" h="1914275" extrusionOk="0">
                    <a:moveTo>
                      <a:pt x="0" y="987194"/>
                    </a:moveTo>
                    <a:cubicBezTo>
                      <a:pt x="8256" y="971714"/>
                      <a:pt x="21155" y="963975"/>
                      <a:pt x="37667" y="959846"/>
                    </a:cubicBezTo>
                    <a:cubicBezTo>
                      <a:pt x="82041" y="947979"/>
                      <a:pt x="125383" y="934564"/>
                      <a:pt x="169757" y="922696"/>
                    </a:cubicBezTo>
                    <a:cubicBezTo>
                      <a:pt x="196587" y="915473"/>
                      <a:pt x="212583" y="900509"/>
                      <a:pt x="215163" y="872130"/>
                    </a:cubicBezTo>
                    <a:cubicBezTo>
                      <a:pt x="215679" y="864907"/>
                      <a:pt x="216710" y="857683"/>
                      <a:pt x="217743" y="850459"/>
                    </a:cubicBezTo>
                    <a:cubicBezTo>
                      <a:pt x="220323" y="826209"/>
                      <a:pt x="209487" y="809697"/>
                      <a:pt x="189364" y="797830"/>
                    </a:cubicBezTo>
                    <a:cubicBezTo>
                      <a:pt x="149118" y="774611"/>
                      <a:pt x="109388" y="750876"/>
                      <a:pt x="69657" y="727657"/>
                    </a:cubicBezTo>
                    <a:cubicBezTo>
                      <a:pt x="40246" y="710629"/>
                      <a:pt x="35087" y="697730"/>
                      <a:pt x="43858" y="664708"/>
                    </a:cubicBezTo>
                    <a:cubicBezTo>
                      <a:pt x="44890" y="661612"/>
                      <a:pt x="45406" y="658516"/>
                      <a:pt x="46438" y="655936"/>
                    </a:cubicBezTo>
                    <a:cubicBezTo>
                      <a:pt x="59337" y="613110"/>
                      <a:pt x="70689" y="604854"/>
                      <a:pt x="114547" y="608982"/>
                    </a:cubicBezTo>
                    <a:cubicBezTo>
                      <a:pt x="156857" y="613110"/>
                      <a:pt x="199167" y="617754"/>
                      <a:pt x="241478" y="623429"/>
                    </a:cubicBezTo>
                    <a:cubicBezTo>
                      <a:pt x="275016" y="627557"/>
                      <a:pt x="289463" y="621881"/>
                      <a:pt x="306491" y="593503"/>
                    </a:cubicBezTo>
                    <a:cubicBezTo>
                      <a:pt x="330741" y="554288"/>
                      <a:pt x="329710" y="541905"/>
                      <a:pt x="301331" y="505271"/>
                    </a:cubicBezTo>
                    <a:cubicBezTo>
                      <a:pt x="274500" y="470700"/>
                      <a:pt x="248185" y="435614"/>
                      <a:pt x="222386" y="400527"/>
                    </a:cubicBezTo>
                    <a:cubicBezTo>
                      <a:pt x="206907" y="379888"/>
                      <a:pt x="206907" y="362861"/>
                      <a:pt x="222386" y="342222"/>
                    </a:cubicBezTo>
                    <a:cubicBezTo>
                      <a:pt x="230126" y="331902"/>
                      <a:pt x="238382" y="321583"/>
                      <a:pt x="248185" y="313327"/>
                    </a:cubicBezTo>
                    <a:cubicBezTo>
                      <a:pt x="267792" y="296816"/>
                      <a:pt x="281208" y="294752"/>
                      <a:pt x="303395" y="307135"/>
                    </a:cubicBezTo>
                    <a:cubicBezTo>
                      <a:pt x="342609" y="328806"/>
                      <a:pt x="382856" y="348929"/>
                      <a:pt x="420522" y="373180"/>
                    </a:cubicBezTo>
                    <a:cubicBezTo>
                      <a:pt x="463864" y="401043"/>
                      <a:pt x="493791" y="382468"/>
                      <a:pt x="525265" y="343770"/>
                    </a:cubicBezTo>
                    <a:cubicBezTo>
                      <a:pt x="535585" y="330870"/>
                      <a:pt x="531973" y="313843"/>
                      <a:pt x="527845" y="298364"/>
                    </a:cubicBezTo>
                    <a:cubicBezTo>
                      <a:pt x="516493" y="254506"/>
                      <a:pt x="505142" y="210647"/>
                      <a:pt x="493791" y="166789"/>
                    </a:cubicBezTo>
                    <a:cubicBezTo>
                      <a:pt x="485535" y="135315"/>
                      <a:pt x="490694" y="122415"/>
                      <a:pt x="518557" y="105904"/>
                    </a:cubicBezTo>
                    <a:cubicBezTo>
                      <a:pt x="524749" y="102292"/>
                      <a:pt x="530941" y="98680"/>
                      <a:pt x="537649" y="95585"/>
                    </a:cubicBezTo>
                    <a:cubicBezTo>
                      <a:pt x="571187" y="80105"/>
                      <a:pt x="586150" y="83717"/>
                      <a:pt x="608853" y="113128"/>
                    </a:cubicBezTo>
                    <a:cubicBezTo>
                      <a:pt x="636200" y="147698"/>
                      <a:pt x="663547" y="182785"/>
                      <a:pt x="690894" y="217355"/>
                    </a:cubicBezTo>
                    <a:cubicBezTo>
                      <a:pt x="716693" y="249346"/>
                      <a:pt x="777062" y="249346"/>
                      <a:pt x="802861" y="216839"/>
                    </a:cubicBezTo>
                    <a:cubicBezTo>
                      <a:pt x="813697" y="202908"/>
                      <a:pt x="813697" y="185365"/>
                      <a:pt x="816277" y="169369"/>
                    </a:cubicBezTo>
                    <a:cubicBezTo>
                      <a:pt x="822468" y="129123"/>
                      <a:pt x="827628" y="88877"/>
                      <a:pt x="832788" y="48631"/>
                    </a:cubicBezTo>
                    <a:cubicBezTo>
                      <a:pt x="836916" y="16640"/>
                      <a:pt x="845687" y="7868"/>
                      <a:pt x="877677" y="2193"/>
                    </a:cubicBezTo>
                    <a:cubicBezTo>
                      <a:pt x="891093" y="-387"/>
                      <a:pt x="904509" y="-387"/>
                      <a:pt x="917924" y="645"/>
                    </a:cubicBezTo>
                    <a:cubicBezTo>
                      <a:pt x="937531" y="1677"/>
                      <a:pt x="950947" y="11996"/>
                      <a:pt x="956106" y="31603"/>
                    </a:cubicBezTo>
                    <a:cubicBezTo>
                      <a:pt x="968490" y="75461"/>
                      <a:pt x="981389" y="119835"/>
                      <a:pt x="993772" y="163693"/>
                    </a:cubicBezTo>
                    <a:cubicBezTo>
                      <a:pt x="1006672" y="208584"/>
                      <a:pt x="1043822" y="229739"/>
                      <a:pt x="1089745" y="217871"/>
                    </a:cubicBezTo>
                    <a:cubicBezTo>
                      <a:pt x="1104707" y="214259"/>
                      <a:pt x="1113479" y="203424"/>
                      <a:pt x="1120703" y="191040"/>
                    </a:cubicBezTo>
                    <a:cubicBezTo>
                      <a:pt x="1144438" y="150278"/>
                      <a:pt x="1168689" y="109516"/>
                      <a:pt x="1192940" y="68754"/>
                    </a:cubicBezTo>
                    <a:cubicBezTo>
                      <a:pt x="1208419" y="42439"/>
                      <a:pt x="1221835" y="36763"/>
                      <a:pt x="1251245" y="44503"/>
                    </a:cubicBezTo>
                    <a:cubicBezTo>
                      <a:pt x="1310067" y="59466"/>
                      <a:pt x="1317806" y="72366"/>
                      <a:pt x="1309035" y="137895"/>
                    </a:cubicBezTo>
                    <a:cubicBezTo>
                      <a:pt x="1303875" y="177109"/>
                      <a:pt x="1299231" y="216323"/>
                      <a:pt x="1294587" y="255538"/>
                    </a:cubicBezTo>
                    <a:cubicBezTo>
                      <a:pt x="1294071" y="259665"/>
                      <a:pt x="1294071" y="263793"/>
                      <a:pt x="1294587" y="267921"/>
                    </a:cubicBezTo>
                    <a:cubicBezTo>
                      <a:pt x="1301295" y="309715"/>
                      <a:pt x="1364760" y="338610"/>
                      <a:pt x="1399331" y="314359"/>
                    </a:cubicBezTo>
                    <a:cubicBezTo>
                      <a:pt x="1438545" y="286496"/>
                      <a:pt x="1476211" y="257085"/>
                      <a:pt x="1514394" y="228191"/>
                    </a:cubicBezTo>
                    <a:cubicBezTo>
                      <a:pt x="1542256" y="207036"/>
                      <a:pt x="1556188" y="207552"/>
                      <a:pt x="1584050" y="229223"/>
                    </a:cubicBezTo>
                    <a:cubicBezTo>
                      <a:pt x="1587663" y="232319"/>
                      <a:pt x="1591274" y="234898"/>
                      <a:pt x="1594886" y="238510"/>
                    </a:cubicBezTo>
                    <a:cubicBezTo>
                      <a:pt x="1627393" y="269469"/>
                      <a:pt x="1628941" y="278757"/>
                      <a:pt x="1606754" y="317971"/>
                    </a:cubicBezTo>
                    <a:cubicBezTo>
                      <a:pt x="1585599" y="355637"/>
                      <a:pt x="1565475" y="393819"/>
                      <a:pt x="1543288" y="430970"/>
                    </a:cubicBezTo>
                    <a:cubicBezTo>
                      <a:pt x="1527293" y="458317"/>
                      <a:pt x="1534517" y="481020"/>
                      <a:pt x="1552060" y="504239"/>
                    </a:cubicBezTo>
                    <a:cubicBezTo>
                      <a:pt x="1569604" y="527458"/>
                      <a:pt x="1589726" y="538809"/>
                      <a:pt x="1619137" y="531069"/>
                    </a:cubicBezTo>
                    <a:cubicBezTo>
                      <a:pt x="1664543" y="519202"/>
                      <a:pt x="1709949" y="507850"/>
                      <a:pt x="1754839" y="495467"/>
                    </a:cubicBezTo>
                    <a:cubicBezTo>
                      <a:pt x="1783734" y="487727"/>
                      <a:pt x="1796634" y="492371"/>
                      <a:pt x="1812629" y="517654"/>
                    </a:cubicBezTo>
                    <a:cubicBezTo>
                      <a:pt x="1819853" y="528490"/>
                      <a:pt x="1826044" y="539841"/>
                      <a:pt x="1830172" y="552225"/>
                    </a:cubicBezTo>
                    <a:cubicBezTo>
                      <a:pt x="1837912" y="574412"/>
                      <a:pt x="1834299" y="588343"/>
                      <a:pt x="1815724" y="603306"/>
                    </a:cubicBezTo>
                    <a:cubicBezTo>
                      <a:pt x="1777026" y="634265"/>
                      <a:pt x="1738844" y="665224"/>
                      <a:pt x="1699630" y="695666"/>
                    </a:cubicBezTo>
                    <a:cubicBezTo>
                      <a:pt x="1680022" y="710629"/>
                      <a:pt x="1674862" y="729205"/>
                      <a:pt x="1678990" y="751908"/>
                    </a:cubicBezTo>
                    <a:cubicBezTo>
                      <a:pt x="1680539" y="759647"/>
                      <a:pt x="1683119" y="766871"/>
                      <a:pt x="1685182" y="774611"/>
                    </a:cubicBezTo>
                    <a:cubicBezTo>
                      <a:pt x="1691890" y="798862"/>
                      <a:pt x="1707885" y="812277"/>
                      <a:pt x="1732652" y="815373"/>
                    </a:cubicBezTo>
                    <a:cubicBezTo>
                      <a:pt x="1779606" y="821565"/>
                      <a:pt x="1826560" y="828272"/>
                      <a:pt x="1872998" y="834464"/>
                    </a:cubicBezTo>
                    <a:cubicBezTo>
                      <a:pt x="1900861" y="838076"/>
                      <a:pt x="1915308" y="851491"/>
                      <a:pt x="1918404" y="879354"/>
                    </a:cubicBezTo>
                    <a:cubicBezTo>
                      <a:pt x="1919952" y="892770"/>
                      <a:pt x="1921500" y="906185"/>
                      <a:pt x="1919952" y="919600"/>
                    </a:cubicBezTo>
                    <a:cubicBezTo>
                      <a:pt x="1917372" y="940755"/>
                      <a:pt x="1906536" y="952623"/>
                      <a:pt x="1886930" y="958299"/>
                    </a:cubicBezTo>
                    <a:cubicBezTo>
                      <a:pt x="1843071" y="970682"/>
                      <a:pt x="1798697" y="983065"/>
                      <a:pt x="1754839" y="995965"/>
                    </a:cubicBezTo>
                    <a:cubicBezTo>
                      <a:pt x="1712013" y="1008348"/>
                      <a:pt x="1692406" y="1040855"/>
                      <a:pt x="1701178" y="1085229"/>
                    </a:cubicBezTo>
                    <a:cubicBezTo>
                      <a:pt x="1704273" y="1102256"/>
                      <a:pt x="1714077" y="1113092"/>
                      <a:pt x="1728524" y="1121348"/>
                    </a:cubicBezTo>
                    <a:cubicBezTo>
                      <a:pt x="1768771" y="1145083"/>
                      <a:pt x="1809016" y="1168817"/>
                      <a:pt x="1849779" y="1192552"/>
                    </a:cubicBezTo>
                    <a:cubicBezTo>
                      <a:pt x="1879706" y="1210096"/>
                      <a:pt x="1884350" y="1220415"/>
                      <a:pt x="1876094" y="1253954"/>
                    </a:cubicBezTo>
                    <a:cubicBezTo>
                      <a:pt x="1875578" y="1256018"/>
                      <a:pt x="1875578" y="1258082"/>
                      <a:pt x="1875062" y="1260145"/>
                    </a:cubicBezTo>
                    <a:cubicBezTo>
                      <a:pt x="1862678" y="1300908"/>
                      <a:pt x="1848747" y="1321031"/>
                      <a:pt x="1802309" y="1312259"/>
                    </a:cubicBezTo>
                    <a:cubicBezTo>
                      <a:pt x="1760515" y="1304003"/>
                      <a:pt x="1717689" y="1302456"/>
                      <a:pt x="1675379" y="1296264"/>
                    </a:cubicBezTo>
                    <a:cubicBezTo>
                      <a:pt x="1645452" y="1292136"/>
                      <a:pt x="1625845" y="1304003"/>
                      <a:pt x="1611398" y="1329286"/>
                    </a:cubicBezTo>
                    <a:cubicBezTo>
                      <a:pt x="1596434" y="1355085"/>
                      <a:pt x="1589726" y="1379336"/>
                      <a:pt x="1610365" y="1405651"/>
                    </a:cubicBezTo>
                    <a:cubicBezTo>
                      <a:pt x="1638228" y="1441254"/>
                      <a:pt x="1665059" y="1477888"/>
                      <a:pt x="1692406" y="1514006"/>
                    </a:cubicBezTo>
                    <a:cubicBezTo>
                      <a:pt x="1715109" y="1543417"/>
                      <a:pt x="1715109" y="1555285"/>
                      <a:pt x="1692406" y="1584695"/>
                    </a:cubicBezTo>
                    <a:cubicBezTo>
                      <a:pt x="1691374" y="1585727"/>
                      <a:pt x="1690342" y="1587275"/>
                      <a:pt x="1689310" y="1588307"/>
                    </a:cubicBezTo>
                    <a:cubicBezTo>
                      <a:pt x="1659383" y="1620298"/>
                      <a:pt x="1647516" y="1634229"/>
                      <a:pt x="1600562" y="1605850"/>
                    </a:cubicBezTo>
                    <a:cubicBezTo>
                      <a:pt x="1564444" y="1584179"/>
                      <a:pt x="1526261" y="1565604"/>
                      <a:pt x="1490659" y="1543933"/>
                    </a:cubicBezTo>
                    <a:cubicBezTo>
                      <a:pt x="1461248" y="1526390"/>
                      <a:pt x="1438545" y="1536709"/>
                      <a:pt x="1415326" y="1554769"/>
                    </a:cubicBezTo>
                    <a:cubicBezTo>
                      <a:pt x="1392107" y="1572312"/>
                      <a:pt x="1382819" y="1593467"/>
                      <a:pt x="1391075" y="1622877"/>
                    </a:cubicBezTo>
                    <a:cubicBezTo>
                      <a:pt x="1403974" y="1668284"/>
                      <a:pt x="1415326" y="1714205"/>
                      <a:pt x="1426677" y="1760128"/>
                    </a:cubicBezTo>
                    <a:cubicBezTo>
                      <a:pt x="1432870" y="1784894"/>
                      <a:pt x="1427710" y="1798310"/>
                      <a:pt x="1406554" y="1811725"/>
                    </a:cubicBezTo>
                    <a:cubicBezTo>
                      <a:pt x="1395203" y="1818949"/>
                      <a:pt x="1383335" y="1825657"/>
                      <a:pt x="1370436" y="1830300"/>
                    </a:cubicBezTo>
                    <a:cubicBezTo>
                      <a:pt x="1347733" y="1838556"/>
                      <a:pt x="1331222" y="1834428"/>
                      <a:pt x="1316258" y="1815337"/>
                    </a:cubicBezTo>
                    <a:cubicBezTo>
                      <a:pt x="1287879" y="1779735"/>
                      <a:pt x="1259501" y="1743616"/>
                      <a:pt x="1231122" y="1707498"/>
                    </a:cubicBezTo>
                    <a:cubicBezTo>
                      <a:pt x="1203775" y="1673443"/>
                      <a:pt x="1154242" y="1668800"/>
                      <a:pt x="1121219" y="1698210"/>
                    </a:cubicBezTo>
                    <a:cubicBezTo>
                      <a:pt x="1112447" y="1705950"/>
                      <a:pt x="1108320" y="1715753"/>
                      <a:pt x="1106771" y="1727105"/>
                    </a:cubicBezTo>
                    <a:cubicBezTo>
                      <a:pt x="1100064" y="1774575"/>
                      <a:pt x="1092324" y="1821529"/>
                      <a:pt x="1087165" y="1868999"/>
                    </a:cubicBezTo>
                    <a:cubicBezTo>
                      <a:pt x="1084068" y="1893766"/>
                      <a:pt x="1074265" y="1911309"/>
                      <a:pt x="1050014" y="1919049"/>
                    </a:cubicBezTo>
                    <a:cubicBezTo>
                      <a:pt x="1029375" y="1919049"/>
                      <a:pt x="1008220" y="1919049"/>
                      <a:pt x="987581" y="1919049"/>
                    </a:cubicBezTo>
                    <a:cubicBezTo>
                      <a:pt x="973133" y="1910277"/>
                      <a:pt x="964878" y="1897377"/>
                      <a:pt x="960234" y="1880866"/>
                    </a:cubicBezTo>
                    <a:cubicBezTo>
                      <a:pt x="947851" y="1835460"/>
                      <a:pt x="933919" y="1790054"/>
                      <a:pt x="921535" y="1744132"/>
                    </a:cubicBezTo>
                    <a:cubicBezTo>
                      <a:pt x="914828" y="1719881"/>
                      <a:pt x="899865" y="1706982"/>
                      <a:pt x="875614" y="1703886"/>
                    </a:cubicBezTo>
                    <a:cubicBezTo>
                      <a:pt x="866326" y="1702854"/>
                      <a:pt x="857038" y="1701306"/>
                      <a:pt x="847751" y="1700790"/>
                    </a:cubicBezTo>
                    <a:cubicBezTo>
                      <a:pt x="826080" y="1699242"/>
                      <a:pt x="811117" y="1709046"/>
                      <a:pt x="800281" y="1727105"/>
                    </a:cubicBezTo>
                    <a:cubicBezTo>
                      <a:pt x="796153" y="1733813"/>
                      <a:pt x="792541" y="1740520"/>
                      <a:pt x="788414" y="1747228"/>
                    </a:cubicBezTo>
                    <a:cubicBezTo>
                      <a:pt x="766742" y="1783862"/>
                      <a:pt x="745587" y="1821013"/>
                      <a:pt x="723401" y="1857131"/>
                    </a:cubicBezTo>
                    <a:cubicBezTo>
                      <a:pt x="711533" y="1877254"/>
                      <a:pt x="697085" y="1882414"/>
                      <a:pt x="674383" y="1877254"/>
                    </a:cubicBezTo>
                    <a:cubicBezTo>
                      <a:pt x="660451" y="1874158"/>
                      <a:pt x="647552" y="1869515"/>
                      <a:pt x="634652" y="1863839"/>
                    </a:cubicBezTo>
                    <a:cubicBezTo>
                      <a:pt x="611949" y="1853003"/>
                      <a:pt x="604726" y="1839072"/>
                      <a:pt x="607822" y="1813789"/>
                    </a:cubicBezTo>
                    <a:cubicBezTo>
                      <a:pt x="613497" y="1766835"/>
                      <a:pt x="618141" y="1719881"/>
                      <a:pt x="624848" y="1672927"/>
                    </a:cubicBezTo>
                    <a:cubicBezTo>
                      <a:pt x="629492" y="1639905"/>
                      <a:pt x="611949" y="1621846"/>
                      <a:pt x="586150" y="1607398"/>
                    </a:cubicBezTo>
                    <a:cubicBezTo>
                      <a:pt x="560868" y="1593467"/>
                      <a:pt x="538165" y="1591403"/>
                      <a:pt x="514430" y="1611010"/>
                    </a:cubicBezTo>
                    <a:cubicBezTo>
                      <a:pt x="481407" y="1637325"/>
                      <a:pt x="446836" y="1661576"/>
                      <a:pt x="413814" y="1687375"/>
                    </a:cubicBezTo>
                    <a:cubicBezTo>
                      <a:pt x="380276" y="1713690"/>
                      <a:pt x="365828" y="1719365"/>
                      <a:pt x="324550" y="1682215"/>
                    </a:cubicBezTo>
                    <a:cubicBezTo>
                      <a:pt x="321970" y="1679635"/>
                      <a:pt x="319390" y="1677055"/>
                      <a:pt x="316810" y="1674475"/>
                    </a:cubicBezTo>
                    <a:cubicBezTo>
                      <a:pt x="296687" y="1653836"/>
                      <a:pt x="294623" y="1637841"/>
                      <a:pt x="309071" y="1612558"/>
                    </a:cubicBezTo>
                    <a:cubicBezTo>
                      <a:pt x="331258" y="1572828"/>
                      <a:pt x="353960" y="1532581"/>
                      <a:pt x="376148" y="1492851"/>
                    </a:cubicBezTo>
                    <a:cubicBezTo>
                      <a:pt x="382339" y="1481500"/>
                      <a:pt x="389047" y="1470148"/>
                      <a:pt x="387499" y="1456217"/>
                    </a:cubicBezTo>
                    <a:cubicBezTo>
                      <a:pt x="383887" y="1414423"/>
                      <a:pt x="337449" y="1381400"/>
                      <a:pt x="297203" y="1391720"/>
                    </a:cubicBezTo>
                    <a:cubicBezTo>
                      <a:pt x="250765" y="1403587"/>
                      <a:pt x="204327" y="1415455"/>
                      <a:pt x="158405" y="1427838"/>
                    </a:cubicBezTo>
                    <a:cubicBezTo>
                      <a:pt x="139830" y="1432998"/>
                      <a:pt x="125899" y="1427322"/>
                      <a:pt x="114031" y="1412875"/>
                    </a:cubicBezTo>
                    <a:cubicBezTo>
                      <a:pt x="104228" y="1401007"/>
                      <a:pt x="98036" y="1387592"/>
                      <a:pt x="91844" y="1373660"/>
                    </a:cubicBezTo>
                    <a:cubicBezTo>
                      <a:pt x="81525" y="1349409"/>
                      <a:pt x="86169" y="1331866"/>
                      <a:pt x="106808" y="1315871"/>
                    </a:cubicBezTo>
                    <a:cubicBezTo>
                      <a:pt x="140862" y="1288524"/>
                      <a:pt x="175432" y="1261693"/>
                      <a:pt x="209487" y="1234347"/>
                    </a:cubicBezTo>
                    <a:cubicBezTo>
                      <a:pt x="245605" y="1206484"/>
                      <a:pt x="248701" y="1194616"/>
                      <a:pt x="236834" y="1151274"/>
                    </a:cubicBezTo>
                    <a:cubicBezTo>
                      <a:pt x="228578" y="1122896"/>
                      <a:pt x="211551" y="1107932"/>
                      <a:pt x="181624" y="1104836"/>
                    </a:cubicBezTo>
                    <a:cubicBezTo>
                      <a:pt x="138282" y="1100192"/>
                      <a:pt x="95456" y="1091937"/>
                      <a:pt x="52114" y="1087293"/>
                    </a:cubicBezTo>
                    <a:cubicBezTo>
                      <a:pt x="27347" y="1084713"/>
                      <a:pt x="9804" y="1074910"/>
                      <a:pt x="1032" y="1051175"/>
                    </a:cubicBezTo>
                    <a:cubicBezTo>
                      <a:pt x="0" y="1028988"/>
                      <a:pt x="0" y="1008348"/>
                      <a:pt x="0" y="987194"/>
                    </a:cubicBezTo>
                    <a:close/>
                    <a:moveTo>
                      <a:pt x="1198616" y="960879"/>
                    </a:moveTo>
                    <a:cubicBezTo>
                      <a:pt x="1200163" y="838592"/>
                      <a:pt x="1104192" y="720433"/>
                      <a:pt x="958686" y="720949"/>
                    </a:cubicBezTo>
                    <a:cubicBezTo>
                      <a:pt x="824016" y="721465"/>
                      <a:pt x="720821" y="824145"/>
                      <a:pt x="720304" y="959331"/>
                    </a:cubicBezTo>
                    <a:cubicBezTo>
                      <a:pt x="719788" y="1096581"/>
                      <a:pt x="827628" y="1197712"/>
                      <a:pt x="957654" y="1198744"/>
                    </a:cubicBezTo>
                    <a:cubicBezTo>
                      <a:pt x="1090776" y="1199776"/>
                      <a:pt x="1198100" y="1092969"/>
                      <a:pt x="1198616" y="960879"/>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41" name="Google Shape;141;p15"/>
              <p:cNvGrpSpPr/>
              <p:nvPr/>
            </p:nvGrpSpPr>
            <p:grpSpPr>
              <a:xfrm>
                <a:off x="7392963" y="2648852"/>
                <a:ext cx="1838947" cy="1835405"/>
                <a:chOff x="7167947" y="1624190"/>
                <a:chExt cx="2677922" cy="2672763"/>
              </a:xfrm>
            </p:grpSpPr>
            <p:sp>
              <p:nvSpPr>
                <p:cNvPr id="142" name="Google Shape;142;p15"/>
                <p:cNvSpPr/>
                <p:nvPr/>
              </p:nvSpPr>
              <p:spPr>
                <a:xfrm>
                  <a:off x="7167947" y="1624190"/>
                  <a:ext cx="2677922" cy="2672763"/>
                </a:xfrm>
                <a:custGeom>
                  <a:avLst/>
                  <a:gdLst/>
                  <a:ahLst/>
                  <a:cxnLst/>
                  <a:rect l="l" t="t" r="r" b="b"/>
                  <a:pathLst>
                    <a:path w="2677922" h="2672762" extrusionOk="0">
                      <a:moveTo>
                        <a:pt x="2538684" y="1897505"/>
                      </a:moveTo>
                      <a:cubicBezTo>
                        <a:pt x="2511337" y="1891313"/>
                        <a:pt x="2483990" y="1885121"/>
                        <a:pt x="2456643" y="1879446"/>
                      </a:cubicBezTo>
                      <a:cubicBezTo>
                        <a:pt x="2434456" y="1874286"/>
                        <a:pt x="2411753" y="1869642"/>
                        <a:pt x="2389566" y="1863966"/>
                      </a:cubicBezTo>
                      <a:cubicBezTo>
                        <a:pt x="2375119" y="1860354"/>
                        <a:pt x="2363767" y="1864482"/>
                        <a:pt x="2354479" y="1874802"/>
                      </a:cubicBezTo>
                      <a:cubicBezTo>
                        <a:pt x="2335389" y="1896989"/>
                        <a:pt x="2320425" y="1922272"/>
                        <a:pt x="2312170" y="1950651"/>
                      </a:cubicBezTo>
                      <a:cubicBezTo>
                        <a:pt x="2308042" y="1964066"/>
                        <a:pt x="2314234" y="1973869"/>
                        <a:pt x="2322489" y="1983157"/>
                      </a:cubicBezTo>
                      <a:cubicBezTo>
                        <a:pt x="2352416" y="2015664"/>
                        <a:pt x="2382858" y="2048170"/>
                        <a:pt x="2412785" y="2080161"/>
                      </a:cubicBezTo>
                      <a:cubicBezTo>
                        <a:pt x="2435488" y="2104412"/>
                        <a:pt x="2436520" y="2118859"/>
                        <a:pt x="2418461" y="2146722"/>
                      </a:cubicBezTo>
                      <a:cubicBezTo>
                        <a:pt x="2417429" y="2148270"/>
                        <a:pt x="2416397" y="2150334"/>
                        <a:pt x="2414849" y="2151882"/>
                      </a:cubicBezTo>
                      <a:cubicBezTo>
                        <a:pt x="2380795" y="2197804"/>
                        <a:pt x="2365831" y="2198320"/>
                        <a:pt x="2324037" y="2174585"/>
                      </a:cubicBezTo>
                      <a:cubicBezTo>
                        <a:pt x="2289982" y="2154978"/>
                        <a:pt x="2253864" y="2137434"/>
                        <a:pt x="2219294" y="2118859"/>
                      </a:cubicBezTo>
                      <a:cubicBezTo>
                        <a:pt x="2204846" y="2111120"/>
                        <a:pt x="2191431" y="2111120"/>
                        <a:pt x="2178531" y="2120407"/>
                      </a:cubicBezTo>
                      <a:cubicBezTo>
                        <a:pt x="2157892" y="2134855"/>
                        <a:pt x="2140349" y="2152398"/>
                        <a:pt x="2125386" y="2172521"/>
                      </a:cubicBezTo>
                      <a:cubicBezTo>
                        <a:pt x="2114550" y="2186968"/>
                        <a:pt x="2114034" y="2201416"/>
                        <a:pt x="2122806" y="2217411"/>
                      </a:cubicBezTo>
                      <a:cubicBezTo>
                        <a:pt x="2143961" y="2256109"/>
                        <a:pt x="2164600" y="2295323"/>
                        <a:pt x="2184723" y="2334538"/>
                      </a:cubicBezTo>
                      <a:cubicBezTo>
                        <a:pt x="2198655" y="2361885"/>
                        <a:pt x="2196591" y="2374268"/>
                        <a:pt x="2174404" y="2395423"/>
                      </a:cubicBezTo>
                      <a:cubicBezTo>
                        <a:pt x="2170792" y="2398519"/>
                        <a:pt x="2167696" y="2402131"/>
                        <a:pt x="2164084" y="2404711"/>
                      </a:cubicBezTo>
                      <a:cubicBezTo>
                        <a:pt x="2131062" y="2428962"/>
                        <a:pt x="2114034" y="2440829"/>
                        <a:pt x="2075336" y="2401615"/>
                      </a:cubicBezTo>
                      <a:cubicBezTo>
                        <a:pt x="2047473" y="2373236"/>
                        <a:pt x="2017547" y="2347953"/>
                        <a:pt x="1988652" y="2320606"/>
                      </a:cubicBezTo>
                      <a:cubicBezTo>
                        <a:pt x="1975236" y="2307707"/>
                        <a:pt x="1960789" y="2305127"/>
                        <a:pt x="1944277" y="2311835"/>
                      </a:cubicBezTo>
                      <a:cubicBezTo>
                        <a:pt x="1922607" y="2320606"/>
                        <a:pt x="1901968" y="2331958"/>
                        <a:pt x="1883392" y="2346405"/>
                      </a:cubicBezTo>
                      <a:cubicBezTo>
                        <a:pt x="1867913" y="2358273"/>
                        <a:pt x="1863785" y="2373236"/>
                        <a:pt x="1868429" y="2391811"/>
                      </a:cubicBezTo>
                      <a:cubicBezTo>
                        <a:pt x="1879264" y="2436701"/>
                        <a:pt x="1889584" y="2482107"/>
                        <a:pt x="1899388" y="2526997"/>
                      </a:cubicBezTo>
                      <a:cubicBezTo>
                        <a:pt x="1903516" y="2546604"/>
                        <a:pt x="1896808" y="2561568"/>
                        <a:pt x="1879264" y="2571887"/>
                      </a:cubicBezTo>
                      <a:cubicBezTo>
                        <a:pt x="1867397" y="2579111"/>
                        <a:pt x="1854498" y="2584787"/>
                        <a:pt x="1841082" y="2588915"/>
                      </a:cubicBezTo>
                      <a:cubicBezTo>
                        <a:pt x="1813736" y="2597686"/>
                        <a:pt x="1798256" y="2592526"/>
                        <a:pt x="1782777" y="2568276"/>
                      </a:cubicBezTo>
                      <a:cubicBezTo>
                        <a:pt x="1760074" y="2532157"/>
                        <a:pt x="1736855" y="2496555"/>
                        <a:pt x="1715184" y="2459404"/>
                      </a:cubicBezTo>
                      <a:cubicBezTo>
                        <a:pt x="1703316" y="2439281"/>
                        <a:pt x="1687837" y="2431542"/>
                        <a:pt x="1664618" y="2435669"/>
                      </a:cubicBezTo>
                      <a:cubicBezTo>
                        <a:pt x="1646043" y="2439281"/>
                        <a:pt x="1627984" y="2443925"/>
                        <a:pt x="1610440" y="2450117"/>
                      </a:cubicBezTo>
                      <a:cubicBezTo>
                        <a:pt x="1586190" y="2458888"/>
                        <a:pt x="1578450" y="2469208"/>
                        <a:pt x="1577418" y="2495007"/>
                      </a:cubicBezTo>
                      <a:cubicBezTo>
                        <a:pt x="1575870" y="2535769"/>
                        <a:pt x="1574838" y="2576015"/>
                        <a:pt x="1573806" y="2616777"/>
                      </a:cubicBezTo>
                      <a:cubicBezTo>
                        <a:pt x="1572774" y="2653928"/>
                        <a:pt x="1563487" y="2665795"/>
                        <a:pt x="1526852" y="2672503"/>
                      </a:cubicBezTo>
                      <a:cubicBezTo>
                        <a:pt x="1517049" y="2674567"/>
                        <a:pt x="1507245" y="2675599"/>
                        <a:pt x="1497441" y="2676115"/>
                      </a:cubicBezTo>
                      <a:cubicBezTo>
                        <a:pt x="1473191" y="2677663"/>
                        <a:pt x="1457711" y="2667859"/>
                        <a:pt x="1449972" y="2644124"/>
                      </a:cubicBezTo>
                      <a:cubicBezTo>
                        <a:pt x="1436040" y="2600782"/>
                        <a:pt x="1422624" y="2557956"/>
                        <a:pt x="1410241" y="2514614"/>
                      </a:cubicBezTo>
                      <a:cubicBezTo>
                        <a:pt x="1404565" y="2495007"/>
                        <a:pt x="1392698" y="2485719"/>
                        <a:pt x="1373091" y="2482623"/>
                      </a:cubicBezTo>
                      <a:cubicBezTo>
                        <a:pt x="1350388" y="2479527"/>
                        <a:pt x="1327685" y="2479527"/>
                        <a:pt x="1304982" y="2483139"/>
                      </a:cubicBezTo>
                      <a:cubicBezTo>
                        <a:pt x="1287955" y="2485719"/>
                        <a:pt x="1277119" y="2494491"/>
                        <a:pt x="1271959" y="2511518"/>
                      </a:cubicBezTo>
                      <a:cubicBezTo>
                        <a:pt x="1260092" y="2552280"/>
                        <a:pt x="1247192" y="2593042"/>
                        <a:pt x="1234293" y="2633805"/>
                      </a:cubicBezTo>
                      <a:cubicBezTo>
                        <a:pt x="1222941" y="2670439"/>
                        <a:pt x="1208494" y="2679727"/>
                        <a:pt x="1170828" y="2674567"/>
                      </a:cubicBezTo>
                      <a:cubicBezTo>
                        <a:pt x="1114070" y="2666827"/>
                        <a:pt x="1107362" y="2659087"/>
                        <a:pt x="1106847" y="2602330"/>
                      </a:cubicBezTo>
                      <a:cubicBezTo>
                        <a:pt x="1106331" y="2565180"/>
                        <a:pt x="1104783" y="2528545"/>
                        <a:pt x="1103751" y="2491395"/>
                      </a:cubicBezTo>
                      <a:cubicBezTo>
                        <a:pt x="1103234" y="2474368"/>
                        <a:pt x="1096527" y="2460952"/>
                        <a:pt x="1080532" y="2454244"/>
                      </a:cubicBezTo>
                      <a:cubicBezTo>
                        <a:pt x="1056281" y="2443925"/>
                        <a:pt x="1031514" y="2436701"/>
                        <a:pt x="1005199" y="2435153"/>
                      </a:cubicBezTo>
                      <a:cubicBezTo>
                        <a:pt x="989203" y="2434121"/>
                        <a:pt x="977852" y="2440313"/>
                        <a:pt x="969080" y="2454244"/>
                      </a:cubicBezTo>
                      <a:cubicBezTo>
                        <a:pt x="946894" y="2491395"/>
                        <a:pt x="923159" y="2527513"/>
                        <a:pt x="900456" y="2564148"/>
                      </a:cubicBezTo>
                      <a:cubicBezTo>
                        <a:pt x="882396" y="2593042"/>
                        <a:pt x="868465" y="2598202"/>
                        <a:pt x="836474" y="2587367"/>
                      </a:cubicBezTo>
                      <a:cubicBezTo>
                        <a:pt x="834926" y="2586851"/>
                        <a:pt x="833379" y="2586335"/>
                        <a:pt x="831830" y="2585819"/>
                      </a:cubicBezTo>
                      <a:cubicBezTo>
                        <a:pt x="782297" y="2565696"/>
                        <a:pt x="772493" y="2554344"/>
                        <a:pt x="785392" y="2504810"/>
                      </a:cubicBezTo>
                      <a:cubicBezTo>
                        <a:pt x="795196" y="2467144"/>
                        <a:pt x="802420" y="2428962"/>
                        <a:pt x="811707" y="2390779"/>
                      </a:cubicBezTo>
                      <a:cubicBezTo>
                        <a:pt x="816351" y="2371172"/>
                        <a:pt x="811191" y="2356209"/>
                        <a:pt x="794680" y="2344341"/>
                      </a:cubicBezTo>
                      <a:cubicBezTo>
                        <a:pt x="777137" y="2331958"/>
                        <a:pt x="759078" y="2321122"/>
                        <a:pt x="739470" y="2312351"/>
                      </a:cubicBezTo>
                      <a:cubicBezTo>
                        <a:pt x="720895" y="2304095"/>
                        <a:pt x="704900" y="2307191"/>
                        <a:pt x="689421" y="2321638"/>
                      </a:cubicBezTo>
                      <a:cubicBezTo>
                        <a:pt x="658462" y="2351049"/>
                        <a:pt x="626988" y="2379944"/>
                        <a:pt x="596029" y="2408838"/>
                      </a:cubicBezTo>
                      <a:cubicBezTo>
                        <a:pt x="572810" y="2431026"/>
                        <a:pt x="557847" y="2432057"/>
                        <a:pt x="530500" y="2415030"/>
                      </a:cubicBezTo>
                      <a:cubicBezTo>
                        <a:pt x="527404" y="2412966"/>
                        <a:pt x="524308" y="2410902"/>
                        <a:pt x="521212" y="2408838"/>
                      </a:cubicBezTo>
                      <a:cubicBezTo>
                        <a:pt x="481482" y="2380460"/>
                        <a:pt x="477870" y="2365496"/>
                        <a:pt x="500573" y="2322670"/>
                      </a:cubicBezTo>
                      <a:cubicBezTo>
                        <a:pt x="519148" y="2287584"/>
                        <a:pt x="537207" y="2252497"/>
                        <a:pt x="556298" y="2217927"/>
                      </a:cubicBezTo>
                      <a:cubicBezTo>
                        <a:pt x="566102" y="2199868"/>
                        <a:pt x="564555" y="2184388"/>
                        <a:pt x="552171" y="2168909"/>
                      </a:cubicBezTo>
                      <a:cubicBezTo>
                        <a:pt x="538756" y="2151882"/>
                        <a:pt x="523276" y="2136402"/>
                        <a:pt x="505733" y="2122987"/>
                      </a:cubicBezTo>
                      <a:cubicBezTo>
                        <a:pt x="490254" y="2111120"/>
                        <a:pt x="474774" y="2110088"/>
                        <a:pt x="457747" y="2119375"/>
                      </a:cubicBezTo>
                      <a:cubicBezTo>
                        <a:pt x="419564" y="2140014"/>
                        <a:pt x="380866" y="2160653"/>
                        <a:pt x="341652" y="2180777"/>
                      </a:cubicBezTo>
                      <a:cubicBezTo>
                        <a:pt x="314305" y="2195224"/>
                        <a:pt x="298310" y="2191612"/>
                        <a:pt x="278187" y="2168909"/>
                      </a:cubicBezTo>
                      <a:cubicBezTo>
                        <a:pt x="276639" y="2167361"/>
                        <a:pt x="275607" y="2165813"/>
                        <a:pt x="274059" y="2164265"/>
                      </a:cubicBezTo>
                      <a:cubicBezTo>
                        <a:pt x="238456" y="2122987"/>
                        <a:pt x="238972" y="2108540"/>
                        <a:pt x="276639" y="2069325"/>
                      </a:cubicBezTo>
                      <a:cubicBezTo>
                        <a:pt x="302954" y="2041463"/>
                        <a:pt x="327721" y="2013084"/>
                        <a:pt x="354551" y="1986253"/>
                      </a:cubicBezTo>
                      <a:cubicBezTo>
                        <a:pt x="367967" y="1972322"/>
                        <a:pt x="370547" y="1957874"/>
                        <a:pt x="363839" y="1940847"/>
                      </a:cubicBezTo>
                      <a:cubicBezTo>
                        <a:pt x="355067" y="1918660"/>
                        <a:pt x="342684" y="1898021"/>
                        <a:pt x="328237" y="1878930"/>
                      </a:cubicBezTo>
                      <a:cubicBezTo>
                        <a:pt x="316369" y="1863450"/>
                        <a:pt x="300374" y="1861902"/>
                        <a:pt x="283347" y="1866030"/>
                      </a:cubicBezTo>
                      <a:cubicBezTo>
                        <a:pt x="245680" y="1874802"/>
                        <a:pt x="208530" y="1883573"/>
                        <a:pt x="170864" y="1891829"/>
                      </a:cubicBezTo>
                      <a:cubicBezTo>
                        <a:pt x="165704" y="1892861"/>
                        <a:pt x="160544" y="1894409"/>
                        <a:pt x="155900" y="1895441"/>
                      </a:cubicBezTo>
                      <a:cubicBezTo>
                        <a:pt x="127521" y="1900601"/>
                        <a:pt x="113074" y="1893893"/>
                        <a:pt x="100175" y="1868094"/>
                      </a:cubicBezTo>
                      <a:cubicBezTo>
                        <a:pt x="95531" y="1858291"/>
                        <a:pt x="90887" y="1848487"/>
                        <a:pt x="87275" y="1838168"/>
                      </a:cubicBezTo>
                      <a:cubicBezTo>
                        <a:pt x="77988" y="1810821"/>
                        <a:pt x="83147" y="1795341"/>
                        <a:pt x="107915" y="1779862"/>
                      </a:cubicBezTo>
                      <a:cubicBezTo>
                        <a:pt x="143001" y="1757675"/>
                        <a:pt x="178603" y="1735488"/>
                        <a:pt x="213690" y="1713817"/>
                      </a:cubicBezTo>
                      <a:cubicBezTo>
                        <a:pt x="241552" y="1696274"/>
                        <a:pt x="245680" y="1686470"/>
                        <a:pt x="238972" y="1654480"/>
                      </a:cubicBezTo>
                      <a:cubicBezTo>
                        <a:pt x="234845" y="1636420"/>
                        <a:pt x="230201" y="1617845"/>
                        <a:pt x="222977" y="1600818"/>
                      </a:cubicBezTo>
                      <a:cubicBezTo>
                        <a:pt x="215753" y="1583791"/>
                        <a:pt x="203370" y="1575535"/>
                        <a:pt x="184279" y="1575019"/>
                      </a:cubicBezTo>
                      <a:cubicBezTo>
                        <a:pt x="142485" y="1574503"/>
                        <a:pt x="101207" y="1572955"/>
                        <a:pt x="59413" y="1571407"/>
                      </a:cubicBezTo>
                      <a:cubicBezTo>
                        <a:pt x="21746" y="1570375"/>
                        <a:pt x="10395" y="1560572"/>
                        <a:pt x="3687" y="1524453"/>
                      </a:cubicBezTo>
                      <a:cubicBezTo>
                        <a:pt x="3171" y="1520841"/>
                        <a:pt x="2139" y="1517230"/>
                        <a:pt x="1623" y="1513618"/>
                      </a:cubicBezTo>
                      <a:cubicBezTo>
                        <a:pt x="-4053" y="1467696"/>
                        <a:pt x="3687" y="1455828"/>
                        <a:pt x="48577" y="1442413"/>
                      </a:cubicBezTo>
                      <a:cubicBezTo>
                        <a:pt x="85727" y="1431061"/>
                        <a:pt x="122877" y="1418678"/>
                        <a:pt x="160544" y="1408358"/>
                      </a:cubicBezTo>
                      <a:cubicBezTo>
                        <a:pt x="181183" y="1402683"/>
                        <a:pt x="192018" y="1390815"/>
                        <a:pt x="194083" y="1370692"/>
                      </a:cubicBezTo>
                      <a:cubicBezTo>
                        <a:pt x="196147" y="1346957"/>
                        <a:pt x="197178" y="1322706"/>
                        <a:pt x="192534" y="1298971"/>
                      </a:cubicBezTo>
                      <a:cubicBezTo>
                        <a:pt x="189954" y="1283492"/>
                        <a:pt x="181183" y="1274204"/>
                        <a:pt x="166220" y="1269560"/>
                      </a:cubicBezTo>
                      <a:cubicBezTo>
                        <a:pt x="126490" y="1257693"/>
                        <a:pt x="86759" y="1245310"/>
                        <a:pt x="47029" y="1232926"/>
                      </a:cubicBezTo>
                      <a:cubicBezTo>
                        <a:pt x="3687" y="1219511"/>
                        <a:pt x="-957" y="1212287"/>
                        <a:pt x="1623" y="1166881"/>
                      </a:cubicBezTo>
                      <a:cubicBezTo>
                        <a:pt x="2139" y="1157593"/>
                        <a:pt x="4203" y="1148306"/>
                        <a:pt x="6267" y="1139534"/>
                      </a:cubicBezTo>
                      <a:cubicBezTo>
                        <a:pt x="12459" y="1116831"/>
                        <a:pt x="25358" y="1106512"/>
                        <a:pt x="49093" y="1105480"/>
                      </a:cubicBezTo>
                      <a:cubicBezTo>
                        <a:pt x="87791" y="1103932"/>
                        <a:pt x="125974" y="1102900"/>
                        <a:pt x="164672" y="1101868"/>
                      </a:cubicBezTo>
                      <a:cubicBezTo>
                        <a:pt x="170348" y="1101868"/>
                        <a:pt x="176023" y="1101352"/>
                        <a:pt x="181699" y="1101352"/>
                      </a:cubicBezTo>
                      <a:cubicBezTo>
                        <a:pt x="207498" y="1102384"/>
                        <a:pt x="220913" y="1087936"/>
                        <a:pt x="227621" y="1065233"/>
                      </a:cubicBezTo>
                      <a:cubicBezTo>
                        <a:pt x="232781" y="1048206"/>
                        <a:pt x="237425" y="1031179"/>
                        <a:pt x="241036" y="1014152"/>
                      </a:cubicBezTo>
                      <a:cubicBezTo>
                        <a:pt x="245680" y="990417"/>
                        <a:pt x="240005" y="979065"/>
                        <a:pt x="219366" y="965650"/>
                      </a:cubicBezTo>
                      <a:cubicBezTo>
                        <a:pt x="184279" y="943463"/>
                        <a:pt x="148676" y="921276"/>
                        <a:pt x="113590" y="899605"/>
                      </a:cubicBezTo>
                      <a:cubicBezTo>
                        <a:pt x="82116" y="879997"/>
                        <a:pt x="77472" y="867614"/>
                        <a:pt x="89855" y="832012"/>
                      </a:cubicBezTo>
                      <a:cubicBezTo>
                        <a:pt x="93467" y="820660"/>
                        <a:pt x="98111" y="809309"/>
                        <a:pt x="104818" y="799505"/>
                      </a:cubicBezTo>
                      <a:cubicBezTo>
                        <a:pt x="115654" y="782994"/>
                        <a:pt x="130617" y="774738"/>
                        <a:pt x="151256" y="779898"/>
                      </a:cubicBezTo>
                      <a:cubicBezTo>
                        <a:pt x="195114" y="790217"/>
                        <a:pt x="239489" y="799505"/>
                        <a:pt x="283347" y="810341"/>
                      </a:cubicBezTo>
                      <a:cubicBezTo>
                        <a:pt x="303469" y="815500"/>
                        <a:pt x="318949" y="810857"/>
                        <a:pt x="331332" y="794345"/>
                      </a:cubicBezTo>
                      <a:cubicBezTo>
                        <a:pt x="344232" y="776802"/>
                        <a:pt x="355584" y="757711"/>
                        <a:pt x="363839" y="737588"/>
                      </a:cubicBezTo>
                      <a:cubicBezTo>
                        <a:pt x="371063" y="719529"/>
                        <a:pt x="368999" y="704049"/>
                        <a:pt x="354551" y="689086"/>
                      </a:cubicBezTo>
                      <a:cubicBezTo>
                        <a:pt x="324625" y="658643"/>
                        <a:pt x="296246" y="627169"/>
                        <a:pt x="266835" y="595694"/>
                      </a:cubicBezTo>
                      <a:cubicBezTo>
                        <a:pt x="244132" y="570927"/>
                        <a:pt x="243100" y="556996"/>
                        <a:pt x="261675" y="529133"/>
                      </a:cubicBezTo>
                      <a:cubicBezTo>
                        <a:pt x="264771" y="525005"/>
                        <a:pt x="267351" y="520361"/>
                        <a:pt x="270447" y="516233"/>
                      </a:cubicBezTo>
                      <a:cubicBezTo>
                        <a:pt x="296762" y="481663"/>
                        <a:pt x="311209" y="478567"/>
                        <a:pt x="349907" y="498690"/>
                      </a:cubicBezTo>
                      <a:cubicBezTo>
                        <a:pt x="386026" y="517781"/>
                        <a:pt x="422144" y="536357"/>
                        <a:pt x="457231" y="555964"/>
                      </a:cubicBezTo>
                      <a:cubicBezTo>
                        <a:pt x="475806" y="566283"/>
                        <a:pt x="492318" y="564219"/>
                        <a:pt x="507797" y="551320"/>
                      </a:cubicBezTo>
                      <a:cubicBezTo>
                        <a:pt x="523276" y="538421"/>
                        <a:pt x="537723" y="523973"/>
                        <a:pt x="551139" y="508494"/>
                      </a:cubicBezTo>
                      <a:cubicBezTo>
                        <a:pt x="564555" y="492499"/>
                        <a:pt x="567650" y="476503"/>
                        <a:pt x="556815" y="456896"/>
                      </a:cubicBezTo>
                      <a:cubicBezTo>
                        <a:pt x="535143" y="418198"/>
                        <a:pt x="515020" y="378983"/>
                        <a:pt x="494381" y="339769"/>
                      </a:cubicBezTo>
                      <a:cubicBezTo>
                        <a:pt x="480966" y="313970"/>
                        <a:pt x="484062" y="300039"/>
                        <a:pt x="505217" y="280432"/>
                      </a:cubicBezTo>
                      <a:cubicBezTo>
                        <a:pt x="515020" y="271144"/>
                        <a:pt x="525856" y="263405"/>
                        <a:pt x="537723" y="256181"/>
                      </a:cubicBezTo>
                      <a:cubicBezTo>
                        <a:pt x="558362" y="244313"/>
                        <a:pt x="572810" y="245861"/>
                        <a:pt x="590353" y="261857"/>
                      </a:cubicBezTo>
                      <a:cubicBezTo>
                        <a:pt x="620280" y="289203"/>
                        <a:pt x="650207" y="317066"/>
                        <a:pt x="679617" y="344929"/>
                      </a:cubicBezTo>
                      <a:cubicBezTo>
                        <a:pt x="710576" y="374340"/>
                        <a:pt x="717284" y="375372"/>
                        <a:pt x="754950" y="355765"/>
                      </a:cubicBezTo>
                      <a:cubicBezTo>
                        <a:pt x="769913" y="348025"/>
                        <a:pt x="783845" y="339769"/>
                        <a:pt x="797260" y="329450"/>
                      </a:cubicBezTo>
                      <a:cubicBezTo>
                        <a:pt x="811707" y="317582"/>
                        <a:pt x="816351" y="303651"/>
                        <a:pt x="811707" y="285076"/>
                      </a:cubicBezTo>
                      <a:cubicBezTo>
                        <a:pt x="800872" y="242249"/>
                        <a:pt x="791585" y="198907"/>
                        <a:pt x="781781" y="156081"/>
                      </a:cubicBezTo>
                      <a:cubicBezTo>
                        <a:pt x="775589" y="128218"/>
                        <a:pt x="782297" y="114287"/>
                        <a:pt x="807064" y="100872"/>
                      </a:cubicBezTo>
                      <a:cubicBezTo>
                        <a:pt x="818415" y="95196"/>
                        <a:pt x="829766" y="90552"/>
                        <a:pt x="841634" y="86424"/>
                      </a:cubicBezTo>
                      <a:cubicBezTo>
                        <a:pt x="866917" y="78685"/>
                        <a:pt x="881364" y="83328"/>
                        <a:pt x="896328" y="106031"/>
                      </a:cubicBezTo>
                      <a:cubicBezTo>
                        <a:pt x="920062" y="142666"/>
                        <a:pt x="943798" y="179300"/>
                        <a:pt x="965469" y="217483"/>
                      </a:cubicBezTo>
                      <a:cubicBezTo>
                        <a:pt x="976820" y="237090"/>
                        <a:pt x="992299" y="243797"/>
                        <a:pt x="1013455" y="240702"/>
                      </a:cubicBezTo>
                      <a:cubicBezTo>
                        <a:pt x="1035641" y="237090"/>
                        <a:pt x="1057313" y="231414"/>
                        <a:pt x="1077952" y="222642"/>
                      </a:cubicBezTo>
                      <a:cubicBezTo>
                        <a:pt x="1092915" y="215935"/>
                        <a:pt x="1101171" y="205615"/>
                        <a:pt x="1101687" y="188072"/>
                      </a:cubicBezTo>
                      <a:cubicBezTo>
                        <a:pt x="1102719" y="143182"/>
                        <a:pt x="1105298" y="98808"/>
                        <a:pt x="1106847" y="53918"/>
                      </a:cubicBezTo>
                      <a:cubicBezTo>
                        <a:pt x="1107878" y="25023"/>
                        <a:pt x="1117166" y="12640"/>
                        <a:pt x="1145029" y="4900"/>
                      </a:cubicBezTo>
                      <a:cubicBezTo>
                        <a:pt x="1149672" y="3868"/>
                        <a:pt x="1154316" y="2320"/>
                        <a:pt x="1158960" y="1804"/>
                      </a:cubicBezTo>
                      <a:cubicBezTo>
                        <a:pt x="1210042" y="-3872"/>
                        <a:pt x="1222426" y="1804"/>
                        <a:pt x="1235841" y="48758"/>
                      </a:cubicBezTo>
                      <a:cubicBezTo>
                        <a:pt x="1246676" y="86940"/>
                        <a:pt x="1259576" y="124091"/>
                        <a:pt x="1269895" y="162273"/>
                      </a:cubicBezTo>
                      <a:cubicBezTo>
                        <a:pt x="1275055" y="180332"/>
                        <a:pt x="1285890" y="190136"/>
                        <a:pt x="1303434" y="192716"/>
                      </a:cubicBezTo>
                      <a:cubicBezTo>
                        <a:pt x="1327685" y="195812"/>
                        <a:pt x="1352452" y="195812"/>
                        <a:pt x="1376702" y="192716"/>
                      </a:cubicBezTo>
                      <a:cubicBezTo>
                        <a:pt x="1393730" y="190652"/>
                        <a:pt x="1404049" y="180332"/>
                        <a:pt x="1409209" y="163305"/>
                      </a:cubicBezTo>
                      <a:cubicBezTo>
                        <a:pt x="1421593" y="121511"/>
                        <a:pt x="1434492" y="79717"/>
                        <a:pt x="1447392" y="37922"/>
                      </a:cubicBezTo>
                      <a:cubicBezTo>
                        <a:pt x="1457195" y="6964"/>
                        <a:pt x="1466998" y="-260"/>
                        <a:pt x="1499505" y="256"/>
                      </a:cubicBezTo>
                      <a:cubicBezTo>
                        <a:pt x="1504149" y="256"/>
                        <a:pt x="1508793" y="256"/>
                        <a:pt x="1513436" y="772"/>
                      </a:cubicBezTo>
                      <a:cubicBezTo>
                        <a:pt x="1559358" y="5416"/>
                        <a:pt x="1572258" y="19347"/>
                        <a:pt x="1573290" y="65269"/>
                      </a:cubicBezTo>
                      <a:cubicBezTo>
                        <a:pt x="1574322" y="105515"/>
                        <a:pt x="1575870" y="145246"/>
                        <a:pt x="1576902" y="185492"/>
                      </a:cubicBezTo>
                      <a:cubicBezTo>
                        <a:pt x="1577418" y="201487"/>
                        <a:pt x="1583093" y="213871"/>
                        <a:pt x="1598057" y="220578"/>
                      </a:cubicBezTo>
                      <a:cubicBezTo>
                        <a:pt x="1622308" y="231414"/>
                        <a:pt x="1647590" y="238638"/>
                        <a:pt x="1674422" y="240702"/>
                      </a:cubicBezTo>
                      <a:cubicBezTo>
                        <a:pt x="1690933" y="241733"/>
                        <a:pt x="1702285" y="235026"/>
                        <a:pt x="1710540" y="221610"/>
                      </a:cubicBezTo>
                      <a:cubicBezTo>
                        <a:pt x="1733243" y="184976"/>
                        <a:pt x="1756462" y="148342"/>
                        <a:pt x="1779165" y="111707"/>
                      </a:cubicBezTo>
                      <a:cubicBezTo>
                        <a:pt x="1798772" y="80749"/>
                        <a:pt x="1810640" y="76621"/>
                        <a:pt x="1845726" y="88488"/>
                      </a:cubicBezTo>
                      <a:cubicBezTo>
                        <a:pt x="1849854" y="90036"/>
                        <a:pt x="1853466" y="91068"/>
                        <a:pt x="1857594" y="92616"/>
                      </a:cubicBezTo>
                      <a:cubicBezTo>
                        <a:pt x="1898356" y="110159"/>
                        <a:pt x="1905063" y="123059"/>
                        <a:pt x="1895260" y="166401"/>
                      </a:cubicBezTo>
                      <a:cubicBezTo>
                        <a:pt x="1886488" y="205099"/>
                        <a:pt x="1877717" y="243281"/>
                        <a:pt x="1868429" y="281980"/>
                      </a:cubicBezTo>
                      <a:cubicBezTo>
                        <a:pt x="1863269" y="303135"/>
                        <a:pt x="1868429" y="319646"/>
                        <a:pt x="1887004" y="332030"/>
                      </a:cubicBezTo>
                      <a:cubicBezTo>
                        <a:pt x="1906096" y="344929"/>
                        <a:pt x="1925187" y="356796"/>
                        <a:pt x="1946857" y="365052"/>
                      </a:cubicBezTo>
                      <a:cubicBezTo>
                        <a:pt x="1962337" y="370728"/>
                        <a:pt x="1974720" y="367116"/>
                        <a:pt x="1986588" y="355765"/>
                      </a:cubicBezTo>
                      <a:cubicBezTo>
                        <a:pt x="2018062" y="325838"/>
                        <a:pt x="2049537" y="296943"/>
                        <a:pt x="2081528" y="267532"/>
                      </a:cubicBezTo>
                      <a:cubicBezTo>
                        <a:pt x="2107843" y="242765"/>
                        <a:pt x="2122290" y="241733"/>
                        <a:pt x="2151701" y="261857"/>
                      </a:cubicBezTo>
                      <a:cubicBezTo>
                        <a:pt x="2153248" y="262889"/>
                        <a:pt x="2154281" y="263405"/>
                        <a:pt x="2155312" y="264437"/>
                      </a:cubicBezTo>
                      <a:cubicBezTo>
                        <a:pt x="2205363" y="300555"/>
                        <a:pt x="2198139" y="316034"/>
                        <a:pt x="2177500" y="353701"/>
                      </a:cubicBezTo>
                      <a:cubicBezTo>
                        <a:pt x="2158925" y="387755"/>
                        <a:pt x="2141381" y="422842"/>
                        <a:pt x="2122290" y="456896"/>
                      </a:cubicBezTo>
                      <a:cubicBezTo>
                        <a:pt x="2112487" y="474955"/>
                        <a:pt x="2114550" y="490435"/>
                        <a:pt x="2126934" y="505914"/>
                      </a:cubicBezTo>
                      <a:cubicBezTo>
                        <a:pt x="2140865" y="522941"/>
                        <a:pt x="2156345" y="538421"/>
                        <a:pt x="2173372" y="551836"/>
                      </a:cubicBezTo>
                      <a:cubicBezTo>
                        <a:pt x="2187819" y="563187"/>
                        <a:pt x="2202783" y="564735"/>
                        <a:pt x="2219810" y="555964"/>
                      </a:cubicBezTo>
                      <a:cubicBezTo>
                        <a:pt x="2258508" y="534809"/>
                        <a:pt x="2297722" y="514170"/>
                        <a:pt x="2336937" y="494046"/>
                      </a:cubicBezTo>
                      <a:cubicBezTo>
                        <a:pt x="2364799" y="479599"/>
                        <a:pt x="2380795" y="482695"/>
                        <a:pt x="2400917" y="507462"/>
                      </a:cubicBezTo>
                      <a:cubicBezTo>
                        <a:pt x="2408141" y="515717"/>
                        <a:pt x="2414849" y="524489"/>
                        <a:pt x="2420525" y="533777"/>
                      </a:cubicBezTo>
                      <a:cubicBezTo>
                        <a:pt x="2434972" y="556480"/>
                        <a:pt x="2433424" y="571443"/>
                        <a:pt x="2415365" y="591566"/>
                      </a:cubicBezTo>
                      <a:cubicBezTo>
                        <a:pt x="2384406" y="625105"/>
                        <a:pt x="2353448" y="659159"/>
                        <a:pt x="2321973" y="692182"/>
                      </a:cubicBezTo>
                      <a:cubicBezTo>
                        <a:pt x="2310106" y="704565"/>
                        <a:pt x="2307526" y="717981"/>
                        <a:pt x="2313718" y="733460"/>
                      </a:cubicBezTo>
                      <a:cubicBezTo>
                        <a:pt x="2323005" y="755647"/>
                        <a:pt x="2334357" y="776286"/>
                        <a:pt x="2349320" y="795377"/>
                      </a:cubicBezTo>
                      <a:cubicBezTo>
                        <a:pt x="2361187" y="810857"/>
                        <a:pt x="2375635" y="814984"/>
                        <a:pt x="2394726" y="810341"/>
                      </a:cubicBezTo>
                      <a:cubicBezTo>
                        <a:pt x="2438584" y="799505"/>
                        <a:pt x="2482958" y="789701"/>
                        <a:pt x="2526816" y="780414"/>
                      </a:cubicBezTo>
                      <a:cubicBezTo>
                        <a:pt x="2550035" y="775254"/>
                        <a:pt x="2563967" y="781962"/>
                        <a:pt x="2575834" y="803117"/>
                      </a:cubicBezTo>
                      <a:cubicBezTo>
                        <a:pt x="2582026" y="814468"/>
                        <a:pt x="2587186" y="826336"/>
                        <a:pt x="2591313" y="838719"/>
                      </a:cubicBezTo>
                      <a:cubicBezTo>
                        <a:pt x="2600085" y="867098"/>
                        <a:pt x="2595441" y="880514"/>
                        <a:pt x="2570158" y="896509"/>
                      </a:cubicBezTo>
                      <a:cubicBezTo>
                        <a:pt x="2534040" y="919212"/>
                        <a:pt x="2498437" y="942947"/>
                        <a:pt x="2461287" y="964102"/>
                      </a:cubicBezTo>
                      <a:cubicBezTo>
                        <a:pt x="2440132" y="976485"/>
                        <a:pt x="2434456" y="992997"/>
                        <a:pt x="2438068" y="1014668"/>
                      </a:cubicBezTo>
                      <a:cubicBezTo>
                        <a:pt x="2441164" y="1034791"/>
                        <a:pt x="2446840" y="1054398"/>
                        <a:pt x="2454063" y="1073489"/>
                      </a:cubicBezTo>
                      <a:cubicBezTo>
                        <a:pt x="2460771" y="1091032"/>
                        <a:pt x="2472638" y="1100320"/>
                        <a:pt x="2492762" y="1100836"/>
                      </a:cubicBezTo>
                      <a:cubicBezTo>
                        <a:pt x="2538168" y="1101352"/>
                        <a:pt x="2583058" y="1104448"/>
                        <a:pt x="2628464" y="1105996"/>
                      </a:cubicBezTo>
                      <a:cubicBezTo>
                        <a:pt x="2653230" y="1107028"/>
                        <a:pt x="2665614" y="1116831"/>
                        <a:pt x="2672322" y="1140566"/>
                      </a:cubicBezTo>
                      <a:cubicBezTo>
                        <a:pt x="2676449" y="1153982"/>
                        <a:pt x="2677998" y="1167913"/>
                        <a:pt x="2677998" y="1182360"/>
                      </a:cubicBezTo>
                      <a:cubicBezTo>
                        <a:pt x="2677998" y="1210223"/>
                        <a:pt x="2670258" y="1221575"/>
                        <a:pt x="2644459" y="1229830"/>
                      </a:cubicBezTo>
                      <a:cubicBezTo>
                        <a:pt x="2603697" y="1242730"/>
                        <a:pt x="2562934" y="1255113"/>
                        <a:pt x="2522172" y="1267497"/>
                      </a:cubicBezTo>
                      <a:cubicBezTo>
                        <a:pt x="2492762" y="1276268"/>
                        <a:pt x="2485022" y="1285556"/>
                        <a:pt x="2483990" y="1315998"/>
                      </a:cubicBezTo>
                      <a:cubicBezTo>
                        <a:pt x="2483474" y="1337153"/>
                        <a:pt x="2481926" y="1358824"/>
                        <a:pt x="2486570" y="1379980"/>
                      </a:cubicBezTo>
                      <a:cubicBezTo>
                        <a:pt x="2489666" y="1394427"/>
                        <a:pt x="2498437" y="1403199"/>
                        <a:pt x="2512885" y="1407842"/>
                      </a:cubicBezTo>
                      <a:cubicBezTo>
                        <a:pt x="2555711" y="1420742"/>
                        <a:pt x="2598537" y="1433641"/>
                        <a:pt x="2641363" y="1447057"/>
                      </a:cubicBezTo>
                      <a:cubicBezTo>
                        <a:pt x="2671290" y="1456344"/>
                        <a:pt x="2678514" y="1466664"/>
                        <a:pt x="2677998" y="1498138"/>
                      </a:cubicBezTo>
                      <a:cubicBezTo>
                        <a:pt x="2677998" y="1501234"/>
                        <a:pt x="2677998" y="1504330"/>
                        <a:pt x="2677998" y="1507426"/>
                      </a:cubicBezTo>
                      <a:cubicBezTo>
                        <a:pt x="2675934" y="1555928"/>
                        <a:pt x="2660454" y="1571407"/>
                        <a:pt x="2611952" y="1572955"/>
                      </a:cubicBezTo>
                      <a:cubicBezTo>
                        <a:pt x="2571190" y="1573987"/>
                        <a:pt x="2530944" y="1576051"/>
                        <a:pt x="2490182" y="1576567"/>
                      </a:cubicBezTo>
                      <a:cubicBezTo>
                        <a:pt x="2474702" y="1577083"/>
                        <a:pt x="2463867" y="1583791"/>
                        <a:pt x="2457675" y="1596690"/>
                      </a:cubicBezTo>
                      <a:cubicBezTo>
                        <a:pt x="2446324" y="1620941"/>
                        <a:pt x="2439100" y="1646224"/>
                        <a:pt x="2437036" y="1673055"/>
                      </a:cubicBezTo>
                      <a:cubicBezTo>
                        <a:pt x="2435488" y="1690082"/>
                        <a:pt x="2442712" y="1701434"/>
                        <a:pt x="2457159" y="1710205"/>
                      </a:cubicBezTo>
                      <a:cubicBezTo>
                        <a:pt x="2493278" y="1732392"/>
                        <a:pt x="2528880" y="1754579"/>
                        <a:pt x="2564483" y="1777282"/>
                      </a:cubicBezTo>
                      <a:cubicBezTo>
                        <a:pt x="2596989" y="1797405"/>
                        <a:pt x="2601117" y="1809789"/>
                        <a:pt x="2588733" y="1845907"/>
                      </a:cubicBezTo>
                      <a:cubicBezTo>
                        <a:pt x="2584606" y="1858291"/>
                        <a:pt x="2578930" y="1870158"/>
                        <a:pt x="2571706" y="1880994"/>
                      </a:cubicBezTo>
                      <a:cubicBezTo>
                        <a:pt x="2564998" y="1890797"/>
                        <a:pt x="2554163" y="1897505"/>
                        <a:pt x="2538684" y="1897505"/>
                      </a:cubicBezTo>
                      <a:close/>
                      <a:moveTo>
                        <a:pt x="1338521" y="2312867"/>
                      </a:moveTo>
                      <a:cubicBezTo>
                        <a:pt x="1869461" y="2314931"/>
                        <a:pt x="2317329" y="1887701"/>
                        <a:pt x="2316814" y="1335605"/>
                      </a:cubicBezTo>
                      <a:cubicBezTo>
                        <a:pt x="2316298" y="792797"/>
                        <a:pt x="1880813" y="359892"/>
                        <a:pt x="1340068" y="359376"/>
                      </a:cubicBezTo>
                      <a:cubicBezTo>
                        <a:pt x="796228" y="358860"/>
                        <a:pt x="363839" y="794861"/>
                        <a:pt x="361775" y="1331994"/>
                      </a:cubicBezTo>
                      <a:cubicBezTo>
                        <a:pt x="359711" y="1882026"/>
                        <a:pt x="806032" y="2314415"/>
                        <a:pt x="1338521" y="2312867"/>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3" name="Google Shape;143;p15"/>
                <p:cNvSpPr/>
                <p:nvPr/>
              </p:nvSpPr>
              <p:spPr>
                <a:xfrm>
                  <a:off x="7558586" y="2011427"/>
                  <a:ext cx="1898797" cy="1893637"/>
                </a:xfrm>
                <a:custGeom>
                  <a:avLst/>
                  <a:gdLst/>
                  <a:ahLst/>
                  <a:cxnLst/>
                  <a:rect l="l" t="t" r="r" b="b"/>
                  <a:pathLst>
                    <a:path w="1898796" h="1893636" extrusionOk="0">
                      <a:moveTo>
                        <a:pt x="30" y="947852"/>
                      </a:moveTo>
                      <a:cubicBezTo>
                        <a:pt x="-3065" y="428263"/>
                        <a:pt x="426228" y="-1030"/>
                        <a:pt x="950461" y="2"/>
                      </a:cubicBezTo>
                      <a:cubicBezTo>
                        <a:pt x="1472114" y="1034"/>
                        <a:pt x="1899859" y="427747"/>
                        <a:pt x="1898827" y="950948"/>
                      </a:cubicBezTo>
                      <a:cubicBezTo>
                        <a:pt x="1897795" y="1468473"/>
                        <a:pt x="1477790" y="1899315"/>
                        <a:pt x="946849" y="1898283"/>
                      </a:cubicBezTo>
                      <a:cubicBezTo>
                        <a:pt x="411781" y="1896735"/>
                        <a:pt x="-4097" y="1460218"/>
                        <a:pt x="30" y="947852"/>
                      </a:cubicBezTo>
                      <a:close/>
                      <a:moveTo>
                        <a:pt x="1187811" y="949916"/>
                      </a:moveTo>
                      <a:cubicBezTo>
                        <a:pt x="1188327" y="817310"/>
                        <a:pt x="1084099" y="710503"/>
                        <a:pt x="949429" y="710503"/>
                      </a:cubicBezTo>
                      <a:cubicBezTo>
                        <a:pt x="805987" y="710503"/>
                        <a:pt x="710015" y="828146"/>
                        <a:pt x="710532" y="948368"/>
                      </a:cubicBezTo>
                      <a:cubicBezTo>
                        <a:pt x="711048" y="1081490"/>
                        <a:pt x="815791" y="1188298"/>
                        <a:pt x="948397" y="1188298"/>
                      </a:cubicBezTo>
                      <a:cubicBezTo>
                        <a:pt x="1081003" y="1188298"/>
                        <a:pt x="1187294" y="1083038"/>
                        <a:pt x="1187811" y="949916"/>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grpSp>
          <p:nvGrpSpPr>
            <p:cNvPr id="144" name="Google Shape;144;p15"/>
            <p:cNvGrpSpPr/>
            <p:nvPr/>
          </p:nvGrpSpPr>
          <p:grpSpPr>
            <a:xfrm rot="-2944815">
              <a:off x="7923365" y="4809769"/>
              <a:ext cx="1639387" cy="985059"/>
              <a:chOff x="2753518" y="3556278"/>
              <a:chExt cx="2028524" cy="1218879"/>
            </a:xfrm>
          </p:grpSpPr>
          <p:sp>
            <p:nvSpPr>
              <p:cNvPr id="145" name="Google Shape;145;p15"/>
              <p:cNvSpPr/>
              <p:nvPr/>
            </p:nvSpPr>
            <p:spPr>
              <a:xfrm>
                <a:off x="2753518" y="3683131"/>
                <a:ext cx="796648" cy="799367"/>
              </a:xfrm>
              <a:custGeom>
                <a:avLst/>
                <a:gdLst/>
                <a:ahLst/>
                <a:cxnLst/>
                <a:rect l="l" t="t" r="r" b="b"/>
                <a:pathLst>
                  <a:path w="1511813" h="1516973" extrusionOk="0">
                    <a:moveTo>
                      <a:pt x="817500" y="1518710"/>
                    </a:moveTo>
                    <a:cubicBezTo>
                      <a:pt x="809245" y="1520774"/>
                      <a:pt x="805633" y="1516130"/>
                      <a:pt x="802537" y="1507875"/>
                    </a:cubicBezTo>
                    <a:cubicBezTo>
                      <a:pt x="795829" y="1486204"/>
                      <a:pt x="788090" y="1464532"/>
                      <a:pt x="780866" y="1442862"/>
                    </a:cubicBezTo>
                    <a:cubicBezTo>
                      <a:pt x="774674" y="1424286"/>
                      <a:pt x="777770" y="1404679"/>
                      <a:pt x="776738" y="1385072"/>
                    </a:cubicBezTo>
                    <a:cubicBezTo>
                      <a:pt x="776222" y="1369593"/>
                      <a:pt x="775706" y="1370109"/>
                      <a:pt x="760227" y="1369593"/>
                    </a:cubicBezTo>
                    <a:cubicBezTo>
                      <a:pt x="738556" y="1369593"/>
                      <a:pt x="716369" y="1368045"/>
                      <a:pt x="694698" y="1366497"/>
                    </a:cubicBezTo>
                    <a:cubicBezTo>
                      <a:pt x="683346" y="1365465"/>
                      <a:pt x="676638" y="1365981"/>
                      <a:pt x="676638" y="1379912"/>
                    </a:cubicBezTo>
                    <a:cubicBezTo>
                      <a:pt x="676638" y="1424286"/>
                      <a:pt x="655483" y="1462469"/>
                      <a:pt x="637940" y="1501683"/>
                    </a:cubicBezTo>
                    <a:cubicBezTo>
                      <a:pt x="634844" y="1508907"/>
                      <a:pt x="630716" y="1510454"/>
                      <a:pt x="622977" y="1508907"/>
                    </a:cubicBezTo>
                    <a:cubicBezTo>
                      <a:pt x="556416" y="1496523"/>
                      <a:pt x="492434" y="1475368"/>
                      <a:pt x="430517" y="1447505"/>
                    </a:cubicBezTo>
                    <a:cubicBezTo>
                      <a:pt x="423294" y="1443893"/>
                      <a:pt x="420198" y="1440282"/>
                      <a:pt x="422262" y="1431510"/>
                    </a:cubicBezTo>
                    <a:cubicBezTo>
                      <a:pt x="427421" y="1409323"/>
                      <a:pt x="431033" y="1386620"/>
                      <a:pt x="435677" y="1364433"/>
                    </a:cubicBezTo>
                    <a:cubicBezTo>
                      <a:pt x="439805" y="1344310"/>
                      <a:pt x="452704" y="1327798"/>
                      <a:pt x="461992" y="1310255"/>
                    </a:cubicBezTo>
                    <a:cubicBezTo>
                      <a:pt x="467152" y="1300452"/>
                      <a:pt x="466120" y="1295808"/>
                      <a:pt x="456316" y="1290132"/>
                    </a:cubicBezTo>
                    <a:cubicBezTo>
                      <a:pt x="435677" y="1278265"/>
                      <a:pt x="415554" y="1264849"/>
                      <a:pt x="395431" y="1251434"/>
                    </a:cubicBezTo>
                    <a:cubicBezTo>
                      <a:pt x="388207" y="1246274"/>
                      <a:pt x="383563" y="1246274"/>
                      <a:pt x="378919" y="1254014"/>
                    </a:cubicBezTo>
                    <a:cubicBezTo>
                      <a:pt x="356216" y="1293228"/>
                      <a:pt x="319066" y="1317479"/>
                      <a:pt x="283464" y="1342246"/>
                    </a:cubicBezTo>
                    <a:cubicBezTo>
                      <a:pt x="276240" y="1346890"/>
                      <a:pt x="272112" y="1346374"/>
                      <a:pt x="265920" y="1341214"/>
                    </a:cubicBezTo>
                    <a:cubicBezTo>
                      <a:pt x="214323" y="1297356"/>
                      <a:pt x="169433" y="1246790"/>
                      <a:pt x="130218" y="1191580"/>
                    </a:cubicBezTo>
                    <a:cubicBezTo>
                      <a:pt x="125575" y="1185389"/>
                      <a:pt x="125059" y="1180745"/>
                      <a:pt x="130734" y="1174553"/>
                    </a:cubicBezTo>
                    <a:cubicBezTo>
                      <a:pt x="146730" y="1157010"/>
                      <a:pt x="161177" y="1138435"/>
                      <a:pt x="177688" y="1121408"/>
                    </a:cubicBezTo>
                    <a:cubicBezTo>
                      <a:pt x="191104" y="1107476"/>
                      <a:pt x="209163" y="1099221"/>
                      <a:pt x="225674" y="1089417"/>
                    </a:cubicBezTo>
                    <a:cubicBezTo>
                      <a:pt x="236510" y="1083225"/>
                      <a:pt x="237026" y="1078065"/>
                      <a:pt x="230834" y="1067230"/>
                    </a:cubicBezTo>
                    <a:cubicBezTo>
                      <a:pt x="218967" y="1047107"/>
                      <a:pt x="208647" y="1025436"/>
                      <a:pt x="198327" y="1004281"/>
                    </a:cubicBezTo>
                    <a:cubicBezTo>
                      <a:pt x="194716" y="997057"/>
                      <a:pt x="192136" y="993445"/>
                      <a:pt x="183880" y="998089"/>
                    </a:cubicBezTo>
                    <a:cubicBezTo>
                      <a:pt x="147246" y="1017180"/>
                      <a:pt x="108031" y="1024920"/>
                      <a:pt x="67269" y="1025952"/>
                    </a:cubicBezTo>
                    <a:cubicBezTo>
                      <a:pt x="63657" y="1025952"/>
                      <a:pt x="59529" y="1026984"/>
                      <a:pt x="55918" y="1027500"/>
                    </a:cubicBezTo>
                    <a:cubicBezTo>
                      <a:pt x="48694" y="1028532"/>
                      <a:pt x="44050" y="1025952"/>
                      <a:pt x="41470" y="1018212"/>
                    </a:cubicBezTo>
                    <a:cubicBezTo>
                      <a:pt x="21347" y="960939"/>
                      <a:pt x="6384" y="902117"/>
                      <a:pt x="1224" y="841748"/>
                    </a:cubicBezTo>
                    <a:cubicBezTo>
                      <a:pt x="-1872" y="808725"/>
                      <a:pt x="-1356" y="809241"/>
                      <a:pt x="30635" y="797374"/>
                    </a:cubicBezTo>
                    <a:cubicBezTo>
                      <a:pt x="64173" y="784474"/>
                      <a:pt x="98744" y="775703"/>
                      <a:pt x="134862" y="778799"/>
                    </a:cubicBezTo>
                    <a:cubicBezTo>
                      <a:pt x="144150" y="779315"/>
                      <a:pt x="147246" y="775187"/>
                      <a:pt x="147246" y="765899"/>
                    </a:cubicBezTo>
                    <a:cubicBezTo>
                      <a:pt x="147246" y="742680"/>
                      <a:pt x="148278" y="719461"/>
                      <a:pt x="150342" y="696242"/>
                    </a:cubicBezTo>
                    <a:cubicBezTo>
                      <a:pt x="151373" y="685923"/>
                      <a:pt x="150858" y="678699"/>
                      <a:pt x="137442" y="678699"/>
                    </a:cubicBezTo>
                    <a:cubicBezTo>
                      <a:pt x="92552" y="678699"/>
                      <a:pt x="53854" y="657544"/>
                      <a:pt x="14639" y="639485"/>
                    </a:cubicBezTo>
                    <a:cubicBezTo>
                      <a:pt x="7932" y="636389"/>
                      <a:pt x="6384" y="632261"/>
                      <a:pt x="7932" y="625037"/>
                    </a:cubicBezTo>
                    <a:cubicBezTo>
                      <a:pt x="20315" y="558476"/>
                      <a:pt x="40954" y="494495"/>
                      <a:pt x="69333" y="432578"/>
                    </a:cubicBezTo>
                    <a:cubicBezTo>
                      <a:pt x="72945" y="424838"/>
                      <a:pt x="77073" y="421742"/>
                      <a:pt x="86360" y="423806"/>
                    </a:cubicBezTo>
                    <a:cubicBezTo>
                      <a:pt x="107515" y="428450"/>
                      <a:pt x="129186" y="432578"/>
                      <a:pt x="150858" y="436706"/>
                    </a:cubicBezTo>
                    <a:cubicBezTo>
                      <a:pt x="171497" y="440833"/>
                      <a:pt x="188008" y="453733"/>
                      <a:pt x="206583" y="463536"/>
                    </a:cubicBezTo>
                    <a:cubicBezTo>
                      <a:pt x="216903" y="468696"/>
                      <a:pt x="221546" y="467664"/>
                      <a:pt x="227738" y="457345"/>
                    </a:cubicBezTo>
                    <a:cubicBezTo>
                      <a:pt x="239606" y="436706"/>
                      <a:pt x="253021" y="416582"/>
                      <a:pt x="266952" y="396459"/>
                    </a:cubicBezTo>
                    <a:cubicBezTo>
                      <a:pt x="271596" y="389752"/>
                      <a:pt x="271596" y="385108"/>
                      <a:pt x="264373" y="380980"/>
                    </a:cubicBezTo>
                    <a:cubicBezTo>
                      <a:pt x="225158" y="357761"/>
                      <a:pt x="200391" y="320611"/>
                      <a:pt x="175108" y="284492"/>
                    </a:cubicBezTo>
                    <a:cubicBezTo>
                      <a:pt x="170465" y="277785"/>
                      <a:pt x="170981" y="273657"/>
                      <a:pt x="176140" y="267981"/>
                    </a:cubicBezTo>
                    <a:cubicBezTo>
                      <a:pt x="219998" y="216383"/>
                      <a:pt x="270048" y="171493"/>
                      <a:pt x="325258" y="132279"/>
                    </a:cubicBezTo>
                    <a:cubicBezTo>
                      <a:pt x="331966" y="127635"/>
                      <a:pt x="336609" y="126603"/>
                      <a:pt x="343317" y="132795"/>
                    </a:cubicBezTo>
                    <a:cubicBezTo>
                      <a:pt x="360344" y="148274"/>
                      <a:pt x="378404" y="162722"/>
                      <a:pt x="395431" y="178717"/>
                    </a:cubicBezTo>
                    <a:cubicBezTo>
                      <a:pt x="409362" y="191616"/>
                      <a:pt x="416070" y="209160"/>
                      <a:pt x="426389" y="224639"/>
                    </a:cubicBezTo>
                    <a:cubicBezTo>
                      <a:pt x="437741" y="241666"/>
                      <a:pt x="435161" y="240634"/>
                      <a:pt x="451156" y="231347"/>
                    </a:cubicBezTo>
                    <a:cubicBezTo>
                      <a:pt x="470763" y="219995"/>
                      <a:pt x="491403" y="209676"/>
                      <a:pt x="512042" y="200388"/>
                    </a:cubicBezTo>
                    <a:cubicBezTo>
                      <a:pt x="521329" y="196260"/>
                      <a:pt x="522361" y="192132"/>
                      <a:pt x="518233" y="183877"/>
                    </a:cubicBezTo>
                    <a:cubicBezTo>
                      <a:pt x="499142" y="148274"/>
                      <a:pt x="492434" y="109576"/>
                      <a:pt x="491403" y="69846"/>
                    </a:cubicBezTo>
                    <a:cubicBezTo>
                      <a:pt x="491403" y="66234"/>
                      <a:pt x="490371" y="62106"/>
                      <a:pt x="489855" y="58494"/>
                    </a:cubicBezTo>
                    <a:cubicBezTo>
                      <a:pt x="488307" y="50239"/>
                      <a:pt x="491403" y="46111"/>
                      <a:pt x="499658" y="43015"/>
                    </a:cubicBezTo>
                    <a:cubicBezTo>
                      <a:pt x="563123" y="20312"/>
                      <a:pt x="628653" y="6380"/>
                      <a:pt x="695730" y="189"/>
                    </a:cubicBezTo>
                    <a:cubicBezTo>
                      <a:pt x="706049" y="-843"/>
                      <a:pt x="710693" y="2253"/>
                      <a:pt x="713273" y="12056"/>
                    </a:cubicBezTo>
                    <a:cubicBezTo>
                      <a:pt x="715337" y="19796"/>
                      <a:pt x="717917" y="27536"/>
                      <a:pt x="721012" y="35275"/>
                    </a:cubicBezTo>
                    <a:cubicBezTo>
                      <a:pt x="734428" y="67266"/>
                      <a:pt x="741136" y="99772"/>
                      <a:pt x="738556" y="134343"/>
                    </a:cubicBezTo>
                    <a:cubicBezTo>
                      <a:pt x="737524" y="145694"/>
                      <a:pt x="742168" y="148790"/>
                      <a:pt x="753519" y="148790"/>
                    </a:cubicBezTo>
                    <a:cubicBezTo>
                      <a:pt x="775706" y="148274"/>
                      <a:pt x="797893" y="149822"/>
                      <a:pt x="820596" y="151886"/>
                    </a:cubicBezTo>
                    <a:cubicBezTo>
                      <a:pt x="831948" y="152918"/>
                      <a:pt x="838655" y="152402"/>
                      <a:pt x="838655" y="138471"/>
                    </a:cubicBezTo>
                    <a:cubicBezTo>
                      <a:pt x="838655" y="94097"/>
                      <a:pt x="859810" y="55914"/>
                      <a:pt x="877354" y="16700"/>
                    </a:cubicBezTo>
                    <a:cubicBezTo>
                      <a:pt x="880449" y="9476"/>
                      <a:pt x="885093" y="7928"/>
                      <a:pt x="892317" y="9476"/>
                    </a:cubicBezTo>
                    <a:cubicBezTo>
                      <a:pt x="958878" y="21860"/>
                      <a:pt x="1022859" y="42499"/>
                      <a:pt x="1084777" y="70878"/>
                    </a:cubicBezTo>
                    <a:cubicBezTo>
                      <a:pt x="1092000" y="74489"/>
                      <a:pt x="1095096" y="78617"/>
                      <a:pt x="1093032" y="86873"/>
                    </a:cubicBezTo>
                    <a:cubicBezTo>
                      <a:pt x="1088388" y="108544"/>
                      <a:pt x="1084261" y="130731"/>
                      <a:pt x="1079617" y="152402"/>
                    </a:cubicBezTo>
                    <a:cubicBezTo>
                      <a:pt x="1075489" y="172525"/>
                      <a:pt x="1062590" y="189036"/>
                      <a:pt x="1053302" y="206580"/>
                    </a:cubicBezTo>
                    <a:cubicBezTo>
                      <a:pt x="1047626" y="217415"/>
                      <a:pt x="1048658" y="222575"/>
                      <a:pt x="1060010" y="228251"/>
                    </a:cubicBezTo>
                    <a:cubicBezTo>
                      <a:pt x="1080133" y="239602"/>
                      <a:pt x="1099740" y="252502"/>
                      <a:pt x="1118315" y="265917"/>
                    </a:cubicBezTo>
                    <a:cubicBezTo>
                      <a:pt x="1126571" y="272109"/>
                      <a:pt x="1131214" y="271593"/>
                      <a:pt x="1136374" y="262821"/>
                    </a:cubicBezTo>
                    <a:cubicBezTo>
                      <a:pt x="1159077" y="223607"/>
                      <a:pt x="1196744" y="199872"/>
                      <a:pt x="1232346" y="174589"/>
                    </a:cubicBezTo>
                    <a:cubicBezTo>
                      <a:pt x="1238538" y="170461"/>
                      <a:pt x="1242666" y="170977"/>
                      <a:pt x="1247825" y="175621"/>
                    </a:cubicBezTo>
                    <a:cubicBezTo>
                      <a:pt x="1299939" y="219995"/>
                      <a:pt x="1345345" y="270045"/>
                      <a:pt x="1384559" y="325770"/>
                    </a:cubicBezTo>
                    <a:cubicBezTo>
                      <a:pt x="1389203" y="331962"/>
                      <a:pt x="1389719" y="336606"/>
                      <a:pt x="1384043" y="342798"/>
                    </a:cubicBezTo>
                    <a:cubicBezTo>
                      <a:pt x="1368048" y="360857"/>
                      <a:pt x="1352569" y="379432"/>
                      <a:pt x="1336057" y="396975"/>
                    </a:cubicBezTo>
                    <a:cubicBezTo>
                      <a:pt x="1323674" y="409875"/>
                      <a:pt x="1306131" y="417098"/>
                      <a:pt x="1291167" y="426902"/>
                    </a:cubicBezTo>
                    <a:cubicBezTo>
                      <a:pt x="1276720" y="436706"/>
                      <a:pt x="1276720" y="436190"/>
                      <a:pt x="1284976" y="451153"/>
                    </a:cubicBezTo>
                    <a:cubicBezTo>
                      <a:pt x="1295811" y="471792"/>
                      <a:pt x="1306647" y="492431"/>
                      <a:pt x="1316450" y="513070"/>
                    </a:cubicBezTo>
                    <a:cubicBezTo>
                      <a:pt x="1320062" y="520294"/>
                      <a:pt x="1323158" y="523390"/>
                      <a:pt x="1330898" y="519262"/>
                    </a:cubicBezTo>
                    <a:cubicBezTo>
                      <a:pt x="1367532" y="500171"/>
                      <a:pt x="1406746" y="492431"/>
                      <a:pt x="1447509" y="491399"/>
                    </a:cubicBezTo>
                    <a:cubicBezTo>
                      <a:pt x="1451120" y="491399"/>
                      <a:pt x="1455248" y="490367"/>
                      <a:pt x="1458860" y="489851"/>
                    </a:cubicBezTo>
                    <a:cubicBezTo>
                      <a:pt x="1466600" y="488819"/>
                      <a:pt x="1470728" y="491399"/>
                      <a:pt x="1473307" y="499139"/>
                    </a:cubicBezTo>
                    <a:cubicBezTo>
                      <a:pt x="1493431" y="556412"/>
                      <a:pt x="1508394" y="615234"/>
                      <a:pt x="1513554" y="675603"/>
                    </a:cubicBezTo>
                    <a:cubicBezTo>
                      <a:pt x="1513554" y="676635"/>
                      <a:pt x="1513554" y="678183"/>
                      <a:pt x="1514070" y="679215"/>
                    </a:cubicBezTo>
                    <a:cubicBezTo>
                      <a:pt x="1518713" y="714301"/>
                      <a:pt x="1519745" y="706046"/>
                      <a:pt x="1490335" y="717397"/>
                    </a:cubicBezTo>
                    <a:cubicBezTo>
                      <a:pt x="1454732" y="730813"/>
                      <a:pt x="1418614" y="741648"/>
                      <a:pt x="1379916" y="738036"/>
                    </a:cubicBezTo>
                    <a:cubicBezTo>
                      <a:pt x="1371144" y="737004"/>
                      <a:pt x="1368048" y="740616"/>
                      <a:pt x="1367532" y="749904"/>
                    </a:cubicBezTo>
                    <a:cubicBezTo>
                      <a:pt x="1367016" y="774155"/>
                      <a:pt x="1365984" y="797890"/>
                      <a:pt x="1363920" y="822141"/>
                    </a:cubicBezTo>
                    <a:cubicBezTo>
                      <a:pt x="1363404" y="831944"/>
                      <a:pt x="1363920" y="838136"/>
                      <a:pt x="1375788" y="838136"/>
                    </a:cubicBezTo>
                    <a:cubicBezTo>
                      <a:pt x="1420678" y="838136"/>
                      <a:pt x="1459376" y="858775"/>
                      <a:pt x="1498590" y="876834"/>
                    </a:cubicBezTo>
                    <a:cubicBezTo>
                      <a:pt x="1505298" y="879930"/>
                      <a:pt x="1507878" y="883542"/>
                      <a:pt x="1506330" y="891798"/>
                    </a:cubicBezTo>
                    <a:cubicBezTo>
                      <a:pt x="1493947" y="958875"/>
                      <a:pt x="1472791" y="1023372"/>
                      <a:pt x="1444413" y="1085289"/>
                    </a:cubicBezTo>
                    <a:cubicBezTo>
                      <a:pt x="1441317" y="1092513"/>
                      <a:pt x="1437189" y="1094577"/>
                      <a:pt x="1429449" y="1093029"/>
                    </a:cubicBezTo>
                    <a:cubicBezTo>
                      <a:pt x="1386623" y="1085289"/>
                      <a:pt x="1343797" y="1078581"/>
                      <a:pt x="1306647" y="1052783"/>
                    </a:cubicBezTo>
                    <a:cubicBezTo>
                      <a:pt x="1297875" y="1046591"/>
                      <a:pt x="1293231" y="1048655"/>
                      <a:pt x="1287556" y="1057942"/>
                    </a:cubicBezTo>
                    <a:cubicBezTo>
                      <a:pt x="1275688" y="1078581"/>
                      <a:pt x="1262273" y="1098705"/>
                      <a:pt x="1248857" y="1118828"/>
                    </a:cubicBezTo>
                    <a:cubicBezTo>
                      <a:pt x="1244214" y="1125535"/>
                      <a:pt x="1242150" y="1130179"/>
                      <a:pt x="1250405" y="1135339"/>
                    </a:cubicBezTo>
                    <a:cubicBezTo>
                      <a:pt x="1289620" y="1158558"/>
                      <a:pt x="1313871" y="1194676"/>
                      <a:pt x="1339153" y="1230795"/>
                    </a:cubicBezTo>
                    <a:cubicBezTo>
                      <a:pt x="1344313" y="1238018"/>
                      <a:pt x="1343797" y="1242662"/>
                      <a:pt x="1337605" y="1249370"/>
                    </a:cubicBezTo>
                    <a:cubicBezTo>
                      <a:pt x="1293747" y="1300968"/>
                      <a:pt x="1244214" y="1345342"/>
                      <a:pt x="1189004" y="1384040"/>
                    </a:cubicBezTo>
                    <a:cubicBezTo>
                      <a:pt x="1182296" y="1388684"/>
                      <a:pt x="1177652" y="1389716"/>
                      <a:pt x="1170945" y="1383524"/>
                    </a:cubicBezTo>
                    <a:cubicBezTo>
                      <a:pt x="1153918" y="1368045"/>
                      <a:pt x="1135858" y="1353597"/>
                      <a:pt x="1118831" y="1337602"/>
                    </a:cubicBezTo>
                    <a:cubicBezTo>
                      <a:pt x="1104384" y="1324187"/>
                      <a:pt x="1096644" y="1306128"/>
                      <a:pt x="1086840" y="1289616"/>
                    </a:cubicBezTo>
                    <a:cubicBezTo>
                      <a:pt x="1080133" y="1278265"/>
                      <a:pt x="1074973" y="1277749"/>
                      <a:pt x="1064137" y="1284456"/>
                    </a:cubicBezTo>
                    <a:cubicBezTo>
                      <a:pt x="1044530" y="1296324"/>
                      <a:pt x="1023375" y="1306643"/>
                      <a:pt x="1002220" y="1316447"/>
                    </a:cubicBezTo>
                    <a:cubicBezTo>
                      <a:pt x="993449" y="1320575"/>
                      <a:pt x="991385" y="1324703"/>
                      <a:pt x="996028" y="1332958"/>
                    </a:cubicBezTo>
                    <a:cubicBezTo>
                      <a:pt x="1015120" y="1368561"/>
                      <a:pt x="1021827" y="1407259"/>
                      <a:pt x="1022859" y="1446989"/>
                    </a:cubicBezTo>
                    <a:cubicBezTo>
                      <a:pt x="1022859" y="1451117"/>
                      <a:pt x="1023891" y="1455245"/>
                      <a:pt x="1024407" y="1459889"/>
                    </a:cubicBezTo>
                    <a:cubicBezTo>
                      <a:pt x="1025439" y="1466596"/>
                      <a:pt x="1022859" y="1470724"/>
                      <a:pt x="1015636" y="1473304"/>
                    </a:cubicBezTo>
                    <a:cubicBezTo>
                      <a:pt x="970745" y="1493943"/>
                      <a:pt x="870646" y="1516130"/>
                      <a:pt x="817500" y="1518710"/>
                    </a:cubicBezTo>
                    <a:close/>
                    <a:moveTo>
                      <a:pt x="758163" y="1148238"/>
                    </a:moveTo>
                    <a:cubicBezTo>
                      <a:pt x="974357" y="1144627"/>
                      <a:pt x="1145146" y="976418"/>
                      <a:pt x="1145146" y="758675"/>
                    </a:cubicBezTo>
                    <a:cubicBezTo>
                      <a:pt x="1145146" y="542481"/>
                      <a:pt x="974357" y="371176"/>
                      <a:pt x="757131" y="371176"/>
                    </a:cubicBezTo>
                    <a:cubicBezTo>
                      <a:pt x="539904" y="371176"/>
                      <a:pt x="368600" y="542481"/>
                      <a:pt x="368600" y="759707"/>
                    </a:cubicBezTo>
                    <a:cubicBezTo>
                      <a:pt x="369116" y="977966"/>
                      <a:pt x="541452" y="1145659"/>
                      <a:pt x="758163" y="1148238"/>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46" name="Google Shape;146;p15"/>
              <p:cNvGrpSpPr/>
              <p:nvPr/>
            </p:nvGrpSpPr>
            <p:grpSpPr>
              <a:xfrm>
                <a:off x="3563163" y="3556278"/>
                <a:ext cx="1218879" cy="1218879"/>
                <a:chOff x="3264582" y="1870309"/>
                <a:chExt cx="1774962" cy="1774962"/>
              </a:xfrm>
            </p:grpSpPr>
            <p:sp>
              <p:nvSpPr>
                <p:cNvPr id="147" name="Google Shape;147;p15"/>
                <p:cNvSpPr/>
                <p:nvPr/>
              </p:nvSpPr>
              <p:spPr>
                <a:xfrm>
                  <a:off x="3264582" y="1870309"/>
                  <a:ext cx="1774962" cy="1774962"/>
                </a:xfrm>
                <a:custGeom>
                  <a:avLst/>
                  <a:gdLst/>
                  <a:ahLst/>
                  <a:cxnLst/>
                  <a:rect l="l" t="t" r="r" b="b"/>
                  <a:pathLst>
                    <a:path w="1774962" h="1774962" extrusionOk="0">
                      <a:moveTo>
                        <a:pt x="894776" y="1775736"/>
                      </a:moveTo>
                      <a:cubicBezTo>
                        <a:pt x="880845" y="1775736"/>
                        <a:pt x="866397" y="1775736"/>
                        <a:pt x="852466" y="1775736"/>
                      </a:cubicBezTo>
                      <a:cubicBezTo>
                        <a:pt x="844726" y="1775736"/>
                        <a:pt x="840599" y="1772640"/>
                        <a:pt x="839567" y="1764901"/>
                      </a:cubicBezTo>
                      <a:cubicBezTo>
                        <a:pt x="833375" y="1731878"/>
                        <a:pt x="826151" y="1699371"/>
                        <a:pt x="819960" y="1666349"/>
                      </a:cubicBezTo>
                      <a:cubicBezTo>
                        <a:pt x="817896" y="1656545"/>
                        <a:pt x="820992" y="1646742"/>
                        <a:pt x="822024" y="1636938"/>
                      </a:cubicBezTo>
                      <a:cubicBezTo>
                        <a:pt x="823056" y="1628682"/>
                        <a:pt x="820992" y="1624555"/>
                        <a:pt x="811704" y="1623523"/>
                      </a:cubicBezTo>
                      <a:cubicBezTo>
                        <a:pt x="772490" y="1619395"/>
                        <a:pt x="733275" y="1612171"/>
                        <a:pt x="695093" y="1601852"/>
                      </a:cubicBezTo>
                      <a:cubicBezTo>
                        <a:pt x="686837" y="1599788"/>
                        <a:pt x="682194" y="1602368"/>
                        <a:pt x="680130" y="1610623"/>
                      </a:cubicBezTo>
                      <a:cubicBezTo>
                        <a:pt x="669294" y="1655513"/>
                        <a:pt x="636788" y="1688020"/>
                        <a:pt x="615116" y="1727234"/>
                      </a:cubicBezTo>
                      <a:cubicBezTo>
                        <a:pt x="612537" y="1731878"/>
                        <a:pt x="608409" y="1731878"/>
                        <a:pt x="603765" y="1730330"/>
                      </a:cubicBezTo>
                      <a:cubicBezTo>
                        <a:pt x="572807" y="1720011"/>
                        <a:pt x="542364" y="1707627"/>
                        <a:pt x="512953" y="1694212"/>
                      </a:cubicBezTo>
                      <a:cubicBezTo>
                        <a:pt x="506761" y="1691632"/>
                        <a:pt x="506245" y="1686988"/>
                        <a:pt x="507277" y="1681828"/>
                      </a:cubicBezTo>
                      <a:cubicBezTo>
                        <a:pt x="513985" y="1648806"/>
                        <a:pt x="519661" y="1615783"/>
                        <a:pt x="527400" y="1583277"/>
                      </a:cubicBezTo>
                      <a:cubicBezTo>
                        <a:pt x="529980" y="1572441"/>
                        <a:pt x="536172" y="1562637"/>
                        <a:pt x="541848" y="1552834"/>
                      </a:cubicBezTo>
                      <a:cubicBezTo>
                        <a:pt x="545460" y="1546642"/>
                        <a:pt x="544428" y="1543030"/>
                        <a:pt x="537720" y="1539418"/>
                      </a:cubicBezTo>
                      <a:cubicBezTo>
                        <a:pt x="501601" y="1520327"/>
                        <a:pt x="467547" y="1497624"/>
                        <a:pt x="435041" y="1472857"/>
                      </a:cubicBezTo>
                      <a:cubicBezTo>
                        <a:pt x="429365" y="1468214"/>
                        <a:pt x="425237" y="1468214"/>
                        <a:pt x="420593" y="1474921"/>
                      </a:cubicBezTo>
                      <a:cubicBezTo>
                        <a:pt x="393762" y="1512588"/>
                        <a:pt x="350936" y="1531163"/>
                        <a:pt x="315334" y="1559026"/>
                      </a:cubicBezTo>
                      <a:cubicBezTo>
                        <a:pt x="310690" y="1562637"/>
                        <a:pt x="307078" y="1561090"/>
                        <a:pt x="302950" y="1557478"/>
                      </a:cubicBezTo>
                      <a:cubicBezTo>
                        <a:pt x="278699" y="1536323"/>
                        <a:pt x="255996" y="1513104"/>
                        <a:pt x="233809" y="1490401"/>
                      </a:cubicBezTo>
                      <a:cubicBezTo>
                        <a:pt x="229682" y="1485757"/>
                        <a:pt x="229165" y="1482145"/>
                        <a:pt x="232777" y="1476985"/>
                      </a:cubicBezTo>
                      <a:cubicBezTo>
                        <a:pt x="251352" y="1449122"/>
                        <a:pt x="269928" y="1421260"/>
                        <a:pt x="289019" y="1393397"/>
                      </a:cubicBezTo>
                      <a:cubicBezTo>
                        <a:pt x="295210" y="1384625"/>
                        <a:pt x="304498" y="1378949"/>
                        <a:pt x="312754" y="1371726"/>
                      </a:cubicBezTo>
                      <a:cubicBezTo>
                        <a:pt x="318946" y="1366566"/>
                        <a:pt x="319978" y="1361922"/>
                        <a:pt x="314818" y="1355731"/>
                      </a:cubicBezTo>
                      <a:cubicBezTo>
                        <a:pt x="289535" y="1324256"/>
                        <a:pt x="266316" y="1291233"/>
                        <a:pt x="246193" y="1255631"/>
                      </a:cubicBezTo>
                      <a:cubicBezTo>
                        <a:pt x="241549" y="1247375"/>
                        <a:pt x="236905" y="1248923"/>
                        <a:pt x="230713" y="1253051"/>
                      </a:cubicBezTo>
                      <a:cubicBezTo>
                        <a:pt x="191499" y="1277302"/>
                        <a:pt x="145577" y="1277818"/>
                        <a:pt x="102751" y="1289685"/>
                      </a:cubicBezTo>
                      <a:cubicBezTo>
                        <a:pt x="97075" y="1291233"/>
                        <a:pt x="93979" y="1288137"/>
                        <a:pt x="91916" y="1282978"/>
                      </a:cubicBezTo>
                      <a:cubicBezTo>
                        <a:pt x="77984" y="1254083"/>
                        <a:pt x="65085" y="1224156"/>
                        <a:pt x="53733" y="1194230"/>
                      </a:cubicBezTo>
                      <a:cubicBezTo>
                        <a:pt x="51669" y="1188038"/>
                        <a:pt x="53217" y="1184426"/>
                        <a:pt x="58377" y="1181330"/>
                      </a:cubicBezTo>
                      <a:cubicBezTo>
                        <a:pt x="86240" y="1162755"/>
                        <a:pt x="113587" y="1143664"/>
                        <a:pt x="142481" y="1125605"/>
                      </a:cubicBezTo>
                      <a:cubicBezTo>
                        <a:pt x="151769" y="1119929"/>
                        <a:pt x="163120" y="1117349"/>
                        <a:pt x="173956" y="1114253"/>
                      </a:cubicBezTo>
                      <a:cubicBezTo>
                        <a:pt x="180664" y="1112189"/>
                        <a:pt x="182727" y="1109093"/>
                        <a:pt x="180664" y="1101870"/>
                      </a:cubicBezTo>
                      <a:cubicBezTo>
                        <a:pt x="168796" y="1062139"/>
                        <a:pt x="160541" y="1021893"/>
                        <a:pt x="154865" y="981131"/>
                      </a:cubicBezTo>
                      <a:cubicBezTo>
                        <a:pt x="153833" y="974423"/>
                        <a:pt x="150737" y="972359"/>
                        <a:pt x="144029" y="973391"/>
                      </a:cubicBezTo>
                      <a:cubicBezTo>
                        <a:pt x="98107" y="981131"/>
                        <a:pt x="54765" y="963588"/>
                        <a:pt x="10391" y="958428"/>
                      </a:cubicBezTo>
                      <a:cubicBezTo>
                        <a:pt x="4715" y="957912"/>
                        <a:pt x="2652" y="954300"/>
                        <a:pt x="2135" y="948624"/>
                      </a:cubicBezTo>
                      <a:cubicBezTo>
                        <a:pt x="-960" y="916118"/>
                        <a:pt x="72" y="883611"/>
                        <a:pt x="588" y="850589"/>
                      </a:cubicBezTo>
                      <a:cubicBezTo>
                        <a:pt x="588" y="844397"/>
                        <a:pt x="4715" y="841817"/>
                        <a:pt x="10391" y="840785"/>
                      </a:cubicBezTo>
                      <a:cubicBezTo>
                        <a:pt x="43930" y="834077"/>
                        <a:pt x="76952" y="827370"/>
                        <a:pt x="110491" y="820662"/>
                      </a:cubicBezTo>
                      <a:cubicBezTo>
                        <a:pt x="120294" y="818598"/>
                        <a:pt x="130098" y="821694"/>
                        <a:pt x="139901" y="822726"/>
                      </a:cubicBezTo>
                      <a:cubicBezTo>
                        <a:pt x="148157" y="823758"/>
                        <a:pt x="152285" y="820662"/>
                        <a:pt x="153317" y="811890"/>
                      </a:cubicBezTo>
                      <a:cubicBezTo>
                        <a:pt x="157445" y="773192"/>
                        <a:pt x="164668" y="734494"/>
                        <a:pt x="174472" y="696827"/>
                      </a:cubicBezTo>
                      <a:cubicBezTo>
                        <a:pt x="177052" y="687024"/>
                        <a:pt x="173440" y="682380"/>
                        <a:pt x="164152" y="680316"/>
                      </a:cubicBezTo>
                      <a:cubicBezTo>
                        <a:pt x="120294" y="668965"/>
                        <a:pt x="87272" y="636974"/>
                        <a:pt x="49090" y="615819"/>
                      </a:cubicBezTo>
                      <a:cubicBezTo>
                        <a:pt x="44961" y="613755"/>
                        <a:pt x="44961" y="610143"/>
                        <a:pt x="45993" y="606015"/>
                      </a:cubicBezTo>
                      <a:cubicBezTo>
                        <a:pt x="56313" y="574541"/>
                        <a:pt x="69212" y="544098"/>
                        <a:pt x="82628" y="513655"/>
                      </a:cubicBezTo>
                      <a:cubicBezTo>
                        <a:pt x="85208" y="507980"/>
                        <a:pt x="89336" y="506948"/>
                        <a:pt x="93979" y="508496"/>
                      </a:cubicBezTo>
                      <a:cubicBezTo>
                        <a:pt x="137322" y="519847"/>
                        <a:pt x="183760" y="518815"/>
                        <a:pt x="224006" y="543066"/>
                      </a:cubicBezTo>
                      <a:cubicBezTo>
                        <a:pt x="230713" y="547194"/>
                        <a:pt x="233809" y="544614"/>
                        <a:pt x="236905" y="538938"/>
                      </a:cubicBezTo>
                      <a:cubicBezTo>
                        <a:pt x="255996" y="503336"/>
                        <a:pt x="278183" y="469281"/>
                        <a:pt x="302434" y="437291"/>
                      </a:cubicBezTo>
                      <a:cubicBezTo>
                        <a:pt x="305530" y="433163"/>
                        <a:pt x="310690" y="428519"/>
                        <a:pt x="302950" y="423359"/>
                      </a:cubicBezTo>
                      <a:cubicBezTo>
                        <a:pt x="273540" y="404268"/>
                        <a:pt x="258576" y="373826"/>
                        <a:pt x="238453" y="346995"/>
                      </a:cubicBezTo>
                      <a:cubicBezTo>
                        <a:pt x="234841" y="342351"/>
                        <a:pt x="232262" y="337707"/>
                        <a:pt x="228650" y="333063"/>
                      </a:cubicBezTo>
                      <a:cubicBezTo>
                        <a:pt x="212654" y="310360"/>
                        <a:pt x="212138" y="309844"/>
                        <a:pt x="230713" y="290237"/>
                      </a:cubicBezTo>
                      <a:cubicBezTo>
                        <a:pt x="248257" y="271662"/>
                        <a:pt x="266316" y="254119"/>
                        <a:pt x="283859" y="236060"/>
                      </a:cubicBezTo>
                      <a:cubicBezTo>
                        <a:pt x="289535" y="230384"/>
                        <a:pt x="294179" y="229868"/>
                        <a:pt x="300370" y="234512"/>
                      </a:cubicBezTo>
                      <a:cubicBezTo>
                        <a:pt x="327201" y="252571"/>
                        <a:pt x="354032" y="270114"/>
                        <a:pt x="380863" y="288173"/>
                      </a:cubicBezTo>
                      <a:cubicBezTo>
                        <a:pt x="390150" y="294365"/>
                        <a:pt x="396342" y="303137"/>
                        <a:pt x="403050" y="311392"/>
                      </a:cubicBezTo>
                      <a:cubicBezTo>
                        <a:pt x="408726" y="319132"/>
                        <a:pt x="413885" y="320680"/>
                        <a:pt x="422141" y="313972"/>
                      </a:cubicBezTo>
                      <a:cubicBezTo>
                        <a:pt x="452584" y="288689"/>
                        <a:pt x="485606" y="266502"/>
                        <a:pt x="519661" y="246895"/>
                      </a:cubicBezTo>
                      <a:cubicBezTo>
                        <a:pt x="524820" y="243799"/>
                        <a:pt x="529464" y="240703"/>
                        <a:pt x="524820" y="233996"/>
                      </a:cubicBezTo>
                      <a:cubicBezTo>
                        <a:pt x="502633" y="202005"/>
                        <a:pt x="501086" y="163823"/>
                        <a:pt x="492314" y="127704"/>
                      </a:cubicBezTo>
                      <a:cubicBezTo>
                        <a:pt x="484574" y="96230"/>
                        <a:pt x="485606" y="96746"/>
                        <a:pt x="514501" y="82298"/>
                      </a:cubicBezTo>
                      <a:cubicBezTo>
                        <a:pt x="535140" y="71979"/>
                        <a:pt x="557327" y="64239"/>
                        <a:pt x="578482" y="55468"/>
                      </a:cubicBezTo>
                      <a:cubicBezTo>
                        <a:pt x="586222" y="52372"/>
                        <a:pt x="590866" y="52888"/>
                        <a:pt x="595509" y="60111"/>
                      </a:cubicBezTo>
                      <a:cubicBezTo>
                        <a:pt x="613053" y="86942"/>
                        <a:pt x="630596" y="113257"/>
                        <a:pt x="648655" y="139572"/>
                      </a:cubicBezTo>
                      <a:cubicBezTo>
                        <a:pt x="655363" y="149375"/>
                        <a:pt x="657427" y="160727"/>
                        <a:pt x="661039" y="172078"/>
                      </a:cubicBezTo>
                      <a:cubicBezTo>
                        <a:pt x="663618" y="180334"/>
                        <a:pt x="667230" y="182914"/>
                        <a:pt x="675486" y="180334"/>
                      </a:cubicBezTo>
                      <a:cubicBezTo>
                        <a:pt x="713668" y="168983"/>
                        <a:pt x="752882" y="160727"/>
                        <a:pt x="792613" y="155567"/>
                      </a:cubicBezTo>
                      <a:cubicBezTo>
                        <a:pt x="800352" y="154535"/>
                        <a:pt x="802932" y="151439"/>
                        <a:pt x="801900" y="143700"/>
                      </a:cubicBezTo>
                      <a:cubicBezTo>
                        <a:pt x="795193" y="98294"/>
                        <a:pt x="811704" y="55468"/>
                        <a:pt x="816864" y="11094"/>
                      </a:cubicBezTo>
                      <a:cubicBezTo>
                        <a:pt x="817380" y="5934"/>
                        <a:pt x="820476" y="2838"/>
                        <a:pt x="826151" y="2322"/>
                      </a:cubicBezTo>
                      <a:cubicBezTo>
                        <a:pt x="859174" y="-1290"/>
                        <a:pt x="892196" y="258"/>
                        <a:pt x="925219" y="774"/>
                      </a:cubicBezTo>
                      <a:cubicBezTo>
                        <a:pt x="930895" y="774"/>
                        <a:pt x="933475" y="4902"/>
                        <a:pt x="934507" y="10062"/>
                      </a:cubicBezTo>
                      <a:cubicBezTo>
                        <a:pt x="941214" y="43600"/>
                        <a:pt x="948438" y="77139"/>
                        <a:pt x="954114" y="111193"/>
                      </a:cubicBezTo>
                      <a:cubicBezTo>
                        <a:pt x="955662" y="120481"/>
                        <a:pt x="953082" y="130800"/>
                        <a:pt x="952050" y="140604"/>
                      </a:cubicBezTo>
                      <a:cubicBezTo>
                        <a:pt x="951018" y="148343"/>
                        <a:pt x="954114" y="151955"/>
                        <a:pt x="962369" y="152987"/>
                      </a:cubicBezTo>
                      <a:cubicBezTo>
                        <a:pt x="1001584" y="157115"/>
                        <a:pt x="1040798" y="164339"/>
                        <a:pt x="1078980" y="174658"/>
                      </a:cubicBezTo>
                      <a:cubicBezTo>
                        <a:pt x="1085172" y="176206"/>
                        <a:pt x="1091364" y="176722"/>
                        <a:pt x="1093428" y="168467"/>
                      </a:cubicBezTo>
                      <a:cubicBezTo>
                        <a:pt x="1101683" y="130284"/>
                        <a:pt x="1127482" y="101390"/>
                        <a:pt x="1147089" y="69399"/>
                      </a:cubicBezTo>
                      <a:cubicBezTo>
                        <a:pt x="1162569" y="43084"/>
                        <a:pt x="1163601" y="43600"/>
                        <a:pt x="1192495" y="54436"/>
                      </a:cubicBezTo>
                      <a:cubicBezTo>
                        <a:pt x="1214682" y="62691"/>
                        <a:pt x="1236353" y="71979"/>
                        <a:pt x="1258024" y="81266"/>
                      </a:cubicBezTo>
                      <a:cubicBezTo>
                        <a:pt x="1265764" y="84362"/>
                        <a:pt x="1268860" y="88490"/>
                        <a:pt x="1267312" y="96746"/>
                      </a:cubicBezTo>
                      <a:cubicBezTo>
                        <a:pt x="1260604" y="128736"/>
                        <a:pt x="1254928" y="160727"/>
                        <a:pt x="1247705" y="192718"/>
                      </a:cubicBezTo>
                      <a:cubicBezTo>
                        <a:pt x="1245125" y="203553"/>
                        <a:pt x="1238417" y="213873"/>
                        <a:pt x="1233258" y="224192"/>
                      </a:cubicBezTo>
                      <a:cubicBezTo>
                        <a:pt x="1229646" y="230384"/>
                        <a:pt x="1230678" y="233996"/>
                        <a:pt x="1237385" y="237608"/>
                      </a:cubicBezTo>
                      <a:cubicBezTo>
                        <a:pt x="1273504" y="256699"/>
                        <a:pt x="1307558" y="279402"/>
                        <a:pt x="1340065" y="304169"/>
                      </a:cubicBezTo>
                      <a:cubicBezTo>
                        <a:pt x="1345741" y="308812"/>
                        <a:pt x="1349868" y="309328"/>
                        <a:pt x="1354512" y="302621"/>
                      </a:cubicBezTo>
                      <a:cubicBezTo>
                        <a:pt x="1381343" y="264954"/>
                        <a:pt x="1424169" y="246379"/>
                        <a:pt x="1459771" y="218516"/>
                      </a:cubicBezTo>
                      <a:cubicBezTo>
                        <a:pt x="1464415" y="214905"/>
                        <a:pt x="1468027" y="216452"/>
                        <a:pt x="1472155" y="220064"/>
                      </a:cubicBezTo>
                      <a:cubicBezTo>
                        <a:pt x="1496406" y="241219"/>
                        <a:pt x="1519109" y="264438"/>
                        <a:pt x="1541296" y="287657"/>
                      </a:cubicBezTo>
                      <a:cubicBezTo>
                        <a:pt x="1545424" y="292301"/>
                        <a:pt x="1545940" y="296429"/>
                        <a:pt x="1542328" y="301073"/>
                      </a:cubicBezTo>
                      <a:cubicBezTo>
                        <a:pt x="1523237" y="329452"/>
                        <a:pt x="1505177" y="357830"/>
                        <a:pt x="1485570" y="385693"/>
                      </a:cubicBezTo>
                      <a:cubicBezTo>
                        <a:pt x="1479895" y="393949"/>
                        <a:pt x="1470607" y="400140"/>
                        <a:pt x="1462868" y="406332"/>
                      </a:cubicBezTo>
                      <a:cubicBezTo>
                        <a:pt x="1456676" y="411492"/>
                        <a:pt x="1455644" y="416136"/>
                        <a:pt x="1460803" y="422327"/>
                      </a:cubicBezTo>
                      <a:cubicBezTo>
                        <a:pt x="1486086" y="453802"/>
                        <a:pt x="1509305" y="487341"/>
                        <a:pt x="1529428" y="522427"/>
                      </a:cubicBezTo>
                      <a:cubicBezTo>
                        <a:pt x="1534072" y="530167"/>
                        <a:pt x="1538716" y="529135"/>
                        <a:pt x="1544908" y="525007"/>
                      </a:cubicBezTo>
                      <a:cubicBezTo>
                        <a:pt x="1584122" y="500756"/>
                        <a:pt x="1630044" y="500240"/>
                        <a:pt x="1672870" y="488373"/>
                      </a:cubicBezTo>
                      <a:cubicBezTo>
                        <a:pt x="1678546" y="486825"/>
                        <a:pt x="1681642" y="489921"/>
                        <a:pt x="1683706" y="495080"/>
                      </a:cubicBezTo>
                      <a:cubicBezTo>
                        <a:pt x="1697637" y="523975"/>
                        <a:pt x="1710537" y="553902"/>
                        <a:pt x="1721888" y="583828"/>
                      </a:cubicBezTo>
                      <a:cubicBezTo>
                        <a:pt x="1723952" y="590020"/>
                        <a:pt x="1722404" y="593632"/>
                        <a:pt x="1717244" y="596728"/>
                      </a:cubicBezTo>
                      <a:cubicBezTo>
                        <a:pt x="1689381" y="615303"/>
                        <a:pt x="1662035" y="634394"/>
                        <a:pt x="1633140" y="652453"/>
                      </a:cubicBezTo>
                      <a:cubicBezTo>
                        <a:pt x="1623852" y="658129"/>
                        <a:pt x="1612501" y="660709"/>
                        <a:pt x="1601665" y="663805"/>
                      </a:cubicBezTo>
                      <a:cubicBezTo>
                        <a:pt x="1594958" y="665869"/>
                        <a:pt x="1592894" y="668965"/>
                        <a:pt x="1594958" y="676188"/>
                      </a:cubicBezTo>
                      <a:cubicBezTo>
                        <a:pt x="1606309" y="715403"/>
                        <a:pt x="1615081" y="755133"/>
                        <a:pt x="1620241" y="795895"/>
                      </a:cubicBezTo>
                      <a:cubicBezTo>
                        <a:pt x="1621272" y="803119"/>
                        <a:pt x="1624368" y="805699"/>
                        <a:pt x="1631076" y="804667"/>
                      </a:cubicBezTo>
                      <a:cubicBezTo>
                        <a:pt x="1676482" y="797959"/>
                        <a:pt x="1719308" y="814470"/>
                        <a:pt x="1763682" y="819630"/>
                      </a:cubicBezTo>
                      <a:cubicBezTo>
                        <a:pt x="1769874" y="820146"/>
                        <a:pt x="1772454" y="823758"/>
                        <a:pt x="1773486" y="829950"/>
                      </a:cubicBezTo>
                      <a:cubicBezTo>
                        <a:pt x="1776582" y="862456"/>
                        <a:pt x="1775034" y="895479"/>
                        <a:pt x="1775034" y="927985"/>
                      </a:cubicBezTo>
                      <a:cubicBezTo>
                        <a:pt x="1775034" y="933661"/>
                        <a:pt x="1771422" y="936241"/>
                        <a:pt x="1766262" y="937273"/>
                      </a:cubicBezTo>
                      <a:cubicBezTo>
                        <a:pt x="1732207" y="943981"/>
                        <a:pt x="1698153" y="951204"/>
                        <a:pt x="1663583" y="957396"/>
                      </a:cubicBezTo>
                      <a:cubicBezTo>
                        <a:pt x="1654811" y="958944"/>
                        <a:pt x="1645523" y="956364"/>
                        <a:pt x="1636752" y="955332"/>
                      </a:cubicBezTo>
                      <a:cubicBezTo>
                        <a:pt x="1627980" y="954300"/>
                        <a:pt x="1623336" y="956364"/>
                        <a:pt x="1622304" y="966684"/>
                      </a:cubicBezTo>
                      <a:cubicBezTo>
                        <a:pt x="1618177" y="1005382"/>
                        <a:pt x="1610953" y="1044080"/>
                        <a:pt x="1601149" y="1081746"/>
                      </a:cubicBezTo>
                      <a:cubicBezTo>
                        <a:pt x="1598569" y="1091034"/>
                        <a:pt x="1601665" y="1095678"/>
                        <a:pt x="1610437" y="1097742"/>
                      </a:cubicBezTo>
                      <a:cubicBezTo>
                        <a:pt x="1654811" y="1108577"/>
                        <a:pt x="1687318" y="1140568"/>
                        <a:pt x="1726016" y="1161723"/>
                      </a:cubicBezTo>
                      <a:cubicBezTo>
                        <a:pt x="1731176" y="1164819"/>
                        <a:pt x="1731176" y="1168947"/>
                        <a:pt x="1729112" y="1174107"/>
                      </a:cubicBezTo>
                      <a:cubicBezTo>
                        <a:pt x="1718792" y="1204549"/>
                        <a:pt x="1706409" y="1234476"/>
                        <a:pt x="1693509" y="1263887"/>
                      </a:cubicBezTo>
                      <a:cubicBezTo>
                        <a:pt x="1690929" y="1269562"/>
                        <a:pt x="1687318" y="1271626"/>
                        <a:pt x="1681126" y="1270078"/>
                      </a:cubicBezTo>
                      <a:cubicBezTo>
                        <a:pt x="1648103" y="1263371"/>
                        <a:pt x="1614565" y="1257179"/>
                        <a:pt x="1581542" y="1249955"/>
                      </a:cubicBezTo>
                      <a:cubicBezTo>
                        <a:pt x="1571223" y="1247375"/>
                        <a:pt x="1561935" y="1241184"/>
                        <a:pt x="1552647" y="1236024"/>
                      </a:cubicBezTo>
                      <a:cubicBezTo>
                        <a:pt x="1545940" y="1232412"/>
                        <a:pt x="1542328" y="1232928"/>
                        <a:pt x="1538200" y="1240152"/>
                      </a:cubicBezTo>
                      <a:cubicBezTo>
                        <a:pt x="1519109" y="1275238"/>
                        <a:pt x="1497954" y="1309293"/>
                        <a:pt x="1473187" y="1340767"/>
                      </a:cubicBezTo>
                      <a:cubicBezTo>
                        <a:pt x="1467511" y="1347991"/>
                        <a:pt x="1466479" y="1352635"/>
                        <a:pt x="1475251" y="1358310"/>
                      </a:cubicBezTo>
                      <a:cubicBezTo>
                        <a:pt x="1502598" y="1375854"/>
                        <a:pt x="1516013" y="1405264"/>
                        <a:pt x="1535104" y="1430031"/>
                      </a:cubicBezTo>
                      <a:cubicBezTo>
                        <a:pt x="1538716" y="1434675"/>
                        <a:pt x="1541812" y="1439835"/>
                        <a:pt x="1545424" y="1444995"/>
                      </a:cubicBezTo>
                      <a:cubicBezTo>
                        <a:pt x="1566063" y="1474921"/>
                        <a:pt x="1565031" y="1464602"/>
                        <a:pt x="1542844" y="1489885"/>
                      </a:cubicBezTo>
                      <a:cubicBezTo>
                        <a:pt x="1526849" y="1508460"/>
                        <a:pt x="1508273" y="1524971"/>
                        <a:pt x="1491246" y="1542514"/>
                      </a:cubicBezTo>
                      <a:cubicBezTo>
                        <a:pt x="1485054" y="1549222"/>
                        <a:pt x="1479895" y="1549222"/>
                        <a:pt x="1472155" y="1544062"/>
                      </a:cubicBezTo>
                      <a:cubicBezTo>
                        <a:pt x="1446356" y="1526519"/>
                        <a:pt x="1420041" y="1508976"/>
                        <a:pt x="1393726" y="1491948"/>
                      </a:cubicBezTo>
                      <a:cubicBezTo>
                        <a:pt x="1383923" y="1485241"/>
                        <a:pt x="1377215" y="1475437"/>
                        <a:pt x="1369992" y="1466666"/>
                      </a:cubicBezTo>
                      <a:cubicBezTo>
                        <a:pt x="1364316" y="1459958"/>
                        <a:pt x="1359672" y="1458926"/>
                        <a:pt x="1352964" y="1464602"/>
                      </a:cubicBezTo>
                      <a:cubicBezTo>
                        <a:pt x="1322005" y="1489885"/>
                        <a:pt x="1288983" y="1512588"/>
                        <a:pt x="1254413" y="1532711"/>
                      </a:cubicBezTo>
                      <a:cubicBezTo>
                        <a:pt x="1249769" y="1535291"/>
                        <a:pt x="1244609" y="1537871"/>
                        <a:pt x="1248737" y="1544578"/>
                      </a:cubicBezTo>
                      <a:cubicBezTo>
                        <a:pt x="1272472" y="1580181"/>
                        <a:pt x="1274020" y="1622491"/>
                        <a:pt x="1284339" y="1662221"/>
                      </a:cubicBezTo>
                      <a:cubicBezTo>
                        <a:pt x="1290531" y="1685440"/>
                        <a:pt x="1292079" y="1682344"/>
                        <a:pt x="1268860" y="1693180"/>
                      </a:cubicBezTo>
                      <a:cubicBezTo>
                        <a:pt x="1244609" y="1704531"/>
                        <a:pt x="1219842" y="1714335"/>
                        <a:pt x="1195591" y="1724654"/>
                      </a:cubicBezTo>
                      <a:cubicBezTo>
                        <a:pt x="1187851" y="1727750"/>
                        <a:pt x="1183208" y="1726718"/>
                        <a:pt x="1178564" y="1719495"/>
                      </a:cubicBezTo>
                      <a:cubicBezTo>
                        <a:pt x="1161021" y="1692664"/>
                        <a:pt x="1142962" y="1666865"/>
                        <a:pt x="1125418" y="1640034"/>
                      </a:cubicBezTo>
                      <a:cubicBezTo>
                        <a:pt x="1118711" y="1629715"/>
                        <a:pt x="1116131" y="1617847"/>
                        <a:pt x="1113035" y="1606496"/>
                      </a:cubicBezTo>
                      <a:cubicBezTo>
                        <a:pt x="1110971" y="1599272"/>
                        <a:pt x="1107359" y="1597208"/>
                        <a:pt x="1099619" y="1599272"/>
                      </a:cubicBezTo>
                      <a:cubicBezTo>
                        <a:pt x="1060405" y="1611139"/>
                        <a:pt x="1020675" y="1619395"/>
                        <a:pt x="979913" y="1624555"/>
                      </a:cubicBezTo>
                      <a:cubicBezTo>
                        <a:pt x="973205" y="1625587"/>
                        <a:pt x="971141" y="1628682"/>
                        <a:pt x="972173" y="1634874"/>
                      </a:cubicBezTo>
                      <a:cubicBezTo>
                        <a:pt x="979397" y="1680280"/>
                        <a:pt x="962885" y="1723106"/>
                        <a:pt x="957726" y="1767481"/>
                      </a:cubicBezTo>
                      <a:cubicBezTo>
                        <a:pt x="956694" y="1775220"/>
                        <a:pt x="952566" y="1777800"/>
                        <a:pt x="945858" y="1777800"/>
                      </a:cubicBezTo>
                      <a:cubicBezTo>
                        <a:pt x="929347" y="1778316"/>
                        <a:pt x="912320" y="1779348"/>
                        <a:pt x="895808" y="1779864"/>
                      </a:cubicBezTo>
                      <a:cubicBezTo>
                        <a:pt x="894776" y="1776252"/>
                        <a:pt x="894776" y="1776252"/>
                        <a:pt x="894776" y="1775736"/>
                      </a:cubicBezTo>
                      <a:close/>
                      <a:moveTo>
                        <a:pt x="890648" y="1454798"/>
                      </a:moveTo>
                      <a:cubicBezTo>
                        <a:pt x="1199203" y="1449638"/>
                        <a:pt x="1454096" y="1207645"/>
                        <a:pt x="1452548" y="884127"/>
                      </a:cubicBezTo>
                      <a:cubicBezTo>
                        <a:pt x="1451516" y="575057"/>
                        <a:pt x="1205395" y="320164"/>
                        <a:pt x="881361" y="322228"/>
                      </a:cubicBezTo>
                      <a:cubicBezTo>
                        <a:pt x="571775" y="324292"/>
                        <a:pt x="318429" y="570929"/>
                        <a:pt x="320494" y="893415"/>
                      </a:cubicBezTo>
                      <a:cubicBezTo>
                        <a:pt x="323073" y="1202485"/>
                        <a:pt x="569195" y="1452218"/>
                        <a:pt x="890648" y="1454798"/>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 name="Google Shape;148;p15"/>
                <p:cNvSpPr/>
                <p:nvPr/>
              </p:nvSpPr>
              <p:spPr>
                <a:xfrm>
                  <a:off x="3733675" y="2339591"/>
                  <a:ext cx="835883" cy="835883"/>
                </a:xfrm>
                <a:custGeom>
                  <a:avLst/>
                  <a:gdLst/>
                  <a:ahLst/>
                  <a:cxnLst/>
                  <a:rect l="l" t="t" r="r" b="b"/>
                  <a:pathLst>
                    <a:path w="835883" h="835883" extrusionOk="0">
                      <a:moveTo>
                        <a:pt x="836916" y="418458"/>
                      </a:moveTo>
                      <a:cubicBezTo>
                        <a:pt x="833821" y="651679"/>
                        <a:pt x="651165" y="836915"/>
                        <a:pt x="418459" y="836399"/>
                      </a:cubicBezTo>
                      <a:cubicBezTo>
                        <a:pt x="182657" y="836399"/>
                        <a:pt x="-515" y="649615"/>
                        <a:pt x="1" y="417426"/>
                      </a:cubicBezTo>
                      <a:cubicBezTo>
                        <a:pt x="517" y="181624"/>
                        <a:pt x="187301" y="0"/>
                        <a:pt x="418975" y="0"/>
                      </a:cubicBezTo>
                      <a:cubicBezTo>
                        <a:pt x="651680" y="516"/>
                        <a:pt x="833821" y="186268"/>
                        <a:pt x="836916" y="418458"/>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grpSp>
          <p:nvGrpSpPr>
            <p:cNvPr id="149" name="Google Shape;149;p15"/>
            <p:cNvGrpSpPr/>
            <p:nvPr/>
          </p:nvGrpSpPr>
          <p:grpSpPr>
            <a:xfrm>
              <a:off x="218787" y="4076953"/>
              <a:ext cx="2745260" cy="2471860"/>
              <a:chOff x="6486650" y="2648852"/>
              <a:chExt cx="2745260" cy="2471860"/>
            </a:xfrm>
          </p:grpSpPr>
          <p:sp>
            <p:nvSpPr>
              <p:cNvPr id="150" name="Google Shape;150;p15"/>
              <p:cNvSpPr/>
              <p:nvPr/>
            </p:nvSpPr>
            <p:spPr>
              <a:xfrm>
                <a:off x="6486650" y="3806165"/>
                <a:ext cx="1318090" cy="1314547"/>
              </a:xfrm>
              <a:custGeom>
                <a:avLst/>
                <a:gdLst/>
                <a:ahLst/>
                <a:cxnLst/>
                <a:rect l="l" t="t" r="r" b="b"/>
                <a:pathLst>
                  <a:path w="1919435" h="1914275" extrusionOk="0">
                    <a:moveTo>
                      <a:pt x="0" y="987194"/>
                    </a:moveTo>
                    <a:cubicBezTo>
                      <a:pt x="8256" y="971714"/>
                      <a:pt x="21155" y="963975"/>
                      <a:pt x="37667" y="959846"/>
                    </a:cubicBezTo>
                    <a:cubicBezTo>
                      <a:pt x="82041" y="947979"/>
                      <a:pt x="125383" y="934564"/>
                      <a:pt x="169757" y="922696"/>
                    </a:cubicBezTo>
                    <a:cubicBezTo>
                      <a:pt x="196587" y="915473"/>
                      <a:pt x="212583" y="900509"/>
                      <a:pt x="215163" y="872130"/>
                    </a:cubicBezTo>
                    <a:cubicBezTo>
                      <a:pt x="215679" y="864907"/>
                      <a:pt x="216710" y="857683"/>
                      <a:pt x="217743" y="850459"/>
                    </a:cubicBezTo>
                    <a:cubicBezTo>
                      <a:pt x="220323" y="826209"/>
                      <a:pt x="209487" y="809697"/>
                      <a:pt x="189364" y="797830"/>
                    </a:cubicBezTo>
                    <a:cubicBezTo>
                      <a:pt x="149118" y="774611"/>
                      <a:pt x="109388" y="750876"/>
                      <a:pt x="69657" y="727657"/>
                    </a:cubicBezTo>
                    <a:cubicBezTo>
                      <a:pt x="40246" y="710629"/>
                      <a:pt x="35087" y="697730"/>
                      <a:pt x="43858" y="664708"/>
                    </a:cubicBezTo>
                    <a:cubicBezTo>
                      <a:pt x="44890" y="661612"/>
                      <a:pt x="45406" y="658516"/>
                      <a:pt x="46438" y="655936"/>
                    </a:cubicBezTo>
                    <a:cubicBezTo>
                      <a:pt x="59337" y="613110"/>
                      <a:pt x="70689" y="604854"/>
                      <a:pt x="114547" y="608982"/>
                    </a:cubicBezTo>
                    <a:cubicBezTo>
                      <a:pt x="156857" y="613110"/>
                      <a:pt x="199167" y="617754"/>
                      <a:pt x="241478" y="623429"/>
                    </a:cubicBezTo>
                    <a:cubicBezTo>
                      <a:pt x="275016" y="627557"/>
                      <a:pt x="289463" y="621881"/>
                      <a:pt x="306491" y="593503"/>
                    </a:cubicBezTo>
                    <a:cubicBezTo>
                      <a:pt x="330741" y="554288"/>
                      <a:pt x="329710" y="541905"/>
                      <a:pt x="301331" y="505271"/>
                    </a:cubicBezTo>
                    <a:cubicBezTo>
                      <a:pt x="274500" y="470700"/>
                      <a:pt x="248185" y="435614"/>
                      <a:pt x="222386" y="400527"/>
                    </a:cubicBezTo>
                    <a:cubicBezTo>
                      <a:pt x="206907" y="379888"/>
                      <a:pt x="206907" y="362861"/>
                      <a:pt x="222386" y="342222"/>
                    </a:cubicBezTo>
                    <a:cubicBezTo>
                      <a:pt x="230126" y="331902"/>
                      <a:pt x="238382" y="321583"/>
                      <a:pt x="248185" y="313327"/>
                    </a:cubicBezTo>
                    <a:cubicBezTo>
                      <a:pt x="267792" y="296816"/>
                      <a:pt x="281208" y="294752"/>
                      <a:pt x="303395" y="307135"/>
                    </a:cubicBezTo>
                    <a:cubicBezTo>
                      <a:pt x="342609" y="328806"/>
                      <a:pt x="382856" y="348929"/>
                      <a:pt x="420522" y="373180"/>
                    </a:cubicBezTo>
                    <a:cubicBezTo>
                      <a:pt x="463864" y="401043"/>
                      <a:pt x="493791" y="382468"/>
                      <a:pt x="525265" y="343770"/>
                    </a:cubicBezTo>
                    <a:cubicBezTo>
                      <a:pt x="535585" y="330870"/>
                      <a:pt x="531973" y="313843"/>
                      <a:pt x="527845" y="298364"/>
                    </a:cubicBezTo>
                    <a:cubicBezTo>
                      <a:pt x="516493" y="254506"/>
                      <a:pt x="505142" y="210647"/>
                      <a:pt x="493791" y="166789"/>
                    </a:cubicBezTo>
                    <a:cubicBezTo>
                      <a:pt x="485535" y="135315"/>
                      <a:pt x="490694" y="122415"/>
                      <a:pt x="518557" y="105904"/>
                    </a:cubicBezTo>
                    <a:cubicBezTo>
                      <a:pt x="524749" y="102292"/>
                      <a:pt x="530941" y="98680"/>
                      <a:pt x="537649" y="95585"/>
                    </a:cubicBezTo>
                    <a:cubicBezTo>
                      <a:pt x="571187" y="80105"/>
                      <a:pt x="586150" y="83717"/>
                      <a:pt x="608853" y="113128"/>
                    </a:cubicBezTo>
                    <a:cubicBezTo>
                      <a:pt x="636200" y="147698"/>
                      <a:pt x="663547" y="182785"/>
                      <a:pt x="690894" y="217355"/>
                    </a:cubicBezTo>
                    <a:cubicBezTo>
                      <a:pt x="716693" y="249346"/>
                      <a:pt x="777062" y="249346"/>
                      <a:pt x="802861" y="216839"/>
                    </a:cubicBezTo>
                    <a:cubicBezTo>
                      <a:pt x="813697" y="202908"/>
                      <a:pt x="813697" y="185365"/>
                      <a:pt x="816277" y="169369"/>
                    </a:cubicBezTo>
                    <a:cubicBezTo>
                      <a:pt x="822468" y="129123"/>
                      <a:pt x="827628" y="88877"/>
                      <a:pt x="832788" y="48631"/>
                    </a:cubicBezTo>
                    <a:cubicBezTo>
                      <a:pt x="836916" y="16640"/>
                      <a:pt x="845687" y="7868"/>
                      <a:pt x="877677" y="2193"/>
                    </a:cubicBezTo>
                    <a:cubicBezTo>
                      <a:pt x="891093" y="-387"/>
                      <a:pt x="904509" y="-387"/>
                      <a:pt x="917924" y="645"/>
                    </a:cubicBezTo>
                    <a:cubicBezTo>
                      <a:pt x="937531" y="1677"/>
                      <a:pt x="950947" y="11996"/>
                      <a:pt x="956106" y="31603"/>
                    </a:cubicBezTo>
                    <a:cubicBezTo>
                      <a:pt x="968490" y="75461"/>
                      <a:pt x="981389" y="119835"/>
                      <a:pt x="993772" y="163693"/>
                    </a:cubicBezTo>
                    <a:cubicBezTo>
                      <a:pt x="1006672" y="208584"/>
                      <a:pt x="1043822" y="229739"/>
                      <a:pt x="1089745" y="217871"/>
                    </a:cubicBezTo>
                    <a:cubicBezTo>
                      <a:pt x="1104707" y="214259"/>
                      <a:pt x="1113479" y="203424"/>
                      <a:pt x="1120703" y="191040"/>
                    </a:cubicBezTo>
                    <a:cubicBezTo>
                      <a:pt x="1144438" y="150278"/>
                      <a:pt x="1168689" y="109516"/>
                      <a:pt x="1192940" y="68754"/>
                    </a:cubicBezTo>
                    <a:cubicBezTo>
                      <a:pt x="1208419" y="42439"/>
                      <a:pt x="1221835" y="36763"/>
                      <a:pt x="1251245" y="44503"/>
                    </a:cubicBezTo>
                    <a:cubicBezTo>
                      <a:pt x="1310067" y="59466"/>
                      <a:pt x="1317806" y="72366"/>
                      <a:pt x="1309035" y="137895"/>
                    </a:cubicBezTo>
                    <a:cubicBezTo>
                      <a:pt x="1303875" y="177109"/>
                      <a:pt x="1299231" y="216323"/>
                      <a:pt x="1294587" y="255538"/>
                    </a:cubicBezTo>
                    <a:cubicBezTo>
                      <a:pt x="1294071" y="259665"/>
                      <a:pt x="1294071" y="263793"/>
                      <a:pt x="1294587" y="267921"/>
                    </a:cubicBezTo>
                    <a:cubicBezTo>
                      <a:pt x="1301295" y="309715"/>
                      <a:pt x="1364760" y="338610"/>
                      <a:pt x="1399331" y="314359"/>
                    </a:cubicBezTo>
                    <a:cubicBezTo>
                      <a:pt x="1438545" y="286496"/>
                      <a:pt x="1476211" y="257085"/>
                      <a:pt x="1514394" y="228191"/>
                    </a:cubicBezTo>
                    <a:cubicBezTo>
                      <a:pt x="1542256" y="207036"/>
                      <a:pt x="1556188" y="207552"/>
                      <a:pt x="1584050" y="229223"/>
                    </a:cubicBezTo>
                    <a:cubicBezTo>
                      <a:pt x="1587663" y="232319"/>
                      <a:pt x="1591274" y="234898"/>
                      <a:pt x="1594886" y="238510"/>
                    </a:cubicBezTo>
                    <a:cubicBezTo>
                      <a:pt x="1627393" y="269469"/>
                      <a:pt x="1628941" y="278757"/>
                      <a:pt x="1606754" y="317971"/>
                    </a:cubicBezTo>
                    <a:cubicBezTo>
                      <a:pt x="1585599" y="355637"/>
                      <a:pt x="1565475" y="393819"/>
                      <a:pt x="1543288" y="430970"/>
                    </a:cubicBezTo>
                    <a:cubicBezTo>
                      <a:pt x="1527293" y="458317"/>
                      <a:pt x="1534517" y="481020"/>
                      <a:pt x="1552060" y="504239"/>
                    </a:cubicBezTo>
                    <a:cubicBezTo>
                      <a:pt x="1569604" y="527458"/>
                      <a:pt x="1589726" y="538809"/>
                      <a:pt x="1619137" y="531069"/>
                    </a:cubicBezTo>
                    <a:cubicBezTo>
                      <a:pt x="1664543" y="519202"/>
                      <a:pt x="1709949" y="507850"/>
                      <a:pt x="1754839" y="495467"/>
                    </a:cubicBezTo>
                    <a:cubicBezTo>
                      <a:pt x="1783734" y="487727"/>
                      <a:pt x="1796634" y="492371"/>
                      <a:pt x="1812629" y="517654"/>
                    </a:cubicBezTo>
                    <a:cubicBezTo>
                      <a:pt x="1819853" y="528490"/>
                      <a:pt x="1826044" y="539841"/>
                      <a:pt x="1830172" y="552225"/>
                    </a:cubicBezTo>
                    <a:cubicBezTo>
                      <a:pt x="1837912" y="574412"/>
                      <a:pt x="1834299" y="588343"/>
                      <a:pt x="1815724" y="603306"/>
                    </a:cubicBezTo>
                    <a:cubicBezTo>
                      <a:pt x="1777026" y="634265"/>
                      <a:pt x="1738844" y="665224"/>
                      <a:pt x="1699630" y="695666"/>
                    </a:cubicBezTo>
                    <a:cubicBezTo>
                      <a:pt x="1680022" y="710629"/>
                      <a:pt x="1674862" y="729205"/>
                      <a:pt x="1678990" y="751908"/>
                    </a:cubicBezTo>
                    <a:cubicBezTo>
                      <a:pt x="1680539" y="759647"/>
                      <a:pt x="1683119" y="766871"/>
                      <a:pt x="1685182" y="774611"/>
                    </a:cubicBezTo>
                    <a:cubicBezTo>
                      <a:pt x="1691890" y="798862"/>
                      <a:pt x="1707885" y="812277"/>
                      <a:pt x="1732652" y="815373"/>
                    </a:cubicBezTo>
                    <a:cubicBezTo>
                      <a:pt x="1779606" y="821565"/>
                      <a:pt x="1826560" y="828272"/>
                      <a:pt x="1872998" y="834464"/>
                    </a:cubicBezTo>
                    <a:cubicBezTo>
                      <a:pt x="1900861" y="838076"/>
                      <a:pt x="1915308" y="851491"/>
                      <a:pt x="1918404" y="879354"/>
                    </a:cubicBezTo>
                    <a:cubicBezTo>
                      <a:pt x="1919952" y="892770"/>
                      <a:pt x="1921500" y="906185"/>
                      <a:pt x="1919952" y="919600"/>
                    </a:cubicBezTo>
                    <a:cubicBezTo>
                      <a:pt x="1917372" y="940755"/>
                      <a:pt x="1906536" y="952623"/>
                      <a:pt x="1886930" y="958299"/>
                    </a:cubicBezTo>
                    <a:cubicBezTo>
                      <a:pt x="1843071" y="970682"/>
                      <a:pt x="1798697" y="983065"/>
                      <a:pt x="1754839" y="995965"/>
                    </a:cubicBezTo>
                    <a:cubicBezTo>
                      <a:pt x="1712013" y="1008348"/>
                      <a:pt x="1692406" y="1040855"/>
                      <a:pt x="1701178" y="1085229"/>
                    </a:cubicBezTo>
                    <a:cubicBezTo>
                      <a:pt x="1704273" y="1102256"/>
                      <a:pt x="1714077" y="1113092"/>
                      <a:pt x="1728524" y="1121348"/>
                    </a:cubicBezTo>
                    <a:cubicBezTo>
                      <a:pt x="1768771" y="1145083"/>
                      <a:pt x="1809016" y="1168817"/>
                      <a:pt x="1849779" y="1192552"/>
                    </a:cubicBezTo>
                    <a:cubicBezTo>
                      <a:pt x="1879706" y="1210096"/>
                      <a:pt x="1884350" y="1220415"/>
                      <a:pt x="1876094" y="1253954"/>
                    </a:cubicBezTo>
                    <a:cubicBezTo>
                      <a:pt x="1875578" y="1256018"/>
                      <a:pt x="1875578" y="1258082"/>
                      <a:pt x="1875062" y="1260145"/>
                    </a:cubicBezTo>
                    <a:cubicBezTo>
                      <a:pt x="1862678" y="1300908"/>
                      <a:pt x="1848747" y="1321031"/>
                      <a:pt x="1802309" y="1312259"/>
                    </a:cubicBezTo>
                    <a:cubicBezTo>
                      <a:pt x="1760515" y="1304003"/>
                      <a:pt x="1717689" y="1302456"/>
                      <a:pt x="1675379" y="1296264"/>
                    </a:cubicBezTo>
                    <a:cubicBezTo>
                      <a:pt x="1645452" y="1292136"/>
                      <a:pt x="1625845" y="1304003"/>
                      <a:pt x="1611398" y="1329286"/>
                    </a:cubicBezTo>
                    <a:cubicBezTo>
                      <a:pt x="1596434" y="1355085"/>
                      <a:pt x="1589726" y="1379336"/>
                      <a:pt x="1610365" y="1405651"/>
                    </a:cubicBezTo>
                    <a:cubicBezTo>
                      <a:pt x="1638228" y="1441254"/>
                      <a:pt x="1665059" y="1477888"/>
                      <a:pt x="1692406" y="1514006"/>
                    </a:cubicBezTo>
                    <a:cubicBezTo>
                      <a:pt x="1715109" y="1543417"/>
                      <a:pt x="1715109" y="1555285"/>
                      <a:pt x="1692406" y="1584695"/>
                    </a:cubicBezTo>
                    <a:cubicBezTo>
                      <a:pt x="1691374" y="1585727"/>
                      <a:pt x="1690342" y="1587275"/>
                      <a:pt x="1689310" y="1588307"/>
                    </a:cubicBezTo>
                    <a:cubicBezTo>
                      <a:pt x="1659383" y="1620298"/>
                      <a:pt x="1647516" y="1634229"/>
                      <a:pt x="1600562" y="1605850"/>
                    </a:cubicBezTo>
                    <a:cubicBezTo>
                      <a:pt x="1564444" y="1584179"/>
                      <a:pt x="1526261" y="1565604"/>
                      <a:pt x="1490659" y="1543933"/>
                    </a:cubicBezTo>
                    <a:cubicBezTo>
                      <a:pt x="1461248" y="1526390"/>
                      <a:pt x="1438545" y="1536709"/>
                      <a:pt x="1415326" y="1554769"/>
                    </a:cubicBezTo>
                    <a:cubicBezTo>
                      <a:pt x="1392107" y="1572312"/>
                      <a:pt x="1382819" y="1593467"/>
                      <a:pt x="1391075" y="1622877"/>
                    </a:cubicBezTo>
                    <a:cubicBezTo>
                      <a:pt x="1403974" y="1668284"/>
                      <a:pt x="1415326" y="1714205"/>
                      <a:pt x="1426677" y="1760128"/>
                    </a:cubicBezTo>
                    <a:cubicBezTo>
                      <a:pt x="1432870" y="1784894"/>
                      <a:pt x="1427710" y="1798310"/>
                      <a:pt x="1406554" y="1811725"/>
                    </a:cubicBezTo>
                    <a:cubicBezTo>
                      <a:pt x="1395203" y="1818949"/>
                      <a:pt x="1383335" y="1825657"/>
                      <a:pt x="1370436" y="1830300"/>
                    </a:cubicBezTo>
                    <a:cubicBezTo>
                      <a:pt x="1347733" y="1838556"/>
                      <a:pt x="1331222" y="1834428"/>
                      <a:pt x="1316258" y="1815337"/>
                    </a:cubicBezTo>
                    <a:cubicBezTo>
                      <a:pt x="1287879" y="1779735"/>
                      <a:pt x="1259501" y="1743616"/>
                      <a:pt x="1231122" y="1707498"/>
                    </a:cubicBezTo>
                    <a:cubicBezTo>
                      <a:pt x="1203775" y="1673443"/>
                      <a:pt x="1154242" y="1668800"/>
                      <a:pt x="1121219" y="1698210"/>
                    </a:cubicBezTo>
                    <a:cubicBezTo>
                      <a:pt x="1112447" y="1705950"/>
                      <a:pt x="1108320" y="1715753"/>
                      <a:pt x="1106771" y="1727105"/>
                    </a:cubicBezTo>
                    <a:cubicBezTo>
                      <a:pt x="1100064" y="1774575"/>
                      <a:pt x="1092324" y="1821529"/>
                      <a:pt x="1087165" y="1868999"/>
                    </a:cubicBezTo>
                    <a:cubicBezTo>
                      <a:pt x="1084068" y="1893766"/>
                      <a:pt x="1074265" y="1911309"/>
                      <a:pt x="1050014" y="1919049"/>
                    </a:cubicBezTo>
                    <a:cubicBezTo>
                      <a:pt x="1029375" y="1919049"/>
                      <a:pt x="1008220" y="1919049"/>
                      <a:pt x="987581" y="1919049"/>
                    </a:cubicBezTo>
                    <a:cubicBezTo>
                      <a:pt x="973133" y="1910277"/>
                      <a:pt x="964878" y="1897377"/>
                      <a:pt x="960234" y="1880866"/>
                    </a:cubicBezTo>
                    <a:cubicBezTo>
                      <a:pt x="947851" y="1835460"/>
                      <a:pt x="933919" y="1790054"/>
                      <a:pt x="921535" y="1744132"/>
                    </a:cubicBezTo>
                    <a:cubicBezTo>
                      <a:pt x="914828" y="1719881"/>
                      <a:pt x="899865" y="1706982"/>
                      <a:pt x="875614" y="1703886"/>
                    </a:cubicBezTo>
                    <a:cubicBezTo>
                      <a:pt x="866326" y="1702854"/>
                      <a:pt x="857038" y="1701306"/>
                      <a:pt x="847751" y="1700790"/>
                    </a:cubicBezTo>
                    <a:cubicBezTo>
                      <a:pt x="826080" y="1699242"/>
                      <a:pt x="811117" y="1709046"/>
                      <a:pt x="800281" y="1727105"/>
                    </a:cubicBezTo>
                    <a:cubicBezTo>
                      <a:pt x="796153" y="1733813"/>
                      <a:pt x="792541" y="1740520"/>
                      <a:pt x="788414" y="1747228"/>
                    </a:cubicBezTo>
                    <a:cubicBezTo>
                      <a:pt x="766742" y="1783862"/>
                      <a:pt x="745587" y="1821013"/>
                      <a:pt x="723401" y="1857131"/>
                    </a:cubicBezTo>
                    <a:cubicBezTo>
                      <a:pt x="711533" y="1877254"/>
                      <a:pt x="697085" y="1882414"/>
                      <a:pt x="674383" y="1877254"/>
                    </a:cubicBezTo>
                    <a:cubicBezTo>
                      <a:pt x="660451" y="1874158"/>
                      <a:pt x="647552" y="1869515"/>
                      <a:pt x="634652" y="1863839"/>
                    </a:cubicBezTo>
                    <a:cubicBezTo>
                      <a:pt x="611949" y="1853003"/>
                      <a:pt x="604726" y="1839072"/>
                      <a:pt x="607822" y="1813789"/>
                    </a:cubicBezTo>
                    <a:cubicBezTo>
                      <a:pt x="613497" y="1766835"/>
                      <a:pt x="618141" y="1719881"/>
                      <a:pt x="624848" y="1672927"/>
                    </a:cubicBezTo>
                    <a:cubicBezTo>
                      <a:pt x="629492" y="1639905"/>
                      <a:pt x="611949" y="1621846"/>
                      <a:pt x="586150" y="1607398"/>
                    </a:cubicBezTo>
                    <a:cubicBezTo>
                      <a:pt x="560868" y="1593467"/>
                      <a:pt x="538165" y="1591403"/>
                      <a:pt x="514430" y="1611010"/>
                    </a:cubicBezTo>
                    <a:cubicBezTo>
                      <a:pt x="481407" y="1637325"/>
                      <a:pt x="446836" y="1661576"/>
                      <a:pt x="413814" y="1687375"/>
                    </a:cubicBezTo>
                    <a:cubicBezTo>
                      <a:pt x="380276" y="1713690"/>
                      <a:pt x="365828" y="1719365"/>
                      <a:pt x="324550" y="1682215"/>
                    </a:cubicBezTo>
                    <a:cubicBezTo>
                      <a:pt x="321970" y="1679635"/>
                      <a:pt x="319390" y="1677055"/>
                      <a:pt x="316810" y="1674475"/>
                    </a:cubicBezTo>
                    <a:cubicBezTo>
                      <a:pt x="296687" y="1653836"/>
                      <a:pt x="294623" y="1637841"/>
                      <a:pt x="309071" y="1612558"/>
                    </a:cubicBezTo>
                    <a:cubicBezTo>
                      <a:pt x="331258" y="1572828"/>
                      <a:pt x="353960" y="1532581"/>
                      <a:pt x="376148" y="1492851"/>
                    </a:cubicBezTo>
                    <a:cubicBezTo>
                      <a:pt x="382339" y="1481500"/>
                      <a:pt x="389047" y="1470148"/>
                      <a:pt x="387499" y="1456217"/>
                    </a:cubicBezTo>
                    <a:cubicBezTo>
                      <a:pt x="383887" y="1414423"/>
                      <a:pt x="337449" y="1381400"/>
                      <a:pt x="297203" y="1391720"/>
                    </a:cubicBezTo>
                    <a:cubicBezTo>
                      <a:pt x="250765" y="1403587"/>
                      <a:pt x="204327" y="1415455"/>
                      <a:pt x="158405" y="1427838"/>
                    </a:cubicBezTo>
                    <a:cubicBezTo>
                      <a:pt x="139830" y="1432998"/>
                      <a:pt x="125899" y="1427322"/>
                      <a:pt x="114031" y="1412875"/>
                    </a:cubicBezTo>
                    <a:cubicBezTo>
                      <a:pt x="104228" y="1401007"/>
                      <a:pt x="98036" y="1387592"/>
                      <a:pt x="91844" y="1373660"/>
                    </a:cubicBezTo>
                    <a:cubicBezTo>
                      <a:pt x="81525" y="1349409"/>
                      <a:pt x="86169" y="1331866"/>
                      <a:pt x="106808" y="1315871"/>
                    </a:cubicBezTo>
                    <a:cubicBezTo>
                      <a:pt x="140862" y="1288524"/>
                      <a:pt x="175432" y="1261693"/>
                      <a:pt x="209487" y="1234347"/>
                    </a:cubicBezTo>
                    <a:cubicBezTo>
                      <a:pt x="245605" y="1206484"/>
                      <a:pt x="248701" y="1194616"/>
                      <a:pt x="236834" y="1151274"/>
                    </a:cubicBezTo>
                    <a:cubicBezTo>
                      <a:pt x="228578" y="1122896"/>
                      <a:pt x="211551" y="1107932"/>
                      <a:pt x="181624" y="1104836"/>
                    </a:cubicBezTo>
                    <a:cubicBezTo>
                      <a:pt x="138282" y="1100192"/>
                      <a:pt x="95456" y="1091937"/>
                      <a:pt x="52114" y="1087293"/>
                    </a:cubicBezTo>
                    <a:cubicBezTo>
                      <a:pt x="27347" y="1084713"/>
                      <a:pt x="9804" y="1074910"/>
                      <a:pt x="1032" y="1051175"/>
                    </a:cubicBezTo>
                    <a:cubicBezTo>
                      <a:pt x="0" y="1028988"/>
                      <a:pt x="0" y="1008348"/>
                      <a:pt x="0" y="987194"/>
                    </a:cubicBezTo>
                    <a:close/>
                    <a:moveTo>
                      <a:pt x="1198616" y="960879"/>
                    </a:moveTo>
                    <a:cubicBezTo>
                      <a:pt x="1200163" y="838592"/>
                      <a:pt x="1104192" y="720433"/>
                      <a:pt x="958686" y="720949"/>
                    </a:cubicBezTo>
                    <a:cubicBezTo>
                      <a:pt x="824016" y="721465"/>
                      <a:pt x="720821" y="824145"/>
                      <a:pt x="720304" y="959331"/>
                    </a:cubicBezTo>
                    <a:cubicBezTo>
                      <a:pt x="719788" y="1096581"/>
                      <a:pt x="827628" y="1197712"/>
                      <a:pt x="957654" y="1198744"/>
                    </a:cubicBezTo>
                    <a:cubicBezTo>
                      <a:pt x="1090776" y="1199776"/>
                      <a:pt x="1198100" y="1092969"/>
                      <a:pt x="1198616" y="960879"/>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51" name="Google Shape;151;p15"/>
              <p:cNvGrpSpPr/>
              <p:nvPr/>
            </p:nvGrpSpPr>
            <p:grpSpPr>
              <a:xfrm>
                <a:off x="7392963" y="2648852"/>
                <a:ext cx="1838947" cy="1835405"/>
                <a:chOff x="7167947" y="1624190"/>
                <a:chExt cx="2677922" cy="2672763"/>
              </a:xfrm>
            </p:grpSpPr>
            <p:sp>
              <p:nvSpPr>
                <p:cNvPr id="152" name="Google Shape;152;p15"/>
                <p:cNvSpPr/>
                <p:nvPr/>
              </p:nvSpPr>
              <p:spPr>
                <a:xfrm>
                  <a:off x="7167947" y="1624190"/>
                  <a:ext cx="2677922" cy="2672763"/>
                </a:xfrm>
                <a:custGeom>
                  <a:avLst/>
                  <a:gdLst/>
                  <a:ahLst/>
                  <a:cxnLst/>
                  <a:rect l="l" t="t" r="r" b="b"/>
                  <a:pathLst>
                    <a:path w="2677922" h="2672762" extrusionOk="0">
                      <a:moveTo>
                        <a:pt x="2538684" y="1897505"/>
                      </a:moveTo>
                      <a:cubicBezTo>
                        <a:pt x="2511337" y="1891313"/>
                        <a:pt x="2483990" y="1885121"/>
                        <a:pt x="2456643" y="1879446"/>
                      </a:cubicBezTo>
                      <a:cubicBezTo>
                        <a:pt x="2434456" y="1874286"/>
                        <a:pt x="2411753" y="1869642"/>
                        <a:pt x="2389566" y="1863966"/>
                      </a:cubicBezTo>
                      <a:cubicBezTo>
                        <a:pt x="2375119" y="1860354"/>
                        <a:pt x="2363767" y="1864482"/>
                        <a:pt x="2354479" y="1874802"/>
                      </a:cubicBezTo>
                      <a:cubicBezTo>
                        <a:pt x="2335389" y="1896989"/>
                        <a:pt x="2320425" y="1922272"/>
                        <a:pt x="2312170" y="1950651"/>
                      </a:cubicBezTo>
                      <a:cubicBezTo>
                        <a:pt x="2308042" y="1964066"/>
                        <a:pt x="2314234" y="1973869"/>
                        <a:pt x="2322489" y="1983157"/>
                      </a:cubicBezTo>
                      <a:cubicBezTo>
                        <a:pt x="2352416" y="2015664"/>
                        <a:pt x="2382858" y="2048170"/>
                        <a:pt x="2412785" y="2080161"/>
                      </a:cubicBezTo>
                      <a:cubicBezTo>
                        <a:pt x="2435488" y="2104412"/>
                        <a:pt x="2436520" y="2118859"/>
                        <a:pt x="2418461" y="2146722"/>
                      </a:cubicBezTo>
                      <a:cubicBezTo>
                        <a:pt x="2417429" y="2148270"/>
                        <a:pt x="2416397" y="2150334"/>
                        <a:pt x="2414849" y="2151882"/>
                      </a:cubicBezTo>
                      <a:cubicBezTo>
                        <a:pt x="2380795" y="2197804"/>
                        <a:pt x="2365831" y="2198320"/>
                        <a:pt x="2324037" y="2174585"/>
                      </a:cubicBezTo>
                      <a:cubicBezTo>
                        <a:pt x="2289982" y="2154978"/>
                        <a:pt x="2253864" y="2137434"/>
                        <a:pt x="2219294" y="2118859"/>
                      </a:cubicBezTo>
                      <a:cubicBezTo>
                        <a:pt x="2204846" y="2111120"/>
                        <a:pt x="2191431" y="2111120"/>
                        <a:pt x="2178531" y="2120407"/>
                      </a:cubicBezTo>
                      <a:cubicBezTo>
                        <a:pt x="2157892" y="2134855"/>
                        <a:pt x="2140349" y="2152398"/>
                        <a:pt x="2125386" y="2172521"/>
                      </a:cubicBezTo>
                      <a:cubicBezTo>
                        <a:pt x="2114550" y="2186968"/>
                        <a:pt x="2114034" y="2201416"/>
                        <a:pt x="2122806" y="2217411"/>
                      </a:cubicBezTo>
                      <a:cubicBezTo>
                        <a:pt x="2143961" y="2256109"/>
                        <a:pt x="2164600" y="2295323"/>
                        <a:pt x="2184723" y="2334538"/>
                      </a:cubicBezTo>
                      <a:cubicBezTo>
                        <a:pt x="2198655" y="2361885"/>
                        <a:pt x="2196591" y="2374268"/>
                        <a:pt x="2174404" y="2395423"/>
                      </a:cubicBezTo>
                      <a:cubicBezTo>
                        <a:pt x="2170792" y="2398519"/>
                        <a:pt x="2167696" y="2402131"/>
                        <a:pt x="2164084" y="2404711"/>
                      </a:cubicBezTo>
                      <a:cubicBezTo>
                        <a:pt x="2131062" y="2428962"/>
                        <a:pt x="2114034" y="2440829"/>
                        <a:pt x="2075336" y="2401615"/>
                      </a:cubicBezTo>
                      <a:cubicBezTo>
                        <a:pt x="2047473" y="2373236"/>
                        <a:pt x="2017547" y="2347953"/>
                        <a:pt x="1988652" y="2320606"/>
                      </a:cubicBezTo>
                      <a:cubicBezTo>
                        <a:pt x="1975236" y="2307707"/>
                        <a:pt x="1960789" y="2305127"/>
                        <a:pt x="1944277" y="2311835"/>
                      </a:cubicBezTo>
                      <a:cubicBezTo>
                        <a:pt x="1922607" y="2320606"/>
                        <a:pt x="1901968" y="2331958"/>
                        <a:pt x="1883392" y="2346405"/>
                      </a:cubicBezTo>
                      <a:cubicBezTo>
                        <a:pt x="1867913" y="2358273"/>
                        <a:pt x="1863785" y="2373236"/>
                        <a:pt x="1868429" y="2391811"/>
                      </a:cubicBezTo>
                      <a:cubicBezTo>
                        <a:pt x="1879264" y="2436701"/>
                        <a:pt x="1889584" y="2482107"/>
                        <a:pt x="1899388" y="2526997"/>
                      </a:cubicBezTo>
                      <a:cubicBezTo>
                        <a:pt x="1903516" y="2546604"/>
                        <a:pt x="1896808" y="2561568"/>
                        <a:pt x="1879264" y="2571887"/>
                      </a:cubicBezTo>
                      <a:cubicBezTo>
                        <a:pt x="1867397" y="2579111"/>
                        <a:pt x="1854498" y="2584787"/>
                        <a:pt x="1841082" y="2588915"/>
                      </a:cubicBezTo>
                      <a:cubicBezTo>
                        <a:pt x="1813736" y="2597686"/>
                        <a:pt x="1798256" y="2592526"/>
                        <a:pt x="1782777" y="2568276"/>
                      </a:cubicBezTo>
                      <a:cubicBezTo>
                        <a:pt x="1760074" y="2532157"/>
                        <a:pt x="1736855" y="2496555"/>
                        <a:pt x="1715184" y="2459404"/>
                      </a:cubicBezTo>
                      <a:cubicBezTo>
                        <a:pt x="1703316" y="2439281"/>
                        <a:pt x="1687837" y="2431542"/>
                        <a:pt x="1664618" y="2435669"/>
                      </a:cubicBezTo>
                      <a:cubicBezTo>
                        <a:pt x="1646043" y="2439281"/>
                        <a:pt x="1627984" y="2443925"/>
                        <a:pt x="1610440" y="2450117"/>
                      </a:cubicBezTo>
                      <a:cubicBezTo>
                        <a:pt x="1586190" y="2458888"/>
                        <a:pt x="1578450" y="2469208"/>
                        <a:pt x="1577418" y="2495007"/>
                      </a:cubicBezTo>
                      <a:cubicBezTo>
                        <a:pt x="1575870" y="2535769"/>
                        <a:pt x="1574838" y="2576015"/>
                        <a:pt x="1573806" y="2616777"/>
                      </a:cubicBezTo>
                      <a:cubicBezTo>
                        <a:pt x="1572774" y="2653928"/>
                        <a:pt x="1563487" y="2665795"/>
                        <a:pt x="1526852" y="2672503"/>
                      </a:cubicBezTo>
                      <a:cubicBezTo>
                        <a:pt x="1517049" y="2674567"/>
                        <a:pt x="1507245" y="2675599"/>
                        <a:pt x="1497441" y="2676115"/>
                      </a:cubicBezTo>
                      <a:cubicBezTo>
                        <a:pt x="1473191" y="2677663"/>
                        <a:pt x="1457711" y="2667859"/>
                        <a:pt x="1449972" y="2644124"/>
                      </a:cubicBezTo>
                      <a:cubicBezTo>
                        <a:pt x="1436040" y="2600782"/>
                        <a:pt x="1422624" y="2557956"/>
                        <a:pt x="1410241" y="2514614"/>
                      </a:cubicBezTo>
                      <a:cubicBezTo>
                        <a:pt x="1404565" y="2495007"/>
                        <a:pt x="1392698" y="2485719"/>
                        <a:pt x="1373091" y="2482623"/>
                      </a:cubicBezTo>
                      <a:cubicBezTo>
                        <a:pt x="1350388" y="2479527"/>
                        <a:pt x="1327685" y="2479527"/>
                        <a:pt x="1304982" y="2483139"/>
                      </a:cubicBezTo>
                      <a:cubicBezTo>
                        <a:pt x="1287955" y="2485719"/>
                        <a:pt x="1277119" y="2494491"/>
                        <a:pt x="1271959" y="2511518"/>
                      </a:cubicBezTo>
                      <a:cubicBezTo>
                        <a:pt x="1260092" y="2552280"/>
                        <a:pt x="1247192" y="2593042"/>
                        <a:pt x="1234293" y="2633805"/>
                      </a:cubicBezTo>
                      <a:cubicBezTo>
                        <a:pt x="1222941" y="2670439"/>
                        <a:pt x="1208494" y="2679727"/>
                        <a:pt x="1170828" y="2674567"/>
                      </a:cubicBezTo>
                      <a:cubicBezTo>
                        <a:pt x="1114070" y="2666827"/>
                        <a:pt x="1107362" y="2659087"/>
                        <a:pt x="1106847" y="2602330"/>
                      </a:cubicBezTo>
                      <a:cubicBezTo>
                        <a:pt x="1106331" y="2565180"/>
                        <a:pt x="1104783" y="2528545"/>
                        <a:pt x="1103751" y="2491395"/>
                      </a:cubicBezTo>
                      <a:cubicBezTo>
                        <a:pt x="1103234" y="2474368"/>
                        <a:pt x="1096527" y="2460952"/>
                        <a:pt x="1080532" y="2454244"/>
                      </a:cubicBezTo>
                      <a:cubicBezTo>
                        <a:pt x="1056281" y="2443925"/>
                        <a:pt x="1031514" y="2436701"/>
                        <a:pt x="1005199" y="2435153"/>
                      </a:cubicBezTo>
                      <a:cubicBezTo>
                        <a:pt x="989203" y="2434121"/>
                        <a:pt x="977852" y="2440313"/>
                        <a:pt x="969080" y="2454244"/>
                      </a:cubicBezTo>
                      <a:cubicBezTo>
                        <a:pt x="946894" y="2491395"/>
                        <a:pt x="923159" y="2527513"/>
                        <a:pt x="900456" y="2564148"/>
                      </a:cubicBezTo>
                      <a:cubicBezTo>
                        <a:pt x="882396" y="2593042"/>
                        <a:pt x="868465" y="2598202"/>
                        <a:pt x="836474" y="2587367"/>
                      </a:cubicBezTo>
                      <a:cubicBezTo>
                        <a:pt x="834926" y="2586851"/>
                        <a:pt x="833379" y="2586335"/>
                        <a:pt x="831830" y="2585819"/>
                      </a:cubicBezTo>
                      <a:cubicBezTo>
                        <a:pt x="782297" y="2565696"/>
                        <a:pt x="772493" y="2554344"/>
                        <a:pt x="785392" y="2504810"/>
                      </a:cubicBezTo>
                      <a:cubicBezTo>
                        <a:pt x="795196" y="2467144"/>
                        <a:pt x="802420" y="2428962"/>
                        <a:pt x="811707" y="2390779"/>
                      </a:cubicBezTo>
                      <a:cubicBezTo>
                        <a:pt x="816351" y="2371172"/>
                        <a:pt x="811191" y="2356209"/>
                        <a:pt x="794680" y="2344341"/>
                      </a:cubicBezTo>
                      <a:cubicBezTo>
                        <a:pt x="777137" y="2331958"/>
                        <a:pt x="759078" y="2321122"/>
                        <a:pt x="739470" y="2312351"/>
                      </a:cubicBezTo>
                      <a:cubicBezTo>
                        <a:pt x="720895" y="2304095"/>
                        <a:pt x="704900" y="2307191"/>
                        <a:pt x="689421" y="2321638"/>
                      </a:cubicBezTo>
                      <a:cubicBezTo>
                        <a:pt x="658462" y="2351049"/>
                        <a:pt x="626988" y="2379944"/>
                        <a:pt x="596029" y="2408838"/>
                      </a:cubicBezTo>
                      <a:cubicBezTo>
                        <a:pt x="572810" y="2431026"/>
                        <a:pt x="557847" y="2432057"/>
                        <a:pt x="530500" y="2415030"/>
                      </a:cubicBezTo>
                      <a:cubicBezTo>
                        <a:pt x="527404" y="2412966"/>
                        <a:pt x="524308" y="2410902"/>
                        <a:pt x="521212" y="2408838"/>
                      </a:cubicBezTo>
                      <a:cubicBezTo>
                        <a:pt x="481482" y="2380460"/>
                        <a:pt x="477870" y="2365496"/>
                        <a:pt x="500573" y="2322670"/>
                      </a:cubicBezTo>
                      <a:cubicBezTo>
                        <a:pt x="519148" y="2287584"/>
                        <a:pt x="537207" y="2252497"/>
                        <a:pt x="556298" y="2217927"/>
                      </a:cubicBezTo>
                      <a:cubicBezTo>
                        <a:pt x="566102" y="2199868"/>
                        <a:pt x="564555" y="2184388"/>
                        <a:pt x="552171" y="2168909"/>
                      </a:cubicBezTo>
                      <a:cubicBezTo>
                        <a:pt x="538756" y="2151882"/>
                        <a:pt x="523276" y="2136402"/>
                        <a:pt x="505733" y="2122987"/>
                      </a:cubicBezTo>
                      <a:cubicBezTo>
                        <a:pt x="490254" y="2111120"/>
                        <a:pt x="474774" y="2110088"/>
                        <a:pt x="457747" y="2119375"/>
                      </a:cubicBezTo>
                      <a:cubicBezTo>
                        <a:pt x="419564" y="2140014"/>
                        <a:pt x="380866" y="2160653"/>
                        <a:pt x="341652" y="2180777"/>
                      </a:cubicBezTo>
                      <a:cubicBezTo>
                        <a:pt x="314305" y="2195224"/>
                        <a:pt x="298310" y="2191612"/>
                        <a:pt x="278187" y="2168909"/>
                      </a:cubicBezTo>
                      <a:cubicBezTo>
                        <a:pt x="276639" y="2167361"/>
                        <a:pt x="275607" y="2165813"/>
                        <a:pt x="274059" y="2164265"/>
                      </a:cubicBezTo>
                      <a:cubicBezTo>
                        <a:pt x="238456" y="2122987"/>
                        <a:pt x="238972" y="2108540"/>
                        <a:pt x="276639" y="2069325"/>
                      </a:cubicBezTo>
                      <a:cubicBezTo>
                        <a:pt x="302954" y="2041463"/>
                        <a:pt x="327721" y="2013084"/>
                        <a:pt x="354551" y="1986253"/>
                      </a:cubicBezTo>
                      <a:cubicBezTo>
                        <a:pt x="367967" y="1972322"/>
                        <a:pt x="370547" y="1957874"/>
                        <a:pt x="363839" y="1940847"/>
                      </a:cubicBezTo>
                      <a:cubicBezTo>
                        <a:pt x="355067" y="1918660"/>
                        <a:pt x="342684" y="1898021"/>
                        <a:pt x="328237" y="1878930"/>
                      </a:cubicBezTo>
                      <a:cubicBezTo>
                        <a:pt x="316369" y="1863450"/>
                        <a:pt x="300374" y="1861902"/>
                        <a:pt x="283347" y="1866030"/>
                      </a:cubicBezTo>
                      <a:cubicBezTo>
                        <a:pt x="245680" y="1874802"/>
                        <a:pt x="208530" y="1883573"/>
                        <a:pt x="170864" y="1891829"/>
                      </a:cubicBezTo>
                      <a:cubicBezTo>
                        <a:pt x="165704" y="1892861"/>
                        <a:pt x="160544" y="1894409"/>
                        <a:pt x="155900" y="1895441"/>
                      </a:cubicBezTo>
                      <a:cubicBezTo>
                        <a:pt x="127521" y="1900601"/>
                        <a:pt x="113074" y="1893893"/>
                        <a:pt x="100175" y="1868094"/>
                      </a:cubicBezTo>
                      <a:cubicBezTo>
                        <a:pt x="95531" y="1858291"/>
                        <a:pt x="90887" y="1848487"/>
                        <a:pt x="87275" y="1838168"/>
                      </a:cubicBezTo>
                      <a:cubicBezTo>
                        <a:pt x="77988" y="1810821"/>
                        <a:pt x="83147" y="1795341"/>
                        <a:pt x="107915" y="1779862"/>
                      </a:cubicBezTo>
                      <a:cubicBezTo>
                        <a:pt x="143001" y="1757675"/>
                        <a:pt x="178603" y="1735488"/>
                        <a:pt x="213690" y="1713817"/>
                      </a:cubicBezTo>
                      <a:cubicBezTo>
                        <a:pt x="241552" y="1696274"/>
                        <a:pt x="245680" y="1686470"/>
                        <a:pt x="238972" y="1654480"/>
                      </a:cubicBezTo>
                      <a:cubicBezTo>
                        <a:pt x="234845" y="1636420"/>
                        <a:pt x="230201" y="1617845"/>
                        <a:pt x="222977" y="1600818"/>
                      </a:cubicBezTo>
                      <a:cubicBezTo>
                        <a:pt x="215753" y="1583791"/>
                        <a:pt x="203370" y="1575535"/>
                        <a:pt x="184279" y="1575019"/>
                      </a:cubicBezTo>
                      <a:cubicBezTo>
                        <a:pt x="142485" y="1574503"/>
                        <a:pt x="101207" y="1572955"/>
                        <a:pt x="59413" y="1571407"/>
                      </a:cubicBezTo>
                      <a:cubicBezTo>
                        <a:pt x="21746" y="1570375"/>
                        <a:pt x="10395" y="1560572"/>
                        <a:pt x="3687" y="1524453"/>
                      </a:cubicBezTo>
                      <a:cubicBezTo>
                        <a:pt x="3171" y="1520841"/>
                        <a:pt x="2139" y="1517230"/>
                        <a:pt x="1623" y="1513618"/>
                      </a:cubicBezTo>
                      <a:cubicBezTo>
                        <a:pt x="-4053" y="1467696"/>
                        <a:pt x="3687" y="1455828"/>
                        <a:pt x="48577" y="1442413"/>
                      </a:cubicBezTo>
                      <a:cubicBezTo>
                        <a:pt x="85727" y="1431061"/>
                        <a:pt x="122877" y="1418678"/>
                        <a:pt x="160544" y="1408358"/>
                      </a:cubicBezTo>
                      <a:cubicBezTo>
                        <a:pt x="181183" y="1402683"/>
                        <a:pt x="192018" y="1390815"/>
                        <a:pt x="194083" y="1370692"/>
                      </a:cubicBezTo>
                      <a:cubicBezTo>
                        <a:pt x="196147" y="1346957"/>
                        <a:pt x="197178" y="1322706"/>
                        <a:pt x="192534" y="1298971"/>
                      </a:cubicBezTo>
                      <a:cubicBezTo>
                        <a:pt x="189954" y="1283492"/>
                        <a:pt x="181183" y="1274204"/>
                        <a:pt x="166220" y="1269560"/>
                      </a:cubicBezTo>
                      <a:cubicBezTo>
                        <a:pt x="126490" y="1257693"/>
                        <a:pt x="86759" y="1245310"/>
                        <a:pt x="47029" y="1232926"/>
                      </a:cubicBezTo>
                      <a:cubicBezTo>
                        <a:pt x="3687" y="1219511"/>
                        <a:pt x="-957" y="1212287"/>
                        <a:pt x="1623" y="1166881"/>
                      </a:cubicBezTo>
                      <a:cubicBezTo>
                        <a:pt x="2139" y="1157593"/>
                        <a:pt x="4203" y="1148306"/>
                        <a:pt x="6267" y="1139534"/>
                      </a:cubicBezTo>
                      <a:cubicBezTo>
                        <a:pt x="12459" y="1116831"/>
                        <a:pt x="25358" y="1106512"/>
                        <a:pt x="49093" y="1105480"/>
                      </a:cubicBezTo>
                      <a:cubicBezTo>
                        <a:pt x="87791" y="1103932"/>
                        <a:pt x="125974" y="1102900"/>
                        <a:pt x="164672" y="1101868"/>
                      </a:cubicBezTo>
                      <a:cubicBezTo>
                        <a:pt x="170348" y="1101868"/>
                        <a:pt x="176023" y="1101352"/>
                        <a:pt x="181699" y="1101352"/>
                      </a:cubicBezTo>
                      <a:cubicBezTo>
                        <a:pt x="207498" y="1102384"/>
                        <a:pt x="220913" y="1087936"/>
                        <a:pt x="227621" y="1065233"/>
                      </a:cubicBezTo>
                      <a:cubicBezTo>
                        <a:pt x="232781" y="1048206"/>
                        <a:pt x="237425" y="1031179"/>
                        <a:pt x="241036" y="1014152"/>
                      </a:cubicBezTo>
                      <a:cubicBezTo>
                        <a:pt x="245680" y="990417"/>
                        <a:pt x="240005" y="979065"/>
                        <a:pt x="219366" y="965650"/>
                      </a:cubicBezTo>
                      <a:cubicBezTo>
                        <a:pt x="184279" y="943463"/>
                        <a:pt x="148676" y="921276"/>
                        <a:pt x="113590" y="899605"/>
                      </a:cubicBezTo>
                      <a:cubicBezTo>
                        <a:pt x="82116" y="879997"/>
                        <a:pt x="77472" y="867614"/>
                        <a:pt x="89855" y="832012"/>
                      </a:cubicBezTo>
                      <a:cubicBezTo>
                        <a:pt x="93467" y="820660"/>
                        <a:pt x="98111" y="809309"/>
                        <a:pt x="104818" y="799505"/>
                      </a:cubicBezTo>
                      <a:cubicBezTo>
                        <a:pt x="115654" y="782994"/>
                        <a:pt x="130617" y="774738"/>
                        <a:pt x="151256" y="779898"/>
                      </a:cubicBezTo>
                      <a:cubicBezTo>
                        <a:pt x="195114" y="790217"/>
                        <a:pt x="239489" y="799505"/>
                        <a:pt x="283347" y="810341"/>
                      </a:cubicBezTo>
                      <a:cubicBezTo>
                        <a:pt x="303469" y="815500"/>
                        <a:pt x="318949" y="810857"/>
                        <a:pt x="331332" y="794345"/>
                      </a:cubicBezTo>
                      <a:cubicBezTo>
                        <a:pt x="344232" y="776802"/>
                        <a:pt x="355584" y="757711"/>
                        <a:pt x="363839" y="737588"/>
                      </a:cubicBezTo>
                      <a:cubicBezTo>
                        <a:pt x="371063" y="719529"/>
                        <a:pt x="368999" y="704049"/>
                        <a:pt x="354551" y="689086"/>
                      </a:cubicBezTo>
                      <a:cubicBezTo>
                        <a:pt x="324625" y="658643"/>
                        <a:pt x="296246" y="627169"/>
                        <a:pt x="266835" y="595694"/>
                      </a:cubicBezTo>
                      <a:cubicBezTo>
                        <a:pt x="244132" y="570927"/>
                        <a:pt x="243100" y="556996"/>
                        <a:pt x="261675" y="529133"/>
                      </a:cubicBezTo>
                      <a:cubicBezTo>
                        <a:pt x="264771" y="525005"/>
                        <a:pt x="267351" y="520361"/>
                        <a:pt x="270447" y="516233"/>
                      </a:cubicBezTo>
                      <a:cubicBezTo>
                        <a:pt x="296762" y="481663"/>
                        <a:pt x="311209" y="478567"/>
                        <a:pt x="349907" y="498690"/>
                      </a:cubicBezTo>
                      <a:cubicBezTo>
                        <a:pt x="386026" y="517781"/>
                        <a:pt x="422144" y="536357"/>
                        <a:pt x="457231" y="555964"/>
                      </a:cubicBezTo>
                      <a:cubicBezTo>
                        <a:pt x="475806" y="566283"/>
                        <a:pt x="492318" y="564219"/>
                        <a:pt x="507797" y="551320"/>
                      </a:cubicBezTo>
                      <a:cubicBezTo>
                        <a:pt x="523276" y="538421"/>
                        <a:pt x="537723" y="523973"/>
                        <a:pt x="551139" y="508494"/>
                      </a:cubicBezTo>
                      <a:cubicBezTo>
                        <a:pt x="564555" y="492499"/>
                        <a:pt x="567650" y="476503"/>
                        <a:pt x="556815" y="456896"/>
                      </a:cubicBezTo>
                      <a:cubicBezTo>
                        <a:pt x="535143" y="418198"/>
                        <a:pt x="515020" y="378983"/>
                        <a:pt x="494381" y="339769"/>
                      </a:cubicBezTo>
                      <a:cubicBezTo>
                        <a:pt x="480966" y="313970"/>
                        <a:pt x="484062" y="300039"/>
                        <a:pt x="505217" y="280432"/>
                      </a:cubicBezTo>
                      <a:cubicBezTo>
                        <a:pt x="515020" y="271144"/>
                        <a:pt x="525856" y="263405"/>
                        <a:pt x="537723" y="256181"/>
                      </a:cubicBezTo>
                      <a:cubicBezTo>
                        <a:pt x="558362" y="244313"/>
                        <a:pt x="572810" y="245861"/>
                        <a:pt x="590353" y="261857"/>
                      </a:cubicBezTo>
                      <a:cubicBezTo>
                        <a:pt x="620280" y="289203"/>
                        <a:pt x="650207" y="317066"/>
                        <a:pt x="679617" y="344929"/>
                      </a:cubicBezTo>
                      <a:cubicBezTo>
                        <a:pt x="710576" y="374340"/>
                        <a:pt x="717284" y="375372"/>
                        <a:pt x="754950" y="355765"/>
                      </a:cubicBezTo>
                      <a:cubicBezTo>
                        <a:pt x="769913" y="348025"/>
                        <a:pt x="783845" y="339769"/>
                        <a:pt x="797260" y="329450"/>
                      </a:cubicBezTo>
                      <a:cubicBezTo>
                        <a:pt x="811707" y="317582"/>
                        <a:pt x="816351" y="303651"/>
                        <a:pt x="811707" y="285076"/>
                      </a:cubicBezTo>
                      <a:cubicBezTo>
                        <a:pt x="800872" y="242249"/>
                        <a:pt x="791585" y="198907"/>
                        <a:pt x="781781" y="156081"/>
                      </a:cubicBezTo>
                      <a:cubicBezTo>
                        <a:pt x="775589" y="128218"/>
                        <a:pt x="782297" y="114287"/>
                        <a:pt x="807064" y="100872"/>
                      </a:cubicBezTo>
                      <a:cubicBezTo>
                        <a:pt x="818415" y="95196"/>
                        <a:pt x="829766" y="90552"/>
                        <a:pt x="841634" y="86424"/>
                      </a:cubicBezTo>
                      <a:cubicBezTo>
                        <a:pt x="866917" y="78685"/>
                        <a:pt x="881364" y="83328"/>
                        <a:pt x="896328" y="106031"/>
                      </a:cubicBezTo>
                      <a:cubicBezTo>
                        <a:pt x="920062" y="142666"/>
                        <a:pt x="943798" y="179300"/>
                        <a:pt x="965469" y="217483"/>
                      </a:cubicBezTo>
                      <a:cubicBezTo>
                        <a:pt x="976820" y="237090"/>
                        <a:pt x="992299" y="243797"/>
                        <a:pt x="1013455" y="240702"/>
                      </a:cubicBezTo>
                      <a:cubicBezTo>
                        <a:pt x="1035641" y="237090"/>
                        <a:pt x="1057313" y="231414"/>
                        <a:pt x="1077952" y="222642"/>
                      </a:cubicBezTo>
                      <a:cubicBezTo>
                        <a:pt x="1092915" y="215935"/>
                        <a:pt x="1101171" y="205615"/>
                        <a:pt x="1101687" y="188072"/>
                      </a:cubicBezTo>
                      <a:cubicBezTo>
                        <a:pt x="1102719" y="143182"/>
                        <a:pt x="1105298" y="98808"/>
                        <a:pt x="1106847" y="53918"/>
                      </a:cubicBezTo>
                      <a:cubicBezTo>
                        <a:pt x="1107878" y="25023"/>
                        <a:pt x="1117166" y="12640"/>
                        <a:pt x="1145029" y="4900"/>
                      </a:cubicBezTo>
                      <a:cubicBezTo>
                        <a:pt x="1149672" y="3868"/>
                        <a:pt x="1154316" y="2320"/>
                        <a:pt x="1158960" y="1804"/>
                      </a:cubicBezTo>
                      <a:cubicBezTo>
                        <a:pt x="1210042" y="-3872"/>
                        <a:pt x="1222426" y="1804"/>
                        <a:pt x="1235841" y="48758"/>
                      </a:cubicBezTo>
                      <a:cubicBezTo>
                        <a:pt x="1246676" y="86940"/>
                        <a:pt x="1259576" y="124091"/>
                        <a:pt x="1269895" y="162273"/>
                      </a:cubicBezTo>
                      <a:cubicBezTo>
                        <a:pt x="1275055" y="180332"/>
                        <a:pt x="1285890" y="190136"/>
                        <a:pt x="1303434" y="192716"/>
                      </a:cubicBezTo>
                      <a:cubicBezTo>
                        <a:pt x="1327685" y="195812"/>
                        <a:pt x="1352452" y="195812"/>
                        <a:pt x="1376702" y="192716"/>
                      </a:cubicBezTo>
                      <a:cubicBezTo>
                        <a:pt x="1393730" y="190652"/>
                        <a:pt x="1404049" y="180332"/>
                        <a:pt x="1409209" y="163305"/>
                      </a:cubicBezTo>
                      <a:cubicBezTo>
                        <a:pt x="1421593" y="121511"/>
                        <a:pt x="1434492" y="79717"/>
                        <a:pt x="1447392" y="37922"/>
                      </a:cubicBezTo>
                      <a:cubicBezTo>
                        <a:pt x="1457195" y="6964"/>
                        <a:pt x="1466998" y="-260"/>
                        <a:pt x="1499505" y="256"/>
                      </a:cubicBezTo>
                      <a:cubicBezTo>
                        <a:pt x="1504149" y="256"/>
                        <a:pt x="1508793" y="256"/>
                        <a:pt x="1513436" y="772"/>
                      </a:cubicBezTo>
                      <a:cubicBezTo>
                        <a:pt x="1559358" y="5416"/>
                        <a:pt x="1572258" y="19347"/>
                        <a:pt x="1573290" y="65269"/>
                      </a:cubicBezTo>
                      <a:cubicBezTo>
                        <a:pt x="1574322" y="105515"/>
                        <a:pt x="1575870" y="145246"/>
                        <a:pt x="1576902" y="185492"/>
                      </a:cubicBezTo>
                      <a:cubicBezTo>
                        <a:pt x="1577418" y="201487"/>
                        <a:pt x="1583093" y="213871"/>
                        <a:pt x="1598057" y="220578"/>
                      </a:cubicBezTo>
                      <a:cubicBezTo>
                        <a:pt x="1622308" y="231414"/>
                        <a:pt x="1647590" y="238638"/>
                        <a:pt x="1674422" y="240702"/>
                      </a:cubicBezTo>
                      <a:cubicBezTo>
                        <a:pt x="1690933" y="241733"/>
                        <a:pt x="1702285" y="235026"/>
                        <a:pt x="1710540" y="221610"/>
                      </a:cubicBezTo>
                      <a:cubicBezTo>
                        <a:pt x="1733243" y="184976"/>
                        <a:pt x="1756462" y="148342"/>
                        <a:pt x="1779165" y="111707"/>
                      </a:cubicBezTo>
                      <a:cubicBezTo>
                        <a:pt x="1798772" y="80749"/>
                        <a:pt x="1810640" y="76621"/>
                        <a:pt x="1845726" y="88488"/>
                      </a:cubicBezTo>
                      <a:cubicBezTo>
                        <a:pt x="1849854" y="90036"/>
                        <a:pt x="1853466" y="91068"/>
                        <a:pt x="1857594" y="92616"/>
                      </a:cubicBezTo>
                      <a:cubicBezTo>
                        <a:pt x="1898356" y="110159"/>
                        <a:pt x="1905063" y="123059"/>
                        <a:pt x="1895260" y="166401"/>
                      </a:cubicBezTo>
                      <a:cubicBezTo>
                        <a:pt x="1886488" y="205099"/>
                        <a:pt x="1877717" y="243281"/>
                        <a:pt x="1868429" y="281980"/>
                      </a:cubicBezTo>
                      <a:cubicBezTo>
                        <a:pt x="1863269" y="303135"/>
                        <a:pt x="1868429" y="319646"/>
                        <a:pt x="1887004" y="332030"/>
                      </a:cubicBezTo>
                      <a:cubicBezTo>
                        <a:pt x="1906096" y="344929"/>
                        <a:pt x="1925187" y="356796"/>
                        <a:pt x="1946857" y="365052"/>
                      </a:cubicBezTo>
                      <a:cubicBezTo>
                        <a:pt x="1962337" y="370728"/>
                        <a:pt x="1974720" y="367116"/>
                        <a:pt x="1986588" y="355765"/>
                      </a:cubicBezTo>
                      <a:cubicBezTo>
                        <a:pt x="2018062" y="325838"/>
                        <a:pt x="2049537" y="296943"/>
                        <a:pt x="2081528" y="267532"/>
                      </a:cubicBezTo>
                      <a:cubicBezTo>
                        <a:pt x="2107843" y="242765"/>
                        <a:pt x="2122290" y="241733"/>
                        <a:pt x="2151701" y="261857"/>
                      </a:cubicBezTo>
                      <a:cubicBezTo>
                        <a:pt x="2153248" y="262889"/>
                        <a:pt x="2154281" y="263405"/>
                        <a:pt x="2155312" y="264437"/>
                      </a:cubicBezTo>
                      <a:cubicBezTo>
                        <a:pt x="2205363" y="300555"/>
                        <a:pt x="2198139" y="316034"/>
                        <a:pt x="2177500" y="353701"/>
                      </a:cubicBezTo>
                      <a:cubicBezTo>
                        <a:pt x="2158925" y="387755"/>
                        <a:pt x="2141381" y="422842"/>
                        <a:pt x="2122290" y="456896"/>
                      </a:cubicBezTo>
                      <a:cubicBezTo>
                        <a:pt x="2112487" y="474955"/>
                        <a:pt x="2114550" y="490435"/>
                        <a:pt x="2126934" y="505914"/>
                      </a:cubicBezTo>
                      <a:cubicBezTo>
                        <a:pt x="2140865" y="522941"/>
                        <a:pt x="2156345" y="538421"/>
                        <a:pt x="2173372" y="551836"/>
                      </a:cubicBezTo>
                      <a:cubicBezTo>
                        <a:pt x="2187819" y="563187"/>
                        <a:pt x="2202783" y="564735"/>
                        <a:pt x="2219810" y="555964"/>
                      </a:cubicBezTo>
                      <a:cubicBezTo>
                        <a:pt x="2258508" y="534809"/>
                        <a:pt x="2297722" y="514170"/>
                        <a:pt x="2336937" y="494046"/>
                      </a:cubicBezTo>
                      <a:cubicBezTo>
                        <a:pt x="2364799" y="479599"/>
                        <a:pt x="2380795" y="482695"/>
                        <a:pt x="2400917" y="507462"/>
                      </a:cubicBezTo>
                      <a:cubicBezTo>
                        <a:pt x="2408141" y="515717"/>
                        <a:pt x="2414849" y="524489"/>
                        <a:pt x="2420525" y="533777"/>
                      </a:cubicBezTo>
                      <a:cubicBezTo>
                        <a:pt x="2434972" y="556480"/>
                        <a:pt x="2433424" y="571443"/>
                        <a:pt x="2415365" y="591566"/>
                      </a:cubicBezTo>
                      <a:cubicBezTo>
                        <a:pt x="2384406" y="625105"/>
                        <a:pt x="2353448" y="659159"/>
                        <a:pt x="2321973" y="692182"/>
                      </a:cubicBezTo>
                      <a:cubicBezTo>
                        <a:pt x="2310106" y="704565"/>
                        <a:pt x="2307526" y="717981"/>
                        <a:pt x="2313718" y="733460"/>
                      </a:cubicBezTo>
                      <a:cubicBezTo>
                        <a:pt x="2323005" y="755647"/>
                        <a:pt x="2334357" y="776286"/>
                        <a:pt x="2349320" y="795377"/>
                      </a:cubicBezTo>
                      <a:cubicBezTo>
                        <a:pt x="2361187" y="810857"/>
                        <a:pt x="2375635" y="814984"/>
                        <a:pt x="2394726" y="810341"/>
                      </a:cubicBezTo>
                      <a:cubicBezTo>
                        <a:pt x="2438584" y="799505"/>
                        <a:pt x="2482958" y="789701"/>
                        <a:pt x="2526816" y="780414"/>
                      </a:cubicBezTo>
                      <a:cubicBezTo>
                        <a:pt x="2550035" y="775254"/>
                        <a:pt x="2563967" y="781962"/>
                        <a:pt x="2575834" y="803117"/>
                      </a:cubicBezTo>
                      <a:cubicBezTo>
                        <a:pt x="2582026" y="814468"/>
                        <a:pt x="2587186" y="826336"/>
                        <a:pt x="2591313" y="838719"/>
                      </a:cubicBezTo>
                      <a:cubicBezTo>
                        <a:pt x="2600085" y="867098"/>
                        <a:pt x="2595441" y="880514"/>
                        <a:pt x="2570158" y="896509"/>
                      </a:cubicBezTo>
                      <a:cubicBezTo>
                        <a:pt x="2534040" y="919212"/>
                        <a:pt x="2498437" y="942947"/>
                        <a:pt x="2461287" y="964102"/>
                      </a:cubicBezTo>
                      <a:cubicBezTo>
                        <a:pt x="2440132" y="976485"/>
                        <a:pt x="2434456" y="992997"/>
                        <a:pt x="2438068" y="1014668"/>
                      </a:cubicBezTo>
                      <a:cubicBezTo>
                        <a:pt x="2441164" y="1034791"/>
                        <a:pt x="2446840" y="1054398"/>
                        <a:pt x="2454063" y="1073489"/>
                      </a:cubicBezTo>
                      <a:cubicBezTo>
                        <a:pt x="2460771" y="1091032"/>
                        <a:pt x="2472638" y="1100320"/>
                        <a:pt x="2492762" y="1100836"/>
                      </a:cubicBezTo>
                      <a:cubicBezTo>
                        <a:pt x="2538168" y="1101352"/>
                        <a:pt x="2583058" y="1104448"/>
                        <a:pt x="2628464" y="1105996"/>
                      </a:cubicBezTo>
                      <a:cubicBezTo>
                        <a:pt x="2653230" y="1107028"/>
                        <a:pt x="2665614" y="1116831"/>
                        <a:pt x="2672322" y="1140566"/>
                      </a:cubicBezTo>
                      <a:cubicBezTo>
                        <a:pt x="2676449" y="1153982"/>
                        <a:pt x="2677998" y="1167913"/>
                        <a:pt x="2677998" y="1182360"/>
                      </a:cubicBezTo>
                      <a:cubicBezTo>
                        <a:pt x="2677998" y="1210223"/>
                        <a:pt x="2670258" y="1221575"/>
                        <a:pt x="2644459" y="1229830"/>
                      </a:cubicBezTo>
                      <a:cubicBezTo>
                        <a:pt x="2603697" y="1242730"/>
                        <a:pt x="2562934" y="1255113"/>
                        <a:pt x="2522172" y="1267497"/>
                      </a:cubicBezTo>
                      <a:cubicBezTo>
                        <a:pt x="2492762" y="1276268"/>
                        <a:pt x="2485022" y="1285556"/>
                        <a:pt x="2483990" y="1315998"/>
                      </a:cubicBezTo>
                      <a:cubicBezTo>
                        <a:pt x="2483474" y="1337153"/>
                        <a:pt x="2481926" y="1358824"/>
                        <a:pt x="2486570" y="1379980"/>
                      </a:cubicBezTo>
                      <a:cubicBezTo>
                        <a:pt x="2489666" y="1394427"/>
                        <a:pt x="2498437" y="1403199"/>
                        <a:pt x="2512885" y="1407842"/>
                      </a:cubicBezTo>
                      <a:cubicBezTo>
                        <a:pt x="2555711" y="1420742"/>
                        <a:pt x="2598537" y="1433641"/>
                        <a:pt x="2641363" y="1447057"/>
                      </a:cubicBezTo>
                      <a:cubicBezTo>
                        <a:pt x="2671290" y="1456344"/>
                        <a:pt x="2678514" y="1466664"/>
                        <a:pt x="2677998" y="1498138"/>
                      </a:cubicBezTo>
                      <a:cubicBezTo>
                        <a:pt x="2677998" y="1501234"/>
                        <a:pt x="2677998" y="1504330"/>
                        <a:pt x="2677998" y="1507426"/>
                      </a:cubicBezTo>
                      <a:cubicBezTo>
                        <a:pt x="2675934" y="1555928"/>
                        <a:pt x="2660454" y="1571407"/>
                        <a:pt x="2611952" y="1572955"/>
                      </a:cubicBezTo>
                      <a:cubicBezTo>
                        <a:pt x="2571190" y="1573987"/>
                        <a:pt x="2530944" y="1576051"/>
                        <a:pt x="2490182" y="1576567"/>
                      </a:cubicBezTo>
                      <a:cubicBezTo>
                        <a:pt x="2474702" y="1577083"/>
                        <a:pt x="2463867" y="1583791"/>
                        <a:pt x="2457675" y="1596690"/>
                      </a:cubicBezTo>
                      <a:cubicBezTo>
                        <a:pt x="2446324" y="1620941"/>
                        <a:pt x="2439100" y="1646224"/>
                        <a:pt x="2437036" y="1673055"/>
                      </a:cubicBezTo>
                      <a:cubicBezTo>
                        <a:pt x="2435488" y="1690082"/>
                        <a:pt x="2442712" y="1701434"/>
                        <a:pt x="2457159" y="1710205"/>
                      </a:cubicBezTo>
                      <a:cubicBezTo>
                        <a:pt x="2493278" y="1732392"/>
                        <a:pt x="2528880" y="1754579"/>
                        <a:pt x="2564483" y="1777282"/>
                      </a:cubicBezTo>
                      <a:cubicBezTo>
                        <a:pt x="2596989" y="1797405"/>
                        <a:pt x="2601117" y="1809789"/>
                        <a:pt x="2588733" y="1845907"/>
                      </a:cubicBezTo>
                      <a:cubicBezTo>
                        <a:pt x="2584606" y="1858291"/>
                        <a:pt x="2578930" y="1870158"/>
                        <a:pt x="2571706" y="1880994"/>
                      </a:cubicBezTo>
                      <a:cubicBezTo>
                        <a:pt x="2564998" y="1890797"/>
                        <a:pt x="2554163" y="1897505"/>
                        <a:pt x="2538684" y="1897505"/>
                      </a:cubicBezTo>
                      <a:close/>
                      <a:moveTo>
                        <a:pt x="1338521" y="2312867"/>
                      </a:moveTo>
                      <a:cubicBezTo>
                        <a:pt x="1869461" y="2314931"/>
                        <a:pt x="2317329" y="1887701"/>
                        <a:pt x="2316814" y="1335605"/>
                      </a:cubicBezTo>
                      <a:cubicBezTo>
                        <a:pt x="2316298" y="792797"/>
                        <a:pt x="1880813" y="359892"/>
                        <a:pt x="1340068" y="359376"/>
                      </a:cubicBezTo>
                      <a:cubicBezTo>
                        <a:pt x="796228" y="358860"/>
                        <a:pt x="363839" y="794861"/>
                        <a:pt x="361775" y="1331994"/>
                      </a:cubicBezTo>
                      <a:cubicBezTo>
                        <a:pt x="359711" y="1882026"/>
                        <a:pt x="806032" y="2314415"/>
                        <a:pt x="1338521" y="2312867"/>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 name="Google Shape;153;p15"/>
                <p:cNvSpPr/>
                <p:nvPr/>
              </p:nvSpPr>
              <p:spPr>
                <a:xfrm>
                  <a:off x="7558586" y="2011427"/>
                  <a:ext cx="1898797" cy="1893637"/>
                </a:xfrm>
                <a:custGeom>
                  <a:avLst/>
                  <a:gdLst/>
                  <a:ahLst/>
                  <a:cxnLst/>
                  <a:rect l="l" t="t" r="r" b="b"/>
                  <a:pathLst>
                    <a:path w="1898796" h="1893636" extrusionOk="0">
                      <a:moveTo>
                        <a:pt x="30" y="947852"/>
                      </a:moveTo>
                      <a:cubicBezTo>
                        <a:pt x="-3065" y="428263"/>
                        <a:pt x="426228" y="-1030"/>
                        <a:pt x="950461" y="2"/>
                      </a:cubicBezTo>
                      <a:cubicBezTo>
                        <a:pt x="1472114" y="1034"/>
                        <a:pt x="1899859" y="427747"/>
                        <a:pt x="1898827" y="950948"/>
                      </a:cubicBezTo>
                      <a:cubicBezTo>
                        <a:pt x="1897795" y="1468473"/>
                        <a:pt x="1477790" y="1899315"/>
                        <a:pt x="946849" y="1898283"/>
                      </a:cubicBezTo>
                      <a:cubicBezTo>
                        <a:pt x="411781" y="1896735"/>
                        <a:pt x="-4097" y="1460218"/>
                        <a:pt x="30" y="947852"/>
                      </a:cubicBezTo>
                      <a:close/>
                      <a:moveTo>
                        <a:pt x="1187811" y="949916"/>
                      </a:moveTo>
                      <a:cubicBezTo>
                        <a:pt x="1188327" y="817310"/>
                        <a:pt x="1084099" y="710503"/>
                        <a:pt x="949429" y="710503"/>
                      </a:cubicBezTo>
                      <a:cubicBezTo>
                        <a:pt x="805987" y="710503"/>
                        <a:pt x="710015" y="828146"/>
                        <a:pt x="710532" y="948368"/>
                      </a:cubicBezTo>
                      <a:cubicBezTo>
                        <a:pt x="711048" y="1081490"/>
                        <a:pt x="815791" y="1188298"/>
                        <a:pt x="948397" y="1188298"/>
                      </a:cubicBezTo>
                      <a:cubicBezTo>
                        <a:pt x="1081003" y="1188298"/>
                        <a:pt x="1187294" y="1083038"/>
                        <a:pt x="1187811" y="949916"/>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4" name="Google Shape;154;p15"/>
            <p:cNvSpPr/>
            <p:nvPr/>
          </p:nvSpPr>
          <p:spPr>
            <a:xfrm>
              <a:off x="4309443" y="5224203"/>
              <a:ext cx="936646" cy="931442"/>
            </a:xfrm>
            <a:custGeom>
              <a:avLst/>
              <a:gdLst/>
              <a:ahLst/>
              <a:cxnLst/>
              <a:rect l="l" t="t" r="r" b="b"/>
              <a:pathLst>
                <a:path w="1857518" h="1847198" extrusionOk="0">
                  <a:moveTo>
                    <a:pt x="959201" y="1852264"/>
                  </a:moveTo>
                  <a:cubicBezTo>
                    <a:pt x="943206" y="1852264"/>
                    <a:pt x="927211" y="1852264"/>
                    <a:pt x="910700" y="1852264"/>
                  </a:cubicBezTo>
                  <a:cubicBezTo>
                    <a:pt x="900380" y="1848652"/>
                    <a:pt x="894704" y="1840913"/>
                    <a:pt x="891608" y="1830593"/>
                  </a:cubicBezTo>
                  <a:cubicBezTo>
                    <a:pt x="874065" y="1776931"/>
                    <a:pt x="856006" y="1723270"/>
                    <a:pt x="838463" y="1669608"/>
                  </a:cubicBezTo>
                  <a:cubicBezTo>
                    <a:pt x="834335" y="1657224"/>
                    <a:pt x="826080" y="1649485"/>
                    <a:pt x="813180" y="1646905"/>
                  </a:cubicBezTo>
                  <a:cubicBezTo>
                    <a:pt x="785833" y="1640713"/>
                    <a:pt x="757970" y="1635037"/>
                    <a:pt x="730624" y="1628330"/>
                  </a:cubicBezTo>
                  <a:cubicBezTo>
                    <a:pt x="716176" y="1624718"/>
                    <a:pt x="704309" y="1628330"/>
                    <a:pt x="693990" y="1639165"/>
                  </a:cubicBezTo>
                  <a:cubicBezTo>
                    <a:pt x="654259" y="1680443"/>
                    <a:pt x="613497" y="1720690"/>
                    <a:pt x="573251" y="1761452"/>
                  </a:cubicBezTo>
                  <a:cubicBezTo>
                    <a:pt x="563963" y="1770739"/>
                    <a:pt x="553127" y="1772804"/>
                    <a:pt x="542292" y="1766612"/>
                  </a:cubicBezTo>
                  <a:cubicBezTo>
                    <a:pt x="498950" y="1742361"/>
                    <a:pt x="456123" y="1718110"/>
                    <a:pt x="412782" y="1693859"/>
                  </a:cubicBezTo>
                  <a:cubicBezTo>
                    <a:pt x="397818" y="1685603"/>
                    <a:pt x="394206" y="1676832"/>
                    <a:pt x="398334" y="1660836"/>
                  </a:cubicBezTo>
                  <a:cubicBezTo>
                    <a:pt x="412265" y="1605111"/>
                    <a:pt x="426713" y="1549901"/>
                    <a:pt x="440644" y="1494176"/>
                  </a:cubicBezTo>
                  <a:cubicBezTo>
                    <a:pt x="443741" y="1482308"/>
                    <a:pt x="441676" y="1471473"/>
                    <a:pt x="432904" y="1462185"/>
                  </a:cubicBezTo>
                  <a:cubicBezTo>
                    <a:pt x="412265" y="1440514"/>
                    <a:pt x="391110" y="1418843"/>
                    <a:pt x="370471" y="1397172"/>
                  </a:cubicBezTo>
                  <a:cubicBezTo>
                    <a:pt x="362216" y="1388400"/>
                    <a:pt x="351896" y="1385820"/>
                    <a:pt x="340545" y="1388400"/>
                  </a:cubicBezTo>
                  <a:cubicBezTo>
                    <a:pt x="330226" y="1390464"/>
                    <a:pt x="320422" y="1393044"/>
                    <a:pt x="310618" y="1395108"/>
                  </a:cubicBezTo>
                  <a:cubicBezTo>
                    <a:pt x="263664" y="1405428"/>
                    <a:pt x="217226" y="1416263"/>
                    <a:pt x="170273" y="1426583"/>
                  </a:cubicBezTo>
                  <a:cubicBezTo>
                    <a:pt x="157373" y="1429679"/>
                    <a:pt x="147054" y="1425035"/>
                    <a:pt x="141377" y="1413683"/>
                  </a:cubicBezTo>
                  <a:cubicBezTo>
                    <a:pt x="117642" y="1368277"/>
                    <a:pt x="94423" y="1322355"/>
                    <a:pt x="70689" y="1276949"/>
                  </a:cubicBezTo>
                  <a:cubicBezTo>
                    <a:pt x="65529" y="1266630"/>
                    <a:pt x="67593" y="1255278"/>
                    <a:pt x="75848" y="1247539"/>
                  </a:cubicBezTo>
                  <a:cubicBezTo>
                    <a:pt x="119191" y="1207292"/>
                    <a:pt x="163049" y="1166530"/>
                    <a:pt x="206391" y="1126284"/>
                  </a:cubicBezTo>
                  <a:cubicBezTo>
                    <a:pt x="215162" y="1118544"/>
                    <a:pt x="218258" y="1108225"/>
                    <a:pt x="216710" y="1096873"/>
                  </a:cubicBezTo>
                  <a:cubicBezTo>
                    <a:pt x="211551" y="1069010"/>
                    <a:pt x="206391" y="1040631"/>
                    <a:pt x="201231" y="1012769"/>
                  </a:cubicBezTo>
                  <a:cubicBezTo>
                    <a:pt x="199167" y="1000901"/>
                    <a:pt x="192459" y="993162"/>
                    <a:pt x="181108" y="989034"/>
                  </a:cubicBezTo>
                  <a:cubicBezTo>
                    <a:pt x="142925" y="975103"/>
                    <a:pt x="104743" y="961171"/>
                    <a:pt x="67077" y="947240"/>
                  </a:cubicBezTo>
                  <a:cubicBezTo>
                    <a:pt x="44890" y="938984"/>
                    <a:pt x="22187" y="931760"/>
                    <a:pt x="0" y="921957"/>
                  </a:cubicBezTo>
                  <a:cubicBezTo>
                    <a:pt x="0" y="912153"/>
                    <a:pt x="0" y="902866"/>
                    <a:pt x="0" y="893062"/>
                  </a:cubicBezTo>
                  <a:cubicBezTo>
                    <a:pt x="1548" y="876035"/>
                    <a:pt x="3096" y="859524"/>
                    <a:pt x="4643" y="842496"/>
                  </a:cubicBezTo>
                  <a:cubicBezTo>
                    <a:pt x="7740" y="809474"/>
                    <a:pt x="12383" y="776451"/>
                    <a:pt x="17543" y="743945"/>
                  </a:cubicBezTo>
                  <a:cubicBezTo>
                    <a:pt x="19091" y="733109"/>
                    <a:pt x="26831" y="725369"/>
                    <a:pt x="38182" y="723305"/>
                  </a:cubicBezTo>
                  <a:cubicBezTo>
                    <a:pt x="97003" y="712470"/>
                    <a:pt x="155309" y="702150"/>
                    <a:pt x="214131" y="691315"/>
                  </a:cubicBezTo>
                  <a:cubicBezTo>
                    <a:pt x="226514" y="689251"/>
                    <a:pt x="234770" y="682543"/>
                    <a:pt x="239929" y="671192"/>
                  </a:cubicBezTo>
                  <a:cubicBezTo>
                    <a:pt x="248701" y="649521"/>
                    <a:pt x="257989" y="627850"/>
                    <a:pt x="266760" y="606695"/>
                  </a:cubicBezTo>
                  <a:cubicBezTo>
                    <a:pt x="272436" y="593279"/>
                    <a:pt x="270888" y="581928"/>
                    <a:pt x="262116" y="570060"/>
                  </a:cubicBezTo>
                  <a:cubicBezTo>
                    <a:pt x="227546" y="525170"/>
                    <a:pt x="193492" y="479764"/>
                    <a:pt x="159437" y="434874"/>
                  </a:cubicBezTo>
                  <a:cubicBezTo>
                    <a:pt x="150665" y="423007"/>
                    <a:pt x="150665" y="412687"/>
                    <a:pt x="159953" y="401336"/>
                  </a:cubicBezTo>
                  <a:cubicBezTo>
                    <a:pt x="192975" y="360058"/>
                    <a:pt x="225998" y="319295"/>
                    <a:pt x="259536" y="278017"/>
                  </a:cubicBezTo>
                  <a:cubicBezTo>
                    <a:pt x="270372" y="265118"/>
                    <a:pt x="279144" y="262538"/>
                    <a:pt x="294623" y="268729"/>
                  </a:cubicBezTo>
                  <a:cubicBezTo>
                    <a:pt x="348801" y="291433"/>
                    <a:pt x="402978" y="313620"/>
                    <a:pt x="457672" y="336322"/>
                  </a:cubicBezTo>
                  <a:cubicBezTo>
                    <a:pt x="468507" y="340966"/>
                    <a:pt x="479342" y="340450"/>
                    <a:pt x="489146" y="333743"/>
                  </a:cubicBezTo>
                  <a:cubicBezTo>
                    <a:pt x="506690" y="321875"/>
                    <a:pt x="523717" y="310008"/>
                    <a:pt x="540744" y="298140"/>
                  </a:cubicBezTo>
                  <a:cubicBezTo>
                    <a:pt x="548999" y="292464"/>
                    <a:pt x="553127" y="284209"/>
                    <a:pt x="553127" y="273889"/>
                  </a:cubicBezTo>
                  <a:cubicBezTo>
                    <a:pt x="553127" y="267697"/>
                    <a:pt x="552612" y="261506"/>
                    <a:pt x="552096" y="255830"/>
                  </a:cubicBezTo>
                  <a:cubicBezTo>
                    <a:pt x="550032" y="228999"/>
                    <a:pt x="547968" y="202684"/>
                    <a:pt x="545904" y="175854"/>
                  </a:cubicBezTo>
                  <a:cubicBezTo>
                    <a:pt x="543840" y="149023"/>
                    <a:pt x="541776" y="122708"/>
                    <a:pt x="539712" y="95877"/>
                  </a:cubicBezTo>
                  <a:cubicBezTo>
                    <a:pt x="538680" y="83493"/>
                    <a:pt x="544872" y="73690"/>
                    <a:pt x="556739" y="69562"/>
                  </a:cubicBezTo>
                  <a:cubicBezTo>
                    <a:pt x="609885" y="51503"/>
                    <a:pt x="663031" y="33444"/>
                    <a:pt x="716176" y="15901"/>
                  </a:cubicBezTo>
                  <a:cubicBezTo>
                    <a:pt x="719788" y="14869"/>
                    <a:pt x="722884" y="14353"/>
                    <a:pt x="726496" y="14353"/>
                  </a:cubicBezTo>
                  <a:cubicBezTo>
                    <a:pt x="736299" y="14869"/>
                    <a:pt x="742491" y="21060"/>
                    <a:pt x="748167" y="28800"/>
                  </a:cubicBezTo>
                  <a:cubicBezTo>
                    <a:pt x="781189" y="76786"/>
                    <a:pt x="814728" y="124772"/>
                    <a:pt x="847750" y="172758"/>
                  </a:cubicBezTo>
                  <a:cubicBezTo>
                    <a:pt x="855490" y="183593"/>
                    <a:pt x="865810" y="188753"/>
                    <a:pt x="878709" y="187721"/>
                  </a:cubicBezTo>
                  <a:cubicBezTo>
                    <a:pt x="896252" y="186173"/>
                    <a:pt x="914312" y="185657"/>
                    <a:pt x="931855" y="185657"/>
                  </a:cubicBezTo>
                  <a:cubicBezTo>
                    <a:pt x="939079" y="185657"/>
                    <a:pt x="944239" y="183077"/>
                    <a:pt x="948366" y="177401"/>
                  </a:cubicBezTo>
                  <a:cubicBezTo>
                    <a:pt x="950430" y="174822"/>
                    <a:pt x="952494" y="171726"/>
                    <a:pt x="954042" y="169146"/>
                  </a:cubicBezTo>
                  <a:cubicBezTo>
                    <a:pt x="962814" y="153150"/>
                    <a:pt x="971069" y="137155"/>
                    <a:pt x="979840" y="121676"/>
                  </a:cubicBezTo>
                  <a:cubicBezTo>
                    <a:pt x="998932" y="85558"/>
                    <a:pt x="1018539" y="49955"/>
                    <a:pt x="1037630" y="13837"/>
                  </a:cubicBezTo>
                  <a:cubicBezTo>
                    <a:pt x="1043822" y="2485"/>
                    <a:pt x="1053626" y="-2159"/>
                    <a:pt x="1066525" y="937"/>
                  </a:cubicBezTo>
                  <a:cubicBezTo>
                    <a:pt x="1122251" y="14353"/>
                    <a:pt x="1177976" y="27252"/>
                    <a:pt x="1233702" y="40667"/>
                  </a:cubicBezTo>
                  <a:cubicBezTo>
                    <a:pt x="1245569" y="43763"/>
                    <a:pt x="1252793" y="52535"/>
                    <a:pt x="1253309" y="64918"/>
                  </a:cubicBezTo>
                  <a:cubicBezTo>
                    <a:pt x="1253825" y="71626"/>
                    <a:pt x="1253825" y="78334"/>
                    <a:pt x="1254341" y="85042"/>
                  </a:cubicBezTo>
                  <a:cubicBezTo>
                    <a:pt x="1255888" y="126836"/>
                    <a:pt x="1256921" y="168630"/>
                    <a:pt x="1258468" y="209908"/>
                  </a:cubicBezTo>
                  <a:cubicBezTo>
                    <a:pt x="1258985" y="221260"/>
                    <a:pt x="1259501" y="233127"/>
                    <a:pt x="1260016" y="244478"/>
                  </a:cubicBezTo>
                  <a:cubicBezTo>
                    <a:pt x="1260532" y="255830"/>
                    <a:pt x="1266208" y="264602"/>
                    <a:pt x="1276012" y="270277"/>
                  </a:cubicBezTo>
                  <a:cubicBezTo>
                    <a:pt x="1288395" y="277501"/>
                    <a:pt x="1301295" y="284209"/>
                    <a:pt x="1313678" y="291948"/>
                  </a:cubicBezTo>
                  <a:cubicBezTo>
                    <a:pt x="1326062" y="299172"/>
                    <a:pt x="1337413" y="298656"/>
                    <a:pt x="1349797" y="291948"/>
                  </a:cubicBezTo>
                  <a:cubicBezTo>
                    <a:pt x="1400879" y="263570"/>
                    <a:pt x="1451444" y="235191"/>
                    <a:pt x="1502526" y="206812"/>
                  </a:cubicBezTo>
                  <a:cubicBezTo>
                    <a:pt x="1514394" y="200105"/>
                    <a:pt x="1525745" y="202168"/>
                    <a:pt x="1535033" y="211456"/>
                  </a:cubicBezTo>
                  <a:cubicBezTo>
                    <a:pt x="1574763" y="251702"/>
                    <a:pt x="1613977" y="292464"/>
                    <a:pt x="1653707" y="332711"/>
                  </a:cubicBezTo>
                  <a:cubicBezTo>
                    <a:pt x="1664027" y="343546"/>
                    <a:pt x="1665575" y="353350"/>
                    <a:pt x="1657835" y="366249"/>
                  </a:cubicBezTo>
                  <a:cubicBezTo>
                    <a:pt x="1628424" y="416299"/>
                    <a:pt x="1598497" y="465833"/>
                    <a:pt x="1569087" y="515883"/>
                  </a:cubicBezTo>
                  <a:cubicBezTo>
                    <a:pt x="1562379" y="527234"/>
                    <a:pt x="1561863" y="539102"/>
                    <a:pt x="1568571" y="550453"/>
                  </a:cubicBezTo>
                  <a:cubicBezTo>
                    <a:pt x="1576311" y="564384"/>
                    <a:pt x="1583534" y="578316"/>
                    <a:pt x="1591274" y="592247"/>
                  </a:cubicBezTo>
                  <a:cubicBezTo>
                    <a:pt x="1596950" y="602567"/>
                    <a:pt x="1605721" y="608243"/>
                    <a:pt x="1617589" y="608759"/>
                  </a:cubicBezTo>
                  <a:cubicBezTo>
                    <a:pt x="1637196" y="610307"/>
                    <a:pt x="1657319" y="611339"/>
                    <a:pt x="1676926" y="612886"/>
                  </a:cubicBezTo>
                  <a:cubicBezTo>
                    <a:pt x="1717172" y="615466"/>
                    <a:pt x="1757419" y="618046"/>
                    <a:pt x="1797665" y="620626"/>
                  </a:cubicBezTo>
                  <a:cubicBezTo>
                    <a:pt x="1809016" y="621142"/>
                    <a:pt x="1818304" y="628882"/>
                    <a:pt x="1820884" y="640233"/>
                  </a:cubicBezTo>
                  <a:cubicBezTo>
                    <a:pt x="1833267" y="695959"/>
                    <a:pt x="1845135" y="752200"/>
                    <a:pt x="1857518" y="808442"/>
                  </a:cubicBezTo>
                  <a:cubicBezTo>
                    <a:pt x="1859066" y="816181"/>
                    <a:pt x="1857002" y="822889"/>
                    <a:pt x="1851842" y="829081"/>
                  </a:cubicBezTo>
                  <a:cubicBezTo>
                    <a:pt x="1849262" y="832177"/>
                    <a:pt x="1845135" y="834241"/>
                    <a:pt x="1841523" y="836305"/>
                  </a:cubicBezTo>
                  <a:cubicBezTo>
                    <a:pt x="1789925" y="862103"/>
                    <a:pt x="1738327" y="887902"/>
                    <a:pt x="1686214" y="913701"/>
                  </a:cubicBezTo>
                  <a:cubicBezTo>
                    <a:pt x="1675378" y="919377"/>
                    <a:pt x="1669187" y="927633"/>
                    <a:pt x="1668670" y="940016"/>
                  </a:cubicBezTo>
                  <a:cubicBezTo>
                    <a:pt x="1667639" y="959623"/>
                    <a:pt x="1666090" y="978714"/>
                    <a:pt x="1665059" y="998322"/>
                  </a:cubicBezTo>
                  <a:cubicBezTo>
                    <a:pt x="1664543" y="1009673"/>
                    <a:pt x="1668670" y="1019477"/>
                    <a:pt x="1678474" y="1026184"/>
                  </a:cubicBezTo>
                  <a:cubicBezTo>
                    <a:pt x="1726460" y="1061271"/>
                    <a:pt x="1773930" y="1096873"/>
                    <a:pt x="1821916" y="1131960"/>
                  </a:cubicBezTo>
                  <a:cubicBezTo>
                    <a:pt x="1833267" y="1140215"/>
                    <a:pt x="1836879" y="1150535"/>
                    <a:pt x="1831720" y="1163950"/>
                  </a:cubicBezTo>
                  <a:cubicBezTo>
                    <a:pt x="1822948" y="1188201"/>
                    <a:pt x="1814176" y="1212452"/>
                    <a:pt x="1805404" y="1236703"/>
                  </a:cubicBezTo>
                  <a:cubicBezTo>
                    <a:pt x="1795601" y="1263534"/>
                    <a:pt x="1785798" y="1290881"/>
                    <a:pt x="1775478" y="1317711"/>
                  </a:cubicBezTo>
                  <a:cubicBezTo>
                    <a:pt x="1771350" y="1329063"/>
                    <a:pt x="1761546" y="1335255"/>
                    <a:pt x="1750195" y="1334223"/>
                  </a:cubicBezTo>
                  <a:cubicBezTo>
                    <a:pt x="1728524" y="1332159"/>
                    <a:pt x="1707369" y="1329579"/>
                    <a:pt x="1685698" y="1327515"/>
                  </a:cubicBezTo>
                  <a:cubicBezTo>
                    <a:pt x="1648548" y="1323387"/>
                    <a:pt x="1611397" y="1319259"/>
                    <a:pt x="1574247" y="1315648"/>
                  </a:cubicBezTo>
                  <a:cubicBezTo>
                    <a:pt x="1562379" y="1314616"/>
                    <a:pt x="1553092" y="1318743"/>
                    <a:pt x="1545868" y="1328547"/>
                  </a:cubicBezTo>
                  <a:cubicBezTo>
                    <a:pt x="1532453" y="1346606"/>
                    <a:pt x="1519553" y="1365181"/>
                    <a:pt x="1505622" y="1383241"/>
                  </a:cubicBezTo>
                  <a:cubicBezTo>
                    <a:pt x="1497366" y="1394076"/>
                    <a:pt x="1496334" y="1405428"/>
                    <a:pt x="1500978" y="1417811"/>
                  </a:cubicBezTo>
                  <a:cubicBezTo>
                    <a:pt x="1521617" y="1472505"/>
                    <a:pt x="1542772" y="1527198"/>
                    <a:pt x="1563411" y="1581892"/>
                  </a:cubicBezTo>
                  <a:cubicBezTo>
                    <a:pt x="1569087" y="1596339"/>
                    <a:pt x="1565991" y="1606143"/>
                    <a:pt x="1554124" y="1615430"/>
                  </a:cubicBezTo>
                  <a:cubicBezTo>
                    <a:pt x="1512845" y="1646389"/>
                    <a:pt x="1472083" y="1677864"/>
                    <a:pt x="1430805" y="1708822"/>
                  </a:cubicBezTo>
                  <a:cubicBezTo>
                    <a:pt x="1418938" y="1717594"/>
                    <a:pt x="1408618" y="1717594"/>
                    <a:pt x="1397266" y="1708306"/>
                  </a:cubicBezTo>
                  <a:cubicBezTo>
                    <a:pt x="1352892" y="1672704"/>
                    <a:pt x="1308003" y="1636585"/>
                    <a:pt x="1263628" y="1600467"/>
                  </a:cubicBezTo>
                  <a:cubicBezTo>
                    <a:pt x="1253825" y="1592727"/>
                    <a:pt x="1243505" y="1590147"/>
                    <a:pt x="1232154" y="1594275"/>
                  </a:cubicBezTo>
                  <a:cubicBezTo>
                    <a:pt x="1205839" y="1604079"/>
                    <a:pt x="1179524" y="1613883"/>
                    <a:pt x="1153725" y="1624202"/>
                  </a:cubicBezTo>
                  <a:cubicBezTo>
                    <a:pt x="1143406" y="1628330"/>
                    <a:pt x="1137214" y="1636070"/>
                    <a:pt x="1134634" y="1646905"/>
                  </a:cubicBezTo>
                  <a:cubicBezTo>
                    <a:pt x="1131022" y="1663932"/>
                    <a:pt x="1127411" y="1681475"/>
                    <a:pt x="1123798" y="1698503"/>
                  </a:cubicBezTo>
                  <a:cubicBezTo>
                    <a:pt x="1115027" y="1739781"/>
                    <a:pt x="1106771" y="1780543"/>
                    <a:pt x="1097999" y="1821821"/>
                  </a:cubicBezTo>
                  <a:cubicBezTo>
                    <a:pt x="1095420" y="1833689"/>
                    <a:pt x="1088196" y="1840913"/>
                    <a:pt x="1076329" y="1842460"/>
                  </a:cubicBezTo>
                  <a:cubicBezTo>
                    <a:pt x="1048982" y="1846072"/>
                    <a:pt x="1021635" y="1848652"/>
                    <a:pt x="994288" y="1851232"/>
                  </a:cubicBezTo>
                  <a:cubicBezTo>
                    <a:pt x="980873" y="1850200"/>
                    <a:pt x="970037" y="1851232"/>
                    <a:pt x="959201" y="1852264"/>
                  </a:cubicBezTo>
                  <a:close/>
                  <a:moveTo>
                    <a:pt x="928759" y="382245"/>
                  </a:moveTo>
                  <a:cubicBezTo>
                    <a:pt x="633620" y="381729"/>
                    <a:pt x="388015" y="619594"/>
                    <a:pt x="386983" y="921957"/>
                  </a:cubicBezTo>
                  <a:cubicBezTo>
                    <a:pt x="385951" y="1222772"/>
                    <a:pt x="627428" y="1464765"/>
                    <a:pt x="926695" y="1465797"/>
                  </a:cubicBezTo>
                  <a:cubicBezTo>
                    <a:pt x="1229058" y="1466829"/>
                    <a:pt x="1470019" y="1222772"/>
                    <a:pt x="1470535" y="924537"/>
                  </a:cubicBezTo>
                  <a:cubicBezTo>
                    <a:pt x="1470535" y="625270"/>
                    <a:pt x="1228026" y="381729"/>
                    <a:pt x="928759" y="382245"/>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5" name="Google Shape;155;p15"/>
            <p:cNvSpPr/>
            <p:nvPr/>
          </p:nvSpPr>
          <p:spPr>
            <a:xfrm>
              <a:off x="3167084" y="4595897"/>
              <a:ext cx="1051669" cy="1070562"/>
            </a:xfrm>
            <a:custGeom>
              <a:avLst/>
              <a:gdLst/>
              <a:ahLst/>
              <a:cxnLst/>
              <a:rect l="l" t="t" r="r" b="b"/>
              <a:pathLst>
                <a:path w="1723364" h="1754322" extrusionOk="0">
                  <a:moveTo>
                    <a:pt x="879664" y="267"/>
                  </a:moveTo>
                  <a:cubicBezTo>
                    <a:pt x="907527" y="2332"/>
                    <a:pt x="935906" y="4395"/>
                    <a:pt x="964801" y="5943"/>
                  </a:cubicBezTo>
                  <a:cubicBezTo>
                    <a:pt x="974088" y="6459"/>
                    <a:pt x="976668" y="11103"/>
                    <a:pt x="979248" y="18843"/>
                  </a:cubicBezTo>
                  <a:cubicBezTo>
                    <a:pt x="994727" y="65797"/>
                    <a:pt x="985956" y="112235"/>
                    <a:pt x="977700" y="158673"/>
                  </a:cubicBezTo>
                  <a:cubicBezTo>
                    <a:pt x="974604" y="176732"/>
                    <a:pt x="972024" y="195307"/>
                    <a:pt x="968928" y="213366"/>
                  </a:cubicBezTo>
                  <a:cubicBezTo>
                    <a:pt x="967380" y="222654"/>
                    <a:pt x="969960" y="227813"/>
                    <a:pt x="979764" y="229877"/>
                  </a:cubicBezTo>
                  <a:cubicBezTo>
                    <a:pt x="1038585" y="240713"/>
                    <a:pt x="1095343" y="259804"/>
                    <a:pt x="1149520" y="285087"/>
                  </a:cubicBezTo>
                  <a:cubicBezTo>
                    <a:pt x="1158808" y="289215"/>
                    <a:pt x="1162420" y="286119"/>
                    <a:pt x="1166548" y="278379"/>
                  </a:cubicBezTo>
                  <a:cubicBezTo>
                    <a:pt x="1180995" y="248969"/>
                    <a:pt x="1197506" y="220590"/>
                    <a:pt x="1210406" y="190663"/>
                  </a:cubicBezTo>
                  <a:cubicBezTo>
                    <a:pt x="1222273" y="163316"/>
                    <a:pt x="1240848" y="142161"/>
                    <a:pt x="1263035" y="123070"/>
                  </a:cubicBezTo>
                  <a:cubicBezTo>
                    <a:pt x="1282643" y="106043"/>
                    <a:pt x="1282127" y="106559"/>
                    <a:pt x="1304314" y="119458"/>
                  </a:cubicBezTo>
                  <a:cubicBezTo>
                    <a:pt x="1359523" y="151449"/>
                    <a:pt x="1409573" y="190663"/>
                    <a:pt x="1458075" y="231941"/>
                  </a:cubicBezTo>
                  <a:cubicBezTo>
                    <a:pt x="1465299" y="238133"/>
                    <a:pt x="1467362" y="243809"/>
                    <a:pt x="1462203" y="251549"/>
                  </a:cubicBezTo>
                  <a:cubicBezTo>
                    <a:pt x="1461687" y="252064"/>
                    <a:pt x="1461171" y="253096"/>
                    <a:pt x="1461171" y="254128"/>
                  </a:cubicBezTo>
                  <a:cubicBezTo>
                    <a:pt x="1448271" y="291279"/>
                    <a:pt x="1425052" y="320689"/>
                    <a:pt x="1396158" y="347004"/>
                  </a:cubicBezTo>
                  <a:cubicBezTo>
                    <a:pt x="1375518" y="365064"/>
                    <a:pt x="1356943" y="385703"/>
                    <a:pt x="1337336" y="404794"/>
                  </a:cubicBezTo>
                  <a:cubicBezTo>
                    <a:pt x="1332177" y="409954"/>
                    <a:pt x="1330628" y="413565"/>
                    <a:pt x="1336304" y="419757"/>
                  </a:cubicBezTo>
                  <a:cubicBezTo>
                    <a:pt x="1347656" y="432141"/>
                    <a:pt x="1357459" y="445556"/>
                    <a:pt x="1369327" y="457939"/>
                  </a:cubicBezTo>
                  <a:cubicBezTo>
                    <a:pt x="1399769" y="489930"/>
                    <a:pt x="1419893" y="528628"/>
                    <a:pt x="1442596" y="565263"/>
                  </a:cubicBezTo>
                  <a:cubicBezTo>
                    <a:pt x="1448271" y="574550"/>
                    <a:pt x="1452915" y="576098"/>
                    <a:pt x="1462719" y="570938"/>
                  </a:cubicBezTo>
                  <a:cubicBezTo>
                    <a:pt x="1499353" y="551847"/>
                    <a:pt x="1535988" y="533272"/>
                    <a:pt x="1573138" y="514697"/>
                  </a:cubicBezTo>
                  <a:cubicBezTo>
                    <a:pt x="1597389" y="502830"/>
                    <a:pt x="1624220" y="504893"/>
                    <a:pt x="1650018" y="501281"/>
                  </a:cubicBezTo>
                  <a:cubicBezTo>
                    <a:pt x="1655694" y="500250"/>
                    <a:pt x="1658274" y="505409"/>
                    <a:pt x="1659822" y="509537"/>
                  </a:cubicBezTo>
                  <a:cubicBezTo>
                    <a:pt x="1687685" y="574034"/>
                    <a:pt x="1709872" y="640595"/>
                    <a:pt x="1724835" y="709220"/>
                  </a:cubicBezTo>
                  <a:cubicBezTo>
                    <a:pt x="1726383" y="716444"/>
                    <a:pt x="1723803" y="720572"/>
                    <a:pt x="1717611" y="723668"/>
                  </a:cubicBezTo>
                  <a:cubicBezTo>
                    <a:pt x="1702132" y="731923"/>
                    <a:pt x="1686653" y="740695"/>
                    <a:pt x="1671173" y="748950"/>
                  </a:cubicBezTo>
                  <a:cubicBezTo>
                    <a:pt x="1654662" y="757722"/>
                    <a:pt x="1636087" y="757206"/>
                    <a:pt x="1618544" y="760302"/>
                  </a:cubicBezTo>
                  <a:cubicBezTo>
                    <a:pt x="1589133" y="765462"/>
                    <a:pt x="1559207" y="770106"/>
                    <a:pt x="1529280" y="774234"/>
                  </a:cubicBezTo>
                  <a:cubicBezTo>
                    <a:pt x="1517412" y="775781"/>
                    <a:pt x="1514316" y="780941"/>
                    <a:pt x="1515349" y="791777"/>
                  </a:cubicBezTo>
                  <a:cubicBezTo>
                    <a:pt x="1517412" y="813448"/>
                    <a:pt x="1518444" y="835635"/>
                    <a:pt x="1521024" y="857306"/>
                  </a:cubicBezTo>
                  <a:cubicBezTo>
                    <a:pt x="1524636" y="889813"/>
                    <a:pt x="1518960" y="921803"/>
                    <a:pt x="1516380" y="953794"/>
                  </a:cubicBezTo>
                  <a:cubicBezTo>
                    <a:pt x="1514316" y="980109"/>
                    <a:pt x="1513284" y="980109"/>
                    <a:pt x="1538567" y="983720"/>
                  </a:cubicBezTo>
                  <a:cubicBezTo>
                    <a:pt x="1576750" y="989912"/>
                    <a:pt x="1614932" y="995588"/>
                    <a:pt x="1653114" y="1001779"/>
                  </a:cubicBezTo>
                  <a:cubicBezTo>
                    <a:pt x="1671173" y="1004875"/>
                    <a:pt x="1685105" y="1016227"/>
                    <a:pt x="1700584" y="1024483"/>
                  </a:cubicBezTo>
                  <a:cubicBezTo>
                    <a:pt x="1726899" y="1038414"/>
                    <a:pt x="1725867" y="1038930"/>
                    <a:pt x="1719675" y="1067825"/>
                  </a:cubicBezTo>
                  <a:cubicBezTo>
                    <a:pt x="1706260" y="1128710"/>
                    <a:pt x="1685105" y="1186500"/>
                    <a:pt x="1661370" y="1243773"/>
                  </a:cubicBezTo>
                  <a:cubicBezTo>
                    <a:pt x="1657242" y="1253577"/>
                    <a:pt x="1651566" y="1256157"/>
                    <a:pt x="1641763" y="1255124"/>
                  </a:cubicBezTo>
                  <a:cubicBezTo>
                    <a:pt x="1606160" y="1252028"/>
                    <a:pt x="1572622" y="1244805"/>
                    <a:pt x="1541663" y="1226230"/>
                  </a:cubicBezTo>
                  <a:cubicBezTo>
                    <a:pt x="1515864" y="1210750"/>
                    <a:pt x="1488001" y="1198883"/>
                    <a:pt x="1461687" y="1184436"/>
                  </a:cubicBezTo>
                  <a:cubicBezTo>
                    <a:pt x="1453947" y="1180308"/>
                    <a:pt x="1448787" y="1180308"/>
                    <a:pt x="1444143" y="1189079"/>
                  </a:cubicBezTo>
                  <a:cubicBezTo>
                    <a:pt x="1415249" y="1241709"/>
                    <a:pt x="1380162" y="1290211"/>
                    <a:pt x="1339400" y="1333553"/>
                  </a:cubicBezTo>
                  <a:cubicBezTo>
                    <a:pt x="1332177" y="1341293"/>
                    <a:pt x="1332177" y="1345936"/>
                    <a:pt x="1339916" y="1353160"/>
                  </a:cubicBezTo>
                  <a:cubicBezTo>
                    <a:pt x="1370359" y="1382571"/>
                    <a:pt x="1400801" y="1412498"/>
                    <a:pt x="1430212" y="1443456"/>
                  </a:cubicBezTo>
                  <a:cubicBezTo>
                    <a:pt x="1448271" y="1462547"/>
                    <a:pt x="1453947" y="1488862"/>
                    <a:pt x="1465814" y="1511565"/>
                  </a:cubicBezTo>
                  <a:cubicBezTo>
                    <a:pt x="1467879" y="1515693"/>
                    <a:pt x="1464267" y="1518789"/>
                    <a:pt x="1461171" y="1521369"/>
                  </a:cubicBezTo>
                  <a:cubicBezTo>
                    <a:pt x="1408025" y="1568323"/>
                    <a:pt x="1351784" y="1610117"/>
                    <a:pt x="1290382" y="1645203"/>
                  </a:cubicBezTo>
                  <a:cubicBezTo>
                    <a:pt x="1284707" y="1648815"/>
                    <a:pt x="1280579" y="1648299"/>
                    <a:pt x="1275419" y="1643655"/>
                  </a:cubicBezTo>
                  <a:cubicBezTo>
                    <a:pt x="1247040" y="1619404"/>
                    <a:pt x="1221757" y="1593606"/>
                    <a:pt x="1207310" y="1558003"/>
                  </a:cubicBezTo>
                  <a:cubicBezTo>
                    <a:pt x="1195958" y="1530140"/>
                    <a:pt x="1179963" y="1504341"/>
                    <a:pt x="1167064" y="1477511"/>
                  </a:cubicBezTo>
                  <a:cubicBezTo>
                    <a:pt x="1162936" y="1469255"/>
                    <a:pt x="1158808" y="1467191"/>
                    <a:pt x="1150036" y="1470803"/>
                  </a:cubicBezTo>
                  <a:cubicBezTo>
                    <a:pt x="1096375" y="1496086"/>
                    <a:pt x="1040133" y="1514661"/>
                    <a:pt x="981312" y="1526013"/>
                  </a:cubicBezTo>
                  <a:cubicBezTo>
                    <a:pt x="969960" y="1528076"/>
                    <a:pt x="967896" y="1534268"/>
                    <a:pt x="969960" y="1544072"/>
                  </a:cubicBezTo>
                  <a:cubicBezTo>
                    <a:pt x="976668" y="1583802"/>
                    <a:pt x="982860" y="1623532"/>
                    <a:pt x="989052" y="1663779"/>
                  </a:cubicBezTo>
                  <a:cubicBezTo>
                    <a:pt x="993179" y="1691641"/>
                    <a:pt x="982344" y="1716924"/>
                    <a:pt x="978216" y="1743755"/>
                  </a:cubicBezTo>
                  <a:cubicBezTo>
                    <a:pt x="977184" y="1749431"/>
                    <a:pt x="971508" y="1749431"/>
                    <a:pt x="966864" y="1749947"/>
                  </a:cubicBezTo>
                  <a:cubicBezTo>
                    <a:pt x="897207" y="1757170"/>
                    <a:pt x="828067" y="1756655"/>
                    <a:pt x="758410" y="1749947"/>
                  </a:cubicBezTo>
                  <a:cubicBezTo>
                    <a:pt x="749638" y="1748915"/>
                    <a:pt x="748090" y="1744271"/>
                    <a:pt x="745510" y="1737047"/>
                  </a:cubicBezTo>
                  <a:cubicBezTo>
                    <a:pt x="730031" y="1690609"/>
                    <a:pt x="738286" y="1644687"/>
                    <a:pt x="747058" y="1598249"/>
                  </a:cubicBezTo>
                  <a:cubicBezTo>
                    <a:pt x="750154" y="1580190"/>
                    <a:pt x="752734" y="1561615"/>
                    <a:pt x="756346" y="1543556"/>
                  </a:cubicBezTo>
                  <a:cubicBezTo>
                    <a:pt x="758410" y="1533236"/>
                    <a:pt x="755314" y="1527560"/>
                    <a:pt x="744478" y="1525496"/>
                  </a:cubicBezTo>
                  <a:cubicBezTo>
                    <a:pt x="685657" y="1514661"/>
                    <a:pt x="629931" y="1496086"/>
                    <a:pt x="575754" y="1470287"/>
                  </a:cubicBezTo>
                  <a:cubicBezTo>
                    <a:pt x="568014" y="1466675"/>
                    <a:pt x="563886" y="1467707"/>
                    <a:pt x="559758" y="1475963"/>
                  </a:cubicBezTo>
                  <a:cubicBezTo>
                    <a:pt x="541699" y="1512597"/>
                    <a:pt x="522608" y="1548715"/>
                    <a:pt x="504549" y="1585350"/>
                  </a:cubicBezTo>
                  <a:cubicBezTo>
                    <a:pt x="491649" y="1611149"/>
                    <a:pt x="466882" y="1626112"/>
                    <a:pt x="447275" y="1645719"/>
                  </a:cubicBezTo>
                  <a:cubicBezTo>
                    <a:pt x="442631" y="1650363"/>
                    <a:pt x="438504" y="1646235"/>
                    <a:pt x="434376" y="1643655"/>
                  </a:cubicBezTo>
                  <a:cubicBezTo>
                    <a:pt x="384326" y="1612697"/>
                    <a:pt x="334276" y="1581738"/>
                    <a:pt x="290418" y="1542008"/>
                  </a:cubicBezTo>
                  <a:cubicBezTo>
                    <a:pt x="282678" y="1534784"/>
                    <a:pt x="273907" y="1528076"/>
                    <a:pt x="265651" y="1521369"/>
                  </a:cubicBezTo>
                  <a:cubicBezTo>
                    <a:pt x="259975" y="1516725"/>
                    <a:pt x="259459" y="1512597"/>
                    <a:pt x="262039" y="1505889"/>
                  </a:cubicBezTo>
                  <a:cubicBezTo>
                    <a:pt x="276487" y="1472351"/>
                    <a:pt x="292998" y="1440360"/>
                    <a:pt x="321893" y="1415593"/>
                  </a:cubicBezTo>
                  <a:cubicBezTo>
                    <a:pt x="345112" y="1395986"/>
                    <a:pt x="365235" y="1372767"/>
                    <a:pt x="386906" y="1351096"/>
                  </a:cubicBezTo>
                  <a:cubicBezTo>
                    <a:pt x="393098" y="1345421"/>
                    <a:pt x="394129" y="1341293"/>
                    <a:pt x="387938" y="1334069"/>
                  </a:cubicBezTo>
                  <a:cubicBezTo>
                    <a:pt x="376586" y="1321685"/>
                    <a:pt x="366783" y="1308270"/>
                    <a:pt x="354915" y="1295887"/>
                  </a:cubicBezTo>
                  <a:cubicBezTo>
                    <a:pt x="324989" y="1264412"/>
                    <a:pt x="305382" y="1225714"/>
                    <a:pt x="282678" y="1189595"/>
                  </a:cubicBezTo>
                  <a:cubicBezTo>
                    <a:pt x="277003" y="1180308"/>
                    <a:pt x="272359" y="1178760"/>
                    <a:pt x="262555" y="1183920"/>
                  </a:cubicBezTo>
                  <a:cubicBezTo>
                    <a:pt x="225921" y="1203011"/>
                    <a:pt x="189287" y="1221586"/>
                    <a:pt x="152136" y="1240161"/>
                  </a:cubicBezTo>
                  <a:cubicBezTo>
                    <a:pt x="127885" y="1252545"/>
                    <a:pt x="101054" y="1249965"/>
                    <a:pt x="75256" y="1253577"/>
                  </a:cubicBezTo>
                  <a:cubicBezTo>
                    <a:pt x="69580" y="1254608"/>
                    <a:pt x="67000" y="1249965"/>
                    <a:pt x="65452" y="1245321"/>
                  </a:cubicBezTo>
                  <a:cubicBezTo>
                    <a:pt x="37589" y="1180824"/>
                    <a:pt x="15402" y="1114263"/>
                    <a:pt x="439" y="1045637"/>
                  </a:cubicBezTo>
                  <a:cubicBezTo>
                    <a:pt x="-1109" y="1038414"/>
                    <a:pt x="1471" y="1034286"/>
                    <a:pt x="7663" y="1031190"/>
                  </a:cubicBezTo>
                  <a:cubicBezTo>
                    <a:pt x="23142" y="1022935"/>
                    <a:pt x="38621" y="1014163"/>
                    <a:pt x="54101" y="1005907"/>
                  </a:cubicBezTo>
                  <a:cubicBezTo>
                    <a:pt x="70612" y="997136"/>
                    <a:pt x="89187" y="997652"/>
                    <a:pt x="106730" y="994556"/>
                  </a:cubicBezTo>
                  <a:cubicBezTo>
                    <a:pt x="136657" y="989396"/>
                    <a:pt x="167099" y="984236"/>
                    <a:pt x="197026" y="980109"/>
                  </a:cubicBezTo>
                  <a:cubicBezTo>
                    <a:pt x="207346" y="978560"/>
                    <a:pt x="210442" y="973917"/>
                    <a:pt x="209410" y="964113"/>
                  </a:cubicBezTo>
                  <a:cubicBezTo>
                    <a:pt x="207346" y="941926"/>
                    <a:pt x="206314" y="919739"/>
                    <a:pt x="203734" y="897552"/>
                  </a:cubicBezTo>
                  <a:cubicBezTo>
                    <a:pt x="200122" y="865045"/>
                    <a:pt x="205798" y="833055"/>
                    <a:pt x="208378" y="801064"/>
                  </a:cubicBezTo>
                  <a:cubicBezTo>
                    <a:pt x="210442" y="774749"/>
                    <a:pt x="211474" y="774749"/>
                    <a:pt x="185159" y="770622"/>
                  </a:cubicBezTo>
                  <a:cubicBezTo>
                    <a:pt x="148009" y="764430"/>
                    <a:pt x="110342" y="758754"/>
                    <a:pt x="73192" y="753079"/>
                  </a:cubicBezTo>
                  <a:cubicBezTo>
                    <a:pt x="54616" y="750499"/>
                    <a:pt x="40169" y="738631"/>
                    <a:pt x="24690" y="730375"/>
                  </a:cubicBezTo>
                  <a:cubicBezTo>
                    <a:pt x="-1625" y="715928"/>
                    <a:pt x="-593" y="715928"/>
                    <a:pt x="5599" y="687033"/>
                  </a:cubicBezTo>
                  <a:cubicBezTo>
                    <a:pt x="19014" y="626148"/>
                    <a:pt x="40169" y="568358"/>
                    <a:pt x="63904" y="511085"/>
                  </a:cubicBezTo>
                  <a:cubicBezTo>
                    <a:pt x="68032" y="501281"/>
                    <a:pt x="73192" y="498701"/>
                    <a:pt x="83511" y="499733"/>
                  </a:cubicBezTo>
                  <a:cubicBezTo>
                    <a:pt x="119114" y="502830"/>
                    <a:pt x="152652" y="510053"/>
                    <a:pt x="183611" y="528628"/>
                  </a:cubicBezTo>
                  <a:cubicBezTo>
                    <a:pt x="208894" y="543592"/>
                    <a:pt x="236241" y="555459"/>
                    <a:pt x="262555" y="569390"/>
                  </a:cubicBezTo>
                  <a:cubicBezTo>
                    <a:pt x="271327" y="574034"/>
                    <a:pt x="277003" y="574034"/>
                    <a:pt x="282163" y="564231"/>
                  </a:cubicBezTo>
                  <a:cubicBezTo>
                    <a:pt x="311057" y="511601"/>
                    <a:pt x="346144" y="463615"/>
                    <a:pt x="386906" y="419757"/>
                  </a:cubicBezTo>
                  <a:cubicBezTo>
                    <a:pt x="393614" y="412534"/>
                    <a:pt x="393098" y="408922"/>
                    <a:pt x="386390" y="402214"/>
                  </a:cubicBezTo>
                  <a:cubicBezTo>
                    <a:pt x="355947" y="372287"/>
                    <a:pt x="325505" y="342360"/>
                    <a:pt x="296094" y="311918"/>
                  </a:cubicBezTo>
                  <a:cubicBezTo>
                    <a:pt x="277519" y="292827"/>
                    <a:pt x="271843" y="265996"/>
                    <a:pt x="259975" y="242777"/>
                  </a:cubicBezTo>
                  <a:cubicBezTo>
                    <a:pt x="257912" y="238649"/>
                    <a:pt x="261524" y="235553"/>
                    <a:pt x="264619" y="232973"/>
                  </a:cubicBezTo>
                  <a:cubicBezTo>
                    <a:pt x="317765" y="186019"/>
                    <a:pt x="374007" y="144225"/>
                    <a:pt x="435408" y="109139"/>
                  </a:cubicBezTo>
                  <a:cubicBezTo>
                    <a:pt x="441084" y="105527"/>
                    <a:pt x="445211" y="106043"/>
                    <a:pt x="450371" y="110687"/>
                  </a:cubicBezTo>
                  <a:cubicBezTo>
                    <a:pt x="478750" y="134937"/>
                    <a:pt x="504033" y="160736"/>
                    <a:pt x="518480" y="196339"/>
                  </a:cubicBezTo>
                  <a:cubicBezTo>
                    <a:pt x="530348" y="224202"/>
                    <a:pt x="545827" y="250516"/>
                    <a:pt x="559758" y="277863"/>
                  </a:cubicBezTo>
                  <a:cubicBezTo>
                    <a:pt x="563370" y="285087"/>
                    <a:pt x="566982" y="287151"/>
                    <a:pt x="574722" y="283539"/>
                  </a:cubicBezTo>
                  <a:cubicBezTo>
                    <a:pt x="629415" y="257740"/>
                    <a:pt x="686173" y="238649"/>
                    <a:pt x="746026" y="227813"/>
                  </a:cubicBezTo>
                  <a:cubicBezTo>
                    <a:pt x="756346" y="225750"/>
                    <a:pt x="757893" y="220074"/>
                    <a:pt x="756346" y="211302"/>
                  </a:cubicBezTo>
                  <a:cubicBezTo>
                    <a:pt x="749638" y="171572"/>
                    <a:pt x="743446" y="131326"/>
                    <a:pt x="737254" y="91596"/>
                  </a:cubicBezTo>
                  <a:cubicBezTo>
                    <a:pt x="732611" y="63217"/>
                    <a:pt x="743446" y="37418"/>
                    <a:pt x="748090" y="10587"/>
                  </a:cubicBezTo>
                  <a:cubicBezTo>
                    <a:pt x="749122" y="5427"/>
                    <a:pt x="753766" y="4395"/>
                    <a:pt x="758410" y="4395"/>
                  </a:cubicBezTo>
                  <a:cubicBezTo>
                    <a:pt x="797624" y="4395"/>
                    <a:pt x="837870" y="-1280"/>
                    <a:pt x="879664" y="267"/>
                  </a:cubicBezTo>
                  <a:close/>
                  <a:moveTo>
                    <a:pt x="861605" y="1409918"/>
                  </a:moveTo>
                  <a:cubicBezTo>
                    <a:pt x="1155712" y="1407338"/>
                    <a:pt x="1392030" y="1176180"/>
                    <a:pt x="1392546" y="879493"/>
                  </a:cubicBezTo>
                  <a:cubicBezTo>
                    <a:pt x="1393062" y="585902"/>
                    <a:pt x="1160356" y="349068"/>
                    <a:pt x="862637" y="348552"/>
                  </a:cubicBezTo>
                  <a:cubicBezTo>
                    <a:pt x="568014" y="348036"/>
                    <a:pt x="331180" y="581774"/>
                    <a:pt x="331180" y="879493"/>
                  </a:cubicBezTo>
                  <a:cubicBezTo>
                    <a:pt x="331180" y="1173600"/>
                    <a:pt x="565950" y="1406822"/>
                    <a:pt x="861605" y="1409918"/>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 name="Google Shape;156;p15"/>
            <p:cNvSpPr/>
            <p:nvPr/>
          </p:nvSpPr>
          <p:spPr>
            <a:xfrm rot="2246763">
              <a:off x="322349" y="3332008"/>
              <a:ext cx="1218879" cy="1218879"/>
            </a:xfrm>
            <a:custGeom>
              <a:avLst/>
              <a:gdLst/>
              <a:ahLst/>
              <a:cxnLst/>
              <a:rect l="l" t="t" r="r" b="b"/>
              <a:pathLst>
                <a:path w="1774962" h="1774962" extrusionOk="0">
                  <a:moveTo>
                    <a:pt x="894776" y="1775736"/>
                  </a:moveTo>
                  <a:cubicBezTo>
                    <a:pt x="880845" y="1775736"/>
                    <a:pt x="866397" y="1775736"/>
                    <a:pt x="852466" y="1775736"/>
                  </a:cubicBezTo>
                  <a:cubicBezTo>
                    <a:pt x="844726" y="1775736"/>
                    <a:pt x="840599" y="1772640"/>
                    <a:pt x="839567" y="1764901"/>
                  </a:cubicBezTo>
                  <a:cubicBezTo>
                    <a:pt x="833375" y="1731878"/>
                    <a:pt x="826151" y="1699371"/>
                    <a:pt x="819960" y="1666349"/>
                  </a:cubicBezTo>
                  <a:cubicBezTo>
                    <a:pt x="817896" y="1656545"/>
                    <a:pt x="820992" y="1646742"/>
                    <a:pt x="822024" y="1636938"/>
                  </a:cubicBezTo>
                  <a:cubicBezTo>
                    <a:pt x="823056" y="1628682"/>
                    <a:pt x="820992" y="1624555"/>
                    <a:pt x="811704" y="1623523"/>
                  </a:cubicBezTo>
                  <a:cubicBezTo>
                    <a:pt x="772490" y="1619395"/>
                    <a:pt x="733275" y="1612171"/>
                    <a:pt x="695093" y="1601852"/>
                  </a:cubicBezTo>
                  <a:cubicBezTo>
                    <a:pt x="686837" y="1599788"/>
                    <a:pt x="682194" y="1602368"/>
                    <a:pt x="680130" y="1610623"/>
                  </a:cubicBezTo>
                  <a:cubicBezTo>
                    <a:pt x="669294" y="1655513"/>
                    <a:pt x="636788" y="1688020"/>
                    <a:pt x="615116" y="1727234"/>
                  </a:cubicBezTo>
                  <a:cubicBezTo>
                    <a:pt x="612537" y="1731878"/>
                    <a:pt x="608409" y="1731878"/>
                    <a:pt x="603765" y="1730330"/>
                  </a:cubicBezTo>
                  <a:cubicBezTo>
                    <a:pt x="572807" y="1720011"/>
                    <a:pt x="542364" y="1707627"/>
                    <a:pt x="512953" y="1694212"/>
                  </a:cubicBezTo>
                  <a:cubicBezTo>
                    <a:pt x="506761" y="1691632"/>
                    <a:pt x="506245" y="1686988"/>
                    <a:pt x="507277" y="1681828"/>
                  </a:cubicBezTo>
                  <a:cubicBezTo>
                    <a:pt x="513985" y="1648806"/>
                    <a:pt x="519661" y="1615783"/>
                    <a:pt x="527400" y="1583277"/>
                  </a:cubicBezTo>
                  <a:cubicBezTo>
                    <a:pt x="529980" y="1572441"/>
                    <a:pt x="536172" y="1562637"/>
                    <a:pt x="541848" y="1552834"/>
                  </a:cubicBezTo>
                  <a:cubicBezTo>
                    <a:pt x="545460" y="1546642"/>
                    <a:pt x="544428" y="1543030"/>
                    <a:pt x="537720" y="1539418"/>
                  </a:cubicBezTo>
                  <a:cubicBezTo>
                    <a:pt x="501601" y="1520327"/>
                    <a:pt x="467547" y="1497624"/>
                    <a:pt x="435041" y="1472857"/>
                  </a:cubicBezTo>
                  <a:cubicBezTo>
                    <a:pt x="429365" y="1468214"/>
                    <a:pt x="425237" y="1468214"/>
                    <a:pt x="420593" y="1474921"/>
                  </a:cubicBezTo>
                  <a:cubicBezTo>
                    <a:pt x="393762" y="1512588"/>
                    <a:pt x="350936" y="1531163"/>
                    <a:pt x="315334" y="1559026"/>
                  </a:cubicBezTo>
                  <a:cubicBezTo>
                    <a:pt x="310690" y="1562637"/>
                    <a:pt x="307078" y="1561090"/>
                    <a:pt x="302950" y="1557478"/>
                  </a:cubicBezTo>
                  <a:cubicBezTo>
                    <a:pt x="278699" y="1536323"/>
                    <a:pt x="255996" y="1513104"/>
                    <a:pt x="233809" y="1490401"/>
                  </a:cubicBezTo>
                  <a:cubicBezTo>
                    <a:pt x="229682" y="1485757"/>
                    <a:pt x="229165" y="1482145"/>
                    <a:pt x="232777" y="1476985"/>
                  </a:cubicBezTo>
                  <a:cubicBezTo>
                    <a:pt x="251352" y="1449122"/>
                    <a:pt x="269928" y="1421260"/>
                    <a:pt x="289019" y="1393397"/>
                  </a:cubicBezTo>
                  <a:cubicBezTo>
                    <a:pt x="295210" y="1384625"/>
                    <a:pt x="304498" y="1378949"/>
                    <a:pt x="312754" y="1371726"/>
                  </a:cubicBezTo>
                  <a:cubicBezTo>
                    <a:pt x="318946" y="1366566"/>
                    <a:pt x="319978" y="1361922"/>
                    <a:pt x="314818" y="1355731"/>
                  </a:cubicBezTo>
                  <a:cubicBezTo>
                    <a:pt x="289535" y="1324256"/>
                    <a:pt x="266316" y="1291233"/>
                    <a:pt x="246193" y="1255631"/>
                  </a:cubicBezTo>
                  <a:cubicBezTo>
                    <a:pt x="241549" y="1247375"/>
                    <a:pt x="236905" y="1248923"/>
                    <a:pt x="230713" y="1253051"/>
                  </a:cubicBezTo>
                  <a:cubicBezTo>
                    <a:pt x="191499" y="1277302"/>
                    <a:pt x="145577" y="1277818"/>
                    <a:pt x="102751" y="1289685"/>
                  </a:cubicBezTo>
                  <a:cubicBezTo>
                    <a:pt x="97075" y="1291233"/>
                    <a:pt x="93979" y="1288137"/>
                    <a:pt x="91916" y="1282978"/>
                  </a:cubicBezTo>
                  <a:cubicBezTo>
                    <a:pt x="77984" y="1254083"/>
                    <a:pt x="65085" y="1224156"/>
                    <a:pt x="53733" y="1194230"/>
                  </a:cubicBezTo>
                  <a:cubicBezTo>
                    <a:pt x="51669" y="1188038"/>
                    <a:pt x="53217" y="1184426"/>
                    <a:pt x="58377" y="1181330"/>
                  </a:cubicBezTo>
                  <a:cubicBezTo>
                    <a:pt x="86240" y="1162755"/>
                    <a:pt x="113587" y="1143664"/>
                    <a:pt x="142481" y="1125605"/>
                  </a:cubicBezTo>
                  <a:cubicBezTo>
                    <a:pt x="151769" y="1119929"/>
                    <a:pt x="163120" y="1117349"/>
                    <a:pt x="173956" y="1114253"/>
                  </a:cubicBezTo>
                  <a:cubicBezTo>
                    <a:pt x="180664" y="1112189"/>
                    <a:pt x="182727" y="1109093"/>
                    <a:pt x="180664" y="1101870"/>
                  </a:cubicBezTo>
                  <a:cubicBezTo>
                    <a:pt x="168796" y="1062139"/>
                    <a:pt x="160541" y="1021893"/>
                    <a:pt x="154865" y="981131"/>
                  </a:cubicBezTo>
                  <a:cubicBezTo>
                    <a:pt x="153833" y="974423"/>
                    <a:pt x="150737" y="972359"/>
                    <a:pt x="144029" y="973391"/>
                  </a:cubicBezTo>
                  <a:cubicBezTo>
                    <a:pt x="98107" y="981131"/>
                    <a:pt x="54765" y="963588"/>
                    <a:pt x="10391" y="958428"/>
                  </a:cubicBezTo>
                  <a:cubicBezTo>
                    <a:pt x="4715" y="957912"/>
                    <a:pt x="2652" y="954300"/>
                    <a:pt x="2135" y="948624"/>
                  </a:cubicBezTo>
                  <a:cubicBezTo>
                    <a:pt x="-960" y="916118"/>
                    <a:pt x="72" y="883611"/>
                    <a:pt x="588" y="850589"/>
                  </a:cubicBezTo>
                  <a:cubicBezTo>
                    <a:pt x="588" y="844397"/>
                    <a:pt x="4715" y="841817"/>
                    <a:pt x="10391" y="840785"/>
                  </a:cubicBezTo>
                  <a:cubicBezTo>
                    <a:pt x="43930" y="834077"/>
                    <a:pt x="76952" y="827370"/>
                    <a:pt x="110491" y="820662"/>
                  </a:cubicBezTo>
                  <a:cubicBezTo>
                    <a:pt x="120294" y="818598"/>
                    <a:pt x="130098" y="821694"/>
                    <a:pt x="139901" y="822726"/>
                  </a:cubicBezTo>
                  <a:cubicBezTo>
                    <a:pt x="148157" y="823758"/>
                    <a:pt x="152285" y="820662"/>
                    <a:pt x="153317" y="811890"/>
                  </a:cubicBezTo>
                  <a:cubicBezTo>
                    <a:pt x="157445" y="773192"/>
                    <a:pt x="164668" y="734494"/>
                    <a:pt x="174472" y="696827"/>
                  </a:cubicBezTo>
                  <a:cubicBezTo>
                    <a:pt x="177052" y="687024"/>
                    <a:pt x="173440" y="682380"/>
                    <a:pt x="164152" y="680316"/>
                  </a:cubicBezTo>
                  <a:cubicBezTo>
                    <a:pt x="120294" y="668965"/>
                    <a:pt x="87272" y="636974"/>
                    <a:pt x="49090" y="615819"/>
                  </a:cubicBezTo>
                  <a:cubicBezTo>
                    <a:pt x="44961" y="613755"/>
                    <a:pt x="44961" y="610143"/>
                    <a:pt x="45993" y="606015"/>
                  </a:cubicBezTo>
                  <a:cubicBezTo>
                    <a:pt x="56313" y="574541"/>
                    <a:pt x="69212" y="544098"/>
                    <a:pt x="82628" y="513655"/>
                  </a:cubicBezTo>
                  <a:cubicBezTo>
                    <a:pt x="85208" y="507980"/>
                    <a:pt x="89336" y="506948"/>
                    <a:pt x="93979" y="508496"/>
                  </a:cubicBezTo>
                  <a:cubicBezTo>
                    <a:pt x="137322" y="519847"/>
                    <a:pt x="183760" y="518815"/>
                    <a:pt x="224006" y="543066"/>
                  </a:cubicBezTo>
                  <a:cubicBezTo>
                    <a:pt x="230713" y="547194"/>
                    <a:pt x="233809" y="544614"/>
                    <a:pt x="236905" y="538938"/>
                  </a:cubicBezTo>
                  <a:cubicBezTo>
                    <a:pt x="255996" y="503336"/>
                    <a:pt x="278183" y="469281"/>
                    <a:pt x="302434" y="437291"/>
                  </a:cubicBezTo>
                  <a:cubicBezTo>
                    <a:pt x="305530" y="433163"/>
                    <a:pt x="310690" y="428519"/>
                    <a:pt x="302950" y="423359"/>
                  </a:cubicBezTo>
                  <a:cubicBezTo>
                    <a:pt x="273540" y="404268"/>
                    <a:pt x="258576" y="373826"/>
                    <a:pt x="238453" y="346995"/>
                  </a:cubicBezTo>
                  <a:cubicBezTo>
                    <a:pt x="234841" y="342351"/>
                    <a:pt x="232262" y="337707"/>
                    <a:pt x="228650" y="333063"/>
                  </a:cubicBezTo>
                  <a:cubicBezTo>
                    <a:pt x="212654" y="310360"/>
                    <a:pt x="212138" y="309844"/>
                    <a:pt x="230713" y="290237"/>
                  </a:cubicBezTo>
                  <a:cubicBezTo>
                    <a:pt x="248257" y="271662"/>
                    <a:pt x="266316" y="254119"/>
                    <a:pt x="283859" y="236060"/>
                  </a:cubicBezTo>
                  <a:cubicBezTo>
                    <a:pt x="289535" y="230384"/>
                    <a:pt x="294179" y="229868"/>
                    <a:pt x="300370" y="234512"/>
                  </a:cubicBezTo>
                  <a:cubicBezTo>
                    <a:pt x="327201" y="252571"/>
                    <a:pt x="354032" y="270114"/>
                    <a:pt x="380863" y="288173"/>
                  </a:cubicBezTo>
                  <a:cubicBezTo>
                    <a:pt x="390150" y="294365"/>
                    <a:pt x="396342" y="303137"/>
                    <a:pt x="403050" y="311392"/>
                  </a:cubicBezTo>
                  <a:cubicBezTo>
                    <a:pt x="408726" y="319132"/>
                    <a:pt x="413885" y="320680"/>
                    <a:pt x="422141" y="313972"/>
                  </a:cubicBezTo>
                  <a:cubicBezTo>
                    <a:pt x="452584" y="288689"/>
                    <a:pt x="485606" y="266502"/>
                    <a:pt x="519661" y="246895"/>
                  </a:cubicBezTo>
                  <a:cubicBezTo>
                    <a:pt x="524820" y="243799"/>
                    <a:pt x="529464" y="240703"/>
                    <a:pt x="524820" y="233996"/>
                  </a:cubicBezTo>
                  <a:cubicBezTo>
                    <a:pt x="502633" y="202005"/>
                    <a:pt x="501086" y="163823"/>
                    <a:pt x="492314" y="127704"/>
                  </a:cubicBezTo>
                  <a:cubicBezTo>
                    <a:pt x="484574" y="96230"/>
                    <a:pt x="485606" y="96746"/>
                    <a:pt x="514501" y="82298"/>
                  </a:cubicBezTo>
                  <a:cubicBezTo>
                    <a:pt x="535140" y="71979"/>
                    <a:pt x="557327" y="64239"/>
                    <a:pt x="578482" y="55468"/>
                  </a:cubicBezTo>
                  <a:cubicBezTo>
                    <a:pt x="586222" y="52372"/>
                    <a:pt x="590866" y="52888"/>
                    <a:pt x="595509" y="60111"/>
                  </a:cubicBezTo>
                  <a:cubicBezTo>
                    <a:pt x="613053" y="86942"/>
                    <a:pt x="630596" y="113257"/>
                    <a:pt x="648655" y="139572"/>
                  </a:cubicBezTo>
                  <a:cubicBezTo>
                    <a:pt x="655363" y="149375"/>
                    <a:pt x="657427" y="160727"/>
                    <a:pt x="661039" y="172078"/>
                  </a:cubicBezTo>
                  <a:cubicBezTo>
                    <a:pt x="663618" y="180334"/>
                    <a:pt x="667230" y="182914"/>
                    <a:pt x="675486" y="180334"/>
                  </a:cubicBezTo>
                  <a:cubicBezTo>
                    <a:pt x="713668" y="168983"/>
                    <a:pt x="752882" y="160727"/>
                    <a:pt x="792613" y="155567"/>
                  </a:cubicBezTo>
                  <a:cubicBezTo>
                    <a:pt x="800352" y="154535"/>
                    <a:pt x="802932" y="151439"/>
                    <a:pt x="801900" y="143700"/>
                  </a:cubicBezTo>
                  <a:cubicBezTo>
                    <a:pt x="795193" y="98294"/>
                    <a:pt x="811704" y="55468"/>
                    <a:pt x="816864" y="11094"/>
                  </a:cubicBezTo>
                  <a:cubicBezTo>
                    <a:pt x="817380" y="5934"/>
                    <a:pt x="820476" y="2838"/>
                    <a:pt x="826151" y="2322"/>
                  </a:cubicBezTo>
                  <a:cubicBezTo>
                    <a:pt x="859174" y="-1290"/>
                    <a:pt x="892196" y="258"/>
                    <a:pt x="925219" y="774"/>
                  </a:cubicBezTo>
                  <a:cubicBezTo>
                    <a:pt x="930895" y="774"/>
                    <a:pt x="933475" y="4902"/>
                    <a:pt x="934507" y="10062"/>
                  </a:cubicBezTo>
                  <a:cubicBezTo>
                    <a:pt x="941214" y="43600"/>
                    <a:pt x="948438" y="77139"/>
                    <a:pt x="954114" y="111193"/>
                  </a:cubicBezTo>
                  <a:cubicBezTo>
                    <a:pt x="955662" y="120481"/>
                    <a:pt x="953082" y="130800"/>
                    <a:pt x="952050" y="140604"/>
                  </a:cubicBezTo>
                  <a:cubicBezTo>
                    <a:pt x="951018" y="148343"/>
                    <a:pt x="954114" y="151955"/>
                    <a:pt x="962369" y="152987"/>
                  </a:cubicBezTo>
                  <a:cubicBezTo>
                    <a:pt x="1001584" y="157115"/>
                    <a:pt x="1040798" y="164339"/>
                    <a:pt x="1078980" y="174658"/>
                  </a:cubicBezTo>
                  <a:cubicBezTo>
                    <a:pt x="1085172" y="176206"/>
                    <a:pt x="1091364" y="176722"/>
                    <a:pt x="1093428" y="168467"/>
                  </a:cubicBezTo>
                  <a:cubicBezTo>
                    <a:pt x="1101683" y="130284"/>
                    <a:pt x="1127482" y="101390"/>
                    <a:pt x="1147089" y="69399"/>
                  </a:cubicBezTo>
                  <a:cubicBezTo>
                    <a:pt x="1162569" y="43084"/>
                    <a:pt x="1163601" y="43600"/>
                    <a:pt x="1192495" y="54436"/>
                  </a:cubicBezTo>
                  <a:cubicBezTo>
                    <a:pt x="1214682" y="62691"/>
                    <a:pt x="1236353" y="71979"/>
                    <a:pt x="1258024" y="81266"/>
                  </a:cubicBezTo>
                  <a:cubicBezTo>
                    <a:pt x="1265764" y="84362"/>
                    <a:pt x="1268860" y="88490"/>
                    <a:pt x="1267312" y="96746"/>
                  </a:cubicBezTo>
                  <a:cubicBezTo>
                    <a:pt x="1260604" y="128736"/>
                    <a:pt x="1254928" y="160727"/>
                    <a:pt x="1247705" y="192718"/>
                  </a:cubicBezTo>
                  <a:cubicBezTo>
                    <a:pt x="1245125" y="203553"/>
                    <a:pt x="1238417" y="213873"/>
                    <a:pt x="1233258" y="224192"/>
                  </a:cubicBezTo>
                  <a:cubicBezTo>
                    <a:pt x="1229646" y="230384"/>
                    <a:pt x="1230678" y="233996"/>
                    <a:pt x="1237385" y="237608"/>
                  </a:cubicBezTo>
                  <a:cubicBezTo>
                    <a:pt x="1273504" y="256699"/>
                    <a:pt x="1307558" y="279402"/>
                    <a:pt x="1340065" y="304169"/>
                  </a:cubicBezTo>
                  <a:cubicBezTo>
                    <a:pt x="1345741" y="308812"/>
                    <a:pt x="1349868" y="309328"/>
                    <a:pt x="1354512" y="302621"/>
                  </a:cubicBezTo>
                  <a:cubicBezTo>
                    <a:pt x="1381343" y="264954"/>
                    <a:pt x="1424169" y="246379"/>
                    <a:pt x="1459771" y="218516"/>
                  </a:cubicBezTo>
                  <a:cubicBezTo>
                    <a:pt x="1464415" y="214905"/>
                    <a:pt x="1468027" y="216452"/>
                    <a:pt x="1472155" y="220064"/>
                  </a:cubicBezTo>
                  <a:cubicBezTo>
                    <a:pt x="1496406" y="241219"/>
                    <a:pt x="1519109" y="264438"/>
                    <a:pt x="1541296" y="287657"/>
                  </a:cubicBezTo>
                  <a:cubicBezTo>
                    <a:pt x="1545424" y="292301"/>
                    <a:pt x="1545940" y="296429"/>
                    <a:pt x="1542328" y="301073"/>
                  </a:cubicBezTo>
                  <a:cubicBezTo>
                    <a:pt x="1523237" y="329452"/>
                    <a:pt x="1505177" y="357830"/>
                    <a:pt x="1485570" y="385693"/>
                  </a:cubicBezTo>
                  <a:cubicBezTo>
                    <a:pt x="1479895" y="393949"/>
                    <a:pt x="1470607" y="400140"/>
                    <a:pt x="1462868" y="406332"/>
                  </a:cubicBezTo>
                  <a:cubicBezTo>
                    <a:pt x="1456676" y="411492"/>
                    <a:pt x="1455644" y="416136"/>
                    <a:pt x="1460803" y="422327"/>
                  </a:cubicBezTo>
                  <a:cubicBezTo>
                    <a:pt x="1486086" y="453802"/>
                    <a:pt x="1509305" y="487341"/>
                    <a:pt x="1529428" y="522427"/>
                  </a:cubicBezTo>
                  <a:cubicBezTo>
                    <a:pt x="1534072" y="530167"/>
                    <a:pt x="1538716" y="529135"/>
                    <a:pt x="1544908" y="525007"/>
                  </a:cubicBezTo>
                  <a:cubicBezTo>
                    <a:pt x="1584122" y="500756"/>
                    <a:pt x="1630044" y="500240"/>
                    <a:pt x="1672870" y="488373"/>
                  </a:cubicBezTo>
                  <a:cubicBezTo>
                    <a:pt x="1678546" y="486825"/>
                    <a:pt x="1681642" y="489921"/>
                    <a:pt x="1683706" y="495080"/>
                  </a:cubicBezTo>
                  <a:cubicBezTo>
                    <a:pt x="1697637" y="523975"/>
                    <a:pt x="1710537" y="553902"/>
                    <a:pt x="1721888" y="583828"/>
                  </a:cubicBezTo>
                  <a:cubicBezTo>
                    <a:pt x="1723952" y="590020"/>
                    <a:pt x="1722404" y="593632"/>
                    <a:pt x="1717244" y="596728"/>
                  </a:cubicBezTo>
                  <a:cubicBezTo>
                    <a:pt x="1689381" y="615303"/>
                    <a:pt x="1662035" y="634394"/>
                    <a:pt x="1633140" y="652453"/>
                  </a:cubicBezTo>
                  <a:cubicBezTo>
                    <a:pt x="1623852" y="658129"/>
                    <a:pt x="1612501" y="660709"/>
                    <a:pt x="1601665" y="663805"/>
                  </a:cubicBezTo>
                  <a:cubicBezTo>
                    <a:pt x="1594958" y="665869"/>
                    <a:pt x="1592894" y="668965"/>
                    <a:pt x="1594958" y="676188"/>
                  </a:cubicBezTo>
                  <a:cubicBezTo>
                    <a:pt x="1606309" y="715403"/>
                    <a:pt x="1615081" y="755133"/>
                    <a:pt x="1620241" y="795895"/>
                  </a:cubicBezTo>
                  <a:cubicBezTo>
                    <a:pt x="1621272" y="803119"/>
                    <a:pt x="1624368" y="805699"/>
                    <a:pt x="1631076" y="804667"/>
                  </a:cubicBezTo>
                  <a:cubicBezTo>
                    <a:pt x="1676482" y="797959"/>
                    <a:pt x="1719308" y="814470"/>
                    <a:pt x="1763682" y="819630"/>
                  </a:cubicBezTo>
                  <a:cubicBezTo>
                    <a:pt x="1769874" y="820146"/>
                    <a:pt x="1772454" y="823758"/>
                    <a:pt x="1773486" y="829950"/>
                  </a:cubicBezTo>
                  <a:cubicBezTo>
                    <a:pt x="1776582" y="862456"/>
                    <a:pt x="1775034" y="895479"/>
                    <a:pt x="1775034" y="927985"/>
                  </a:cubicBezTo>
                  <a:cubicBezTo>
                    <a:pt x="1775034" y="933661"/>
                    <a:pt x="1771422" y="936241"/>
                    <a:pt x="1766262" y="937273"/>
                  </a:cubicBezTo>
                  <a:cubicBezTo>
                    <a:pt x="1732207" y="943981"/>
                    <a:pt x="1698153" y="951204"/>
                    <a:pt x="1663583" y="957396"/>
                  </a:cubicBezTo>
                  <a:cubicBezTo>
                    <a:pt x="1654811" y="958944"/>
                    <a:pt x="1645523" y="956364"/>
                    <a:pt x="1636752" y="955332"/>
                  </a:cubicBezTo>
                  <a:cubicBezTo>
                    <a:pt x="1627980" y="954300"/>
                    <a:pt x="1623336" y="956364"/>
                    <a:pt x="1622304" y="966684"/>
                  </a:cubicBezTo>
                  <a:cubicBezTo>
                    <a:pt x="1618177" y="1005382"/>
                    <a:pt x="1610953" y="1044080"/>
                    <a:pt x="1601149" y="1081746"/>
                  </a:cubicBezTo>
                  <a:cubicBezTo>
                    <a:pt x="1598569" y="1091034"/>
                    <a:pt x="1601665" y="1095678"/>
                    <a:pt x="1610437" y="1097742"/>
                  </a:cubicBezTo>
                  <a:cubicBezTo>
                    <a:pt x="1654811" y="1108577"/>
                    <a:pt x="1687318" y="1140568"/>
                    <a:pt x="1726016" y="1161723"/>
                  </a:cubicBezTo>
                  <a:cubicBezTo>
                    <a:pt x="1731176" y="1164819"/>
                    <a:pt x="1731176" y="1168947"/>
                    <a:pt x="1729112" y="1174107"/>
                  </a:cubicBezTo>
                  <a:cubicBezTo>
                    <a:pt x="1718792" y="1204549"/>
                    <a:pt x="1706409" y="1234476"/>
                    <a:pt x="1693509" y="1263887"/>
                  </a:cubicBezTo>
                  <a:cubicBezTo>
                    <a:pt x="1690929" y="1269562"/>
                    <a:pt x="1687318" y="1271626"/>
                    <a:pt x="1681126" y="1270078"/>
                  </a:cubicBezTo>
                  <a:cubicBezTo>
                    <a:pt x="1648103" y="1263371"/>
                    <a:pt x="1614565" y="1257179"/>
                    <a:pt x="1581542" y="1249955"/>
                  </a:cubicBezTo>
                  <a:cubicBezTo>
                    <a:pt x="1571223" y="1247375"/>
                    <a:pt x="1561935" y="1241184"/>
                    <a:pt x="1552647" y="1236024"/>
                  </a:cubicBezTo>
                  <a:cubicBezTo>
                    <a:pt x="1545940" y="1232412"/>
                    <a:pt x="1542328" y="1232928"/>
                    <a:pt x="1538200" y="1240152"/>
                  </a:cubicBezTo>
                  <a:cubicBezTo>
                    <a:pt x="1519109" y="1275238"/>
                    <a:pt x="1497954" y="1309293"/>
                    <a:pt x="1473187" y="1340767"/>
                  </a:cubicBezTo>
                  <a:cubicBezTo>
                    <a:pt x="1467511" y="1347991"/>
                    <a:pt x="1466479" y="1352635"/>
                    <a:pt x="1475251" y="1358310"/>
                  </a:cubicBezTo>
                  <a:cubicBezTo>
                    <a:pt x="1502598" y="1375854"/>
                    <a:pt x="1516013" y="1405264"/>
                    <a:pt x="1535104" y="1430031"/>
                  </a:cubicBezTo>
                  <a:cubicBezTo>
                    <a:pt x="1538716" y="1434675"/>
                    <a:pt x="1541812" y="1439835"/>
                    <a:pt x="1545424" y="1444995"/>
                  </a:cubicBezTo>
                  <a:cubicBezTo>
                    <a:pt x="1566063" y="1474921"/>
                    <a:pt x="1565031" y="1464602"/>
                    <a:pt x="1542844" y="1489885"/>
                  </a:cubicBezTo>
                  <a:cubicBezTo>
                    <a:pt x="1526849" y="1508460"/>
                    <a:pt x="1508273" y="1524971"/>
                    <a:pt x="1491246" y="1542514"/>
                  </a:cubicBezTo>
                  <a:cubicBezTo>
                    <a:pt x="1485054" y="1549222"/>
                    <a:pt x="1479895" y="1549222"/>
                    <a:pt x="1472155" y="1544062"/>
                  </a:cubicBezTo>
                  <a:cubicBezTo>
                    <a:pt x="1446356" y="1526519"/>
                    <a:pt x="1420041" y="1508976"/>
                    <a:pt x="1393726" y="1491948"/>
                  </a:cubicBezTo>
                  <a:cubicBezTo>
                    <a:pt x="1383923" y="1485241"/>
                    <a:pt x="1377215" y="1475437"/>
                    <a:pt x="1369992" y="1466666"/>
                  </a:cubicBezTo>
                  <a:cubicBezTo>
                    <a:pt x="1364316" y="1459958"/>
                    <a:pt x="1359672" y="1458926"/>
                    <a:pt x="1352964" y="1464602"/>
                  </a:cubicBezTo>
                  <a:cubicBezTo>
                    <a:pt x="1322005" y="1489885"/>
                    <a:pt x="1288983" y="1512588"/>
                    <a:pt x="1254413" y="1532711"/>
                  </a:cubicBezTo>
                  <a:cubicBezTo>
                    <a:pt x="1249769" y="1535291"/>
                    <a:pt x="1244609" y="1537871"/>
                    <a:pt x="1248737" y="1544578"/>
                  </a:cubicBezTo>
                  <a:cubicBezTo>
                    <a:pt x="1272472" y="1580181"/>
                    <a:pt x="1274020" y="1622491"/>
                    <a:pt x="1284339" y="1662221"/>
                  </a:cubicBezTo>
                  <a:cubicBezTo>
                    <a:pt x="1290531" y="1685440"/>
                    <a:pt x="1292079" y="1682344"/>
                    <a:pt x="1268860" y="1693180"/>
                  </a:cubicBezTo>
                  <a:cubicBezTo>
                    <a:pt x="1244609" y="1704531"/>
                    <a:pt x="1219842" y="1714335"/>
                    <a:pt x="1195591" y="1724654"/>
                  </a:cubicBezTo>
                  <a:cubicBezTo>
                    <a:pt x="1187851" y="1727750"/>
                    <a:pt x="1183208" y="1726718"/>
                    <a:pt x="1178564" y="1719495"/>
                  </a:cubicBezTo>
                  <a:cubicBezTo>
                    <a:pt x="1161021" y="1692664"/>
                    <a:pt x="1142962" y="1666865"/>
                    <a:pt x="1125418" y="1640034"/>
                  </a:cubicBezTo>
                  <a:cubicBezTo>
                    <a:pt x="1118711" y="1629715"/>
                    <a:pt x="1116131" y="1617847"/>
                    <a:pt x="1113035" y="1606496"/>
                  </a:cubicBezTo>
                  <a:cubicBezTo>
                    <a:pt x="1110971" y="1599272"/>
                    <a:pt x="1107359" y="1597208"/>
                    <a:pt x="1099619" y="1599272"/>
                  </a:cubicBezTo>
                  <a:cubicBezTo>
                    <a:pt x="1060405" y="1611139"/>
                    <a:pt x="1020675" y="1619395"/>
                    <a:pt x="979913" y="1624555"/>
                  </a:cubicBezTo>
                  <a:cubicBezTo>
                    <a:pt x="973205" y="1625587"/>
                    <a:pt x="971141" y="1628682"/>
                    <a:pt x="972173" y="1634874"/>
                  </a:cubicBezTo>
                  <a:cubicBezTo>
                    <a:pt x="979397" y="1680280"/>
                    <a:pt x="962885" y="1723106"/>
                    <a:pt x="957726" y="1767481"/>
                  </a:cubicBezTo>
                  <a:cubicBezTo>
                    <a:pt x="956694" y="1775220"/>
                    <a:pt x="952566" y="1777800"/>
                    <a:pt x="945858" y="1777800"/>
                  </a:cubicBezTo>
                  <a:cubicBezTo>
                    <a:pt x="929347" y="1778316"/>
                    <a:pt x="912320" y="1779348"/>
                    <a:pt x="895808" y="1779864"/>
                  </a:cubicBezTo>
                  <a:cubicBezTo>
                    <a:pt x="894776" y="1776252"/>
                    <a:pt x="894776" y="1776252"/>
                    <a:pt x="894776" y="1775736"/>
                  </a:cubicBezTo>
                  <a:close/>
                  <a:moveTo>
                    <a:pt x="890648" y="1454798"/>
                  </a:moveTo>
                  <a:cubicBezTo>
                    <a:pt x="1199203" y="1449638"/>
                    <a:pt x="1454096" y="1207645"/>
                    <a:pt x="1452548" y="884127"/>
                  </a:cubicBezTo>
                  <a:cubicBezTo>
                    <a:pt x="1451516" y="575057"/>
                    <a:pt x="1205395" y="320164"/>
                    <a:pt x="881361" y="322228"/>
                  </a:cubicBezTo>
                  <a:cubicBezTo>
                    <a:pt x="571775" y="324292"/>
                    <a:pt x="318429" y="570929"/>
                    <a:pt x="320494" y="893415"/>
                  </a:cubicBezTo>
                  <a:cubicBezTo>
                    <a:pt x="323073" y="1202485"/>
                    <a:pt x="569195" y="1452218"/>
                    <a:pt x="890648" y="1454798"/>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 name="Google Shape;157;p15"/>
            <p:cNvSpPr/>
            <p:nvPr/>
          </p:nvSpPr>
          <p:spPr>
            <a:xfrm>
              <a:off x="6408280" y="6041992"/>
              <a:ext cx="494433" cy="491686"/>
            </a:xfrm>
            <a:custGeom>
              <a:avLst/>
              <a:gdLst/>
              <a:ahLst/>
              <a:cxnLst/>
              <a:rect l="l" t="t" r="r" b="b"/>
              <a:pathLst>
                <a:path w="1857518" h="1847198" extrusionOk="0">
                  <a:moveTo>
                    <a:pt x="959201" y="1852264"/>
                  </a:moveTo>
                  <a:cubicBezTo>
                    <a:pt x="943206" y="1852264"/>
                    <a:pt x="927211" y="1852264"/>
                    <a:pt x="910700" y="1852264"/>
                  </a:cubicBezTo>
                  <a:cubicBezTo>
                    <a:pt x="900380" y="1848652"/>
                    <a:pt x="894704" y="1840913"/>
                    <a:pt x="891608" y="1830593"/>
                  </a:cubicBezTo>
                  <a:cubicBezTo>
                    <a:pt x="874065" y="1776931"/>
                    <a:pt x="856006" y="1723270"/>
                    <a:pt x="838463" y="1669608"/>
                  </a:cubicBezTo>
                  <a:cubicBezTo>
                    <a:pt x="834335" y="1657224"/>
                    <a:pt x="826080" y="1649485"/>
                    <a:pt x="813180" y="1646905"/>
                  </a:cubicBezTo>
                  <a:cubicBezTo>
                    <a:pt x="785833" y="1640713"/>
                    <a:pt x="757970" y="1635037"/>
                    <a:pt x="730624" y="1628330"/>
                  </a:cubicBezTo>
                  <a:cubicBezTo>
                    <a:pt x="716176" y="1624718"/>
                    <a:pt x="704309" y="1628330"/>
                    <a:pt x="693990" y="1639165"/>
                  </a:cubicBezTo>
                  <a:cubicBezTo>
                    <a:pt x="654259" y="1680443"/>
                    <a:pt x="613497" y="1720690"/>
                    <a:pt x="573251" y="1761452"/>
                  </a:cubicBezTo>
                  <a:cubicBezTo>
                    <a:pt x="563963" y="1770739"/>
                    <a:pt x="553127" y="1772804"/>
                    <a:pt x="542292" y="1766612"/>
                  </a:cubicBezTo>
                  <a:cubicBezTo>
                    <a:pt x="498950" y="1742361"/>
                    <a:pt x="456123" y="1718110"/>
                    <a:pt x="412782" y="1693859"/>
                  </a:cubicBezTo>
                  <a:cubicBezTo>
                    <a:pt x="397818" y="1685603"/>
                    <a:pt x="394206" y="1676832"/>
                    <a:pt x="398334" y="1660836"/>
                  </a:cubicBezTo>
                  <a:cubicBezTo>
                    <a:pt x="412265" y="1605111"/>
                    <a:pt x="426713" y="1549901"/>
                    <a:pt x="440644" y="1494176"/>
                  </a:cubicBezTo>
                  <a:cubicBezTo>
                    <a:pt x="443741" y="1482308"/>
                    <a:pt x="441676" y="1471473"/>
                    <a:pt x="432904" y="1462185"/>
                  </a:cubicBezTo>
                  <a:cubicBezTo>
                    <a:pt x="412265" y="1440514"/>
                    <a:pt x="391110" y="1418843"/>
                    <a:pt x="370471" y="1397172"/>
                  </a:cubicBezTo>
                  <a:cubicBezTo>
                    <a:pt x="362216" y="1388400"/>
                    <a:pt x="351896" y="1385820"/>
                    <a:pt x="340545" y="1388400"/>
                  </a:cubicBezTo>
                  <a:cubicBezTo>
                    <a:pt x="330226" y="1390464"/>
                    <a:pt x="320422" y="1393044"/>
                    <a:pt x="310618" y="1395108"/>
                  </a:cubicBezTo>
                  <a:cubicBezTo>
                    <a:pt x="263664" y="1405428"/>
                    <a:pt x="217226" y="1416263"/>
                    <a:pt x="170273" y="1426583"/>
                  </a:cubicBezTo>
                  <a:cubicBezTo>
                    <a:pt x="157373" y="1429679"/>
                    <a:pt x="147054" y="1425035"/>
                    <a:pt x="141377" y="1413683"/>
                  </a:cubicBezTo>
                  <a:cubicBezTo>
                    <a:pt x="117642" y="1368277"/>
                    <a:pt x="94423" y="1322355"/>
                    <a:pt x="70689" y="1276949"/>
                  </a:cubicBezTo>
                  <a:cubicBezTo>
                    <a:pt x="65529" y="1266630"/>
                    <a:pt x="67593" y="1255278"/>
                    <a:pt x="75848" y="1247539"/>
                  </a:cubicBezTo>
                  <a:cubicBezTo>
                    <a:pt x="119191" y="1207292"/>
                    <a:pt x="163049" y="1166530"/>
                    <a:pt x="206391" y="1126284"/>
                  </a:cubicBezTo>
                  <a:cubicBezTo>
                    <a:pt x="215162" y="1118544"/>
                    <a:pt x="218258" y="1108225"/>
                    <a:pt x="216710" y="1096873"/>
                  </a:cubicBezTo>
                  <a:cubicBezTo>
                    <a:pt x="211551" y="1069010"/>
                    <a:pt x="206391" y="1040631"/>
                    <a:pt x="201231" y="1012769"/>
                  </a:cubicBezTo>
                  <a:cubicBezTo>
                    <a:pt x="199167" y="1000901"/>
                    <a:pt x="192459" y="993162"/>
                    <a:pt x="181108" y="989034"/>
                  </a:cubicBezTo>
                  <a:cubicBezTo>
                    <a:pt x="142925" y="975103"/>
                    <a:pt x="104743" y="961171"/>
                    <a:pt x="67077" y="947240"/>
                  </a:cubicBezTo>
                  <a:cubicBezTo>
                    <a:pt x="44890" y="938984"/>
                    <a:pt x="22187" y="931760"/>
                    <a:pt x="0" y="921957"/>
                  </a:cubicBezTo>
                  <a:cubicBezTo>
                    <a:pt x="0" y="912153"/>
                    <a:pt x="0" y="902866"/>
                    <a:pt x="0" y="893062"/>
                  </a:cubicBezTo>
                  <a:cubicBezTo>
                    <a:pt x="1548" y="876035"/>
                    <a:pt x="3096" y="859524"/>
                    <a:pt x="4643" y="842496"/>
                  </a:cubicBezTo>
                  <a:cubicBezTo>
                    <a:pt x="7740" y="809474"/>
                    <a:pt x="12383" y="776451"/>
                    <a:pt x="17543" y="743945"/>
                  </a:cubicBezTo>
                  <a:cubicBezTo>
                    <a:pt x="19091" y="733109"/>
                    <a:pt x="26831" y="725369"/>
                    <a:pt x="38182" y="723305"/>
                  </a:cubicBezTo>
                  <a:cubicBezTo>
                    <a:pt x="97003" y="712470"/>
                    <a:pt x="155309" y="702150"/>
                    <a:pt x="214131" y="691315"/>
                  </a:cubicBezTo>
                  <a:cubicBezTo>
                    <a:pt x="226514" y="689251"/>
                    <a:pt x="234770" y="682543"/>
                    <a:pt x="239929" y="671192"/>
                  </a:cubicBezTo>
                  <a:cubicBezTo>
                    <a:pt x="248701" y="649521"/>
                    <a:pt x="257989" y="627850"/>
                    <a:pt x="266760" y="606695"/>
                  </a:cubicBezTo>
                  <a:cubicBezTo>
                    <a:pt x="272436" y="593279"/>
                    <a:pt x="270888" y="581928"/>
                    <a:pt x="262116" y="570060"/>
                  </a:cubicBezTo>
                  <a:cubicBezTo>
                    <a:pt x="227546" y="525170"/>
                    <a:pt x="193492" y="479764"/>
                    <a:pt x="159437" y="434874"/>
                  </a:cubicBezTo>
                  <a:cubicBezTo>
                    <a:pt x="150665" y="423007"/>
                    <a:pt x="150665" y="412687"/>
                    <a:pt x="159953" y="401336"/>
                  </a:cubicBezTo>
                  <a:cubicBezTo>
                    <a:pt x="192975" y="360058"/>
                    <a:pt x="225998" y="319295"/>
                    <a:pt x="259536" y="278017"/>
                  </a:cubicBezTo>
                  <a:cubicBezTo>
                    <a:pt x="270372" y="265118"/>
                    <a:pt x="279144" y="262538"/>
                    <a:pt x="294623" y="268729"/>
                  </a:cubicBezTo>
                  <a:cubicBezTo>
                    <a:pt x="348801" y="291433"/>
                    <a:pt x="402978" y="313620"/>
                    <a:pt x="457672" y="336322"/>
                  </a:cubicBezTo>
                  <a:cubicBezTo>
                    <a:pt x="468507" y="340966"/>
                    <a:pt x="479342" y="340450"/>
                    <a:pt x="489146" y="333743"/>
                  </a:cubicBezTo>
                  <a:cubicBezTo>
                    <a:pt x="506690" y="321875"/>
                    <a:pt x="523717" y="310008"/>
                    <a:pt x="540744" y="298140"/>
                  </a:cubicBezTo>
                  <a:cubicBezTo>
                    <a:pt x="548999" y="292464"/>
                    <a:pt x="553127" y="284209"/>
                    <a:pt x="553127" y="273889"/>
                  </a:cubicBezTo>
                  <a:cubicBezTo>
                    <a:pt x="553127" y="267697"/>
                    <a:pt x="552612" y="261506"/>
                    <a:pt x="552096" y="255830"/>
                  </a:cubicBezTo>
                  <a:cubicBezTo>
                    <a:pt x="550032" y="228999"/>
                    <a:pt x="547968" y="202684"/>
                    <a:pt x="545904" y="175854"/>
                  </a:cubicBezTo>
                  <a:cubicBezTo>
                    <a:pt x="543840" y="149023"/>
                    <a:pt x="541776" y="122708"/>
                    <a:pt x="539712" y="95877"/>
                  </a:cubicBezTo>
                  <a:cubicBezTo>
                    <a:pt x="538680" y="83493"/>
                    <a:pt x="544872" y="73690"/>
                    <a:pt x="556739" y="69562"/>
                  </a:cubicBezTo>
                  <a:cubicBezTo>
                    <a:pt x="609885" y="51503"/>
                    <a:pt x="663031" y="33444"/>
                    <a:pt x="716176" y="15901"/>
                  </a:cubicBezTo>
                  <a:cubicBezTo>
                    <a:pt x="719788" y="14869"/>
                    <a:pt x="722884" y="14353"/>
                    <a:pt x="726496" y="14353"/>
                  </a:cubicBezTo>
                  <a:cubicBezTo>
                    <a:pt x="736299" y="14869"/>
                    <a:pt x="742491" y="21060"/>
                    <a:pt x="748167" y="28800"/>
                  </a:cubicBezTo>
                  <a:cubicBezTo>
                    <a:pt x="781189" y="76786"/>
                    <a:pt x="814728" y="124772"/>
                    <a:pt x="847750" y="172758"/>
                  </a:cubicBezTo>
                  <a:cubicBezTo>
                    <a:pt x="855490" y="183593"/>
                    <a:pt x="865810" y="188753"/>
                    <a:pt x="878709" y="187721"/>
                  </a:cubicBezTo>
                  <a:cubicBezTo>
                    <a:pt x="896252" y="186173"/>
                    <a:pt x="914312" y="185657"/>
                    <a:pt x="931855" y="185657"/>
                  </a:cubicBezTo>
                  <a:cubicBezTo>
                    <a:pt x="939079" y="185657"/>
                    <a:pt x="944239" y="183077"/>
                    <a:pt x="948366" y="177401"/>
                  </a:cubicBezTo>
                  <a:cubicBezTo>
                    <a:pt x="950430" y="174822"/>
                    <a:pt x="952494" y="171726"/>
                    <a:pt x="954042" y="169146"/>
                  </a:cubicBezTo>
                  <a:cubicBezTo>
                    <a:pt x="962814" y="153150"/>
                    <a:pt x="971069" y="137155"/>
                    <a:pt x="979840" y="121676"/>
                  </a:cubicBezTo>
                  <a:cubicBezTo>
                    <a:pt x="998932" y="85558"/>
                    <a:pt x="1018539" y="49955"/>
                    <a:pt x="1037630" y="13837"/>
                  </a:cubicBezTo>
                  <a:cubicBezTo>
                    <a:pt x="1043822" y="2485"/>
                    <a:pt x="1053626" y="-2159"/>
                    <a:pt x="1066525" y="937"/>
                  </a:cubicBezTo>
                  <a:cubicBezTo>
                    <a:pt x="1122251" y="14353"/>
                    <a:pt x="1177976" y="27252"/>
                    <a:pt x="1233702" y="40667"/>
                  </a:cubicBezTo>
                  <a:cubicBezTo>
                    <a:pt x="1245569" y="43763"/>
                    <a:pt x="1252793" y="52535"/>
                    <a:pt x="1253309" y="64918"/>
                  </a:cubicBezTo>
                  <a:cubicBezTo>
                    <a:pt x="1253825" y="71626"/>
                    <a:pt x="1253825" y="78334"/>
                    <a:pt x="1254341" y="85042"/>
                  </a:cubicBezTo>
                  <a:cubicBezTo>
                    <a:pt x="1255888" y="126836"/>
                    <a:pt x="1256921" y="168630"/>
                    <a:pt x="1258468" y="209908"/>
                  </a:cubicBezTo>
                  <a:cubicBezTo>
                    <a:pt x="1258985" y="221260"/>
                    <a:pt x="1259501" y="233127"/>
                    <a:pt x="1260016" y="244478"/>
                  </a:cubicBezTo>
                  <a:cubicBezTo>
                    <a:pt x="1260532" y="255830"/>
                    <a:pt x="1266208" y="264602"/>
                    <a:pt x="1276012" y="270277"/>
                  </a:cubicBezTo>
                  <a:cubicBezTo>
                    <a:pt x="1288395" y="277501"/>
                    <a:pt x="1301295" y="284209"/>
                    <a:pt x="1313678" y="291948"/>
                  </a:cubicBezTo>
                  <a:cubicBezTo>
                    <a:pt x="1326062" y="299172"/>
                    <a:pt x="1337413" y="298656"/>
                    <a:pt x="1349797" y="291948"/>
                  </a:cubicBezTo>
                  <a:cubicBezTo>
                    <a:pt x="1400879" y="263570"/>
                    <a:pt x="1451444" y="235191"/>
                    <a:pt x="1502526" y="206812"/>
                  </a:cubicBezTo>
                  <a:cubicBezTo>
                    <a:pt x="1514394" y="200105"/>
                    <a:pt x="1525745" y="202168"/>
                    <a:pt x="1535033" y="211456"/>
                  </a:cubicBezTo>
                  <a:cubicBezTo>
                    <a:pt x="1574763" y="251702"/>
                    <a:pt x="1613977" y="292464"/>
                    <a:pt x="1653707" y="332711"/>
                  </a:cubicBezTo>
                  <a:cubicBezTo>
                    <a:pt x="1664027" y="343546"/>
                    <a:pt x="1665575" y="353350"/>
                    <a:pt x="1657835" y="366249"/>
                  </a:cubicBezTo>
                  <a:cubicBezTo>
                    <a:pt x="1628424" y="416299"/>
                    <a:pt x="1598497" y="465833"/>
                    <a:pt x="1569087" y="515883"/>
                  </a:cubicBezTo>
                  <a:cubicBezTo>
                    <a:pt x="1562379" y="527234"/>
                    <a:pt x="1561863" y="539102"/>
                    <a:pt x="1568571" y="550453"/>
                  </a:cubicBezTo>
                  <a:cubicBezTo>
                    <a:pt x="1576311" y="564384"/>
                    <a:pt x="1583534" y="578316"/>
                    <a:pt x="1591274" y="592247"/>
                  </a:cubicBezTo>
                  <a:cubicBezTo>
                    <a:pt x="1596950" y="602567"/>
                    <a:pt x="1605721" y="608243"/>
                    <a:pt x="1617589" y="608759"/>
                  </a:cubicBezTo>
                  <a:cubicBezTo>
                    <a:pt x="1637196" y="610307"/>
                    <a:pt x="1657319" y="611339"/>
                    <a:pt x="1676926" y="612886"/>
                  </a:cubicBezTo>
                  <a:cubicBezTo>
                    <a:pt x="1717172" y="615466"/>
                    <a:pt x="1757419" y="618046"/>
                    <a:pt x="1797665" y="620626"/>
                  </a:cubicBezTo>
                  <a:cubicBezTo>
                    <a:pt x="1809016" y="621142"/>
                    <a:pt x="1818304" y="628882"/>
                    <a:pt x="1820884" y="640233"/>
                  </a:cubicBezTo>
                  <a:cubicBezTo>
                    <a:pt x="1833267" y="695959"/>
                    <a:pt x="1845135" y="752200"/>
                    <a:pt x="1857518" y="808442"/>
                  </a:cubicBezTo>
                  <a:cubicBezTo>
                    <a:pt x="1859066" y="816181"/>
                    <a:pt x="1857002" y="822889"/>
                    <a:pt x="1851842" y="829081"/>
                  </a:cubicBezTo>
                  <a:cubicBezTo>
                    <a:pt x="1849262" y="832177"/>
                    <a:pt x="1845135" y="834241"/>
                    <a:pt x="1841523" y="836305"/>
                  </a:cubicBezTo>
                  <a:cubicBezTo>
                    <a:pt x="1789925" y="862103"/>
                    <a:pt x="1738327" y="887902"/>
                    <a:pt x="1686214" y="913701"/>
                  </a:cubicBezTo>
                  <a:cubicBezTo>
                    <a:pt x="1675378" y="919377"/>
                    <a:pt x="1669187" y="927633"/>
                    <a:pt x="1668670" y="940016"/>
                  </a:cubicBezTo>
                  <a:cubicBezTo>
                    <a:pt x="1667639" y="959623"/>
                    <a:pt x="1666090" y="978714"/>
                    <a:pt x="1665059" y="998322"/>
                  </a:cubicBezTo>
                  <a:cubicBezTo>
                    <a:pt x="1664543" y="1009673"/>
                    <a:pt x="1668670" y="1019477"/>
                    <a:pt x="1678474" y="1026184"/>
                  </a:cubicBezTo>
                  <a:cubicBezTo>
                    <a:pt x="1726460" y="1061271"/>
                    <a:pt x="1773930" y="1096873"/>
                    <a:pt x="1821916" y="1131960"/>
                  </a:cubicBezTo>
                  <a:cubicBezTo>
                    <a:pt x="1833267" y="1140215"/>
                    <a:pt x="1836879" y="1150535"/>
                    <a:pt x="1831720" y="1163950"/>
                  </a:cubicBezTo>
                  <a:cubicBezTo>
                    <a:pt x="1822948" y="1188201"/>
                    <a:pt x="1814176" y="1212452"/>
                    <a:pt x="1805404" y="1236703"/>
                  </a:cubicBezTo>
                  <a:cubicBezTo>
                    <a:pt x="1795601" y="1263534"/>
                    <a:pt x="1785798" y="1290881"/>
                    <a:pt x="1775478" y="1317711"/>
                  </a:cubicBezTo>
                  <a:cubicBezTo>
                    <a:pt x="1771350" y="1329063"/>
                    <a:pt x="1761546" y="1335255"/>
                    <a:pt x="1750195" y="1334223"/>
                  </a:cubicBezTo>
                  <a:cubicBezTo>
                    <a:pt x="1728524" y="1332159"/>
                    <a:pt x="1707369" y="1329579"/>
                    <a:pt x="1685698" y="1327515"/>
                  </a:cubicBezTo>
                  <a:cubicBezTo>
                    <a:pt x="1648548" y="1323387"/>
                    <a:pt x="1611397" y="1319259"/>
                    <a:pt x="1574247" y="1315648"/>
                  </a:cubicBezTo>
                  <a:cubicBezTo>
                    <a:pt x="1562379" y="1314616"/>
                    <a:pt x="1553092" y="1318743"/>
                    <a:pt x="1545868" y="1328547"/>
                  </a:cubicBezTo>
                  <a:cubicBezTo>
                    <a:pt x="1532453" y="1346606"/>
                    <a:pt x="1519553" y="1365181"/>
                    <a:pt x="1505622" y="1383241"/>
                  </a:cubicBezTo>
                  <a:cubicBezTo>
                    <a:pt x="1497366" y="1394076"/>
                    <a:pt x="1496334" y="1405428"/>
                    <a:pt x="1500978" y="1417811"/>
                  </a:cubicBezTo>
                  <a:cubicBezTo>
                    <a:pt x="1521617" y="1472505"/>
                    <a:pt x="1542772" y="1527198"/>
                    <a:pt x="1563411" y="1581892"/>
                  </a:cubicBezTo>
                  <a:cubicBezTo>
                    <a:pt x="1569087" y="1596339"/>
                    <a:pt x="1565991" y="1606143"/>
                    <a:pt x="1554124" y="1615430"/>
                  </a:cubicBezTo>
                  <a:cubicBezTo>
                    <a:pt x="1512845" y="1646389"/>
                    <a:pt x="1472083" y="1677864"/>
                    <a:pt x="1430805" y="1708822"/>
                  </a:cubicBezTo>
                  <a:cubicBezTo>
                    <a:pt x="1418938" y="1717594"/>
                    <a:pt x="1408618" y="1717594"/>
                    <a:pt x="1397266" y="1708306"/>
                  </a:cubicBezTo>
                  <a:cubicBezTo>
                    <a:pt x="1352892" y="1672704"/>
                    <a:pt x="1308003" y="1636585"/>
                    <a:pt x="1263628" y="1600467"/>
                  </a:cubicBezTo>
                  <a:cubicBezTo>
                    <a:pt x="1253825" y="1592727"/>
                    <a:pt x="1243505" y="1590147"/>
                    <a:pt x="1232154" y="1594275"/>
                  </a:cubicBezTo>
                  <a:cubicBezTo>
                    <a:pt x="1205839" y="1604079"/>
                    <a:pt x="1179524" y="1613883"/>
                    <a:pt x="1153725" y="1624202"/>
                  </a:cubicBezTo>
                  <a:cubicBezTo>
                    <a:pt x="1143406" y="1628330"/>
                    <a:pt x="1137214" y="1636070"/>
                    <a:pt x="1134634" y="1646905"/>
                  </a:cubicBezTo>
                  <a:cubicBezTo>
                    <a:pt x="1131022" y="1663932"/>
                    <a:pt x="1127411" y="1681475"/>
                    <a:pt x="1123798" y="1698503"/>
                  </a:cubicBezTo>
                  <a:cubicBezTo>
                    <a:pt x="1115027" y="1739781"/>
                    <a:pt x="1106771" y="1780543"/>
                    <a:pt x="1097999" y="1821821"/>
                  </a:cubicBezTo>
                  <a:cubicBezTo>
                    <a:pt x="1095420" y="1833689"/>
                    <a:pt x="1088196" y="1840913"/>
                    <a:pt x="1076329" y="1842460"/>
                  </a:cubicBezTo>
                  <a:cubicBezTo>
                    <a:pt x="1048982" y="1846072"/>
                    <a:pt x="1021635" y="1848652"/>
                    <a:pt x="994288" y="1851232"/>
                  </a:cubicBezTo>
                  <a:cubicBezTo>
                    <a:pt x="980873" y="1850200"/>
                    <a:pt x="970037" y="1851232"/>
                    <a:pt x="959201" y="1852264"/>
                  </a:cubicBezTo>
                  <a:close/>
                  <a:moveTo>
                    <a:pt x="928759" y="382245"/>
                  </a:moveTo>
                  <a:cubicBezTo>
                    <a:pt x="633620" y="381729"/>
                    <a:pt x="388015" y="619594"/>
                    <a:pt x="386983" y="921957"/>
                  </a:cubicBezTo>
                  <a:cubicBezTo>
                    <a:pt x="385951" y="1222772"/>
                    <a:pt x="627428" y="1464765"/>
                    <a:pt x="926695" y="1465797"/>
                  </a:cubicBezTo>
                  <a:cubicBezTo>
                    <a:pt x="1229058" y="1466829"/>
                    <a:pt x="1470019" y="1222772"/>
                    <a:pt x="1470535" y="924537"/>
                  </a:cubicBezTo>
                  <a:cubicBezTo>
                    <a:pt x="1470535" y="625270"/>
                    <a:pt x="1228026" y="381729"/>
                    <a:pt x="928759" y="382245"/>
                  </a:cubicBezTo>
                  <a:close/>
                </a:path>
              </a:pathLst>
            </a:custGeom>
            <a:solidFill>
              <a:schemeClr val="lt1">
                <a:alpha val="4705"/>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Tree>
    <p:extLst>
      <p:ext uri="{BB962C8B-B14F-4D97-AF65-F5344CB8AC3E}">
        <p14:creationId xmlns:p14="http://schemas.microsoft.com/office/powerpoint/2010/main" val="26006094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FA75CF4-0495-44F0-9919-2BE2E9C3353A}"/>
              </a:ext>
            </a:extLst>
          </p:cNvPr>
          <p:cNvGraphicFramePr>
            <a:graphicFrameLocks noChangeAspect="1"/>
          </p:cNvGraphicFramePr>
          <p:nvPr userDrawn="1">
            <p:custDataLst>
              <p:tags r:id="rId1"/>
            </p:custDataLst>
            <p:extLst>
              <p:ext uri="{D42A27DB-BD31-4B8C-83A1-F6EECF244321}">
                <p14:modId xmlns:p14="http://schemas.microsoft.com/office/powerpoint/2010/main" val="2625059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8" name="Object 7" hidden="1">
                        <a:extLst>
                          <a:ext uri="{FF2B5EF4-FFF2-40B4-BE49-F238E27FC236}">
                            <a16:creationId xmlns:a16="http://schemas.microsoft.com/office/drawing/2014/main" id="{1FA75CF4-0495-44F0-9919-2BE2E9C335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6903CF4-CF7A-4D3B-9206-A558CF8F191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9BF01D88-14DC-4E8C-BC51-F6E29BA416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4E956F14-30EB-46F0-BB34-23C7D0B00E2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BC4FD2C7-F87E-4333-A1F2-06B61B355C15}"/>
              </a:ext>
            </a:extLst>
          </p:cNvPr>
          <p:cNvSpPr>
            <a:spLocks noGrp="1"/>
          </p:cNvSpPr>
          <p:nvPr>
            <p:ph type="dt" sz="half" idx="10"/>
          </p:nvPr>
        </p:nvSpPr>
        <p:spPr/>
        <p:txBody>
          <a:bodyPr/>
          <a:lstStyle/>
          <a:p>
            <a:fld id="{AC427EFE-020E-4662-B68A-EB3CD7C19C13}" type="datetimeFigureOut">
              <a:rPr lang="en-ID" smtClean="0"/>
              <a:t>12/12/2023</a:t>
            </a:fld>
            <a:endParaRPr lang="en-ID"/>
          </a:p>
        </p:txBody>
      </p:sp>
      <p:sp>
        <p:nvSpPr>
          <p:cNvPr id="5" name="Footer Placeholder 4">
            <a:extLst>
              <a:ext uri="{FF2B5EF4-FFF2-40B4-BE49-F238E27FC236}">
                <a16:creationId xmlns:a16="http://schemas.microsoft.com/office/drawing/2014/main" id="{C67364F3-044E-4210-9FE8-5F892F067056}"/>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8D429688-1D12-4543-A348-2B8D4B848DCF}"/>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35273467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DAF28-D4CA-B8F3-4C52-E9D2522E457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B1E4CA76-1CB3-BBD7-12F1-DF8191AC2FE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6192043-F58E-D640-3D03-0E341FB512D7}"/>
              </a:ext>
            </a:extLst>
          </p:cNvPr>
          <p:cNvSpPr>
            <a:spLocks noGrp="1"/>
          </p:cNvSpPr>
          <p:nvPr>
            <p:ph type="dt" sz="half" idx="10"/>
          </p:nvPr>
        </p:nvSpPr>
        <p:spPr/>
        <p:txBody>
          <a:bodyPr/>
          <a:lstStyle/>
          <a:p>
            <a:fld id="{62FB3A63-0457-4056-959C-681C51DC124A}" type="datetimeFigureOut">
              <a:rPr lang="en-ID" smtClean="0"/>
              <a:t>12/12/2023</a:t>
            </a:fld>
            <a:endParaRPr lang="en-ID"/>
          </a:p>
        </p:txBody>
      </p:sp>
      <p:sp>
        <p:nvSpPr>
          <p:cNvPr id="5" name="Footer Placeholder 4">
            <a:extLst>
              <a:ext uri="{FF2B5EF4-FFF2-40B4-BE49-F238E27FC236}">
                <a16:creationId xmlns:a16="http://schemas.microsoft.com/office/drawing/2014/main" id="{9AF8DEA0-60C3-8689-468C-F34630681FF0}"/>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49F6B7C7-85EB-67D0-960D-33272C63F4F7}"/>
              </a:ext>
            </a:extLst>
          </p:cNvPr>
          <p:cNvSpPr>
            <a:spLocks noGrp="1"/>
          </p:cNvSpPr>
          <p:nvPr>
            <p:ph type="sldNum" sz="quarter" idx="12"/>
          </p:nvPr>
        </p:nvSpPr>
        <p:spPr/>
        <p:txBody>
          <a:bodyPr/>
          <a:lstStyle/>
          <a:p>
            <a:fld id="{BC5A0E4C-AEED-4EAC-B96D-5DCBA748C5AA}" type="slidenum">
              <a:rPr lang="en-ID" smtClean="0"/>
              <a:t>‹#›</a:t>
            </a:fld>
            <a:endParaRPr lang="en-ID"/>
          </a:p>
        </p:txBody>
      </p:sp>
    </p:spTree>
    <p:extLst>
      <p:ext uri="{BB962C8B-B14F-4D97-AF65-F5344CB8AC3E}">
        <p14:creationId xmlns:p14="http://schemas.microsoft.com/office/powerpoint/2010/main" val="33055999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9B4D2A1-5732-4B0E-AD8F-F79D4D8E10F3}"/>
              </a:ext>
            </a:extLst>
          </p:cNvPr>
          <p:cNvGraphicFramePr>
            <a:graphicFrameLocks noChangeAspect="1"/>
          </p:cNvGraphicFramePr>
          <p:nvPr userDrawn="1">
            <p:custDataLst>
              <p:tags r:id="rId1"/>
            </p:custDataLst>
            <p:extLst>
              <p:ext uri="{D42A27DB-BD31-4B8C-83A1-F6EECF244321}">
                <p14:modId xmlns:p14="http://schemas.microsoft.com/office/powerpoint/2010/main" val="2917830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8" name="Object 7" hidden="1">
                        <a:extLst>
                          <a:ext uri="{FF2B5EF4-FFF2-40B4-BE49-F238E27FC236}">
                            <a16:creationId xmlns:a16="http://schemas.microsoft.com/office/drawing/2014/main" id="{B9B4D2A1-5732-4B0E-AD8F-F79D4D8E10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FD2E193-527D-4DD9-8E64-AF3CF266320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6EB45756-886E-4ED6-A056-7F53A7CFD1E0}"/>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1391E3EA-5251-41DF-A072-D6E0FF8ED7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BFCD2ACE-899B-4B44-866B-D792AC29DE99}"/>
              </a:ext>
            </a:extLst>
          </p:cNvPr>
          <p:cNvSpPr>
            <a:spLocks noGrp="1"/>
          </p:cNvSpPr>
          <p:nvPr>
            <p:ph type="dt" sz="half" idx="10"/>
          </p:nvPr>
        </p:nvSpPr>
        <p:spPr/>
        <p:txBody>
          <a:bodyPr/>
          <a:lstStyle/>
          <a:p>
            <a:fld id="{AC427EFE-020E-4662-B68A-EB3CD7C19C13}" type="datetimeFigureOut">
              <a:rPr lang="en-ID" smtClean="0"/>
              <a:t>12/12/2023</a:t>
            </a:fld>
            <a:endParaRPr lang="en-ID"/>
          </a:p>
        </p:txBody>
      </p:sp>
      <p:sp>
        <p:nvSpPr>
          <p:cNvPr id="5" name="Footer Placeholder 4">
            <a:extLst>
              <a:ext uri="{FF2B5EF4-FFF2-40B4-BE49-F238E27FC236}">
                <a16:creationId xmlns:a16="http://schemas.microsoft.com/office/drawing/2014/main" id="{3D72871A-7A4D-4FC3-86FC-B611CCDD2908}"/>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A5111E3D-076A-44A8-B2CB-5B57C3630328}"/>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22683062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3AD1D6A-C5C0-473B-926F-DF87BC63F36F}"/>
              </a:ext>
            </a:extLst>
          </p:cNvPr>
          <p:cNvGraphicFramePr>
            <a:graphicFrameLocks noChangeAspect="1"/>
          </p:cNvGraphicFramePr>
          <p:nvPr userDrawn="1">
            <p:custDataLst>
              <p:tags r:id="rId1"/>
            </p:custDataLst>
            <p:extLst>
              <p:ext uri="{D42A27DB-BD31-4B8C-83A1-F6EECF244321}">
                <p14:modId xmlns:p14="http://schemas.microsoft.com/office/powerpoint/2010/main" val="410830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8" name="Object 7" hidden="1">
                        <a:extLst>
                          <a:ext uri="{FF2B5EF4-FFF2-40B4-BE49-F238E27FC236}">
                            <a16:creationId xmlns:a16="http://schemas.microsoft.com/office/drawing/2014/main" id="{B3AD1D6A-C5C0-473B-926F-DF87BC63F3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C40A597-CFF5-42CD-B59A-7690C0936F6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1E5743E9-1B90-44BE-8018-6AD5508D4D4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B74ABA70-9411-48B5-9A79-D2FA933FA32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663BA19-713B-4C9B-9631-201C58ABCFE8}"/>
              </a:ext>
            </a:extLst>
          </p:cNvPr>
          <p:cNvSpPr>
            <a:spLocks noGrp="1"/>
          </p:cNvSpPr>
          <p:nvPr>
            <p:ph type="dt" sz="half" idx="10"/>
          </p:nvPr>
        </p:nvSpPr>
        <p:spPr/>
        <p:txBody>
          <a:bodyPr/>
          <a:lstStyle/>
          <a:p>
            <a:fld id="{AC427EFE-020E-4662-B68A-EB3CD7C19C13}" type="datetimeFigureOut">
              <a:rPr lang="en-ID" smtClean="0"/>
              <a:t>12/12/2023</a:t>
            </a:fld>
            <a:endParaRPr lang="en-ID"/>
          </a:p>
        </p:txBody>
      </p:sp>
      <p:sp>
        <p:nvSpPr>
          <p:cNvPr id="5" name="Footer Placeholder 4">
            <a:extLst>
              <a:ext uri="{FF2B5EF4-FFF2-40B4-BE49-F238E27FC236}">
                <a16:creationId xmlns:a16="http://schemas.microsoft.com/office/drawing/2014/main" id="{F23B1366-8670-40C6-9556-C3B8DA71B7F3}"/>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7C7469EF-592D-437E-BA15-C6E5C6530ABE}"/>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12674888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626EF9F-6DE0-4392-B5D6-822005F488CF}"/>
              </a:ext>
            </a:extLst>
          </p:cNvPr>
          <p:cNvGraphicFramePr>
            <a:graphicFrameLocks noChangeAspect="1"/>
          </p:cNvGraphicFramePr>
          <p:nvPr userDrawn="1">
            <p:custDataLst>
              <p:tags r:id="rId1"/>
            </p:custDataLst>
            <p:extLst>
              <p:ext uri="{D42A27DB-BD31-4B8C-83A1-F6EECF244321}">
                <p14:modId xmlns:p14="http://schemas.microsoft.com/office/powerpoint/2010/main" val="3145747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9" name="Object 8" hidden="1">
                        <a:extLst>
                          <a:ext uri="{FF2B5EF4-FFF2-40B4-BE49-F238E27FC236}">
                            <a16:creationId xmlns:a16="http://schemas.microsoft.com/office/drawing/2014/main" id="{B626EF9F-6DE0-4392-B5D6-822005F488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5E654F2-7653-48AA-A132-E143D36CCFB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AC0139F3-BD05-4A74-875B-54EC9FEC8F23}"/>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9A5E10A5-0D80-4BD9-B991-3C9313F1213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0BA9FD12-366A-42A8-AFA4-979C82DF286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4">
            <a:extLst>
              <a:ext uri="{FF2B5EF4-FFF2-40B4-BE49-F238E27FC236}">
                <a16:creationId xmlns:a16="http://schemas.microsoft.com/office/drawing/2014/main" id="{40C9DB27-FBA1-4D3D-9984-89B36A025744}"/>
              </a:ext>
            </a:extLst>
          </p:cNvPr>
          <p:cNvSpPr>
            <a:spLocks noGrp="1"/>
          </p:cNvSpPr>
          <p:nvPr>
            <p:ph type="dt" sz="half" idx="10"/>
          </p:nvPr>
        </p:nvSpPr>
        <p:spPr/>
        <p:txBody>
          <a:bodyPr/>
          <a:lstStyle/>
          <a:p>
            <a:fld id="{AC427EFE-020E-4662-B68A-EB3CD7C19C13}" type="datetimeFigureOut">
              <a:rPr lang="en-ID" smtClean="0"/>
              <a:t>12/12/2023</a:t>
            </a:fld>
            <a:endParaRPr lang="en-ID"/>
          </a:p>
        </p:txBody>
      </p:sp>
      <p:sp>
        <p:nvSpPr>
          <p:cNvPr id="6" name="Footer Placeholder 5">
            <a:extLst>
              <a:ext uri="{FF2B5EF4-FFF2-40B4-BE49-F238E27FC236}">
                <a16:creationId xmlns:a16="http://schemas.microsoft.com/office/drawing/2014/main" id="{8E55434F-B91B-42BC-B5B6-BD3BF6F02ECF}"/>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D98B3053-38A7-412B-8277-8563B47D5456}"/>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1214064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9587DF5-3A40-47AE-BF9F-6EF659282A5A}"/>
              </a:ext>
            </a:extLst>
          </p:cNvPr>
          <p:cNvGraphicFramePr>
            <a:graphicFrameLocks noChangeAspect="1"/>
          </p:cNvGraphicFramePr>
          <p:nvPr userDrawn="1">
            <p:custDataLst>
              <p:tags r:id="rId1"/>
            </p:custDataLst>
            <p:extLst>
              <p:ext uri="{D42A27DB-BD31-4B8C-83A1-F6EECF244321}">
                <p14:modId xmlns:p14="http://schemas.microsoft.com/office/powerpoint/2010/main" val="1086174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11" name="Object 10" hidden="1">
                        <a:extLst>
                          <a:ext uri="{FF2B5EF4-FFF2-40B4-BE49-F238E27FC236}">
                            <a16:creationId xmlns:a16="http://schemas.microsoft.com/office/drawing/2014/main" id="{79587DF5-3A40-47AE-BF9F-6EF659282A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B9B79F29-5D2D-4E95-8C5B-DE9F5FF5660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4AD917A2-8764-4DD8-8BE9-E35FDE2390D2}"/>
              </a:ext>
            </a:extLst>
          </p:cNvPr>
          <p:cNvSpPr>
            <a:spLocks noGrp="1"/>
          </p:cNvSpPr>
          <p:nvPr>
            <p:ph type="title"/>
          </p:nvPr>
        </p:nvSpPr>
        <p:spPr>
          <a:xfrm>
            <a:off x="839788" y="365125"/>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id="{D804E9E9-ED16-46D0-A60F-BE60AC7E9DF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0A9BE62-4058-4DEC-BBC4-D42F5349ED5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id="{66149CD0-0E68-4EF5-9B61-C07060BDE6B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FB4448D-7CDA-4478-B093-3AC43166536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id="{CE1A0D2F-1761-4226-BCDD-75008D2ED936}"/>
              </a:ext>
            </a:extLst>
          </p:cNvPr>
          <p:cNvSpPr>
            <a:spLocks noGrp="1"/>
          </p:cNvSpPr>
          <p:nvPr>
            <p:ph type="dt" sz="half" idx="10"/>
          </p:nvPr>
        </p:nvSpPr>
        <p:spPr/>
        <p:txBody>
          <a:bodyPr/>
          <a:lstStyle/>
          <a:p>
            <a:fld id="{AC427EFE-020E-4662-B68A-EB3CD7C19C13}" type="datetimeFigureOut">
              <a:rPr lang="en-ID" smtClean="0"/>
              <a:t>12/12/2023</a:t>
            </a:fld>
            <a:endParaRPr lang="en-ID"/>
          </a:p>
        </p:txBody>
      </p:sp>
      <p:sp>
        <p:nvSpPr>
          <p:cNvPr id="8" name="Footer Placeholder 7">
            <a:extLst>
              <a:ext uri="{FF2B5EF4-FFF2-40B4-BE49-F238E27FC236}">
                <a16:creationId xmlns:a16="http://schemas.microsoft.com/office/drawing/2014/main" id="{9D2997EA-07A2-44EA-92CA-0E6CD46C1276}"/>
              </a:ext>
            </a:extLst>
          </p:cNvPr>
          <p:cNvSpPr>
            <a:spLocks noGrp="1"/>
          </p:cNvSpPr>
          <p:nvPr>
            <p:ph type="ftr" sz="quarter" idx="11"/>
          </p:nvPr>
        </p:nvSpPr>
        <p:spPr/>
        <p:txBody>
          <a:bodyPr/>
          <a:lstStyle/>
          <a:p>
            <a:endParaRPr lang="en-ID"/>
          </a:p>
        </p:txBody>
      </p:sp>
      <p:sp>
        <p:nvSpPr>
          <p:cNvPr id="9" name="Slide Number Placeholder 8">
            <a:extLst>
              <a:ext uri="{FF2B5EF4-FFF2-40B4-BE49-F238E27FC236}">
                <a16:creationId xmlns:a16="http://schemas.microsoft.com/office/drawing/2014/main" id="{FCA1CB98-4ABA-413C-8A1D-FFA3165932C8}"/>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28451540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CA16087-473D-4FE0-867F-80FC27E5081A}"/>
              </a:ext>
            </a:extLst>
          </p:cNvPr>
          <p:cNvGraphicFramePr>
            <a:graphicFrameLocks noChangeAspect="1"/>
          </p:cNvGraphicFramePr>
          <p:nvPr userDrawn="1">
            <p:custDataLst>
              <p:tags r:id="rId1"/>
            </p:custDataLst>
            <p:extLst>
              <p:ext uri="{D42A27DB-BD31-4B8C-83A1-F6EECF244321}">
                <p14:modId xmlns:p14="http://schemas.microsoft.com/office/powerpoint/2010/main" val="3107031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7" name="Object 6" hidden="1">
                        <a:extLst>
                          <a:ext uri="{FF2B5EF4-FFF2-40B4-BE49-F238E27FC236}">
                            <a16:creationId xmlns:a16="http://schemas.microsoft.com/office/drawing/2014/main" id="{BCA16087-473D-4FE0-867F-80FC27E508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060E62E-D850-491E-B38F-5BC9377263C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13D187D1-3487-47A8-AC42-1716EC81B380}"/>
              </a:ext>
            </a:extLst>
          </p:cNvPr>
          <p:cNvSpPr>
            <a:spLocks noGrp="1"/>
          </p:cNvSpPr>
          <p:nvPr>
            <p:ph type="title"/>
          </p:nvPr>
        </p:nvSpPr>
        <p:spPr/>
        <p:txBody>
          <a:bodyPr/>
          <a:lstStyle/>
          <a:p>
            <a:r>
              <a:rPr lang="en-US"/>
              <a:t>Click to edit Master title style</a:t>
            </a:r>
            <a:endParaRPr lang="en-ID"/>
          </a:p>
        </p:txBody>
      </p:sp>
      <p:sp>
        <p:nvSpPr>
          <p:cNvPr id="3" name="Date Placeholder 2">
            <a:extLst>
              <a:ext uri="{FF2B5EF4-FFF2-40B4-BE49-F238E27FC236}">
                <a16:creationId xmlns:a16="http://schemas.microsoft.com/office/drawing/2014/main" id="{DDCC578A-0525-4E61-9129-31B667CB3C32}"/>
              </a:ext>
            </a:extLst>
          </p:cNvPr>
          <p:cNvSpPr>
            <a:spLocks noGrp="1"/>
          </p:cNvSpPr>
          <p:nvPr>
            <p:ph type="dt" sz="half" idx="10"/>
          </p:nvPr>
        </p:nvSpPr>
        <p:spPr/>
        <p:txBody>
          <a:bodyPr/>
          <a:lstStyle/>
          <a:p>
            <a:fld id="{AC427EFE-020E-4662-B68A-EB3CD7C19C13}" type="datetimeFigureOut">
              <a:rPr lang="en-ID" smtClean="0"/>
              <a:t>12/12/2023</a:t>
            </a:fld>
            <a:endParaRPr lang="en-ID"/>
          </a:p>
        </p:txBody>
      </p:sp>
      <p:sp>
        <p:nvSpPr>
          <p:cNvPr id="4" name="Footer Placeholder 3">
            <a:extLst>
              <a:ext uri="{FF2B5EF4-FFF2-40B4-BE49-F238E27FC236}">
                <a16:creationId xmlns:a16="http://schemas.microsoft.com/office/drawing/2014/main" id="{25D16E53-1F8F-4082-AB38-8EB35943F011}"/>
              </a:ext>
            </a:extLst>
          </p:cNvPr>
          <p:cNvSpPr>
            <a:spLocks noGrp="1"/>
          </p:cNvSpPr>
          <p:nvPr>
            <p:ph type="ftr" sz="quarter" idx="11"/>
          </p:nvPr>
        </p:nvSpPr>
        <p:spPr/>
        <p:txBody>
          <a:bodyPr/>
          <a:lstStyle/>
          <a:p>
            <a:endParaRPr lang="en-ID"/>
          </a:p>
        </p:txBody>
      </p:sp>
      <p:sp>
        <p:nvSpPr>
          <p:cNvPr id="5" name="Slide Number Placeholder 4">
            <a:extLst>
              <a:ext uri="{FF2B5EF4-FFF2-40B4-BE49-F238E27FC236}">
                <a16:creationId xmlns:a16="http://schemas.microsoft.com/office/drawing/2014/main" id="{D79E71C4-E006-48A4-9C15-77C1A5DE1479}"/>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42564348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BAA7BDF-0AF1-43DD-B25E-4180C4A3C32A}"/>
              </a:ext>
            </a:extLst>
          </p:cNvPr>
          <p:cNvSpPr>
            <a:spLocks noGrp="1"/>
          </p:cNvSpPr>
          <p:nvPr>
            <p:ph type="dt" sz="half" idx="10"/>
          </p:nvPr>
        </p:nvSpPr>
        <p:spPr/>
        <p:txBody>
          <a:bodyPr/>
          <a:lstStyle/>
          <a:p>
            <a:fld id="{AC427EFE-020E-4662-B68A-EB3CD7C19C13}" type="datetimeFigureOut">
              <a:rPr lang="en-ID" smtClean="0"/>
              <a:t>12/12/2023</a:t>
            </a:fld>
            <a:endParaRPr lang="en-ID"/>
          </a:p>
        </p:txBody>
      </p:sp>
      <p:sp>
        <p:nvSpPr>
          <p:cNvPr id="3" name="Footer Placeholder 2">
            <a:extLst>
              <a:ext uri="{FF2B5EF4-FFF2-40B4-BE49-F238E27FC236}">
                <a16:creationId xmlns:a16="http://schemas.microsoft.com/office/drawing/2014/main" id="{E1527088-8B53-411E-982B-9B7B7377E5C7}"/>
              </a:ext>
            </a:extLst>
          </p:cNvPr>
          <p:cNvSpPr>
            <a:spLocks noGrp="1"/>
          </p:cNvSpPr>
          <p:nvPr>
            <p:ph type="ftr" sz="quarter" idx="11"/>
          </p:nvPr>
        </p:nvSpPr>
        <p:spPr/>
        <p:txBody>
          <a:bodyPr/>
          <a:lstStyle/>
          <a:p>
            <a:endParaRPr lang="en-ID"/>
          </a:p>
        </p:txBody>
      </p:sp>
      <p:sp>
        <p:nvSpPr>
          <p:cNvPr id="4" name="Slide Number Placeholder 3">
            <a:extLst>
              <a:ext uri="{FF2B5EF4-FFF2-40B4-BE49-F238E27FC236}">
                <a16:creationId xmlns:a16="http://schemas.microsoft.com/office/drawing/2014/main" id="{D9F41C51-6A03-4D8D-A703-731ECDF8AD9E}"/>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26487361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1D26734-4938-45E5-AE8F-80DD3A1B111E}"/>
              </a:ext>
            </a:extLst>
          </p:cNvPr>
          <p:cNvGraphicFramePr>
            <a:graphicFrameLocks noChangeAspect="1"/>
          </p:cNvGraphicFramePr>
          <p:nvPr userDrawn="1">
            <p:custDataLst>
              <p:tags r:id="rId1"/>
            </p:custDataLst>
            <p:extLst>
              <p:ext uri="{D42A27DB-BD31-4B8C-83A1-F6EECF244321}">
                <p14:modId xmlns:p14="http://schemas.microsoft.com/office/powerpoint/2010/main" val="697753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9" name="Object 8" hidden="1">
                        <a:extLst>
                          <a:ext uri="{FF2B5EF4-FFF2-40B4-BE49-F238E27FC236}">
                            <a16:creationId xmlns:a16="http://schemas.microsoft.com/office/drawing/2014/main" id="{D1D26734-4938-45E5-AE8F-80DD3A1B11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36A9F74-7577-4B7D-8966-C35BEA2F29B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274AD4C8-811D-488B-B799-5EDF23BD1A3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E7F5DE0A-DE58-4017-8F7D-4CBFA2F8D9F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7AC687DB-7944-431E-A760-02241370AE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AD22CD9-8282-4D54-9FB8-BC138F602D1F}"/>
              </a:ext>
            </a:extLst>
          </p:cNvPr>
          <p:cNvSpPr>
            <a:spLocks noGrp="1"/>
          </p:cNvSpPr>
          <p:nvPr>
            <p:ph type="dt" sz="half" idx="10"/>
          </p:nvPr>
        </p:nvSpPr>
        <p:spPr/>
        <p:txBody>
          <a:bodyPr/>
          <a:lstStyle/>
          <a:p>
            <a:fld id="{AC427EFE-020E-4662-B68A-EB3CD7C19C13}" type="datetimeFigureOut">
              <a:rPr lang="en-ID" smtClean="0"/>
              <a:t>12/12/2023</a:t>
            </a:fld>
            <a:endParaRPr lang="en-ID"/>
          </a:p>
        </p:txBody>
      </p:sp>
      <p:sp>
        <p:nvSpPr>
          <p:cNvPr id="6" name="Footer Placeholder 5">
            <a:extLst>
              <a:ext uri="{FF2B5EF4-FFF2-40B4-BE49-F238E27FC236}">
                <a16:creationId xmlns:a16="http://schemas.microsoft.com/office/drawing/2014/main" id="{EF0F81F6-7C5E-4934-B80A-AC7FF3F5C7F8}"/>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E54D0637-6259-4056-896C-934687F481BD}"/>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10716687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39ABD71-175B-45C9-807F-6C98F9899F81}"/>
              </a:ext>
            </a:extLst>
          </p:cNvPr>
          <p:cNvGraphicFramePr>
            <a:graphicFrameLocks noChangeAspect="1"/>
          </p:cNvGraphicFramePr>
          <p:nvPr userDrawn="1">
            <p:custDataLst>
              <p:tags r:id="rId1"/>
            </p:custDataLst>
            <p:extLst>
              <p:ext uri="{D42A27DB-BD31-4B8C-83A1-F6EECF244321}">
                <p14:modId xmlns:p14="http://schemas.microsoft.com/office/powerpoint/2010/main" val="953290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9" name="Object 8" hidden="1">
                        <a:extLst>
                          <a:ext uri="{FF2B5EF4-FFF2-40B4-BE49-F238E27FC236}">
                            <a16:creationId xmlns:a16="http://schemas.microsoft.com/office/drawing/2014/main" id="{139ABD71-175B-45C9-807F-6C98F9899F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99DA5152-5367-4080-91A8-B213C80A1E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7BE13762-D356-44CA-8098-71F88A2EE2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0B555D56-7867-4A5C-88C1-E4DD1270137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226A39D7-E3A6-430D-9A3B-C46FFE3D785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F64E50F-ED9F-4751-8C55-0A05A424B88E}"/>
              </a:ext>
            </a:extLst>
          </p:cNvPr>
          <p:cNvSpPr>
            <a:spLocks noGrp="1"/>
          </p:cNvSpPr>
          <p:nvPr>
            <p:ph type="dt" sz="half" idx="10"/>
          </p:nvPr>
        </p:nvSpPr>
        <p:spPr/>
        <p:txBody>
          <a:bodyPr/>
          <a:lstStyle/>
          <a:p>
            <a:fld id="{AC427EFE-020E-4662-B68A-EB3CD7C19C13}" type="datetimeFigureOut">
              <a:rPr lang="en-ID" smtClean="0"/>
              <a:t>12/12/2023</a:t>
            </a:fld>
            <a:endParaRPr lang="en-ID"/>
          </a:p>
        </p:txBody>
      </p:sp>
      <p:sp>
        <p:nvSpPr>
          <p:cNvPr id="6" name="Footer Placeholder 5">
            <a:extLst>
              <a:ext uri="{FF2B5EF4-FFF2-40B4-BE49-F238E27FC236}">
                <a16:creationId xmlns:a16="http://schemas.microsoft.com/office/drawing/2014/main" id="{FDE1825A-E49B-4D7D-B311-5F1C9FF40083}"/>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D2645C58-B9EE-496F-A972-1B227FD1007F}"/>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37692826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C4CF938-191F-4536-929B-310FAA323541}"/>
              </a:ext>
            </a:extLst>
          </p:cNvPr>
          <p:cNvGraphicFramePr>
            <a:graphicFrameLocks noChangeAspect="1"/>
          </p:cNvGraphicFramePr>
          <p:nvPr userDrawn="1">
            <p:custDataLst>
              <p:tags r:id="rId1"/>
            </p:custDataLst>
            <p:extLst>
              <p:ext uri="{D42A27DB-BD31-4B8C-83A1-F6EECF244321}">
                <p14:modId xmlns:p14="http://schemas.microsoft.com/office/powerpoint/2010/main" val="1917991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8" name="Object 7" hidden="1">
                        <a:extLst>
                          <a:ext uri="{FF2B5EF4-FFF2-40B4-BE49-F238E27FC236}">
                            <a16:creationId xmlns:a16="http://schemas.microsoft.com/office/drawing/2014/main" id="{AC4CF938-191F-4536-929B-310FAA3235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57765DF-DCDA-488D-976A-B4A14470F0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id="{672BDF97-FFFD-4D85-92EA-936B35FC407D}"/>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CBFADDC0-CEE8-47AA-8812-6BE87AC3C49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19E5E4BF-1EA0-41F9-98B5-D25636F0F67E}"/>
              </a:ext>
            </a:extLst>
          </p:cNvPr>
          <p:cNvSpPr>
            <a:spLocks noGrp="1"/>
          </p:cNvSpPr>
          <p:nvPr>
            <p:ph type="dt" sz="half" idx="10"/>
          </p:nvPr>
        </p:nvSpPr>
        <p:spPr/>
        <p:txBody>
          <a:bodyPr/>
          <a:lstStyle/>
          <a:p>
            <a:fld id="{AC427EFE-020E-4662-B68A-EB3CD7C19C13}" type="datetimeFigureOut">
              <a:rPr lang="en-ID" smtClean="0"/>
              <a:t>12/12/2023</a:t>
            </a:fld>
            <a:endParaRPr lang="en-ID"/>
          </a:p>
        </p:txBody>
      </p:sp>
      <p:sp>
        <p:nvSpPr>
          <p:cNvPr id="5" name="Footer Placeholder 4">
            <a:extLst>
              <a:ext uri="{FF2B5EF4-FFF2-40B4-BE49-F238E27FC236}">
                <a16:creationId xmlns:a16="http://schemas.microsoft.com/office/drawing/2014/main" id="{8F5C6054-F058-4B3B-9A8C-DB41F94CDE8C}"/>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5ABDBF92-D396-4CD2-BDF2-16378AB8E55B}"/>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7611395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06B0378-93DF-48F5-A59C-5D55A416A8A3}"/>
              </a:ext>
            </a:extLst>
          </p:cNvPr>
          <p:cNvGraphicFramePr>
            <a:graphicFrameLocks noChangeAspect="1"/>
          </p:cNvGraphicFramePr>
          <p:nvPr userDrawn="1">
            <p:custDataLst>
              <p:tags r:id="rId1"/>
            </p:custDataLst>
            <p:extLst>
              <p:ext uri="{D42A27DB-BD31-4B8C-83A1-F6EECF244321}">
                <p14:modId xmlns:p14="http://schemas.microsoft.com/office/powerpoint/2010/main" val="3888525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8" name="Object 7" hidden="1">
                        <a:extLst>
                          <a:ext uri="{FF2B5EF4-FFF2-40B4-BE49-F238E27FC236}">
                            <a16:creationId xmlns:a16="http://schemas.microsoft.com/office/drawing/2014/main" id="{E06B0378-93DF-48F5-A59C-5D55A416A8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707BDF6-DC68-4490-9CD9-BFE15387643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Vertical Title 1">
            <a:extLst>
              <a:ext uri="{FF2B5EF4-FFF2-40B4-BE49-F238E27FC236}">
                <a16:creationId xmlns:a16="http://schemas.microsoft.com/office/drawing/2014/main" id="{F6AE5386-C5A2-4F31-A5C5-57313C4E153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C43B18F4-2655-407A-8F02-B992A2B2882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3B21AD07-201D-41B7-AFBD-0E10BF5BB34C}"/>
              </a:ext>
            </a:extLst>
          </p:cNvPr>
          <p:cNvSpPr>
            <a:spLocks noGrp="1"/>
          </p:cNvSpPr>
          <p:nvPr>
            <p:ph type="dt" sz="half" idx="10"/>
          </p:nvPr>
        </p:nvSpPr>
        <p:spPr/>
        <p:txBody>
          <a:bodyPr/>
          <a:lstStyle/>
          <a:p>
            <a:fld id="{AC427EFE-020E-4662-B68A-EB3CD7C19C13}" type="datetimeFigureOut">
              <a:rPr lang="en-ID" smtClean="0"/>
              <a:t>12/12/2023</a:t>
            </a:fld>
            <a:endParaRPr lang="en-ID"/>
          </a:p>
        </p:txBody>
      </p:sp>
      <p:sp>
        <p:nvSpPr>
          <p:cNvPr id="5" name="Footer Placeholder 4">
            <a:extLst>
              <a:ext uri="{FF2B5EF4-FFF2-40B4-BE49-F238E27FC236}">
                <a16:creationId xmlns:a16="http://schemas.microsoft.com/office/drawing/2014/main" id="{D0BD80B1-8B71-4D53-9C10-5032371B231C}"/>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D423EB62-7DE9-4A6F-AB8C-52951BCE561B}"/>
              </a:ext>
            </a:extLst>
          </p:cNvPr>
          <p:cNvSpPr>
            <a:spLocks noGrp="1"/>
          </p:cNvSpPr>
          <p:nvPr>
            <p:ph type="sldNum" sz="quarter" idx="12"/>
          </p:nvPr>
        </p:nvSpPr>
        <p:spPr/>
        <p:txBody>
          <a:bodyPr/>
          <a:lstStyle/>
          <a:p>
            <a:fld id="{4496F1BE-04CE-4CAE-A759-6641647F1F40}" type="slidenum">
              <a:rPr lang="en-ID" smtClean="0"/>
              <a:t>‹#›</a:t>
            </a:fld>
            <a:endParaRPr lang="en-ID"/>
          </a:p>
        </p:txBody>
      </p:sp>
    </p:spTree>
    <p:extLst>
      <p:ext uri="{BB962C8B-B14F-4D97-AF65-F5344CB8AC3E}">
        <p14:creationId xmlns:p14="http://schemas.microsoft.com/office/powerpoint/2010/main" val="14981234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9E6220-882C-9565-4E01-3A20F8065D22}"/>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191A3BB2-BE1F-AC4A-E2EE-A7B039870FB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0770A939-3395-238C-1AD8-A347630E383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4">
            <a:extLst>
              <a:ext uri="{FF2B5EF4-FFF2-40B4-BE49-F238E27FC236}">
                <a16:creationId xmlns:a16="http://schemas.microsoft.com/office/drawing/2014/main" id="{5F925FBA-4349-F1E8-6015-F70D54BE3B41}"/>
              </a:ext>
            </a:extLst>
          </p:cNvPr>
          <p:cNvSpPr>
            <a:spLocks noGrp="1"/>
          </p:cNvSpPr>
          <p:nvPr>
            <p:ph type="dt" sz="half" idx="10"/>
          </p:nvPr>
        </p:nvSpPr>
        <p:spPr/>
        <p:txBody>
          <a:bodyPr/>
          <a:lstStyle/>
          <a:p>
            <a:fld id="{62FB3A63-0457-4056-959C-681C51DC124A}" type="datetimeFigureOut">
              <a:rPr lang="en-ID" smtClean="0"/>
              <a:t>12/12/2023</a:t>
            </a:fld>
            <a:endParaRPr lang="en-ID"/>
          </a:p>
        </p:txBody>
      </p:sp>
      <p:sp>
        <p:nvSpPr>
          <p:cNvPr id="6" name="Footer Placeholder 5">
            <a:extLst>
              <a:ext uri="{FF2B5EF4-FFF2-40B4-BE49-F238E27FC236}">
                <a16:creationId xmlns:a16="http://schemas.microsoft.com/office/drawing/2014/main" id="{5C950F9D-88DF-4299-7BC5-B5D08F0A64C6}"/>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88798F55-AE90-901D-81E0-1043B586B3D8}"/>
              </a:ext>
            </a:extLst>
          </p:cNvPr>
          <p:cNvSpPr>
            <a:spLocks noGrp="1"/>
          </p:cNvSpPr>
          <p:nvPr>
            <p:ph type="sldNum" sz="quarter" idx="12"/>
          </p:nvPr>
        </p:nvSpPr>
        <p:spPr/>
        <p:txBody>
          <a:bodyPr/>
          <a:lstStyle/>
          <a:p>
            <a:fld id="{BC5A0E4C-AEED-4EAC-B96D-5DCBA748C5AA}" type="slidenum">
              <a:rPr lang="en-ID" smtClean="0"/>
              <a:t>‹#›</a:t>
            </a:fld>
            <a:endParaRPr lang="en-ID"/>
          </a:p>
        </p:txBody>
      </p:sp>
    </p:spTree>
    <p:extLst>
      <p:ext uri="{BB962C8B-B14F-4D97-AF65-F5344CB8AC3E}">
        <p14:creationId xmlns:p14="http://schemas.microsoft.com/office/powerpoint/2010/main" val="17246528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pSp>
        <p:nvGrpSpPr>
          <p:cNvPr id="5" name="Group 4"/>
          <p:cNvGrpSpPr/>
          <p:nvPr userDrawn="1"/>
        </p:nvGrpSpPr>
        <p:grpSpPr>
          <a:xfrm>
            <a:off x="1905004" y="1"/>
            <a:ext cx="10286996" cy="6857999"/>
            <a:chOff x="1905004" y="1"/>
            <a:chExt cx="10286996" cy="6857999"/>
          </a:xfrm>
        </p:grpSpPr>
        <p:pic>
          <p:nvPicPr>
            <p:cNvPr id="6" name="Picture 6" descr="Image result for construction bridge indonesia"/>
            <p:cNvPicPr>
              <a:picLocks noChangeAspect="1" noChangeArrowheads="1"/>
            </p:cNvPicPr>
            <p:nvPr/>
          </p:nvPicPr>
          <p:blipFill>
            <a:blip r:embed="rId2">
              <a:lum bright="70000" contrast="-70000"/>
              <a:extLst>
                <a:ext uri="{28A0092B-C50C-407E-A947-70E740481C1C}">
                  <a14:useLocalDpi xmlns:a14="http://schemas.microsoft.com/office/drawing/2010/main"/>
                </a:ext>
              </a:extLst>
            </a:blip>
            <a:srcRect/>
            <a:stretch>
              <a:fillRect/>
            </a:stretch>
          </p:blipFill>
          <p:spPr bwMode="auto">
            <a:xfrm>
              <a:off x="1905004" y="1"/>
              <a:ext cx="10286996" cy="685799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7" name="Right Triangle 6"/>
            <p:cNvSpPr/>
            <p:nvPr/>
          </p:nvSpPr>
          <p:spPr>
            <a:xfrm rot="5400000">
              <a:off x="3042561" y="-1137553"/>
              <a:ext cx="5805715" cy="8080827"/>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 name="Rectangle 1"/>
          <p:cNvSpPr/>
          <p:nvPr userDrawn="1"/>
        </p:nvSpPr>
        <p:spPr>
          <a:xfrm>
            <a:off x="2049517" y="1"/>
            <a:ext cx="10142483" cy="6857999"/>
          </a:xfrm>
          <a:prstGeom prst="rect">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Slide Number Placeholder 5"/>
          <p:cNvSpPr>
            <a:spLocks noGrp="1"/>
          </p:cNvSpPr>
          <p:nvPr>
            <p:ph type="sldNum" sz="quarter" idx="12"/>
          </p:nvPr>
        </p:nvSpPr>
        <p:spPr>
          <a:xfrm>
            <a:off x="299449" y="6237310"/>
            <a:ext cx="439241" cy="390437"/>
          </a:xfrm>
          <a:prstGeom prst="rect">
            <a:avLst/>
          </a:prstGeom>
          <a:solidFill>
            <a:schemeClr val="accent4"/>
          </a:solidFill>
        </p:spPr>
        <p:txBody>
          <a:bodyPr anchor="ctr"/>
          <a:lstStyle>
            <a:lvl1pPr algn="ctr">
              <a:defRPr sz="1400">
                <a:solidFill>
                  <a:srgbClr val="2F3A46"/>
                </a:solidFill>
              </a:defRPr>
            </a:lvl1pPr>
          </a:lstStyle>
          <a:p>
            <a:pPr marL="0" marR="0" lvl="0" indent="0" algn="ctr" defTabSz="914354" rtl="0" eaLnBrk="1" fontAlgn="auto" latinLnBrk="0" hangingPunct="1">
              <a:lnSpc>
                <a:spcPct val="100000"/>
              </a:lnSpc>
              <a:spcBef>
                <a:spcPts val="0"/>
              </a:spcBef>
              <a:spcAft>
                <a:spcPts val="0"/>
              </a:spcAft>
              <a:buClrTx/>
              <a:buSzTx/>
              <a:buFontTx/>
              <a:buNone/>
              <a:tabLst/>
              <a:defRPr/>
            </a:pPr>
            <a:fld id="{F68327C5-B821-4FE9-A59A-A60D9EB59A9A}" type="slidenum">
              <a:rPr kumimoji="0" lang="en-US" sz="1400" b="0" i="0" u="none" strike="noStrike" kern="1200" cap="none" spc="0" normalizeH="0" baseline="0" noProof="0" smtClean="0">
                <a:ln>
                  <a:noFill/>
                </a:ln>
                <a:solidFill>
                  <a:srgbClr val="2F3A46"/>
                </a:solidFill>
                <a:effectLst/>
                <a:uLnTx/>
                <a:uFillTx/>
                <a:latin typeface="Calibri" panose="020F0502020204030204"/>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dirty="0">
              <a:ln>
                <a:noFill/>
              </a:ln>
              <a:solidFill>
                <a:srgbClr val="2F3A46"/>
              </a:solidFill>
              <a:effectLst/>
              <a:uLnTx/>
              <a:uFillTx/>
              <a:latin typeface="Calibri" panose="020F0502020204030204"/>
              <a:ea typeface="+mn-ea"/>
              <a:cs typeface="+mn-cs"/>
            </a:endParaRPr>
          </a:p>
        </p:txBody>
      </p:sp>
      <p:cxnSp>
        <p:nvCxnSpPr>
          <p:cNvPr id="13" name="Straight Connector 12">
            <a:extLst>
              <a:ext uri="{FF2B5EF4-FFF2-40B4-BE49-F238E27FC236}">
                <a16:creationId xmlns:a16="http://schemas.microsoft.com/office/drawing/2014/main" id="{5F1A9D71-5BA3-4EE0-8ED7-150943366783}"/>
              </a:ext>
            </a:extLst>
          </p:cNvPr>
          <p:cNvCxnSpPr/>
          <p:nvPr userDrawn="1"/>
        </p:nvCxnSpPr>
        <p:spPr>
          <a:xfrm>
            <a:off x="958312" y="6127675"/>
            <a:ext cx="0" cy="540000"/>
          </a:xfrm>
          <a:prstGeom prst="line">
            <a:avLst/>
          </a:prstGeom>
          <a:ln w="38100">
            <a:solidFill>
              <a:srgbClr val="EEB70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0" y="1005673"/>
            <a:ext cx="523904"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F1A9D71-5BA3-4EE0-8ED7-150943366783}"/>
              </a:ext>
            </a:extLst>
          </p:cNvPr>
          <p:cNvCxnSpPr/>
          <p:nvPr userDrawn="1"/>
        </p:nvCxnSpPr>
        <p:spPr>
          <a:xfrm>
            <a:off x="12034064" y="6127675"/>
            <a:ext cx="0" cy="540000"/>
          </a:xfrm>
          <a:prstGeom prst="line">
            <a:avLst/>
          </a:prstGeom>
          <a:ln w="38100">
            <a:solidFill>
              <a:srgbClr val="EEB702"/>
            </a:solidFill>
          </a:ln>
        </p:spPr>
        <p:style>
          <a:lnRef idx="1">
            <a:schemeClr val="accent1"/>
          </a:lnRef>
          <a:fillRef idx="0">
            <a:schemeClr val="accent1"/>
          </a:fillRef>
          <a:effectRef idx="0">
            <a:schemeClr val="accent1"/>
          </a:effectRef>
          <a:fontRef idx="minor">
            <a:schemeClr val="tx1"/>
          </a:fontRef>
        </p:style>
      </p:cxnSp>
      <p:sp>
        <p:nvSpPr>
          <p:cNvPr id="14" name="Content Placeholder 2"/>
          <p:cNvSpPr>
            <a:spLocks noGrp="1"/>
          </p:cNvSpPr>
          <p:nvPr>
            <p:ph idx="1"/>
          </p:nvPr>
        </p:nvSpPr>
        <p:spPr>
          <a:xfrm>
            <a:off x="363070" y="1279174"/>
            <a:ext cx="11647502" cy="4596620"/>
          </a:xfrm>
        </p:spPr>
        <p:txBody>
          <a:bodyPr/>
          <a:lstStyle/>
          <a:p>
            <a:endParaRPr lang="en-US" dirty="0"/>
          </a:p>
        </p:txBody>
      </p:sp>
      <p:sp>
        <p:nvSpPr>
          <p:cNvPr id="19" name="Title 1"/>
          <p:cNvSpPr>
            <a:spLocks noGrp="1"/>
          </p:cNvSpPr>
          <p:nvPr>
            <p:ph type="title"/>
          </p:nvPr>
        </p:nvSpPr>
        <p:spPr>
          <a:xfrm>
            <a:off x="363070" y="81234"/>
            <a:ext cx="9312843" cy="782036"/>
          </a:xfrm>
        </p:spPr>
        <p:txBody>
          <a:bodyPr>
            <a:normAutofit/>
          </a:bodyPr>
          <a:lstStyle>
            <a:lvl1pPr>
              <a:defRPr lang="en-US" sz="3600" b="1" kern="1200" cap="all" normalizeH="0" baseline="0">
                <a:solidFill>
                  <a:srgbClr val="2F3A46"/>
                </a:solidFill>
                <a:latin typeface="Open Sans" panose="020B0606030504020204"/>
                <a:ea typeface="Open Sans" panose="020B0606030504020204" pitchFamily="34" charset="0"/>
                <a:cs typeface="Open Sans" panose="020B0606030504020204" pitchFamily="34" charset="0"/>
              </a:defRPr>
            </a:lvl1pPr>
          </a:lstStyle>
          <a:p>
            <a:pPr marL="0" marR="0" lvl="0" indent="0" algn="l" defTabSz="914354" rtl="0" eaLnBrk="1" fontAlgn="auto" latinLnBrk="0" hangingPunct="1">
              <a:lnSpc>
                <a:spcPct val="100000"/>
              </a:lnSpc>
              <a:spcBef>
                <a:spcPct val="0"/>
              </a:spcBef>
              <a:spcAft>
                <a:spcPts val="0"/>
              </a:spcAft>
              <a:buClrTx/>
              <a:buSzTx/>
              <a:buFontTx/>
              <a:buNone/>
              <a:tabLst/>
              <a:defRPr/>
            </a:pPr>
            <a:endParaRPr lang="en-US" dirty="0"/>
          </a:p>
        </p:txBody>
      </p:sp>
      <p:pic>
        <p:nvPicPr>
          <p:cNvPr id="23" name="Picture 2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784159" y="96968"/>
            <a:ext cx="2220938" cy="828053"/>
          </a:xfrm>
          <a:prstGeom prst="rect">
            <a:avLst/>
          </a:prstGeom>
        </p:spPr>
      </p:pic>
    </p:spTree>
    <p:extLst>
      <p:ext uri="{BB962C8B-B14F-4D97-AF65-F5344CB8AC3E}">
        <p14:creationId xmlns:p14="http://schemas.microsoft.com/office/powerpoint/2010/main" val="1091588666"/>
      </p:ext>
    </p:extLst>
  </p:cSld>
  <p:clrMapOvr>
    <a:masterClrMapping/>
  </p:clrMapOvr>
  <mc:AlternateContent xmlns:mc="http://schemas.openxmlformats.org/markup-compatibility/2006" xmlns:p14="http://schemas.microsoft.com/office/powerpoint/2010/main">
    <mc:Choice Requires="p14">
      <p:transition spd="slow">
        <p14:pan dir="u"/>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1_Blank">
    <p:spTree>
      <p:nvGrpSpPr>
        <p:cNvPr id="1" name=""/>
        <p:cNvGrpSpPr/>
        <p:nvPr/>
      </p:nvGrpSpPr>
      <p:grpSpPr>
        <a:xfrm>
          <a:off x="0" y="0"/>
          <a:ext cx="0" cy="0"/>
          <a:chOff x="0" y="0"/>
          <a:chExt cx="0" cy="0"/>
        </a:xfrm>
      </p:grpSpPr>
      <p:sp>
        <p:nvSpPr>
          <p:cNvPr id="15" name="PpHolder11"/>
          <p:cNvSpPr>
            <a:spLocks noGrp="1"/>
          </p:cNvSpPr>
          <p:nvPr>
            <p:ph type="pic" sz="quarter" idx="16"/>
          </p:nvPr>
        </p:nvSpPr>
        <p:spPr>
          <a:xfrm>
            <a:off x="4876806" y="2209800"/>
            <a:ext cx="2438399" cy="1371600"/>
          </a:xfrm>
          <a:custGeom>
            <a:avLst/>
            <a:gdLst>
              <a:gd name="connsiteX0" fmla="*/ 65727 w 1828799"/>
              <a:gd name="connsiteY0" fmla="*/ 0 h 1371600"/>
              <a:gd name="connsiteX1" fmla="*/ 1763072 w 1828799"/>
              <a:gd name="connsiteY1" fmla="*/ 0 h 1371600"/>
              <a:gd name="connsiteX2" fmla="*/ 1828799 w 1828799"/>
              <a:gd name="connsiteY2" fmla="*/ 65727 h 1371600"/>
              <a:gd name="connsiteX3" fmla="*/ 1828799 w 1828799"/>
              <a:gd name="connsiteY3" fmla="*/ 1305873 h 1371600"/>
              <a:gd name="connsiteX4" fmla="*/ 1763072 w 1828799"/>
              <a:gd name="connsiteY4" fmla="*/ 1371600 h 1371600"/>
              <a:gd name="connsiteX5" fmla="*/ 65727 w 1828799"/>
              <a:gd name="connsiteY5" fmla="*/ 1371600 h 1371600"/>
              <a:gd name="connsiteX6" fmla="*/ 0 w 1828799"/>
              <a:gd name="connsiteY6" fmla="*/ 1305873 h 1371600"/>
              <a:gd name="connsiteX7" fmla="*/ 0 w 1828799"/>
              <a:gd name="connsiteY7" fmla="*/ 65727 h 1371600"/>
              <a:gd name="connsiteX8" fmla="*/ 65727 w 1828799"/>
              <a:gd name="connsiteY8"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8799" h="1371600">
                <a:moveTo>
                  <a:pt x="65727" y="0"/>
                </a:moveTo>
                <a:lnTo>
                  <a:pt x="1763072" y="0"/>
                </a:lnTo>
                <a:cubicBezTo>
                  <a:pt x="1799372" y="0"/>
                  <a:pt x="1828799" y="29428"/>
                  <a:pt x="1828799" y="65727"/>
                </a:cubicBezTo>
                <a:lnTo>
                  <a:pt x="1828799" y="1305873"/>
                </a:lnTo>
                <a:cubicBezTo>
                  <a:pt x="1828799" y="1342173"/>
                  <a:pt x="1799372" y="1371600"/>
                  <a:pt x="1763072" y="1371600"/>
                </a:cubicBezTo>
                <a:lnTo>
                  <a:pt x="65727" y="1371600"/>
                </a:lnTo>
                <a:cubicBezTo>
                  <a:pt x="29427" y="1371600"/>
                  <a:pt x="0" y="1342173"/>
                  <a:pt x="0" y="1305873"/>
                </a:cubicBezTo>
                <a:lnTo>
                  <a:pt x="0" y="65727"/>
                </a:lnTo>
                <a:cubicBezTo>
                  <a:pt x="0" y="29428"/>
                  <a:pt x="29427" y="0"/>
                  <a:pt x="65727" y="0"/>
                </a:cubicBezTo>
                <a:close/>
              </a:path>
            </a:pathLst>
          </a:custGeom>
          <a:blipFill dpi="0" rotWithShape="1">
            <a:blip r:embed="rId2"/>
            <a:srcRect/>
            <a:tile tx="0" ty="0" sx="100000" sy="100000" flip="none" algn="tl"/>
          </a:blipFill>
        </p:spPr>
        <p:txBody>
          <a:bodyPr rtlCol="0" anchor="ctr" anchorCtr="1">
            <a:normAutofit/>
          </a:bodyPr>
          <a:lstStyle>
            <a:lvl1pPr>
              <a:defRPr lang="en-US" sz="600">
                <a:solidFill>
                  <a:schemeClr val="tx1">
                    <a:alpha val="0"/>
                  </a:schemeClr>
                </a:solidFill>
              </a:defRPr>
            </a:lvl1pPr>
          </a:lstStyle>
          <a:p>
            <a:pPr lvl="0"/>
            <a:endParaRPr lang="en-US" noProof="0"/>
          </a:p>
        </p:txBody>
      </p:sp>
      <p:sp>
        <p:nvSpPr>
          <p:cNvPr id="2" name="Text Placeholder 16"/>
          <p:cNvSpPr>
            <a:spLocks noGrp="1"/>
          </p:cNvSpPr>
          <p:nvPr>
            <p:ph type="body" sz="quarter" idx="14"/>
          </p:nvPr>
        </p:nvSpPr>
        <p:spPr>
          <a:xfrm>
            <a:off x="3352800" y="990600"/>
            <a:ext cx="5486400" cy="719138"/>
          </a:xfrm>
        </p:spPr>
        <p:txBody>
          <a:bodyPr/>
          <a:lstStyle>
            <a:lvl1pPr marL="0" indent="0" algn="ctr">
              <a:lnSpc>
                <a:spcPct val="100000"/>
              </a:lnSpc>
              <a:spcBef>
                <a:spcPts val="0"/>
              </a:spcBef>
              <a:buNone/>
              <a:defRPr sz="3000" b="1">
                <a:solidFill>
                  <a:schemeClr val="accent1"/>
                </a:solidFill>
                <a:latin typeface="+mj-lt"/>
              </a:defRPr>
            </a:lvl1pPr>
          </a:lstStyle>
          <a:p>
            <a:pPr lvl="0"/>
            <a:r>
              <a:rPr lang="en-US"/>
              <a:t>Click to edit Master text styles</a:t>
            </a:r>
          </a:p>
        </p:txBody>
      </p:sp>
      <p:sp>
        <p:nvSpPr>
          <p:cNvPr id="17" name="PpHolder10"/>
          <p:cNvSpPr>
            <a:spLocks noGrp="1"/>
          </p:cNvSpPr>
          <p:nvPr>
            <p:ph type="pic" sz="quarter" idx="17"/>
          </p:nvPr>
        </p:nvSpPr>
        <p:spPr>
          <a:xfrm>
            <a:off x="1828012" y="2209800"/>
            <a:ext cx="2438401" cy="1371600"/>
          </a:xfrm>
          <a:custGeom>
            <a:avLst/>
            <a:gdLst>
              <a:gd name="connsiteX0" fmla="*/ 65727 w 1828801"/>
              <a:gd name="connsiteY0" fmla="*/ 0 h 1371600"/>
              <a:gd name="connsiteX1" fmla="*/ 1763074 w 1828801"/>
              <a:gd name="connsiteY1" fmla="*/ 0 h 1371600"/>
              <a:gd name="connsiteX2" fmla="*/ 1828801 w 1828801"/>
              <a:gd name="connsiteY2" fmla="*/ 65727 h 1371600"/>
              <a:gd name="connsiteX3" fmla="*/ 1828801 w 1828801"/>
              <a:gd name="connsiteY3" fmla="*/ 1305873 h 1371600"/>
              <a:gd name="connsiteX4" fmla="*/ 1763074 w 1828801"/>
              <a:gd name="connsiteY4" fmla="*/ 1371600 h 1371600"/>
              <a:gd name="connsiteX5" fmla="*/ 65727 w 1828801"/>
              <a:gd name="connsiteY5" fmla="*/ 1371600 h 1371600"/>
              <a:gd name="connsiteX6" fmla="*/ 0 w 1828801"/>
              <a:gd name="connsiteY6" fmla="*/ 1305873 h 1371600"/>
              <a:gd name="connsiteX7" fmla="*/ 0 w 1828801"/>
              <a:gd name="connsiteY7" fmla="*/ 65727 h 1371600"/>
              <a:gd name="connsiteX8" fmla="*/ 65727 w 1828801"/>
              <a:gd name="connsiteY8"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8801" h="1371600">
                <a:moveTo>
                  <a:pt x="65727" y="0"/>
                </a:moveTo>
                <a:lnTo>
                  <a:pt x="1763074" y="0"/>
                </a:lnTo>
                <a:cubicBezTo>
                  <a:pt x="1799374" y="0"/>
                  <a:pt x="1828801" y="29428"/>
                  <a:pt x="1828801" y="65727"/>
                </a:cubicBezTo>
                <a:lnTo>
                  <a:pt x="1828801" y="1305873"/>
                </a:lnTo>
                <a:cubicBezTo>
                  <a:pt x="1828801" y="1342173"/>
                  <a:pt x="1799374" y="1371600"/>
                  <a:pt x="1763074" y="1371600"/>
                </a:cubicBezTo>
                <a:lnTo>
                  <a:pt x="65727" y="1371600"/>
                </a:lnTo>
                <a:cubicBezTo>
                  <a:pt x="29428" y="1371600"/>
                  <a:pt x="0" y="1342173"/>
                  <a:pt x="0" y="1305873"/>
                </a:cubicBezTo>
                <a:lnTo>
                  <a:pt x="0" y="65727"/>
                </a:lnTo>
                <a:cubicBezTo>
                  <a:pt x="0" y="29428"/>
                  <a:pt x="29428" y="0"/>
                  <a:pt x="65727" y="0"/>
                </a:cubicBezTo>
                <a:close/>
              </a:path>
            </a:pathLst>
          </a:custGeom>
          <a:blipFill dpi="0" rotWithShape="1">
            <a:blip r:embed="rId2"/>
            <a:srcRect/>
            <a:tile tx="0" ty="0" sx="100000" sy="100000" flip="none" algn="tl"/>
          </a:blipFill>
        </p:spPr>
        <p:txBody>
          <a:bodyPr rtlCol="0" anchor="ctr" anchorCtr="1">
            <a:normAutofit/>
          </a:bodyPr>
          <a:lstStyle>
            <a:lvl1pPr>
              <a:defRPr lang="en-US" sz="600">
                <a:solidFill>
                  <a:schemeClr val="tx1">
                    <a:alpha val="0"/>
                  </a:schemeClr>
                </a:solidFill>
              </a:defRPr>
            </a:lvl1pPr>
          </a:lstStyle>
          <a:p>
            <a:pPr lvl="0"/>
            <a:endParaRPr lang="en-US" noProof="0"/>
          </a:p>
        </p:txBody>
      </p:sp>
      <p:sp>
        <p:nvSpPr>
          <p:cNvPr id="13" name="PpHolder12"/>
          <p:cNvSpPr>
            <a:spLocks noGrp="1"/>
          </p:cNvSpPr>
          <p:nvPr>
            <p:ph type="pic" sz="quarter" idx="15"/>
          </p:nvPr>
        </p:nvSpPr>
        <p:spPr>
          <a:xfrm>
            <a:off x="7925595" y="2209800"/>
            <a:ext cx="2438400" cy="1371600"/>
          </a:xfrm>
          <a:custGeom>
            <a:avLst/>
            <a:gdLst>
              <a:gd name="connsiteX0" fmla="*/ 65727 w 1828800"/>
              <a:gd name="connsiteY0" fmla="*/ 0 h 1371600"/>
              <a:gd name="connsiteX1" fmla="*/ 1763073 w 1828800"/>
              <a:gd name="connsiteY1" fmla="*/ 0 h 1371600"/>
              <a:gd name="connsiteX2" fmla="*/ 1828800 w 1828800"/>
              <a:gd name="connsiteY2" fmla="*/ 65727 h 1371600"/>
              <a:gd name="connsiteX3" fmla="*/ 1828800 w 1828800"/>
              <a:gd name="connsiteY3" fmla="*/ 1305873 h 1371600"/>
              <a:gd name="connsiteX4" fmla="*/ 1763073 w 1828800"/>
              <a:gd name="connsiteY4" fmla="*/ 1371600 h 1371600"/>
              <a:gd name="connsiteX5" fmla="*/ 65727 w 1828800"/>
              <a:gd name="connsiteY5" fmla="*/ 1371600 h 1371600"/>
              <a:gd name="connsiteX6" fmla="*/ 0 w 1828800"/>
              <a:gd name="connsiteY6" fmla="*/ 1305873 h 1371600"/>
              <a:gd name="connsiteX7" fmla="*/ 0 w 1828800"/>
              <a:gd name="connsiteY7" fmla="*/ 65727 h 1371600"/>
              <a:gd name="connsiteX8" fmla="*/ 65727 w 1828800"/>
              <a:gd name="connsiteY8"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8800" h="1371600">
                <a:moveTo>
                  <a:pt x="65727" y="0"/>
                </a:moveTo>
                <a:lnTo>
                  <a:pt x="1763073" y="0"/>
                </a:lnTo>
                <a:cubicBezTo>
                  <a:pt x="1799373" y="0"/>
                  <a:pt x="1828800" y="29428"/>
                  <a:pt x="1828800" y="65727"/>
                </a:cubicBezTo>
                <a:lnTo>
                  <a:pt x="1828800" y="1305873"/>
                </a:lnTo>
                <a:cubicBezTo>
                  <a:pt x="1828800" y="1342173"/>
                  <a:pt x="1799373" y="1371600"/>
                  <a:pt x="1763073" y="1371600"/>
                </a:cubicBezTo>
                <a:lnTo>
                  <a:pt x="65727" y="1371600"/>
                </a:lnTo>
                <a:cubicBezTo>
                  <a:pt x="29427" y="1371600"/>
                  <a:pt x="0" y="1342173"/>
                  <a:pt x="0" y="1305873"/>
                </a:cubicBezTo>
                <a:lnTo>
                  <a:pt x="0" y="65727"/>
                </a:lnTo>
                <a:cubicBezTo>
                  <a:pt x="0" y="29428"/>
                  <a:pt x="29427" y="0"/>
                  <a:pt x="65727" y="0"/>
                </a:cubicBezTo>
                <a:close/>
              </a:path>
            </a:pathLst>
          </a:custGeom>
          <a:blipFill dpi="0" rotWithShape="1">
            <a:blip r:embed="rId2"/>
            <a:srcRect/>
            <a:tile tx="0" ty="0" sx="100000" sy="100000" flip="none" algn="tl"/>
          </a:blipFill>
        </p:spPr>
        <p:txBody>
          <a:bodyPr rtlCol="0" anchor="ctr" anchorCtr="1">
            <a:normAutofit/>
          </a:bodyPr>
          <a:lstStyle>
            <a:lvl1pPr>
              <a:defRPr lang="en-US" sz="600">
                <a:solidFill>
                  <a:schemeClr val="tx1">
                    <a:alpha val="0"/>
                  </a:schemeClr>
                </a:solidFill>
              </a:defRPr>
            </a:lvl1pPr>
          </a:lstStyle>
          <a:p>
            <a:pPr lvl="0"/>
            <a:endParaRPr lang="en-US" noProof="0"/>
          </a:p>
        </p:txBody>
      </p:sp>
    </p:spTree>
    <p:extLst>
      <p:ext uri="{BB962C8B-B14F-4D97-AF65-F5344CB8AC3E}">
        <p14:creationId xmlns:p14="http://schemas.microsoft.com/office/powerpoint/2010/main" val="2869108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2FFAA-25BE-47A2-A60E-349BE354A8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993DAA34-980C-44A0-9965-D1AF72E12A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Tree>
    <p:extLst>
      <p:ext uri="{BB962C8B-B14F-4D97-AF65-F5344CB8AC3E}">
        <p14:creationId xmlns:p14="http://schemas.microsoft.com/office/powerpoint/2010/main" val="1885150486"/>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43E93-BC38-4864-A0B9-1D0652470EC7}"/>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0804DEF6-B94F-4858-A2BA-F37F3A9A606E}"/>
              </a:ext>
            </a:extLst>
          </p:cNvPr>
          <p:cNvSpPr>
            <a:spLocks noGrp="1"/>
          </p:cNvSpPr>
          <p:nvPr>
            <p:ph idx="1"/>
          </p:nvPr>
        </p:nvSpPr>
        <p:spPr>
          <a:xfrm>
            <a:off x="533400" y="1825624"/>
            <a:ext cx="111252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3" name="Round Same Side Corner Rectangle 12">
            <a:extLst>
              <a:ext uri="{FF2B5EF4-FFF2-40B4-BE49-F238E27FC236}">
                <a16:creationId xmlns:a16="http://schemas.microsoft.com/office/drawing/2014/main" id="{A83CFA3F-9BFB-394E-B024-801F5C16AFBF}"/>
              </a:ext>
            </a:extLst>
          </p:cNvPr>
          <p:cNvSpPr/>
          <p:nvPr userDrawn="1"/>
        </p:nvSpPr>
        <p:spPr>
          <a:xfrm>
            <a:off x="11264900" y="6438640"/>
            <a:ext cx="331788" cy="419360"/>
          </a:xfrm>
          <a:prstGeom prst="round2SameRect">
            <a:avLst>
              <a:gd name="adj1" fmla="val 50000"/>
              <a:gd name="adj2" fmla="val 0"/>
            </a:avLst>
          </a:prstGeom>
          <a:gradFill>
            <a:gsLst>
              <a:gs pos="0">
                <a:srgbClr val="4984C5"/>
              </a:gs>
              <a:gs pos="100000">
                <a:srgbClr val="90DFF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4" name="TextBox 13">
            <a:extLst>
              <a:ext uri="{FF2B5EF4-FFF2-40B4-BE49-F238E27FC236}">
                <a16:creationId xmlns:a16="http://schemas.microsoft.com/office/drawing/2014/main" id="{6618A9FD-B820-B240-9420-22134C01C43C}"/>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CBACB319-1A34-0E43-B81E-5DE55CAF099D}"/>
              </a:ext>
            </a:extLst>
          </p:cNvPr>
          <p:cNvSpPr txBox="1"/>
          <p:nvPr userDrawn="1"/>
        </p:nvSpPr>
        <p:spPr>
          <a:xfrm>
            <a:off x="10157724" y="6586765"/>
            <a:ext cx="906252"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RESEARCH POSTER</a:t>
            </a:r>
          </a:p>
        </p:txBody>
      </p:sp>
      <p:cxnSp>
        <p:nvCxnSpPr>
          <p:cNvPr id="16" name="Straight Connector 15">
            <a:extLst>
              <a:ext uri="{FF2B5EF4-FFF2-40B4-BE49-F238E27FC236}">
                <a16:creationId xmlns:a16="http://schemas.microsoft.com/office/drawing/2014/main" id="{BC8222F1-2A79-4F48-AD19-D3E7155A5973}"/>
              </a:ext>
            </a:extLst>
          </p:cNvPr>
          <p:cNvCxnSpPr>
            <a:cxnSpLocks/>
          </p:cNvCxnSpPr>
          <p:nvPr userDrawn="1"/>
        </p:nvCxnSpPr>
        <p:spPr>
          <a:xfrm flipH="1">
            <a:off x="1" y="6648320"/>
            <a:ext cx="99567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15002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63D7A-540E-425A-BEF5-69BB8D40BCD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2F3CBEA5-6625-4A00-B51E-8641A4AE23D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691498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D00FA-CA57-4FCA-BFA6-C374C16C9DBB}"/>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FE40965A-09CA-4AA8-9C52-A5770F423454}"/>
              </a:ext>
            </a:extLst>
          </p:cNvPr>
          <p:cNvSpPr>
            <a:spLocks noGrp="1"/>
          </p:cNvSpPr>
          <p:nvPr>
            <p:ph sz="half" idx="1"/>
          </p:nvPr>
        </p:nvSpPr>
        <p:spPr>
          <a:xfrm>
            <a:off x="5334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FE9E6E0D-8C89-4C4D-B2ED-BC0A4867F963}"/>
              </a:ext>
            </a:extLst>
          </p:cNvPr>
          <p:cNvSpPr>
            <a:spLocks noGrp="1"/>
          </p:cNvSpPr>
          <p:nvPr>
            <p:ph sz="half" idx="2"/>
          </p:nvPr>
        </p:nvSpPr>
        <p:spPr>
          <a:xfrm>
            <a:off x="61722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9" name="Round Same Side Corner Rectangle 8">
            <a:extLst>
              <a:ext uri="{FF2B5EF4-FFF2-40B4-BE49-F238E27FC236}">
                <a16:creationId xmlns:a16="http://schemas.microsoft.com/office/drawing/2014/main" id="{E8760F9D-688F-6C48-966A-C956DF29F1C9}"/>
              </a:ext>
            </a:extLst>
          </p:cNvPr>
          <p:cNvSpPr/>
          <p:nvPr userDrawn="1"/>
        </p:nvSpPr>
        <p:spPr>
          <a:xfrm>
            <a:off x="11264900" y="6438640"/>
            <a:ext cx="331788" cy="419360"/>
          </a:xfrm>
          <a:prstGeom prst="round2SameRect">
            <a:avLst>
              <a:gd name="adj1" fmla="val 50000"/>
              <a:gd name="adj2" fmla="val 0"/>
            </a:avLst>
          </a:prstGeom>
          <a:gradFill>
            <a:gsLst>
              <a:gs pos="0">
                <a:srgbClr val="4984C5"/>
              </a:gs>
              <a:gs pos="100000">
                <a:srgbClr val="90DFF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 name="TextBox 9">
            <a:extLst>
              <a:ext uri="{FF2B5EF4-FFF2-40B4-BE49-F238E27FC236}">
                <a16:creationId xmlns:a16="http://schemas.microsoft.com/office/drawing/2014/main" id="{3162F905-C5E7-5E4A-8203-C161145039F8}"/>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3C117472-C36B-544E-BB98-E57ABB3E531A}"/>
              </a:ext>
            </a:extLst>
          </p:cNvPr>
          <p:cNvSpPr txBox="1"/>
          <p:nvPr userDrawn="1"/>
        </p:nvSpPr>
        <p:spPr>
          <a:xfrm>
            <a:off x="10157724" y="6586765"/>
            <a:ext cx="906252"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RESEARCH POSTER</a:t>
            </a:r>
          </a:p>
        </p:txBody>
      </p:sp>
      <p:cxnSp>
        <p:nvCxnSpPr>
          <p:cNvPr id="15" name="Straight Connector 14">
            <a:extLst>
              <a:ext uri="{FF2B5EF4-FFF2-40B4-BE49-F238E27FC236}">
                <a16:creationId xmlns:a16="http://schemas.microsoft.com/office/drawing/2014/main" id="{069B6336-D7E4-D545-86ED-777A82AEA86E}"/>
              </a:ext>
            </a:extLst>
          </p:cNvPr>
          <p:cNvCxnSpPr>
            <a:cxnSpLocks/>
          </p:cNvCxnSpPr>
          <p:nvPr userDrawn="1"/>
        </p:nvCxnSpPr>
        <p:spPr>
          <a:xfrm flipH="1">
            <a:off x="1" y="6648320"/>
            <a:ext cx="99567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31854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BB064-2B6B-4DB3-B5F2-73FB6436F6E4}"/>
              </a:ext>
            </a:extLst>
          </p:cNvPr>
          <p:cNvSpPr>
            <a:spLocks noGrp="1"/>
          </p:cNvSpPr>
          <p:nvPr>
            <p:ph type="title"/>
          </p:nvPr>
        </p:nvSpPr>
        <p:spPr>
          <a:xfrm>
            <a:off x="533400" y="365125"/>
            <a:ext cx="11128376" cy="1325563"/>
          </a:xfrm>
        </p:spPr>
        <p:txBody>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320364BD-656F-49D4-978C-1EF0460DC833}"/>
              </a:ext>
            </a:extLst>
          </p:cNvPr>
          <p:cNvSpPr>
            <a:spLocks noGrp="1"/>
          </p:cNvSpPr>
          <p:nvPr>
            <p:ph type="body" idx="1"/>
          </p:nvPr>
        </p:nvSpPr>
        <p:spPr>
          <a:xfrm>
            <a:off x="533400" y="1681163"/>
            <a:ext cx="5464175" cy="83704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72CC1E74-B5DE-489B-8062-6F648F39AF21}"/>
              </a:ext>
            </a:extLst>
          </p:cNvPr>
          <p:cNvSpPr>
            <a:spLocks noGrp="1"/>
          </p:cNvSpPr>
          <p:nvPr>
            <p:ph sz="half" idx="2"/>
          </p:nvPr>
        </p:nvSpPr>
        <p:spPr>
          <a:xfrm>
            <a:off x="533400" y="2505074"/>
            <a:ext cx="5464175"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5" name="Text Placeholder 4">
            <a:extLst>
              <a:ext uri="{FF2B5EF4-FFF2-40B4-BE49-F238E27FC236}">
                <a16:creationId xmlns:a16="http://schemas.microsoft.com/office/drawing/2014/main" id="{ACD74AC3-B164-43D5-8EE3-2B3FACE1F05B}"/>
              </a:ext>
            </a:extLst>
          </p:cNvPr>
          <p:cNvSpPr>
            <a:spLocks noGrp="1"/>
          </p:cNvSpPr>
          <p:nvPr>
            <p:ph type="body" sz="quarter" idx="3"/>
          </p:nvPr>
        </p:nvSpPr>
        <p:spPr>
          <a:xfrm>
            <a:off x="6172200" y="1681163"/>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D59746C-CBAC-4D9D-AFCA-8ED31A88891C}"/>
              </a:ext>
            </a:extLst>
          </p:cNvPr>
          <p:cNvSpPr>
            <a:spLocks noGrp="1"/>
          </p:cNvSpPr>
          <p:nvPr>
            <p:ph sz="quarter" idx="4"/>
          </p:nvPr>
        </p:nvSpPr>
        <p:spPr>
          <a:xfrm>
            <a:off x="6172200" y="2505074"/>
            <a:ext cx="5486400"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11" name="Round Same Side Corner Rectangle 10">
            <a:extLst>
              <a:ext uri="{FF2B5EF4-FFF2-40B4-BE49-F238E27FC236}">
                <a16:creationId xmlns:a16="http://schemas.microsoft.com/office/drawing/2014/main" id="{0513721B-B642-B842-83E2-454D99C05B7A}"/>
              </a:ext>
            </a:extLst>
          </p:cNvPr>
          <p:cNvSpPr/>
          <p:nvPr userDrawn="1"/>
        </p:nvSpPr>
        <p:spPr>
          <a:xfrm>
            <a:off x="11264900" y="6438640"/>
            <a:ext cx="331788" cy="419360"/>
          </a:xfrm>
          <a:prstGeom prst="round2SameRect">
            <a:avLst>
              <a:gd name="adj1" fmla="val 50000"/>
              <a:gd name="adj2" fmla="val 0"/>
            </a:avLst>
          </a:prstGeom>
          <a:gradFill>
            <a:gsLst>
              <a:gs pos="0">
                <a:srgbClr val="4984C5"/>
              </a:gs>
              <a:gs pos="100000">
                <a:srgbClr val="90DFF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2" name="TextBox 11">
            <a:extLst>
              <a:ext uri="{FF2B5EF4-FFF2-40B4-BE49-F238E27FC236}">
                <a16:creationId xmlns:a16="http://schemas.microsoft.com/office/drawing/2014/main" id="{95B02220-B740-E04F-A7F3-0BA2BD9CEDC8}"/>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49B6167C-4397-7243-8821-596558ABE008}"/>
              </a:ext>
            </a:extLst>
          </p:cNvPr>
          <p:cNvSpPr txBox="1"/>
          <p:nvPr userDrawn="1"/>
        </p:nvSpPr>
        <p:spPr>
          <a:xfrm>
            <a:off x="10157724" y="6586765"/>
            <a:ext cx="906252"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RESEARCH POSTER</a:t>
            </a:r>
          </a:p>
        </p:txBody>
      </p:sp>
      <p:cxnSp>
        <p:nvCxnSpPr>
          <p:cNvPr id="17" name="Straight Connector 16">
            <a:extLst>
              <a:ext uri="{FF2B5EF4-FFF2-40B4-BE49-F238E27FC236}">
                <a16:creationId xmlns:a16="http://schemas.microsoft.com/office/drawing/2014/main" id="{FD3C146D-0B9D-2B45-A0B4-C65F6A0F5179}"/>
              </a:ext>
            </a:extLst>
          </p:cNvPr>
          <p:cNvCxnSpPr>
            <a:cxnSpLocks/>
          </p:cNvCxnSpPr>
          <p:nvPr userDrawn="1"/>
        </p:nvCxnSpPr>
        <p:spPr>
          <a:xfrm flipH="1">
            <a:off x="1" y="6648320"/>
            <a:ext cx="99567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90946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9ADFF5-D2DF-4F4C-B84D-A9AF846D83A3}"/>
              </a:ext>
            </a:extLst>
          </p:cNvPr>
          <p:cNvSpPr>
            <a:spLocks noGrp="1"/>
          </p:cNvSpPr>
          <p:nvPr>
            <p:ph type="title"/>
          </p:nvPr>
        </p:nvSpPr>
        <p:spPr/>
        <p:txBody>
          <a:bodyPr/>
          <a:lstStyle/>
          <a:p>
            <a:r>
              <a:rPr lang="en-US"/>
              <a:t>Click to edit Master title style</a:t>
            </a:r>
            <a:endParaRPr lang="en-ID"/>
          </a:p>
        </p:txBody>
      </p:sp>
      <p:sp>
        <p:nvSpPr>
          <p:cNvPr id="7" name="Round Same Side Corner Rectangle 6">
            <a:extLst>
              <a:ext uri="{FF2B5EF4-FFF2-40B4-BE49-F238E27FC236}">
                <a16:creationId xmlns:a16="http://schemas.microsoft.com/office/drawing/2014/main" id="{B4ADEBAC-E497-CB48-8513-F33DB82A8973}"/>
              </a:ext>
            </a:extLst>
          </p:cNvPr>
          <p:cNvSpPr/>
          <p:nvPr userDrawn="1"/>
        </p:nvSpPr>
        <p:spPr>
          <a:xfrm>
            <a:off x="11264900" y="6438640"/>
            <a:ext cx="331788" cy="419360"/>
          </a:xfrm>
          <a:prstGeom prst="round2SameRect">
            <a:avLst>
              <a:gd name="adj1" fmla="val 50000"/>
              <a:gd name="adj2" fmla="val 0"/>
            </a:avLst>
          </a:prstGeom>
          <a:gradFill>
            <a:gsLst>
              <a:gs pos="0">
                <a:srgbClr val="4984C5"/>
              </a:gs>
              <a:gs pos="100000">
                <a:srgbClr val="90DFF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8" name="TextBox 7">
            <a:extLst>
              <a:ext uri="{FF2B5EF4-FFF2-40B4-BE49-F238E27FC236}">
                <a16:creationId xmlns:a16="http://schemas.microsoft.com/office/drawing/2014/main" id="{0D201E58-B497-624D-AB7C-62DCAC1049CF}"/>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320A711D-6C98-6C43-8314-B5B48812555D}"/>
              </a:ext>
            </a:extLst>
          </p:cNvPr>
          <p:cNvSpPr txBox="1"/>
          <p:nvPr userDrawn="1"/>
        </p:nvSpPr>
        <p:spPr>
          <a:xfrm>
            <a:off x="10157724" y="6586765"/>
            <a:ext cx="906252"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RESEARCH POSTER</a:t>
            </a:r>
          </a:p>
        </p:txBody>
      </p:sp>
      <p:cxnSp>
        <p:nvCxnSpPr>
          <p:cNvPr id="10" name="Straight Connector 9">
            <a:extLst>
              <a:ext uri="{FF2B5EF4-FFF2-40B4-BE49-F238E27FC236}">
                <a16:creationId xmlns:a16="http://schemas.microsoft.com/office/drawing/2014/main" id="{FF9A1467-2B26-DF46-B85E-EE1EAB739AA4}"/>
              </a:ext>
            </a:extLst>
          </p:cNvPr>
          <p:cNvCxnSpPr>
            <a:cxnSpLocks/>
          </p:cNvCxnSpPr>
          <p:nvPr userDrawn="1"/>
        </p:nvCxnSpPr>
        <p:spPr>
          <a:xfrm flipH="1">
            <a:off x="1" y="6648320"/>
            <a:ext cx="99567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30407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ound Same Side Corner Rectangle 5">
            <a:extLst>
              <a:ext uri="{FF2B5EF4-FFF2-40B4-BE49-F238E27FC236}">
                <a16:creationId xmlns:a16="http://schemas.microsoft.com/office/drawing/2014/main" id="{AB381E70-4989-CB4F-B1CE-31905AF9E7D8}"/>
              </a:ext>
            </a:extLst>
          </p:cNvPr>
          <p:cNvSpPr/>
          <p:nvPr userDrawn="1"/>
        </p:nvSpPr>
        <p:spPr>
          <a:xfrm>
            <a:off x="11264900" y="6438640"/>
            <a:ext cx="331788" cy="419360"/>
          </a:xfrm>
          <a:prstGeom prst="round2SameRect">
            <a:avLst>
              <a:gd name="adj1" fmla="val 50000"/>
              <a:gd name="adj2" fmla="val 0"/>
            </a:avLst>
          </a:prstGeom>
          <a:gradFill>
            <a:gsLst>
              <a:gs pos="0">
                <a:srgbClr val="4984C5"/>
              </a:gs>
              <a:gs pos="100000">
                <a:srgbClr val="90DFF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TextBox 6">
            <a:extLst>
              <a:ext uri="{FF2B5EF4-FFF2-40B4-BE49-F238E27FC236}">
                <a16:creationId xmlns:a16="http://schemas.microsoft.com/office/drawing/2014/main" id="{C6B80BC8-26DE-3A41-B2DC-8929C6DB9572}"/>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1" name="TextBox 10">
            <a:extLst>
              <a:ext uri="{FF2B5EF4-FFF2-40B4-BE49-F238E27FC236}">
                <a16:creationId xmlns:a16="http://schemas.microsoft.com/office/drawing/2014/main" id="{FA8F89FA-4296-044D-9BD8-B32DA98E8DD8}"/>
              </a:ext>
            </a:extLst>
          </p:cNvPr>
          <p:cNvSpPr txBox="1"/>
          <p:nvPr userDrawn="1"/>
        </p:nvSpPr>
        <p:spPr>
          <a:xfrm>
            <a:off x="10157724" y="6586765"/>
            <a:ext cx="906252"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RESEARCH POSTER</a:t>
            </a:r>
          </a:p>
        </p:txBody>
      </p:sp>
      <p:cxnSp>
        <p:nvCxnSpPr>
          <p:cNvPr id="12" name="Straight Connector 11">
            <a:extLst>
              <a:ext uri="{FF2B5EF4-FFF2-40B4-BE49-F238E27FC236}">
                <a16:creationId xmlns:a16="http://schemas.microsoft.com/office/drawing/2014/main" id="{63FA5961-3112-584E-A822-FF65D4A01CC1}"/>
              </a:ext>
            </a:extLst>
          </p:cNvPr>
          <p:cNvCxnSpPr>
            <a:cxnSpLocks/>
          </p:cNvCxnSpPr>
          <p:nvPr userDrawn="1"/>
        </p:nvCxnSpPr>
        <p:spPr>
          <a:xfrm flipH="1">
            <a:off x="1" y="6648320"/>
            <a:ext cx="99567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189199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70028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D4722-8FC4-518F-C1C8-53B06F017943}"/>
              </a:ext>
            </a:extLst>
          </p:cNvPr>
          <p:cNvSpPr>
            <a:spLocks noGrp="1"/>
          </p:cNvSpPr>
          <p:nvPr>
            <p:ph type="title"/>
          </p:nvPr>
        </p:nvSpPr>
        <p:spPr>
          <a:xfrm>
            <a:off x="839788" y="365125"/>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id="{56095A41-94A6-7A2F-3569-E28C0BD8547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F9ABE56-9064-1DF2-BDCA-37E73E11BAF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id="{273276A1-4D78-79CE-2984-CC15F2C9A78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D9573F6-BAE7-7E47-2900-8B1214EADC9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id="{495F899D-E55B-0072-4E57-3250FF921565}"/>
              </a:ext>
            </a:extLst>
          </p:cNvPr>
          <p:cNvSpPr>
            <a:spLocks noGrp="1"/>
          </p:cNvSpPr>
          <p:nvPr>
            <p:ph type="dt" sz="half" idx="10"/>
          </p:nvPr>
        </p:nvSpPr>
        <p:spPr/>
        <p:txBody>
          <a:bodyPr/>
          <a:lstStyle/>
          <a:p>
            <a:fld id="{62FB3A63-0457-4056-959C-681C51DC124A}" type="datetimeFigureOut">
              <a:rPr lang="en-ID" smtClean="0"/>
              <a:t>12/12/2023</a:t>
            </a:fld>
            <a:endParaRPr lang="en-ID"/>
          </a:p>
        </p:txBody>
      </p:sp>
      <p:sp>
        <p:nvSpPr>
          <p:cNvPr id="8" name="Footer Placeholder 7">
            <a:extLst>
              <a:ext uri="{FF2B5EF4-FFF2-40B4-BE49-F238E27FC236}">
                <a16:creationId xmlns:a16="http://schemas.microsoft.com/office/drawing/2014/main" id="{2993C79E-F298-DDD1-CFEA-8A18A9F4178C}"/>
              </a:ext>
            </a:extLst>
          </p:cNvPr>
          <p:cNvSpPr>
            <a:spLocks noGrp="1"/>
          </p:cNvSpPr>
          <p:nvPr>
            <p:ph type="ftr" sz="quarter" idx="11"/>
          </p:nvPr>
        </p:nvSpPr>
        <p:spPr/>
        <p:txBody>
          <a:bodyPr/>
          <a:lstStyle/>
          <a:p>
            <a:endParaRPr lang="en-ID"/>
          </a:p>
        </p:txBody>
      </p:sp>
      <p:sp>
        <p:nvSpPr>
          <p:cNvPr id="9" name="Slide Number Placeholder 8">
            <a:extLst>
              <a:ext uri="{FF2B5EF4-FFF2-40B4-BE49-F238E27FC236}">
                <a16:creationId xmlns:a16="http://schemas.microsoft.com/office/drawing/2014/main" id="{8278785C-60AE-02DC-2941-3D3C8A79D088}"/>
              </a:ext>
            </a:extLst>
          </p:cNvPr>
          <p:cNvSpPr>
            <a:spLocks noGrp="1"/>
          </p:cNvSpPr>
          <p:nvPr>
            <p:ph type="sldNum" sz="quarter" idx="12"/>
          </p:nvPr>
        </p:nvSpPr>
        <p:spPr/>
        <p:txBody>
          <a:bodyPr/>
          <a:lstStyle/>
          <a:p>
            <a:fld id="{BC5A0E4C-AEED-4EAC-B96D-5DCBA748C5AA}" type="slidenum">
              <a:rPr lang="en-ID" smtClean="0"/>
              <a:t>‹#›</a:t>
            </a:fld>
            <a:endParaRPr lang="en-ID"/>
          </a:p>
        </p:txBody>
      </p:sp>
    </p:spTree>
    <p:extLst>
      <p:ext uri="{BB962C8B-B14F-4D97-AF65-F5344CB8AC3E}">
        <p14:creationId xmlns:p14="http://schemas.microsoft.com/office/powerpoint/2010/main" val="52616285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B33DCC-E58D-4E90-BD32-93612EB101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EFB7CF97-5037-48C8-8243-48B5F78702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26953ED2-55B1-4F90-9569-25377B50E6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Round Same Side Corner Rectangle 8">
            <a:extLst>
              <a:ext uri="{FF2B5EF4-FFF2-40B4-BE49-F238E27FC236}">
                <a16:creationId xmlns:a16="http://schemas.microsoft.com/office/drawing/2014/main" id="{23568A72-E069-D741-820C-9B89382FB934}"/>
              </a:ext>
            </a:extLst>
          </p:cNvPr>
          <p:cNvSpPr/>
          <p:nvPr userDrawn="1"/>
        </p:nvSpPr>
        <p:spPr>
          <a:xfrm>
            <a:off x="11264900" y="6438640"/>
            <a:ext cx="331788" cy="419360"/>
          </a:xfrm>
          <a:prstGeom prst="round2SameRect">
            <a:avLst>
              <a:gd name="adj1" fmla="val 50000"/>
              <a:gd name="adj2" fmla="val 0"/>
            </a:avLst>
          </a:prstGeom>
          <a:gradFill>
            <a:gsLst>
              <a:gs pos="0">
                <a:srgbClr val="4984C5"/>
              </a:gs>
              <a:gs pos="100000">
                <a:srgbClr val="90DFF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 name="TextBox 9">
            <a:extLst>
              <a:ext uri="{FF2B5EF4-FFF2-40B4-BE49-F238E27FC236}">
                <a16:creationId xmlns:a16="http://schemas.microsoft.com/office/drawing/2014/main" id="{7804298F-9094-8F4A-8EFF-1F9DC0DC0E26}"/>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7BEAD368-CB72-FC44-976E-4E6AA4708CDB}"/>
              </a:ext>
            </a:extLst>
          </p:cNvPr>
          <p:cNvSpPr txBox="1"/>
          <p:nvPr userDrawn="1"/>
        </p:nvSpPr>
        <p:spPr>
          <a:xfrm>
            <a:off x="10157724" y="6586765"/>
            <a:ext cx="906252"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RESEARCH POSTER</a:t>
            </a:r>
          </a:p>
        </p:txBody>
      </p:sp>
      <p:cxnSp>
        <p:nvCxnSpPr>
          <p:cNvPr id="15" name="Straight Connector 14">
            <a:extLst>
              <a:ext uri="{FF2B5EF4-FFF2-40B4-BE49-F238E27FC236}">
                <a16:creationId xmlns:a16="http://schemas.microsoft.com/office/drawing/2014/main" id="{EE47414C-7BFE-6A48-A95E-9145153E2808}"/>
              </a:ext>
            </a:extLst>
          </p:cNvPr>
          <p:cNvCxnSpPr>
            <a:cxnSpLocks/>
          </p:cNvCxnSpPr>
          <p:nvPr userDrawn="1"/>
        </p:nvCxnSpPr>
        <p:spPr>
          <a:xfrm flipH="1">
            <a:off x="1" y="6648320"/>
            <a:ext cx="99567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029177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3295E-5F2E-469B-B4C3-767643F280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3A84A6C5-DA12-455A-81DD-2B5C41D0E99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A5A59A1D-8CC0-43CE-9EB7-F5DE71D0A3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Round Same Side Corner Rectangle 8">
            <a:extLst>
              <a:ext uri="{FF2B5EF4-FFF2-40B4-BE49-F238E27FC236}">
                <a16:creationId xmlns:a16="http://schemas.microsoft.com/office/drawing/2014/main" id="{A193CBB5-8F00-714F-8AD8-F66B1675C9E0}"/>
              </a:ext>
            </a:extLst>
          </p:cNvPr>
          <p:cNvSpPr/>
          <p:nvPr userDrawn="1"/>
        </p:nvSpPr>
        <p:spPr>
          <a:xfrm>
            <a:off x="11264900" y="6438640"/>
            <a:ext cx="331788" cy="419360"/>
          </a:xfrm>
          <a:prstGeom prst="round2SameRect">
            <a:avLst>
              <a:gd name="adj1" fmla="val 50000"/>
              <a:gd name="adj2" fmla="val 0"/>
            </a:avLst>
          </a:prstGeom>
          <a:gradFill>
            <a:gsLst>
              <a:gs pos="0">
                <a:srgbClr val="4984C5"/>
              </a:gs>
              <a:gs pos="100000">
                <a:srgbClr val="90DFF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 name="TextBox 9">
            <a:extLst>
              <a:ext uri="{FF2B5EF4-FFF2-40B4-BE49-F238E27FC236}">
                <a16:creationId xmlns:a16="http://schemas.microsoft.com/office/drawing/2014/main" id="{AB85063D-C4E1-4D48-A2AA-E1E8FA931C17}"/>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2F9A3304-C3F8-3D42-B536-6C5C9491C828}"/>
              </a:ext>
            </a:extLst>
          </p:cNvPr>
          <p:cNvSpPr txBox="1"/>
          <p:nvPr userDrawn="1"/>
        </p:nvSpPr>
        <p:spPr>
          <a:xfrm>
            <a:off x="10157724" y="6586765"/>
            <a:ext cx="906252"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RESEARCH POSTER</a:t>
            </a:r>
          </a:p>
        </p:txBody>
      </p:sp>
      <p:cxnSp>
        <p:nvCxnSpPr>
          <p:cNvPr id="15" name="Straight Connector 14">
            <a:extLst>
              <a:ext uri="{FF2B5EF4-FFF2-40B4-BE49-F238E27FC236}">
                <a16:creationId xmlns:a16="http://schemas.microsoft.com/office/drawing/2014/main" id="{B9EC2832-8FD9-6B4C-90F8-E04617FBD91D}"/>
              </a:ext>
            </a:extLst>
          </p:cNvPr>
          <p:cNvCxnSpPr>
            <a:cxnSpLocks/>
          </p:cNvCxnSpPr>
          <p:nvPr userDrawn="1"/>
        </p:nvCxnSpPr>
        <p:spPr>
          <a:xfrm flipH="1">
            <a:off x="1" y="6648320"/>
            <a:ext cx="99567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20087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3B649-33B5-49E0-AF95-5C2F743605D6}"/>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DB1F3234-B853-4DD4-ACD3-949D5F2843AC}"/>
              </a:ext>
            </a:extLst>
          </p:cNvPr>
          <p:cNvSpPr>
            <a:spLocks noGrp="1"/>
          </p:cNvSpPr>
          <p:nvPr>
            <p:ph type="body" orient="vert" idx="1"/>
          </p:nvPr>
        </p:nvSpPr>
        <p:spPr>
          <a:xfrm>
            <a:off x="533400" y="1825624"/>
            <a:ext cx="11125200" cy="4422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8" name="Round Same Side Corner Rectangle 7">
            <a:extLst>
              <a:ext uri="{FF2B5EF4-FFF2-40B4-BE49-F238E27FC236}">
                <a16:creationId xmlns:a16="http://schemas.microsoft.com/office/drawing/2014/main" id="{05FD55DB-4CB0-984B-AB86-294DC39DCB2F}"/>
              </a:ext>
            </a:extLst>
          </p:cNvPr>
          <p:cNvSpPr/>
          <p:nvPr userDrawn="1"/>
        </p:nvSpPr>
        <p:spPr>
          <a:xfrm>
            <a:off x="11264900" y="6438640"/>
            <a:ext cx="331788" cy="419360"/>
          </a:xfrm>
          <a:prstGeom prst="round2SameRect">
            <a:avLst>
              <a:gd name="adj1" fmla="val 50000"/>
              <a:gd name="adj2" fmla="val 0"/>
            </a:avLst>
          </a:prstGeom>
          <a:gradFill>
            <a:gsLst>
              <a:gs pos="0">
                <a:srgbClr val="4984C5"/>
              </a:gs>
              <a:gs pos="100000">
                <a:srgbClr val="90DFF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9" name="TextBox 8">
            <a:extLst>
              <a:ext uri="{FF2B5EF4-FFF2-40B4-BE49-F238E27FC236}">
                <a16:creationId xmlns:a16="http://schemas.microsoft.com/office/drawing/2014/main" id="{416059B4-CCF7-1348-B02E-45EC5343F4FA}"/>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AE9BE5A3-42ED-5346-BD84-F43C3B0582B0}"/>
              </a:ext>
            </a:extLst>
          </p:cNvPr>
          <p:cNvSpPr txBox="1"/>
          <p:nvPr userDrawn="1"/>
        </p:nvSpPr>
        <p:spPr>
          <a:xfrm>
            <a:off x="10157724" y="6586765"/>
            <a:ext cx="906252"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RESEARCH POSTER</a:t>
            </a:r>
          </a:p>
        </p:txBody>
      </p:sp>
      <p:cxnSp>
        <p:nvCxnSpPr>
          <p:cNvPr id="14" name="Straight Connector 13">
            <a:extLst>
              <a:ext uri="{FF2B5EF4-FFF2-40B4-BE49-F238E27FC236}">
                <a16:creationId xmlns:a16="http://schemas.microsoft.com/office/drawing/2014/main" id="{3A14982C-9549-0E49-A85A-538D2E46481D}"/>
              </a:ext>
            </a:extLst>
          </p:cNvPr>
          <p:cNvCxnSpPr>
            <a:cxnSpLocks/>
          </p:cNvCxnSpPr>
          <p:nvPr userDrawn="1"/>
        </p:nvCxnSpPr>
        <p:spPr>
          <a:xfrm flipH="1">
            <a:off x="1" y="6648320"/>
            <a:ext cx="99567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739178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874D309-A159-49EF-AA30-9AD12AF5DB54}"/>
              </a:ext>
            </a:extLst>
          </p:cNvPr>
          <p:cNvSpPr>
            <a:spLocks noGrp="1"/>
          </p:cNvSpPr>
          <p:nvPr>
            <p:ph type="title" orient="vert"/>
          </p:nvPr>
        </p:nvSpPr>
        <p:spPr>
          <a:xfrm>
            <a:off x="8724900" y="365124"/>
            <a:ext cx="2933700" cy="5883275"/>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BC069772-6562-4B91-92CF-F6615BFA124D}"/>
              </a:ext>
            </a:extLst>
          </p:cNvPr>
          <p:cNvSpPr>
            <a:spLocks noGrp="1"/>
          </p:cNvSpPr>
          <p:nvPr>
            <p:ph type="body" orient="vert" idx="1"/>
          </p:nvPr>
        </p:nvSpPr>
        <p:spPr>
          <a:xfrm>
            <a:off x="533400" y="365124"/>
            <a:ext cx="8039100" cy="5883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8" name="Round Same Side Corner Rectangle 7">
            <a:extLst>
              <a:ext uri="{FF2B5EF4-FFF2-40B4-BE49-F238E27FC236}">
                <a16:creationId xmlns:a16="http://schemas.microsoft.com/office/drawing/2014/main" id="{952DA44B-ACBB-9840-9C40-C82653C7EEC8}"/>
              </a:ext>
            </a:extLst>
          </p:cNvPr>
          <p:cNvSpPr/>
          <p:nvPr userDrawn="1"/>
        </p:nvSpPr>
        <p:spPr>
          <a:xfrm>
            <a:off x="11264900" y="6438640"/>
            <a:ext cx="331788" cy="419360"/>
          </a:xfrm>
          <a:prstGeom prst="round2SameRect">
            <a:avLst>
              <a:gd name="adj1" fmla="val 50000"/>
              <a:gd name="adj2" fmla="val 0"/>
            </a:avLst>
          </a:prstGeom>
          <a:gradFill>
            <a:gsLst>
              <a:gs pos="0">
                <a:srgbClr val="4984C5"/>
              </a:gs>
              <a:gs pos="100000">
                <a:srgbClr val="90DFF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9" name="TextBox 8">
            <a:extLst>
              <a:ext uri="{FF2B5EF4-FFF2-40B4-BE49-F238E27FC236}">
                <a16:creationId xmlns:a16="http://schemas.microsoft.com/office/drawing/2014/main" id="{3C4AFF18-E1F5-E044-9050-FD4F1E5049E7}"/>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chemeClr val="bg1"/>
                </a:solidFill>
                <a:latin typeface="Segoe UI" panose="020B0502040204020203" pitchFamily="34" charset="0"/>
                <a:cs typeface="Segoe UI" panose="020B0502040204020203" pitchFamily="34" charset="0"/>
              </a:rPr>
              <a:t>‹#›</a:t>
            </a:fld>
            <a:endParaRPr lang="en-US" sz="1000" b="1" dirty="0">
              <a:solidFill>
                <a:schemeClr val="bg1"/>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3EFA633B-6D36-4D4A-9FE3-792DAC491AEE}"/>
              </a:ext>
            </a:extLst>
          </p:cNvPr>
          <p:cNvSpPr txBox="1"/>
          <p:nvPr userDrawn="1"/>
        </p:nvSpPr>
        <p:spPr>
          <a:xfrm>
            <a:off x="10157724" y="6586765"/>
            <a:ext cx="906252" cy="123111"/>
          </a:xfrm>
          <a:prstGeom prst="rect">
            <a:avLst/>
          </a:prstGeom>
          <a:noFill/>
        </p:spPr>
        <p:txBody>
          <a:bodyPr wrap="square" lIns="0" tIns="0" rIns="0" bIns="0" rtlCol="0" anchor="ctr">
            <a:spAutoFit/>
          </a:bodyPr>
          <a:lstStyle/>
          <a:p>
            <a:pPr algn="r"/>
            <a:r>
              <a:rPr lang="en-US" sz="800" b="0" dirty="0">
                <a:solidFill>
                  <a:schemeClr val="bg1">
                    <a:lumMod val="65000"/>
                  </a:schemeClr>
                </a:solidFill>
                <a:latin typeface="Segoe UI Light" panose="020B0502040204020203" pitchFamily="34" charset="0"/>
                <a:cs typeface="Segoe UI Light" panose="020B0502040204020203" pitchFamily="34" charset="0"/>
              </a:rPr>
              <a:t>RESEARCH POSTER</a:t>
            </a:r>
          </a:p>
        </p:txBody>
      </p:sp>
      <p:cxnSp>
        <p:nvCxnSpPr>
          <p:cNvPr id="14" name="Straight Connector 13">
            <a:extLst>
              <a:ext uri="{FF2B5EF4-FFF2-40B4-BE49-F238E27FC236}">
                <a16:creationId xmlns:a16="http://schemas.microsoft.com/office/drawing/2014/main" id="{70B943D6-FF22-6B4B-935B-2FAA0376B1A0}"/>
              </a:ext>
            </a:extLst>
          </p:cNvPr>
          <p:cNvCxnSpPr>
            <a:cxnSpLocks/>
          </p:cNvCxnSpPr>
          <p:nvPr userDrawn="1"/>
        </p:nvCxnSpPr>
        <p:spPr>
          <a:xfrm flipH="1">
            <a:off x="1" y="6648320"/>
            <a:ext cx="99567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82082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582A4E56-DEE9-4FB2-89FF-0F12DB08ADCA}"/>
              </a:ext>
            </a:extLst>
          </p:cNvPr>
          <p:cNvSpPr>
            <a:spLocks noGrp="1"/>
          </p:cNvSpPr>
          <p:nvPr>
            <p:ph type="ftr" sz="quarter" idx="10"/>
          </p:nvPr>
        </p:nvSpPr>
        <p:spPr/>
        <p:txBody>
          <a:bodyPr/>
          <a:lstStyle/>
          <a:p>
            <a:r>
              <a:rPr lang="en-US" dirty="0">
                <a:solidFill>
                  <a:prstClr val="black">
                    <a:tint val="75000"/>
                  </a:prstClr>
                </a:solidFill>
              </a:rPr>
              <a:t>Add a footer</a:t>
            </a:r>
          </a:p>
        </p:txBody>
      </p:sp>
      <p:sp>
        <p:nvSpPr>
          <p:cNvPr id="6" name="Slide Number Placeholder 5">
            <a:extLst>
              <a:ext uri="{FF2B5EF4-FFF2-40B4-BE49-F238E27FC236}">
                <a16:creationId xmlns:a16="http://schemas.microsoft.com/office/drawing/2014/main" id="{CA8525B7-4C8D-4482-98E3-A68789AAB0CF}"/>
              </a:ext>
            </a:extLst>
          </p:cNvPr>
          <p:cNvSpPr>
            <a:spLocks noGrp="1"/>
          </p:cNvSpPr>
          <p:nvPr>
            <p:ph type="sldNum" sz="quarter" idx="11"/>
          </p:nvPr>
        </p:nvSpPr>
        <p:spPr/>
        <p:txBody>
          <a:bodyPr/>
          <a:lstStyle/>
          <a:p>
            <a:fld id="{4B73C415-D670-4716-A5EC-CC4D52CA2BAC}" type="slidenum">
              <a:rPr lang="en-US" smtClean="0">
                <a:solidFill>
                  <a:prstClr val="black">
                    <a:tint val="75000"/>
                  </a:prstClr>
                </a:solidFill>
              </a:rPr>
              <a:pPr/>
              <a:t>‹#›</a:t>
            </a:fld>
            <a:endParaRPr lang="en-US" dirty="0">
              <a:solidFill>
                <a:prstClr val="black">
                  <a:tint val="75000"/>
                </a:prstClr>
              </a:solidFill>
            </a:endParaRPr>
          </a:p>
        </p:txBody>
      </p:sp>
      <p:sp>
        <p:nvSpPr>
          <p:cNvPr id="4" name="Rectangle 3">
            <a:extLst>
              <a:ext uri="{FF2B5EF4-FFF2-40B4-BE49-F238E27FC236}">
                <a16:creationId xmlns:a16="http://schemas.microsoft.com/office/drawing/2014/main" id="{1DA6DA1E-DD61-4C8A-8E92-4F29339B06CE}"/>
              </a:ext>
            </a:extLst>
          </p:cNvPr>
          <p:cNvSpPr/>
          <p:nvPr userDrawn="1"/>
        </p:nvSpPr>
        <p:spPr>
          <a:xfrm>
            <a:off x="0" y="585218"/>
            <a:ext cx="12192000" cy="192677"/>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defTabSz="609660"/>
            <a:endParaRPr lang="id-ID" sz="1800">
              <a:solidFill>
                <a:prstClr val="white"/>
              </a:solidFill>
            </a:endParaRPr>
          </a:p>
        </p:txBody>
      </p:sp>
      <p:sp>
        <p:nvSpPr>
          <p:cNvPr id="7" name="Title 1">
            <a:extLst>
              <a:ext uri="{FF2B5EF4-FFF2-40B4-BE49-F238E27FC236}">
                <a16:creationId xmlns:a16="http://schemas.microsoft.com/office/drawing/2014/main" id="{48B0C556-DA46-44FB-B365-D6AC492BA247}"/>
              </a:ext>
            </a:extLst>
          </p:cNvPr>
          <p:cNvSpPr>
            <a:spLocks noGrp="1"/>
          </p:cNvSpPr>
          <p:nvPr>
            <p:ph type="title"/>
          </p:nvPr>
        </p:nvSpPr>
        <p:spPr>
          <a:xfrm>
            <a:off x="0" y="342958"/>
            <a:ext cx="4781320" cy="702173"/>
          </a:xfrm>
          <a:solidFill>
            <a:schemeClr val="bg1"/>
          </a:solidFill>
        </p:spPr>
        <p:txBody>
          <a:bodyPr lIns="457177" anchor="ctr"/>
          <a:lstStyle/>
          <a:p>
            <a:endParaRPr lang="en-US" dirty="0">
              <a:solidFill>
                <a:schemeClr val="bg2">
                  <a:lumMod val="75000"/>
                </a:schemeClr>
              </a:solidFill>
            </a:endParaRPr>
          </a:p>
        </p:txBody>
      </p:sp>
    </p:spTree>
    <p:extLst>
      <p:ext uri="{BB962C8B-B14F-4D97-AF65-F5344CB8AC3E}">
        <p14:creationId xmlns:p14="http://schemas.microsoft.com/office/powerpoint/2010/main" val="270625092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d-ID"/>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d-ID"/>
          </a:p>
        </p:txBody>
      </p:sp>
      <p:sp>
        <p:nvSpPr>
          <p:cNvPr id="4" name="Date Placeholder 3"/>
          <p:cNvSpPr>
            <a:spLocks noGrp="1"/>
          </p:cNvSpPr>
          <p:nvPr>
            <p:ph type="dt" sz="half" idx="10"/>
          </p:nvPr>
        </p:nvSpPr>
        <p:spPr/>
        <p:txBody>
          <a:bodyPr/>
          <a:lstStyle/>
          <a:p>
            <a:fld id="{254EAF8A-8E24-4573-AE52-517AF92AEB79}" type="datetimeFigureOut">
              <a:rPr lang="id-ID" smtClean="0"/>
              <a:t>12/12/2023</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C580289-987A-4698-B2AB-644BC4CD6BF0}" type="slidenum">
              <a:rPr lang="id-ID" smtClean="0"/>
              <a:t>‹#›</a:t>
            </a:fld>
            <a:endParaRPr lang="id-ID"/>
          </a:p>
        </p:txBody>
      </p:sp>
    </p:spTree>
    <p:extLst>
      <p:ext uri="{BB962C8B-B14F-4D97-AF65-F5344CB8AC3E}">
        <p14:creationId xmlns:p14="http://schemas.microsoft.com/office/powerpoint/2010/main" val="41419541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254EAF8A-8E24-4573-AE52-517AF92AEB79}" type="datetimeFigureOut">
              <a:rPr lang="id-ID" smtClean="0"/>
              <a:t>12/12/2023</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C580289-987A-4698-B2AB-644BC4CD6BF0}" type="slidenum">
              <a:rPr lang="id-ID" smtClean="0"/>
              <a:t>‹#›</a:t>
            </a:fld>
            <a:endParaRPr lang="id-ID"/>
          </a:p>
        </p:txBody>
      </p:sp>
    </p:spTree>
    <p:extLst>
      <p:ext uri="{BB962C8B-B14F-4D97-AF65-F5344CB8AC3E}">
        <p14:creationId xmlns:p14="http://schemas.microsoft.com/office/powerpoint/2010/main" val="176675055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id-ID"/>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54EAF8A-8E24-4573-AE52-517AF92AEB79}" type="datetimeFigureOut">
              <a:rPr lang="id-ID" smtClean="0"/>
              <a:t>12/12/2023</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C580289-987A-4698-B2AB-644BC4CD6BF0}" type="slidenum">
              <a:rPr lang="id-ID" smtClean="0"/>
              <a:t>‹#›</a:t>
            </a:fld>
            <a:endParaRPr lang="id-ID"/>
          </a:p>
        </p:txBody>
      </p:sp>
    </p:spTree>
    <p:extLst>
      <p:ext uri="{BB962C8B-B14F-4D97-AF65-F5344CB8AC3E}">
        <p14:creationId xmlns:p14="http://schemas.microsoft.com/office/powerpoint/2010/main" val="314163611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Date Placeholder 4"/>
          <p:cNvSpPr>
            <a:spLocks noGrp="1"/>
          </p:cNvSpPr>
          <p:nvPr>
            <p:ph type="dt" sz="half" idx="10"/>
          </p:nvPr>
        </p:nvSpPr>
        <p:spPr/>
        <p:txBody>
          <a:bodyPr/>
          <a:lstStyle/>
          <a:p>
            <a:fld id="{254EAF8A-8E24-4573-AE52-517AF92AEB79}" type="datetimeFigureOut">
              <a:rPr lang="id-ID" smtClean="0"/>
              <a:t>12/12/2023</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3C580289-987A-4698-B2AB-644BC4CD6BF0}" type="slidenum">
              <a:rPr lang="id-ID" smtClean="0"/>
              <a:t>‹#›</a:t>
            </a:fld>
            <a:endParaRPr lang="id-ID"/>
          </a:p>
        </p:txBody>
      </p:sp>
    </p:spTree>
    <p:extLst>
      <p:ext uri="{BB962C8B-B14F-4D97-AF65-F5344CB8AC3E}">
        <p14:creationId xmlns:p14="http://schemas.microsoft.com/office/powerpoint/2010/main" val="30434647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id-ID"/>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7" name="Date Placeholder 6"/>
          <p:cNvSpPr>
            <a:spLocks noGrp="1"/>
          </p:cNvSpPr>
          <p:nvPr>
            <p:ph type="dt" sz="half" idx="10"/>
          </p:nvPr>
        </p:nvSpPr>
        <p:spPr/>
        <p:txBody>
          <a:bodyPr/>
          <a:lstStyle/>
          <a:p>
            <a:fld id="{254EAF8A-8E24-4573-AE52-517AF92AEB79}" type="datetimeFigureOut">
              <a:rPr lang="id-ID" smtClean="0"/>
              <a:t>12/12/2023</a:t>
            </a:fld>
            <a:endParaRPr lang="id-ID"/>
          </a:p>
        </p:txBody>
      </p:sp>
      <p:sp>
        <p:nvSpPr>
          <p:cNvPr id="8" name="Footer Placeholder 7"/>
          <p:cNvSpPr>
            <a:spLocks noGrp="1"/>
          </p:cNvSpPr>
          <p:nvPr>
            <p:ph type="ftr" sz="quarter" idx="11"/>
          </p:nvPr>
        </p:nvSpPr>
        <p:spPr/>
        <p:txBody>
          <a:bodyPr/>
          <a:lstStyle/>
          <a:p>
            <a:endParaRPr lang="id-ID"/>
          </a:p>
        </p:txBody>
      </p:sp>
      <p:sp>
        <p:nvSpPr>
          <p:cNvPr id="9" name="Slide Number Placeholder 8"/>
          <p:cNvSpPr>
            <a:spLocks noGrp="1"/>
          </p:cNvSpPr>
          <p:nvPr>
            <p:ph type="sldNum" sz="quarter" idx="12"/>
          </p:nvPr>
        </p:nvSpPr>
        <p:spPr/>
        <p:txBody>
          <a:bodyPr/>
          <a:lstStyle/>
          <a:p>
            <a:fld id="{3C580289-987A-4698-B2AB-644BC4CD6BF0}" type="slidenum">
              <a:rPr lang="id-ID" smtClean="0"/>
              <a:t>‹#›</a:t>
            </a:fld>
            <a:endParaRPr lang="id-ID"/>
          </a:p>
        </p:txBody>
      </p:sp>
    </p:spTree>
    <p:extLst>
      <p:ext uri="{BB962C8B-B14F-4D97-AF65-F5344CB8AC3E}">
        <p14:creationId xmlns:p14="http://schemas.microsoft.com/office/powerpoint/2010/main" val="3897750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69889-C6D0-8490-651C-68F40998C1A8}"/>
              </a:ext>
            </a:extLst>
          </p:cNvPr>
          <p:cNvSpPr>
            <a:spLocks noGrp="1"/>
          </p:cNvSpPr>
          <p:nvPr>
            <p:ph type="title"/>
          </p:nvPr>
        </p:nvSpPr>
        <p:spPr>
          <a:xfrm>
            <a:off x="838200" y="365125"/>
            <a:ext cx="10515600" cy="791271"/>
          </a:xfrm>
        </p:spPr>
        <p:txBody>
          <a:bodyPr>
            <a:normAutofit/>
          </a:bodyPr>
          <a:lstStyle>
            <a:lvl1pPr>
              <a:defRPr sz="3600"/>
            </a:lvl1pPr>
          </a:lstStyle>
          <a:p>
            <a:r>
              <a:rPr lang="en-US" dirty="0"/>
              <a:t>Click to edit Master title style</a:t>
            </a:r>
            <a:endParaRPr lang="en-ID" dirty="0"/>
          </a:p>
        </p:txBody>
      </p:sp>
      <p:sp>
        <p:nvSpPr>
          <p:cNvPr id="3" name="Date Placeholder 2">
            <a:extLst>
              <a:ext uri="{FF2B5EF4-FFF2-40B4-BE49-F238E27FC236}">
                <a16:creationId xmlns:a16="http://schemas.microsoft.com/office/drawing/2014/main" id="{22D0FFD8-3ABA-352D-5A69-6DF4CEB7D75E}"/>
              </a:ext>
            </a:extLst>
          </p:cNvPr>
          <p:cNvSpPr>
            <a:spLocks noGrp="1"/>
          </p:cNvSpPr>
          <p:nvPr>
            <p:ph type="dt" sz="half" idx="10"/>
          </p:nvPr>
        </p:nvSpPr>
        <p:spPr/>
        <p:txBody>
          <a:bodyPr/>
          <a:lstStyle/>
          <a:p>
            <a:fld id="{62FB3A63-0457-4056-959C-681C51DC124A}" type="datetimeFigureOut">
              <a:rPr lang="en-ID" smtClean="0"/>
              <a:t>12/12/2023</a:t>
            </a:fld>
            <a:endParaRPr lang="en-ID"/>
          </a:p>
        </p:txBody>
      </p:sp>
      <p:sp>
        <p:nvSpPr>
          <p:cNvPr id="4" name="Footer Placeholder 3">
            <a:extLst>
              <a:ext uri="{FF2B5EF4-FFF2-40B4-BE49-F238E27FC236}">
                <a16:creationId xmlns:a16="http://schemas.microsoft.com/office/drawing/2014/main" id="{1C5F91D1-1499-AB10-F85E-A4798AB6A868}"/>
              </a:ext>
            </a:extLst>
          </p:cNvPr>
          <p:cNvSpPr>
            <a:spLocks noGrp="1"/>
          </p:cNvSpPr>
          <p:nvPr>
            <p:ph type="ftr" sz="quarter" idx="11"/>
          </p:nvPr>
        </p:nvSpPr>
        <p:spPr/>
        <p:txBody>
          <a:bodyPr/>
          <a:lstStyle/>
          <a:p>
            <a:endParaRPr lang="en-ID"/>
          </a:p>
        </p:txBody>
      </p:sp>
      <p:sp>
        <p:nvSpPr>
          <p:cNvPr id="6" name="Freeform: Shape 5">
            <a:extLst>
              <a:ext uri="{FF2B5EF4-FFF2-40B4-BE49-F238E27FC236}">
                <a16:creationId xmlns:a16="http://schemas.microsoft.com/office/drawing/2014/main" id="{32944940-2234-1E3C-5666-77715E36C791}"/>
              </a:ext>
            </a:extLst>
          </p:cNvPr>
          <p:cNvSpPr/>
          <p:nvPr userDrawn="1"/>
        </p:nvSpPr>
        <p:spPr>
          <a:xfrm rot="13500000">
            <a:off x="11734033" y="5188803"/>
            <a:ext cx="711403" cy="1000653"/>
          </a:xfrm>
          <a:custGeom>
            <a:avLst/>
            <a:gdLst>
              <a:gd name="connsiteX0" fmla="*/ 711402 w 711403"/>
              <a:gd name="connsiteY0" fmla="*/ 1000653 h 1000653"/>
              <a:gd name="connsiteX1" fmla="*/ 0 w 711403"/>
              <a:gd name="connsiteY1" fmla="*/ 289250 h 1000653"/>
              <a:gd name="connsiteX2" fmla="*/ 243 w 711403"/>
              <a:gd name="connsiteY2" fmla="*/ 286832 h 1000653"/>
              <a:gd name="connsiteX3" fmla="*/ 352174 w 711403"/>
              <a:gd name="connsiteY3" fmla="*/ 0 h 1000653"/>
              <a:gd name="connsiteX4" fmla="*/ 711403 w 711403"/>
              <a:gd name="connsiteY4" fmla="*/ 359229 h 1000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403" h="1000653">
                <a:moveTo>
                  <a:pt x="711402" y="1000653"/>
                </a:moveTo>
                <a:lnTo>
                  <a:pt x="0" y="289250"/>
                </a:lnTo>
                <a:lnTo>
                  <a:pt x="243" y="286832"/>
                </a:lnTo>
                <a:cubicBezTo>
                  <a:pt x="33740" y="123137"/>
                  <a:pt x="178576" y="0"/>
                  <a:pt x="352174" y="0"/>
                </a:cubicBezTo>
                <a:cubicBezTo>
                  <a:pt x="550571" y="0"/>
                  <a:pt x="711403" y="160832"/>
                  <a:pt x="711403" y="359229"/>
                </a:cubicBezTo>
                <a:close/>
              </a:path>
            </a:pathLst>
          </a:custGeom>
          <a:gradFill>
            <a:gsLst>
              <a:gs pos="0">
                <a:srgbClr val="EC5A52"/>
              </a:gs>
              <a:gs pos="87000">
                <a:srgbClr val="53429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p>
        </p:txBody>
      </p:sp>
      <p:sp>
        <p:nvSpPr>
          <p:cNvPr id="7" name="Oval 6">
            <a:extLst>
              <a:ext uri="{FF2B5EF4-FFF2-40B4-BE49-F238E27FC236}">
                <a16:creationId xmlns:a16="http://schemas.microsoft.com/office/drawing/2014/main" id="{3AF74695-E691-5E54-397E-A0A751DDBE7A}"/>
              </a:ext>
            </a:extLst>
          </p:cNvPr>
          <p:cNvSpPr/>
          <p:nvPr userDrawn="1"/>
        </p:nvSpPr>
        <p:spPr>
          <a:xfrm>
            <a:off x="10974493" y="5926801"/>
            <a:ext cx="791270" cy="791270"/>
          </a:xfrm>
          <a:prstGeom prst="ellipse">
            <a:avLst/>
          </a:prstGeom>
          <a:gradFill>
            <a:gsLst>
              <a:gs pos="23000">
                <a:srgbClr val="EC5A52"/>
              </a:gs>
              <a:gs pos="87000">
                <a:srgbClr val="53429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5" name="Slide Number Placeholder 4">
            <a:extLst>
              <a:ext uri="{FF2B5EF4-FFF2-40B4-BE49-F238E27FC236}">
                <a16:creationId xmlns:a16="http://schemas.microsoft.com/office/drawing/2014/main" id="{7AB47294-9F69-B384-562E-6B6D3DBB43E7}"/>
              </a:ext>
            </a:extLst>
          </p:cNvPr>
          <p:cNvSpPr>
            <a:spLocks noGrp="1"/>
          </p:cNvSpPr>
          <p:nvPr>
            <p:ph type="sldNum" sz="quarter" idx="12"/>
          </p:nvPr>
        </p:nvSpPr>
        <p:spPr>
          <a:xfrm>
            <a:off x="11115160" y="6139874"/>
            <a:ext cx="509937" cy="365125"/>
          </a:xfrm>
        </p:spPr>
        <p:txBody>
          <a:bodyPr/>
          <a:lstStyle>
            <a:lvl1pPr algn="ctr">
              <a:defRPr>
                <a:solidFill>
                  <a:schemeClr val="bg1"/>
                </a:solidFill>
              </a:defRPr>
            </a:lvl1pPr>
          </a:lstStyle>
          <a:p>
            <a:fld id="{BC5A0E4C-AEED-4EAC-B96D-5DCBA748C5AA}" type="slidenum">
              <a:rPr lang="en-ID" smtClean="0"/>
              <a:pPr/>
              <a:t>‹#›</a:t>
            </a:fld>
            <a:endParaRPr lang="en-ID" dirty="0"/>
          </a:p>
        </p:txBody>
      </p:sp>
    </p:spTree>
    <p:extLst>
      <p:ext uri="{BB962C8B-B14F-4D97-AF65-F5344CB8AC3E}">
        <p14:creationId xmlns:p14="http://schemas.microsoft.com/office/powerpoint/2010/main" val="263277569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Date Placeholder 2"/>
          <p:cNvSpPr>
            <a:spLocks noGrp="1"/>
          </p:cNvSpPr>
          <p:nvPr>
            <p:ph type="dt" sz="half" idx="10"/>
          </p:nvPr>
        </p:nvSpPr>
        <p:spPr/>
        <p:txBody>
          <a:bodyPr/>
          <a:lstStyle/>
          <a:p>
            <a:fld id="{254EAF8A-8E24-4573-AE52-517AF92AEB79}" type="datetimeFigureOut">
              <a:rPr lang="id-ID" smtClean="0"/>
              <a:t>12/12/2023</a:t>
            </a:fld>
            <a:endParaRPr lang="id-ID"/>
          </a:p>
        </p:txBody>
      </p:sp>
      <p:sp>
        <p:nvSpPr>
          <p:cNvPr id="4" name="Footer Placeholder 3"/>
          <p:cNvSpPr>
            <a:spLocks noGrp="1"/>
          </p:cNvSpPr>
          <p:nvPr>
            <p:ph type="ftr" sz="quarter" idx="11"/>
          </p:nvPr>
        </p:nvSpPr>
        <p:spPr/>
        <p:txBody>
          <a:bodyPr/>
          <a:lstStyle/>
          <a:p>
            <a:endParaRPr lang="id-ID"/>
          </a:p>
        </p:txBody>
      </p:sp>
      <p:sp>
        <p:nvSpPr>
          <p:cNvPr id="5" name="Slide Number Placeholder 4"/>
          <p:cNvSpPr>
            <a:spLocks noGrp="1"/>
          </p:cNvSpPr>
          <p:nvPr>
            <p:ph type="sldNum" sz="quarter" idx="12"/>
          </p:nvPr>
        </p:nvSpPr>
        <p:spPr/>
        <p:txBody>
          <a:bodyPr/>
          <a:lstStyle/>
          <a:p>
            <a:fld id="{3C580289-987A-4698-B2AB-644BC4CD6BF0}" type="slidenum">
              <a:rPr lang="id-ID" smtClean="0"/>
              <a:t>‹#›</a:t>
            </a:fld>
            <a:endParaRPr lang="id-ID"/>
          </a:p>
        </p:txBody>
      </p:sp>
    </p:spTree>
    <p:extLst>
      <p:ext uri="{BB962C8B-B14F-4D97-AF65-F5344CB8AC3E}">
        <p14:creationId xmlns:p14="http://schemas.microsoft.com/office/powerpoint/2010/main" val="241121024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54EAF8A-8E24-4573-AE52-517AF92AEB79}" type="datetimeFigureOut">
              <a:rPr lang="id-ID" smtClean="0"/>
              <a:t>12/12/2023</a:t>
            </a:fld>
            <a:endParaRPr lang="id-ID"/>
          </a:p>
        </p:txBody>
      </p:sp>
      <p:sp>
        <p:nvSpPr>
          <p:cNvPr id="3" name="Footer Placeholder 2"/>
          <p:cNvSpPr>
            <a:spLocks noGrp="1"/>
          </p:cNvSpPr>
          <p:nvPr>
            <p:ph type="ftr" sz="quarter" idx="11"/>
          </p:nvPr>
        </p:nvSpPr>
        <p:spPr/>
        <p:txBody>
          <a:bodyPr/>
          <a:lstStyle/>
          <a:p>
            <a:endParaRPr lang="id-ID"/>
          </a:p>
        </p:txBody>
      </p:sp>
      <p:sp>
        <p:nvSpPr>
          <p:cNvPr id="4" name="Slide Number Placeholder 3"/>
          <p:cNvSpPr>
            <a:spLocks noGrp="1"/>
          </p:cNvSpPr>
          <p:nvPr>
            <p:ph type="sldNum" sz="quarter" idx="12"/>
          </p:nvPr>
        </p:nvSpPr>
        <p:spPr/>
        <p:txBody>
          <a:bodyPr/>
          <a:lstStyle/>
          <a:p>
            <a:fld id="{3C580289-987A-4698-B2AB-644BC4CD6BF0}" type="slidenum">
              <a:rPr lang="id-ID" smtClean="0"/>
              <a:t>‹#›</a:t>
            </a:fld>
            <a:endParaRPr lang="id-ID"/>
          </a:p>
        </p:txBody>
      </p:sp>
    </p:spTree>
    <p:extLst>
      <p:ext uri="{BB962C8B-B14F-4D97-AF65-F5344CB8AC3E}">
        <p14:creationId xmlns:p14="http://schemas.microsoft.com/office/powerpoint/2010/main" val="27796171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d-ID"/>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54EAF8A-8E24-4573-AE52-517AF92AEB79}" type="datetimeFigureOut">
              <a:rPr lang="id-ID" smtClean="0"/>
              <a:t>12/12/2023</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3C580289-987A-4698-B2AB-644BC4CD6BF0}" type="slidenum">
              <a:rPr lang="id-ID" smtClean="0"/>
              <a:t>‹#›</a:t>
            </a:fld>
            <a:endParaRPr lang="id-ID"/>
          </a:p>
        </p:txBody>
      </p:sp>
    </p:spTree>
    <p:extLst>
      <p:ext uri="{BB962C8B-B14F-4D97-AF65-F5344CB8AC3E}">
        <p14:creationId xmlns:p14="http://schemas.microsoft.com/office/powerpoint/2010/main" val="33873170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d-ID"/>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id-ID"/>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54EAF8A-8E24-4573-AE52-517AF92AEB79}" type="datetimeFigureOut">
              <a:rPr lang="id-ID" smtClean="0"/>
              <a:t>12/12/2023</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3C580289-987A-4698-B2AB-644BC4CD6BF0}" type="slidenum">
              <a:rPr lang="id-ID" smtClean="0"/>
              <a:t>‹#›</a:t>
            </a:fld>
            <a:endParaRPr lang="id-ID"/>
          </a:p>
        </p:txBody>
      </p:sp>
    </p:spTree>
    <p:extLst>
      <p:ext uri="{BB962C8B-B14F-4D97-AF65-F5344CB8AC3E}">
        <p14:creationId xmlns:p14="http://schemas.microsoft.com/office/powerpoint/2010/main" val="21308192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254EAF8A-8E24-4573-AE52-517AF92AEB79}" type="datetimeFigureOut">
              <a:rPr lang="id-ID" smtClean="0"/>
              <a:t>12/12/2023</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C580289-987A-4698-B2AB-644BC4CD6BF0}" type="slidenum">
              <a:rPr lang="id-ID" smtClean="0"/>
              <a:t>‹#›</a:t>
            </a:fld>
            <a:endParaRPr lang="id-ID"/>
          </a:p>
        </p:txBody>
      </p:sp>
    </p:spTree>
    <p:extLst>
      <p:ext uri="{BB962C8B-B14F-4D97-AF65-F5344CB8AC3E}">
        <p14:creationId xmlns:p14="http://schemas.microsoft.com/office/powerpoint/2010/main" val="125302998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id-ID"/>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254EAF8A-8E24-4573-AE52-517AF92AEB79}" type="datetimeFigureOut">
              <a:rPr lang="id-ID" smtClean="0"/>
              <a:t>12/12/2023</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C580289-987A-4698-B2AB-644BC4CD6BF0}" type="slidenum">
              <a:rPr lang="id-ID" smtClean="0"/>
              <a:t>‹#›</a:t>
            </a:fld>
            <a:endParaRPr lang="id-ID"/>
          </a:p>
        </p:txBody>
      </p:sp>
    </p:spTree>
    <p:extLst>
      <p:ext uri="{BB962C8B-B14F-4D97-AF65-F5344CB8AC3E}">
        <p14:creationId xmlns:p14="http://schemas.microsoft.com/office/powerpoint/2010/main" val="42151617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Content with Cap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090999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Icons and Content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21790C1-778D-449B-9C8D-C9FC1B327D01}"/>
              </a:ext>
            </a:extLst>
          </p:cNvPr>
          <p:cNvSpPr>
            <a:spLocks noGrp="1"/>
          </p:cNvSpPr>
          <p:nvPr>
            <p:ph type="dt" sz="half" idx="10"/>
          </p:nvPr>
        </p:nvSpPr>
        <p:spPr/>
        <p:txBody>
          <a:bodyPr/>
          <a:lstStyle/>
          <a:p>
            <a:r>
              <a:rPr lang="en-US" noProof="0" dirty="0"/>
              <a:t>MM.DD.20XX</a:t>
            </a:r>
          </a:p>
        </p:txBody>
      </p:sp>
      <p:sp>
        <p:nvSpPr>
          <p:cNvPr id="4" name="Footer Placeholder 3">
            <a:extLst>
              <a:ext uri="{FF2B5EF4-FFF2-40B4-BE49-F238E27FC236}">
                <a16:creationId xmlns:a16="http://schemas.microsoft.com/office/drawing/2014/main" id="{FFFF8FD5-F70C-4F63-B90E-47DD23FC01C3}"/>
              </a:ext>
            </a:extLst>
          </p:cNvPr>
          <p:cNvSpPr>
            <a:spLocks noGrp="1"/>
          </p:cNvSpPr>
          <p:nvPr>
            <p:ph type="ftr" sz="quarter" idx="11"/>
          </p:nvPr>
        </p:nvSpPr>
        <p:spPr/>
        <p:txBody>
          <a:bodyPr/>
          <a:lstStyle/>
          <a:p>
            <a:r>
              <a:rPr lang="en-US" noProof="0" dirty="0"/>
              <a:t>ADD A FOOTER</a:t>
            </a:r>
          </a:p>
        </p:txBody>
      </p:sp>
      <p:sp>
        <p:nvSpPr>
          <p:cNvPr id="5" name="Slide Number Placeholder 4">
            <a:extLst>
              <a:ext uri="{FF2B5EF4-FFF2-40B4-BE49-F238E27FC236}">
                <a16:creationId xmlns:a16="http://schemas.microsoft.com/office/drawing/2014/main" id="{B0E5E539-C700-4989-957A-EA3BAAC4B6C9}"/>
              </a:ext>
            </a:extLst>
          </p:cNvPr>
          <p:cNvSpPr>
            <a:spLocks noGrp="1"/>
          </p:cNvSpPr>
          <p:nvPr>
            <p:ph type="sldNum" sz="quarter" idx="12"/>
          </p:nvPr>
        </p:nvSpPr>
        <p:spPr/>
        <p:txBody>
          <a:bodyPr/>
          <a:lstStyle>
            <a:lvl1pPr>
              <a:defRPr>
                <a:solidFill>
                  <a:srgbClr val="1D2F58"/>
                </a:solidFill>
                <a:latin typeface="+mj-lt"/>
              </a:defRPr>
            </a:lvl1pPr>
          </a:lstStyle>
          <a:p>
            <a:fld id="{D9BB3731-526F-4638-85F8-715D717FFC12}" type="slidenum">
              <a:rPr lang="en-US" smtClean="0"/>
              <a:pPr/>
              <a:t>‹#›</a:t>
            </a:fld>
            <a:endParaRPr lang="en-US" dirty="0"/>
          </a:p>
        </p:txBody>
      </p:sp>
      <p:sp>
        <p:nvSpPr>
          <p:cNvPr id="6" name="Rectangle 5">
            <a:extLst>
              <a:ext uri="{FF2B5EF4-FFF2-40B4-BE49-F238E27FC236}">
                <a16:creationId xmlns:a16="http://schemas.microsoft.com/office/drawing/2014/main" id="{D69B2652-8511-4839-BEE4-52E3C2B884D9}"/>
              </a:ext>
            </a:extLst>
          </p:cNvPr>
          <p:cNvSpPr/>
          <p:nvPr userDrawn="1"/>
        </p:nvSpPr>
        <p:spPr>
          <a:xfrm>
            <a:off x="11352213" y="6246908"/>
            <a:ext cx="839787" cy="201168"/>
          </a:xfrm>
          <a:prstGeom prst="rect">
            <a:avLst/>
          </a:prstGeom>
          <a:solidFill>
            <a:srgbClr val="F8B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 name="Text Placeholder 2">
            <a:extLst>
              <a:ext uri="{FF2B5EF4-FFF2-40B4-BE49-F238E27FC236}">
                <a16:creationId xmlns:a16="http://schemas.microsoft.com/office/drawing/2014/main" id="{F947FF51-80C5-433A-A515-4334E29588D0}"/>
              </a:ext>
            </a:extLst>
          </p:cNvPr>
          <p:cNvSpPr>
            <a:spLocks noGrp="1"/>
          </p:cNvSpPr>
          <p:nvPr>
            <p:ph type="body" idx="1"/>
          </p:nvPr>
        </p:nvSpPr>
        <p:spPr>
          <a:xfrm>
            <a:off x="862261" y="3721639"/>
            <a:ext cx="4405067" cy="539496"/>
          </a:xfrm>
        </p:spPr>
        <p:txBody>
          <a:bodyPr lIns="0" tIns="0" rIns="0" bIns="0" anchor="b">
            <a:normAutofit/>
          </a:bodyPr>
          <a:lstStyle>
            <a:lvl1pPr marL="0" indent="0">
              <a:buNone/>
              <a:defRPr sz="1800" b="1" i="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10" name="Text Placeholder 2">
            <a:extLst>
              <a:ext uri="{FF2B5EF4-FFF2-40B4-BE49-F238E27FC236}">
                <a16:creationId xmlns:a16="http://schemas.microsoft.com/office/drawing/2014/main" id="{1F5FB13D-D6DC-4762-A443-A1E33781FA69}"/>
              </a:ext>
            </a:extLst>
          </p:cNvPr>
          <p:cNvSpPr>
            <a:spLocks noGrp="1"/>
          </p:cNvSpPr>
          <p:nvPr>
            <p:ph type="body" idx="13"/>
          </p:nvPr>
        </p:nvSpPr>
        <p:spPr>
          <a:xfrm>
            <a:off x="6284492" y="1648384"/>
            <a:ext cx="4955429" cy="386922"/>
          </a:xfrm>
        </p:spPr>
        <p:txBody>
          <a:bodyPr lIns="0" tIns="0" rIns="0" bIns="0" anchor="t" anchorCtr="0">
            <a:normAutofit/>
          </a:bodyPr>
          <a:lstStyle>
            <a:lvl1pPr marL="0" indent="0">
              <a:spcBef>
                <a:spcPts val="600"/>
              </a:spcBef>
              <a:buClr>
                <a:schemeClr val="bg2"/>
              </a:buClr>
              <a:buFont typeface="Wingdings" panose="05000000000000000000" pitchFamily="2" charset="2"/>
              <a:buNone/>
              <a:defRPr sz="1400" b="0" i="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11" name="Title 1">
            <a:extLst>
              <a:ext uri="{FF2B5EF4-FFF2-40B4-BE49-F238E27FC236}">
                <a16:creationId xmlns:a16="http://schemas.microsoft.com/office/drawing/2014/main" id="{58EFAFB9-41FD-471B-8C26-B5481B74C36E}"/>
              </a:ext>
            </a:extLst>
          </p:cNvPr>
          <p:cNvSpPr>
            <a:spLocks noGrp="1"/>
          </p:cNvSpPr>
          <p:nvPr>
            <p:ph type="title" hasCustomPrompt="1"/>
          </p:nvPr>
        </p:nvSpPr>
        <p:spPr>
          <a:xfrm>
            <a:off x="838212" y="1985411"/>
            <a:ext cx="4422015" cy="1325563"/>
          </a:xfrm>
        </p:spPr>
        <p:txBody>
          <a:bodyPr lIns="0" tIns="0" rIns="0" bIns="0" anchor="b" anchorCtr="0">
            <a:normAutofit/>
          </a:bodyPr>
          <a:lstStyle>
            <a:lvl1pPr marL="0" algn="l" defTabSz="914400" rtl="0" eaLnBrk="1" latinLnBrk="0" hangingPunct="1">
              <a:lnSpc>
                <a:spcPct val="90000"/>
              </a:lnSpc>
              <a:spcBef>
                <a:spcPct val="0"/>
              </a:spcBef>
              <a:buNone/>
              <a:defRPr lang="ru-RU" sz="3600" b="1" kern="1200" dirty="0">
                <a:solidFill>
                  <a:schemeClr val="tx1"/>
                </a:solidFill>
                <a:latin typeface="+mj-lt"/>
                <a:ea typeface="+mj-ea"/>
                <a:cs typeface="+mj-cs"/>
              </a:defRPr>
            </a:lvl1pPr>
          </a:lstStyle>
          <a:p>
            <a:r>
              <a:rPr lang="en-US" noProof="0"/>
              <a:t>CLICK TO EDIT MASTER TITLE</a:t>
            </a:r>
          </a:p>
        </p:txBody>
      </p:sp>
      <p:sp>
        <p:nvSpPr>
          <p:cNvPr id="12" name="Picture Placeholder 13">
            <a:extLst>
              <a:ext uri="{FF2B5EF4-FFF2-40B4-BE49-F238E27FC236}">
                <a16:creationId xmlns:a16="http://schemas.microsoft.com/office/drawing/2014/main" id="{EE15F6C3-281B-4328-BDB8-4C898228A1B0}"/>
              </a:ext>
            </a:extLst>
          </p:cNvPr>
          <p:cNvSpPr>
            <a:spLocks noGrp="1"/>
          </p:cNvSpPr>
          <p:nvPr>
            <p:ph type="pic" sz="quarter" idx="16"/>
          </p:nvPr>
        </p:nvSpPr>
        <p:spPr>
          <a:xfrm>
            <a:off x="839788" y="774398"/>
            <a:ext cx="2331720" cy="539496"/>
          </a:xfrm>
          <a:ln>
            <a:noFill/>
          </a:ln>
        </p:spPr>
        <p:txBody>
          <a:bodyPr anchor="ctr" anchorCtr="0">
            <a:noAutofit/>
          </a:bodyPr>
          <a:lstStyle>
            <a:lvl1pPr marL="0" indent="0" algn="ctr">
              <a:buNone/>
              <a:defRPr sz="1400">
                <a:solidFill>
                  <a:schemeClr val="tx1"/>
                </a:solidFill>
              </a:defRPr>
            </a:lvl1pPr>
          </a:lstStyle>
          <a:p>
            <a:r>
              <a:rPr lang="en-US" noProof="0"/>
              <a:t>Click icon to add picture</a:t>
            </a:r>
            <a:endParaRPr lang="en-US" noProof="0" dirty="0"/>
          </a:p>
        </p:txBody>
      </p:sp>
      <p:sp>
        <p:nvSpPr>
          <p:cNvPr id="13" name="Picture Placeholder 7">
            <a:extLst>
              <a:ext uri="{FF2B5EF4-FFF2-40B4-BE49-F238E27FC236}">
                <a16:creationId xmlns:a16="http://schemas.microsoft.com/office/drawing/2014/main" id="{BDF13B40-70E6-4C5A-858B-DC39631DE0F6}"/>
              </a:ext>
            </a:extLst>
          </p:cNvPr>
          <p:cNvSpPr>
            <a:spLocks noGrp="1"/>
          </p:cNvSpPr>
          <p:nvPr>
            <p:ph type="pic" sz="quarter" idx="17"/>
          </p:nvPr>
        </p:nvSpPr>
        <p:spPr>
          <a:xfrm>
            <a:off x="5295403" y="1303786"/>
            <a:ext cx="731520" cy="731520"/>
          </a:xfrm>
        </p:spPr>
        <p:txBody>
          <a:bodyPr lIns="0" tIns="0" rIns="0" bIns="0" anchor="ctr" anchorCtr="0">
            <a:noAutofit/>
          </a:bodyPr>
          <a:lstStyle>
            <a:lvl1pPr marL="0" indent="0" algn="ctr">
              <a:buNone/>
              <a:defRPr sz="400"/>
            </a:lvl1pPr>
          </a:lstStyle>
          <a:p>
            <a:r>
              <a:rPr lang="en-US" noProof="0"/>
              <a:t>Click icon to add picture</a:t>
            </a:r>
            <a:endParaRPr lang="en-US" noProof="0" dirty="0"/>
          </a:p>
        </p:txBody>
      </p:sp>
      <p:sp>
        <p:nvSpPr>
          <p:cNvPr id="14" name="Picture Placeholder 7">
            <a:extLst>
              <a:ext uri="{FF2B5EF4-FFF2-40B4-BE49-F238E27FC236}">
                <a16:creationId xmlns:a16="http://schemas.microsoft.com/office/drawing/2014/main" id="{0AFA18C9-04D0-44DF-808A-2C34FCE9E7D7}"/>
              </a:ext>
            </a:extLst>
          </p:cNvPr>
          <p:cNvSpPr>
            <a:spLocks noGrp="1"/>
          </p:cNvSpPr>
          <p:nvPr>
            <p:ph type="pic" sz="quarter" idx="18"/>
          </p:nvPr>
        </p:nvSpPr>
        <p:spPr>
          <a:xfrm>
            <a:off x="5295403" y="4838737"/>
            <a:ext cx="731520" cy="731520"/>
          </a:xfrm>
        </p:spPr>
        <p:txBody>
          <a:bodyPr lIns="0" tIns="0" rIns="0" bIns="0" anchor="ctr" anchorCtr="0">
            <a:noAutofit/>
          </a:bodyPr>
          <a:lstStyle>
            <a:lvl1pPr marL="0" indent="0" algn="ctr">
              <a:buNone/>
              <a:defRPr sz="400"/>
            </a:lvl1pPr>
          </a:lstStyle>
          <a:p>
            <a:r>
              <a:rPr lang="en-US" noProof="0"/>
              <a:t>Click icon to add picture</a:t>
            </a:r>
            <a:endParaRPr lang="en-US" noProof="0" dirty="0"/>
          </a:p>
        </p:txBody>
      </p:sp>
      <p:sp>
        <p:nvSpPr>
          <p:cNvPr id="15" name="Picture Placeholder 7">
            <a:extLst>
              <a:ext uri="{FF2B5EF4-FFF2-40B4-BE49-F238E27FC236}">
                <a16:creationId xmlns:a16="http://schemas.microsoft.com/office/drawing/2014/main" id="{6588C383-1FFC-421F-B64D-C20A8FF1D912}"/>
              </a:ext>
            </a:extLst>
          </p:cNvPr>
          <p:cNvSpPr>
            <a:spLocks noGrp="1"/>
          </p:cNvSpPr>
          <p:nvPr>
            <p:ph type="pic" sz="quarter" idx="19"/>
          </p:nvPr>
        </p:nvSpPr>
        <p:spPr>
          <a:xfrm>
            <a:off x="5295403" y="3660420"/>
            <a:ext cx="731520" cy="731520"/>
          </a:xfrm>
        </p:spPr>
        <p:txBody>
          <a:bodyPr lIns="0" tIns="0" rIns="0" bIns="0" anchor="ctr" anchorCtr="0">
            <a:noAutofit/>
          </a:bodyPr>
          <a:lstStyle>
            <a:lvl1pPr marL="0" indent="0" algn="ctr">
              <a:buNone/>
              <a:defRPr sz="400"/>
            </a:lvl1pPr>
          </a:lstStyle>
          <a:p>
            <a:r>
              <a:rPr lang="en-US" noProof="0"/>
              <a:t>Click icon to add picture</a:t>
            </a:r>
            <a:endParaRPr lang="en-US" noProof="0" dirty="0"/>
          </a:p>
        </p:txBody>
      </p:sp>
      <p:sp>
        <p:nvSpPr>
          <p:cNvPr id="16" name="Picture Placeholder 7">
            <a:extLst>
              <a:ext uri="{FF2B5EF4-FFF2-40B4-BE49-F238E27FC236}">
                <a16:creationId xmlns:a16="http://schemas.microsoft.com/office/drawing/2014/main" id="{41C4D3D8-E6E7-4E66-B661-6F7F594B2B8E}"/>
              </a:ext>
            </a:extLst>
          </p:cNvPr>
          <p:cNvSpPr>
            <a:spLocks noGrp="1"/>
          </p:cNvSpPr>
          <p:nvPr>
            <p:ph type="pic" sz="quarter" idx="20"/>
          </p:nvPr>
        </p:nvSpPr>
        <p:spPr>
          <a:xfrm>
            <a:off x="5295403" y="2482103"/>
            <a:ext cx="731520" cy="731520"/>
          </a:xfrm>
        </p:spPr>
        <p:txBody>
          <a:bodyPr lIns="0" tIns="0" rIns="0" bIns="0" anchor="ctr" anchorCtr="0">
            <a:noAutofit/>
          </a:bodyPr>
          <a:lstStyle>
            <a:lvl1pPr marL="0" indent="0" algn="ctr">
              <a:buNone/>
              <a:defRPr sz="400"/>
            </a:lvl1pPr>
          </a:lstStyle>
          <a:p>
            <a:r>
              <a:rPr lang="en-US" noProof="0"/>
              <a:t>Click icon to add picture</a:t>
            </a:r>
            <a:endParaRPr lang="en-US" noProof="0" dirty="0"/>
          </a:p>
        </p:txBody>
      </p:sp>
      <p:sp>
        <p:nvSpPr>
          <p:cNvPr id="17" name="Text Placeholder 2">
            <a:extLst>
              <a:ext uri="{FF2B5EF4-FFF2-40B4-BE49-F238E27FC236}">
                <a16:creationId xmlns:a16="http://schemas.microsoft.com/office/drawing/2014/main" id="{F0D239C0-D332-4295-B0D2-EE7E153AEF85}"/>
              </a:ext>
            </a:extLst>
          </p:cNvPr>
          <p:cNvSpPr>
            <a:spLocks noGrp="1"/>
          </p:cNvSpPr>
          <p:nvPr>
            <p:ph type="body" idx="21"/>
          </p:nvPr>
        </p:nvSpPr>
        <p:spPr>
          <a:xfrm>
            <a:off x="6284492" y="1026327"/>
            <a:ext cx="4955429" cy="539496"/>
          </a:xfrm>
        </p:spPr>
        <p:txBody>
          <a:bodyPr lIns="0" tIns="0" rIns="0" bIns="0" anchor="b">
            <a:normAutofit/>
          </a:bodyPr>
          <a:lstStyle>
            <a:lvl1pPr marL="0" indent="0">
              <a:buNone/>
              <a:defRPr sz="2000" b="1" i="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18" name="Text Placeholder 2">
            <a:extLst>
              <a:ext uri="{FF2B5EF4-FFF2-40B4-BE49-F238E27FC236}">
                <a16:creationId xmlns:a16="http://schemas.microsoft.com/office/drawing/2014/main" id="{3F24AAA0-C33F-4C49-B5BA-CCA4DF164082}"/>
              </a:ext>
            </a:extLst>
          </p:cNvPr>
          <p:cNvSpPr>
            <a:spLocks noGrp="1"/>
          </p:cNvSpPr>
          <p:nvPr>
            <p:ph type="body" idx="22"/>
          </p:nvPr>
        </p:nvSpPr>
        <p:spPr>
          <a:xfrm>
            <a:off x="6284492" y="5186182"/>
            <a:ext cx="4955429" cy="386922"/>
          </a:xfrm>
        </p:spPr>
        <p:txBody>
          <a:bodyPr lIns="0" tIns="0" rIns="0" bIns="0" anchor="t" anchorCtr="0">
            <a:normAutofit/>
          </a:bodyPr>
          <a:lstStyle>
            <a:lvl1pPr marL="0" indent="0">
              <a:spcBef>
                <a:spcPts val="600"/>
              </a:spcBef>
              <a:buClr>
                <a:schemeClr val="bg2"/>
              </a:buClr>
              <a:buFont typeface="Wingdings" panose="05000000000000000000" pitchFamily="2" charset="2"/>
              <a:buNone/>
              <a:defRPr sz="1400" b="0" i="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19" name="Text Placeholder 2">
            <a:extLst>
              <a:ext uri="{FF2B5EF4-FFF2-40B4-BE49-F238E27FC236}">
                <a16:creationId xmlns:a16="http://schemas.microsoft.com/office/drawing/2014/main" id="{F15EA430-9504-4CC7-90B9-8BAC49418BCE}"/>
              </a:ext>
            </a:extLst>
          </p:cNvPr>
          <p:cNvSpPr>
            <a:spLocks noGrp="1"/>
          </p:cNvSpPr>
          <p:nvPr>
            <p:ph type="body" idx="23"/>
          </p:nvPr>
        </p:nvSpPr>
        <p:spPr>
          <a:xfrm>
            <a:off x="6284492" y="4564125"/>
            <a:ext cx="4955429" cy="539496"/>
          </a:xfrm>
        </p:spPr>
        <p:txBody>
          <a:bodyPr lIns="0" tIns="0" rIns="0" bIns="0" anchor="b">
            <a:normAutofit/>
          </a:bodyPr>
          <a:lstStyle>
            <a:lvl1pPr marL="0" indent="0">
              <a:buNone/>
              <a:defRPr sz="2000" b="1" i="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20" name="Text Placeholder 2">
            <a:extLst>
              <a:ext uri="{FF2B5EF4-FFF2-40B4-BE49-F238E27FC236}">
                <a16:creationId xmlns:a16="http://schemas.microsoft.com/office/drawing/2014/main" id="{2452F643-0A90-42B8-A436-966F84D9136B}"/>
              </a:ext>
            </a:extLst>
          </p:cNvPr>
          <p:cNvSpPr>
            <a:spLocks noGrp="1"/>
          </p:cNvSpPr>
          <p:nvPr>
            <p:ph type="body" idx="24"/>
          </p:nvPr>
        </p:nvSpPr>
        <p:spPr>
          <a:xfrm>
            <a:off x="6284492" y="4006916"/>
            <a:ext cx="4955429" cy="386922"/>
          </a:xfrm>
        </p:spPr>
        <p:txBody>
          <a:bodyPr lIns="0" tIns="0" rIns="0" bIns="0" anchor="t" anchorCtr="0">
            <a:normAutofit/>
          </a:bodyPr>
          <a:lstStyle>
            <a:lvl1pPr marL="0" indent="0">
              <a:spcBef>
                <a:spcPts val="600"/>
              </a:spcBef>
              <a:buClr>
                <a:schemeClr val="bg2"/>
              </a:buClr>
              <a:buFont typeface="Wingdings" panose="05000000000000000000" pitchFamily="2" charset="2"/>
              <a:buNone/>
              <a:defRPr sz="1400" b="0" i="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21" name="Text Placeholder 2">
            <a:extLst>
              <a:ext uri="{FF2B5EF4-FFF2-40B4-BE49-F238E27FC236}">
                <a16:creationId xmlns:a16="http://schemas.microsoft.com/office/drawing/2014/main" id="{08A7C240-D1B7-4005-B9AF-81E3B026A242}"/>
              </a:ext>
            </a:extLst>
          </p:cNvPr>
          <p:cNvSpPr>
            <a:spLocks noGrp="1"/>
          </p:cNvSpPr>
          <p:nvPr>
            <p:ph type="body" idx="25"/>
          </p:nvPr>
        </p:nvSpPr>
        <p:spPr>
          <a:xfrm>
            <a:off x="6284492" y="3384859"/>
            <a:ext cx="4955429" cy="539496"/>
          </a:xfrm>
        </p:spPr>
        <p:txBody>
          <a:bodyPr lIns="0" tIns="0" rIns="0" bIns="0" anchor="b">
            <a:normAutofit/>
          </a:bodyPr>
          <a:lstStyle>
            <a:lvl1pPr marL="0" indent="0">
              <a:buNone/>
              <a:defRPr sz="2000" b="1" i="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22" name="Text Placeholder 2">
            <a:extLst>
              <a:ext uri="{FF2B5EF4-FFF2-40B4-BE49-F238E27FC236}">
                <a16:creationId xmlns:a16="http://schemas.microsoft.com/office/drawing/2014/main" id="{6E6F2B4F-B958-4180-9985-068471C0E34E}"/>
              </a:ext>
            </a:extLst>
          </p:cNvPr>
          <p:cNvSpPr>
            <a:spLocks noGrp="1"/>
          </p:cNvSpPr>
          <p:nvPr>
            <p:ph type="body" idx="26"/>
          </p:nvPr>
        </p:nvSpPr>
        <p:spPr>
          <a:xfrm>
            <a:off x="6284492" y="2827650"/>
            <a:ext cx="4955429" cy="386922"/>
          </a:xfrm>
        </p:spPr>
        <p:txBody>
          <a:bodyPr lIns="0" tIns="0" rIns="0" bIns="0" anchor="t" anchorCtr="0">
            <a:normAutofit/>
          </a:bodyPr>
          <a:lstStyle>
            <a:lvl1pPr marL="0" indent="0">
              <a:spcBef>
                <a:spcPts val="600"/>
              </a:spcBef>
              <a:buClr>
                <a:schemeClr val="bg2"/>
              </a:buClr>
              <a:buFont typeface="Wingdings" panose="05000000000000000000" pitchFamily="2" charset="2"/>
              <a:buNone/>
              <a:defRPr sz="1400" b="0" i="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23" name="Text Placeholder 2">
            <a:extLst>
              <a:ext uri="{FF2B5EF4-FFF2-40B4-BE49-F238E27FC236}">
                <a16:creationId xmlns:a16="http://schemas.microsoft.com/office/drawing/2014/main" id="{09A84110-1CE1-45A4-BFE9-E44A4D9F4FF5}"/>
              </a:ext>
            </a:extLst>
          </p:cNvPr>
          <p:cNvSpPr>
            <a:spLocks noGrp="1"/>
          </p:cNvSpPr>
          <p:nvPr>
            <p:ph type="body" idx="27"/>
          </p:nvPr>
        </p:nvSpPr>
        <p:spPr>
          <a:xfrm>
            <a:off x="6284492" y="2205593"/>
            <a:ext cx="4955429" cy="539496"/>
          </a:xfrm>
        </p:spPr>
        <p:txBody>
          <a:bodyPr lIns="0" tIns="0" rIns="0" bIns="0" anchor="b">
            <a:normAutofit/>
          </a:bodyPr>
          <a:lstStyle>
            <a:lvl1pPr marL="0" indent="0">
              <a:buNone/>
              <a:defRPr sz="2000" b="1" i="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24" name="Rectangle 13" descr="Rectangle shape">
            <a:extLst>
              <a:ext uri="{FF2B5EF4-FFF2-40B4-BE49-F238E27FC236}">
                <a16:creationId xmlns:a16="http://schemas.microsoft.com/office/drawing/2014/main" id="{4553F3B7-CCC3-488E-B551-867E00CF0DB6}"/>
              </a:ext>
            </a:extLst>
          </p:cNvPr>
          <p:cNvSpPr/>
          <p:nvPr userDrawn="1"/>
        </p:nvSpPr>
        <p:spPr>
          <a:xfrm>
            <a:off x="0" y="3442217"/>
            <a:ext cx="3096000" cy="201168"/>
          </a:xfrm>
          <a:prstGeom prst="rect">
            <a:avLst/>
          </a:prstGeom>
          <a:solidFill>
            <a:srgbClr val="F8B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Tree>
    <p:extLst>
      <p:ext uri="{BB962C8B-B14F-4D97-AF65-F5344CB8AC3E}">
        <p14:creationId xmlns:p14="http://schemas.microsoft.com/office/powerpoint/2010/main" val="39985847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ONLY_Orange">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8F41ED91-C9E9-49D8-8C00-D5DE9C4C2B2C}"/>
              </a:ext>
              <a:ext uri="{C183D7F6-B498-43B3-948B-1728B52AA6E4}">
                <adec:decorative xmlns:adec="http://schemas.microsoft.com/office/drawing/2017/decorative" val="1"/>
              </a:ext>
            </a:extLst>
          </p:cNvPr>
          <p:cNvSpPr/>
          <p:nvPr userDrawn="1"/>
        </p:nvSpPr>
        <p:spPr>
          <a:xfrm>
            <a:off x="0" y="170173"/>
            <a:ext cx="12192000" cy="707886"/>
          </a:xfrm>
          <a:custGeom>
            <a:avLst/>
            <a:gdLst>
              <a:gd name="connsiteX0" fmla="*/ 0 w 8329286"/>
              <a:gd name="connsiteY0" fmla="*/ 0 h 457200"/>
              <a:gd name="connsiteX1" fmla="*/ 8329286 w 8329286"/>
              <a:gd name="connsiteY1" fmla="*/ 0 h 457200"/>
              <a:gd name="connsiteX2" fmla="*/ 7982281 w 8329286"/>
              <a:gd name="connsiteY2" fmla="*/ 457200 h 457200"/>
              <a:gd name="connsiteX3" fmla="*/ 0 w 832928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8329286" h="457200">
                <a:moveTo>
                  <a:pt x="0" y="0"/>
                </a:moveTo>
                <a:lnTo>
                  <a:pt x="8329286" y="0"/>
                </a:lnTo>
                <a:lnTo>
                  <a:pt x="7982281" y="457200"/>
                </a:lnTo>
                <a:lnTo>
                  <a:pt x="0" y="457200"/>
                </a:lnTo>
                <a:close/>
              </a:path>
            </a:pathLst>
          </a:custGeom>
          <a:solidFill>
            <a:srgbClr val="1D2F5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Rectangle 10">
            <a:extLst>
              <a:ext uri="{FF2B5EF4-FFF2-40B4-BE49-F238E27FC236}">
                <a16:creationId xmlns:a16="http://schemas.microsoft.com/office/drawing/2014/main" id="{0B42CCEE-B750-4EF9-BAE5-217844AE7456}"/>
              </a:ext>
              <a:ext uri="{C183D7F6-B498-43B3-948B-1728B52AA6E4}">
                <adec:decorative xmlns:adec="http://schemas.microsoft.com/office/drawing/2017/decorative" val="1"/>
              </a:ext>
            </a:extLst>
          </p:cNvPr>
          <p:cNvSpPr/>
          <p:nvPr userDrawn="1"/>
        </p:nvSpPr>
        <p:spPr>
          <a:xfrm>
            <a:off x="0" y="0"/>
            <a:ext cx="12192000" cy="1129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Slide Number Placeholder 5">
            <a:extLst>
              <a:ext uri="{FF2B5EF4-FFF2-40B4-BE49-F238E27FC236}">
                <a16:creationId xmlns:a16="http://schemas.microsoft.com/office/drawing/2014/main" id="{2DBF2FB3-2A18-4DFA-BE67-CBEB450840A4}"/>
              </a:ext>
            </a:extLst>
          </p:cNvPr>
          <p:cNvSpPr>
            <a:spLocks noGrp="1"/>
          </p:cNvSpPr>
          <p:nvPr>
            <p:ph type="sldNum" sz="quarter" idx="4"/>
          </p:nvPr>
        </p:nvSpPr>
        <p:spPr>
          <a:xfrm>
            <a:off x="628788" y="6339840"/>
            <a:ext cx="302281" cy="365760"/>
          </a:xfrm>
          <a:prstGeom prst="rect">
            <a:avLst/>
          </a:prstGeom>
          <a:solidFill>
            <a:schemeClr val="bg1">
              <a:alpha val="82000"/>
            </a:schemeClr>
          </a:solidFill>
          <a:ln>
            <a:solidFill>
              <a:schemeClr val="accent2"/>
            </a:solidFill>
          </a:ln>
        </p:spPr>
        <p:txBody>
          <a:bodyPr vert="horz" lIns="0" tIns="45720" rIns="0" bIns="45720" rtlCol="0" anchor="ctr"/>
          <a:lstStyle>
            <a:lvl1pPr algn="ctr">
              <a:defRPr sz="1000">
                <a:solidFill>
                  <a:schemeClr val="tx1">
                    <a:lumMod val="95000"/>
                    <a:lumOff val="5000"/>
                  </a:schemeClr>
                </a:solidFill>
                <a:latin typeface="+mj-lt"/>
              </a:defRPr>
            </a:lvl1pPr>
          </a:lstStyle>
          <a:p>
            <a:fld id="{4FAB73BC-B049-4115-A692-8D63A059BFB8}" type="slidenum">
              <a:rPr lang="en-US" noProof="0" smtClean="0"/>
              <a:pPr/>
              <a:t>‹#›</a:t>
            </a:fld>
            <a:endParaRPr lang="en-US" noProof="0" dirty="0"/>
          </a:p>
        </p:txBody>
      </p:sp>
      <p:sp>
        <p:nvSpPr>
          <p:cNvPr id="9" name="Freeform: Shape 8">
            <a:extLst>
              <a:ext uri="{FF2B5EF4-FFF2-40B4-BE49-F238E27FC236}">
                <a16:creationId xmlns:a16="http://schemas.microsoft.com/office/drawing/2014/main" id="{0CE973A6-10E7-4E33-AA8B-7240F9197012}"/>
              </a:ext>
              <a:ext uri="{C183D7F6-B498-43B3-948B-1728B52AA6E4}">
                <adec:decorative xmlns:adec="http://schemas.microsoft.com/office/drawing/2017/decorative" val="1"/>
              </a:ext>
            </a:extLst>
          </p:cNvPr>
          <p:cNvSpPr/>
          <p:nvPr userDrawn="1"/>
        </p:nvSpPr>
        <p:spPr>
          <a:xfrm>
            <a:off x="0" y="0"/>
            <a:ext cx="9868620" cy="707886"/>
          </a:xfrm>
          <a:custGeom>
            <a:avLst/>
            <a:gdLst>
              <a:gd name="connsiteX0" fmla="*/ 0 w 8329286"/>
              <a:gd name="connsiteY0" fmla="*/ 0 h 457200"/>
              <a:gd name="connsiteX1" fmla="*/ 8329286 w 8329286"/>
              <a:gd name="connsiteY1" fmla="*/ 0 h 457200"/>
              <a:gd name="connsiteX2" fmla="*/ 7982281 w 8329286"/>
              <a:gd name="connsiteY2" fmla="*/ 457200 h 457200"/>
              <a:gd name="connsiteX3" fmla="*/ 0 w 832928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8329286" h="457200">
                <a:moveTo>
                  <a:pt x="0" y="0"/>
                </a:moveTo>
                <a:lnTo>
                  <a:pt x="8329286" y="0"/>
                </a:lnTo>
                <a:lnTo>
                  <a:pt x="7982281" y="457200"/>
                </a:lnTo>
                <a:lnTo>
                  <a:pt x="0" y="457200"/>
                </a:lnTo>
                <a:close/>
              </a:path>
            </a:pathLst>
          </a:custGeom>
          <a:solidFill>
            <a:srgbClr val="FAB11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6" name="object 19">
            <a:extLst>
              <a:ext uri="{FF2B5EF4-FFF2-40B4-BE49-F238E27FC236}">
                <a16:creationId xmlns:a16="http://schemas.microsoft.com/office/drawing/2014/main" id="{D5CF70BC-8C91-4623-9E8A-CFBB08522DE4}"/>
              </a:ext>
            </a:extLst>
          </p:cNvPr>
          <p:cNvSpPr>
            <a:spLocks noChangeAspect="1"/>
          </p:cNvSpPr>
          <p:nvPr userDrawn="1"/>
        </p:nvSpPr>
        <p:spPr>
          <a:xfrm>
            <a:off x="9270750" y="446"/>
            <a:ext cx="2921418" cy="1126010"/>
          </a:xfrm>
          <a:prstGeom prst="rect">
            <a:avLst/>
          </a:prstGeom>
          <a:blipFill>
            <a:blip r:embed="rId2" cstate="print"/>
            <a:stretch>
              <a:fillRect/>
            </a:stretch>
          </a:blipFill>
        </p:spPr>
        <p:txBody>
          <a:bodyPr wrap="square" lIns="0" tIns="0" rIns="0" bIns="0" rtlCol="0"/>
          <a:lstStyle/>
          <a:p>
            <a:endParaRPr sz="1600">
              <a:latin typeface="Century Gothic" panose="020B0502020202020204" pitchFamily="34" charset="0"/>
            </a:endParaRPr>
          </a:p>
        </p:txBody>
      </p:sp>
      <p:sp>
        <p:nvSpPr>
          <p:cNvPr id="2" name="Title 1">
            <a:extLst>
              <a:ext uri="{FF2B5EF4-FFF2-40B4-BE49-F238E27FC236}">
                <a16:creationId xmlns:a16="http://schemas.microsoft.com/office/drawing/2014/main" id="{9015F2E0-A9EE-4095-8DFC-C3BBA80FAEEE}"/>
              </a:ext>
            </a:extLst>
          </p:cNvPr>
          <p:cNvSpPr>
            <a:spLocks noGrp="1"/>
          </p:cNvSpPr>
          <p:nvPr>
            <p:ph type="title"/>
          </p:nvPr>
        </p:nvSpPr>
        <p:spPr>
          <a:xfrm>
            <a:off x="128821" y="0"/>
            <a:ext cx="9302726" cy="707886"/>
          </a:xfrm>
        </p:spPr>
        <p:txBody>
          <a:bodyPr lIns="91440" anchor="t">
            <a:normAutofit/>
          </a:bodyPr>
          <a:lstStyle>
            <a:lvl1pPr>
              <a:lnSpc>
                <a:spcPct val="100000"/>
              </a:lnSpc>
              <a:defRPr sz="4000" b="0">
                <a:latin typeface="+mj-lt"/>
              </a:defRPr>
            </a:lvl1pPr>
          </a:lstStyle>
          <a:p>
            <a:r>
              <a:rPr lang="en-US" noProof="0"/>
              <a:t>Click to edit Master title style</a:t>
            </a:r>
          </a:p>
        </p:txBody>
      </p:sp>
    </p:spTree>
    <p:extLst>
      <p:ext uri="{BB962C8B-B14F-4D97-AF65-F5344CB8AC3E}">
        <p14:creationId xmlns:p14="http://schemas.microsoft.com/office/powerpoint/2010/main" val="3416289432"/>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72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grpSp>
        <p:nvGrpSpPr>
          <p:cNvPr id="5" name="Group 4"/>
          <p:cNvGrpSpPr/>
          <p:nvPr userDrawn="1"/>
        </p:nvGrpSpPr>
        <p:grpSpPr>
          <a:xfrm>
            <a:off x="1905004" y="3"/>
            <a:ext cx="10286996" cy="6857999"/>
            <a:chOff x="1905004" y="1"/>
            <a:chExt cx="10286996" cy="6857999"/>
          </a:xfrm>
        </p:grpSpPr>
        <p:pic>
          <p:nvPicPr>
            <p:cNvPr id="6" name="Picture 6" descr="Image result for construction bridge indonesia"/>
            <p:cNvPicPr>
              <a:picLocks noChangeAspect="1" noChangeArrowheads="1"/>
            </p:cNvPicPr>
            <p:nvPr/>
          </p:nvPicPr>
          <p:blipFill>
            <a:blip r:embed="rId2">
              <a:lum bright="70000" contrast="-70000"/>
              <a:extLst>
                <a:ext uri="{28A0092B-C50C-407E-A947-70E740481C1C}">
                  <a14:useLocalDpi xmlns:a14="http://schemas.microsoft.com/office/drawing/2010/main"/>
                </a:ext>
              </a:extLst>
            </a:blip>
            <a:srcRect/>
            <a:stretch>
              <a:fillRect/>
            </a:stretch>
          </p:blipFill>
          <p:spPr bwMode="auto">
            <a:xfrm>
              <a:off x="1905004" y="1"/>
              <a:ext cx="10286996" cy="685799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7" name="Right Triangle 6"/>
            <p:cNvSpPr/>
            <p:nvPr/>
          </p:nvSpPr>
          <p:spPr>
            <a:xfrm rot="5400000">
              <a:off x="3042561" y="-1137553"/>
              <a:ext cx="5805715" cy="8080827"/>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 name="Rectangle 1"/>
          <p:cNvSpPr/>
          <p:nvPr userDrawn="1"/>
        </p:nvSpPr>
        <p:spPr>
          <a:xfrm>
            <a:off x="2049517" y="3"/>
            <a:ext cx="10142483" cy="6857999"/>
          </a:xfrm>
          <a:prstGeom prst="rect">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Slide Number Placeholder 5"/>
          <p:cNvSpPr>
            <a:spLocks noGrp="1"/>
          </p:cNvSpPr>
          <p:nvPr>
            <p:ph type="sldNum" sz="quarter" idx="12"/>
          </p:nvPr>
        </p:nvSpPr>
        <p:spPr>
          <a:xfrm>
            <a:off x="299450" y="6237312"/>
            <a:ext cx="439241" cy="390437"/>
          </a:xfrm>
          <a:prstGeom prst="rect">
            <a:avLst/>
          </a:prstGeom>
          <a:solidFill>
            <a:schemeClr val="accent4"/>
          </a:solidFill>
        </p:spPr>
        <p:txBody>
          <a:bodyPr anchor="ctr"/>
          <a:lstStyle>
            <a:lvl1pPr algn="ctr">
              <a:defRPr sz="1400">
                <a:solidFill>
                  <a:srgbClr val="2F3A46"/>
                </a:solidFill>
              </a:defRPr>
            </a:lvl1pPr>
          </a:lstStyle>
          <a:p>
            <a:pPr defTabSz="914263">
              <a:defRPr/>
            </a:pPr>
            <a:fld id="{F68327C5-B821-4FE9-A59A-A60D9EB59A9A}" type="slidenum">
              <a:rPr lang="en-US" smtClean="0"/>
              <a:pPr defTabSz="914263">
                <a:defRPr/>
              </a:pPr>
              <a:t>‹#›</a:t>
            </a:fld>
            <a:endParaRPr lang="en-US" dirty="0"/>
          </a:p>
        </p:txBody>
      </p:sp>
      <p:sp>
        <p:nvSpPr>
          <p:cNvPr id="12" name="TextBox 11">
            <a:extLst>
              <a:ext uri="{FF2B5EF4-FFF2-40B4-BE49-F238E27FC236}">
                <a16:creationId xmlns:a16="http://schemas.microsoft.com/office/drawing/2014/main" id="{6C284F94-28E1-4FFF-B3CC-4EF58DACF03D}"/>
              </a:ext>
            </a:extLst>
          </p:cNvPr>
          <p:cNvSpPr txBox="1"/>
          <p:nvPr userDrawn="1"/>
        </p:nvSpPr>
        <p:spPr>
          <a:xfrm>
            <a:off x="958311" y="6140144"/>
            <a:ext cx="5985934" cy="584775"/>
          </a:xfrm>
          <a:prstGeom prst="rect">
            <a:avLst/>
          </a:prstGeom>
          <a:noFill/>
        </p:spPr>
        <p:txBody>
          <a:bodyPr wrap="none" rtlCol="0">
            <a:spAutoFit/>
          </a:bodyPr>
          <a:lstStyle/>
          <a:p>
            <a:pPr marL="0" marR="0" lvl="0" indent="0" algn="just" defTabSz="91430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Tw Cen MT" pitchFamily="34" charset="0"/>
                <a:ea typeface="+mn-ea"/>
                <a:cs typeface="+mn-cs"/>
              </a:rPr>
              <a:t>KEMENTERIAN PEKERJAAN UMUM DAN PERUMAHAN RAKYAT</a:t>
            </a:r>
          </a:p>
          <a:p>
            <a:pPr marL="0" marR="0" lvl="0" indent="0" algn="just" defTabSz="914309" rtl="0" eaLnBrk="1" fontAlgn="auto" latinLnBrk="0" hangingPunct="1">
              <a:lnSpc>
                <a:spcPct val="100000"/>
              </a:lnSpc>
              <a:spcBef>
                <a:spcPts val="0"/>
              </a:spcBef>
              <a:spcAft>
                <a:spcPts val="0"/>
              </a:spcAft>
              <a:buClrTx/>
              <a:buSzTx/>
              <a:buFontTx/>
              <a:buNone/>
              <a:tabLst/>
              <a:defRPr/>
            </a:pPr>
            <a:r>
              <a:rPr kumimoji="0" lang="en-US" sz="1600" b="0" i="0" u="none" strike="noStrike" kern="2000" cap="none" spc="600" normalizeH="0" baseline="0" noProof="0" dirty="0">
                <a:ln>
                  <a:noFill/>
                </a:ln>
                <a:solidFill>
                  <a:prstClr val="black"/>
                </a:solidFill>
                <a:effectLst/>
                <a:uLnTx/>
                <a:uFillTx/>
                <a:latin typeface="Tw Cen MT" pitchFamily="34" charset="0"/>
                <a:ea typeface="+mn-ea"/>
                <a:cs typeface="+mn-cs"/>
              </a:rPr>
              <a:t>DIREKTORAT</a:t>
            </a:r>
            <a:r>
              <a:rPr kumimoji="0" lang="en-US" sz="1600" b="0" i="0" u="none" strike="noStrike" kern="2000" cap="none" spc="470" normalizeH="0" baseline="0" noProof="0" dirty="0">
                <a:ln>
                  <a:noFill/>
                </a:ln>
                <a:solidFill>
                  <a:prstClr val="black"/>
                </a:solidFill>
                <a:effectLst/>
                <a:uLnTx/>
                <a:uFillTx/>
                <a:latin typeface="Tw Cen MT" pitchFamily="34" charset="0"/>
                <a:ea typeface="+mn-ea"/>
                <a:cs typeface="+mn-cs"/>
              </a:rPr>
              <a:t> JENDERAL BINA KONSTRUKSI</a:t>
            </a:r>
          </a:p>
        </p:txBody>
      </p:sp>
      <p:cxnSp>
        <p:nvCxnSpPr>
          <p:cNvPr id="13" name="Straight Connector 12">
            <a:extLst>
              <a:ext uri="{FF2B5EF4-FFF2-40B4-BE49-F238E27FC236}">
                <a16:creationId xmlns:a16="http://schemas.microsoft.com/office/drawing/2014/main" id="{5F1A9D71-5BA3-4EE0-8ED7-150943366783}"/>
              </a:ext>
            </a:extLst>
          </p:cNvPr>
          <p:cNvCxnSpPr/>
          <p:nvPr userDrawn="1"/>
        </p:nvCxnSpPr>
        <p:spPr>
          <a:xfrm>
            <a:off x="958312" y="6127675"/>
            <a:ext cx="0" cy="540000"/>
          </a:xfrm>
          <a:prstGeom prst="line">
            <a:avLst/>
          </a:prstGeom>
          <a:ln w="38100">
            <a:solidFill>
              <a:srgbClr val="EEB70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0" y="1005673"/>
            <a:ext cx="523904"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F1A9D71-5BA3-4EE0-8ED7-150943366783}"/>
              </a:ext>
            </a:extLst>
          </p:cNvPr>
          <p:cNvCxnSpPr/>
          <p:nvPr userDrawn="1"/>
        </p:nvCxnSpPr>
        <p:spPr>
          <a:xfrm>
            <a:off x="12034064" y="6127675"/>
            <a:ext cx="0" cy="540000"/>
          </a:xfrm>
          <a:prstGeom prst="line">
            <a:avLst/>
          </a:prstGeom>
          <a:ln w="38100">
            <a:solidFill>
              <a:srgbClr val="EEB70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C284F94-28E1-4FFF-B3CC-4EF58DACF03D}"/>
              </a:ext>
            </a:extLst>
          </p:cNvPr>
          <p:cNvSpPr txBox="1"/>
          <p:nvPr userDrawn="1"/>
        </p:nvSpPr>
        <p:spPr>
          <a:xfrm>
            <a:off x="7048502" y="6063196"/>
            <a:ext cx="4962070" cy="738664"/>
          </a:xfrm>
          <a:prstGeom prst="rect">
            <a:avLst/>
          </a:prstGeom>
          <a:noFill/>
        </p:spPr>
        <p:txBody>
          <a:bodyPr wrap="square"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id-ID" sz="1400" b="1" i="0" u="none" strike="noStrike" kern="1200" cap="none" spc="0" normalizeH="0" baseline="0" noProof="0">
                <a:ln>
                  <a:noFill/>
                </a:ln>
                <a:solidFill>
                  <a:prstClr val="black"/>
                </a:solidFill>
                <a:effectLst/>
                <a:uLnTx/>
                <a:uFillTx/>
                <a:latin typeface="Arial Narrow" panose="020B0606020202030204" pitchFamily="34" charset="0"/>
                <a:ea typeface="+mn-ea"/>
                <a:cs typeface="Segoe UI Light" panose="020B0502040204020203" pitchFamily="34" charset="0"/>
              </a:rPr>
              <a:t>PERATURAN PEMERINTAH NO 14 TAHUN 2021 </a:t>
            </a:r>
            <a:br>
              <a:rPr kumimoji="0" lang="id-ID" sz="1400" b="1" i="0" u="none" strike="noStrike" kern="1200" cap="none" spc="0" normalizeH="0" baseline="0" noProof="0">
                <a:ln>
                  <a:noFill/>
                </a:ln>
                <a:solidFill>
                  <a:prstClr val="black"/>
                </a:solidFill>
                <a:effectLst/>
                <a:uLnTx/>
                <a:uFillTx/>
                <a:latin typeface="Arial Narrow" panose="020B0606020202030204" pitchFamily="34" charset="0"/>
                <a:ea typeface="+mn-ea"/>
                <a:cs typeface="Segoe UI Light" panose="020B0502040204020203" pitchFamily="34" charset="0"/>
              </a:rPr>
            </a:br>
            <a:r>
              <a:rPr kumimoji="0" lang="id-ID" sz="1400" b="0" i="0" u="none" strike="noStrike" kern="2000" cap="none" spc="0" normalizeH="0" baseline="0" noProof="0">
                <a:ln>
                  <a:noFill/>
                </a:ln>
                <a:solidFill>
                  <a:prstClr val="black"/>
                </a:solidFill>
                <a:effectLst/>
                <a:uLnTx/>
                <a:uFillTx/>
                <a:latin typeface="Arial Narrow" panose="020B0606020202030204" pitchFamily="34" charset="0"/>
                <a:ea typeface="+mn-ea"/>
                <a:cs typeface="Segoe UI Light" panose="020B0502040204020203" pitchFamily="34" charset="0"/>
              </a:rPr>
              <a:t>tentang Perubahan atas PP Nomor 22 Tahun 2020 tentang Peraturan Pelaksanaan UU Nomor 2 Tahun 2017 tentang Jasa Konstruksi</a:t>
            </a:r>
          </a:p>
        </p:txBody>
      </p:sp>
      <p:sp>
        <p:nvSpPr>
          <p:cNvPr id="14" name="Content Placeholder 2"/>
          <p:cNvSpPr>
            <a:spLocks noGrp="1"/>
          </p:cNvSpPr>
          <p:nvPr>
            <p:ph idx="1"/>
          </p:nvPr>
        </p:nvSpPr>
        <p:spPr>
          <a:xfrm>
            <a:off x="363070" y="1279174"/>
            <a:ext cx="11647502" cy="4596620"/>
          </a:xfrm>
        </p:spPr>
        <p:txBody>
          <a:bodyPr/>
          <a:lstStyle/>
          <a:p>
            <a:endParaRPr lang="en-US"/>
          </a:p>
        </p:txBody>
      </p:sp>
      <p:sp>
        <p:nvSpPr>
          <p:cNvPr id="19" name="Title 1"/>
          <p:cNvSpPr>
            <a:spLocks noGrp="1"/>
          </p:cNvSpPr>
          <p:nvPr>
            <p:ph type="title"/>
          </p:nvPr>
        </p:nvSpPr>
        <p:spPr>
          <a:xfrm>
            <a:off x="363071" y="81234"/>
            <a:ext cx="9312843" cy="782036"/>
          </a:xfrm>
        </p:spPr>
        <p:txBody>
          <a:bodyPr>
            <a:normAutofit/>
          </a:bodyPr>
          <a:lstStyle>
            <a:lvl1pPr>
              <a:defRPr lang="en-US" sz="3600" b="1" kern="1200" cap="all" normalizeH="0" baseline="0">
                <a:solidFill>
                  <a:srgbClr val="2F3A46"/>
                </a:solidFill>
                <a:latin typeface="Open Sans" panose="020B0606030504020204"/>
                <a:ea typeface="Open Sans" panose="020B0606030504020204" pitchFamily="34" charset="0"/>
                <a:cs typeface="Open Sans" panose="020B0606030504020204" pitchFamily="34" charset="0"/>
              </a:defRPr>
            </a:lvl1pPr>
          </a:lstStyle>
          <a:p>
            <a:pPr marL="0" marR="0" lvl="0" indent="0" algn="l" defTabSz="914263" rtl="0" eaLnBrk="1" fontAlgn="auto" latinLnBrk="0" hangingPunct="1">
              <a:lnSpc>
                <a:spcPct val="100000"/>
              </a:lnSpc>
              <a:spcBef>
                <a:spcPct val="0"/>
              </a:spcBef>
              <a:spcAft>
                <a:spcPts val="0"/>
              </a:spcAft>
              <a:buClrTx/>
              <a:buSzTx/>
              <a:buFontTx/>
              <a:buNone/>
              <a:tabLst/>
              <a:defRPr/>
            </a:pPr>
            <a:endParaRPr lang="en-US" dirty="0"/>
          </a:p>
        </p:txBody>
      </p:sp>
      <p:pic>
        <p:nvPicPr>
          <p:cNvPr id="23" name="Picture 2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784160" y="96968"/>
            <a:ext cx="2220938" cy="828053"/>
          </a:xfrm>
          <a:prstGeom prst="rect">
            <a:avLst/>
          </a:prstGeom>
        </p:spPr>
      </p:pic>
    </p:spTree>
    <p:extLst>
      <p:ext uri="{BB962C8B-B14F-4D97-AF65-F5344CB8AC3E}">
        <p14:creationId xmlns:p14="http://schemas.microsoft.com/office/powerpoint/2010/main" val="3977587179"/>
      </p:ext>
    </p:extLst>
  </p:cSld>
  <p:clrMapOvr>
    <a:masterClrMapping/>
  </p:clrMapOvr>
  <mc:AlternateContent xmlns:mc="http://schemas.openxmlformats.org/markup-compatibility/2006" xmlns:p14="http://schemas.microsoft.com/office/powerpoint/2010/main">
    <mc:Choice Requires="p14">
      <p:transition spd="slow">
        <p14:pan dir="u"/>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CDC3A6-AA36-2EB4-4515-670B777D5662}"/>
              </a:ext>
            </a:extLst>
          </p:cNvPr>
          <p:cNvSpPr>
            <a:spLocks noGrp="1"/>
          </p:cNvSpPr>
          <p:nvPr>
            <p:ph type="dt" sz="half" idx="10"/>
          </p:nvPr>
        </p:nvSpPr>
        <p:spPr/>
        <p:txBody>
          <a:bodyPr/>
          <a:lstStyle/>
          <a:p>
            <a:fld id="{62FB3A63-0457-4056-959C-681C51DC124A}" type="datetimeFigureOut">
              <a:rPr lang="en-ID" smtClean="0"/>
              <a:t>12/12/2023</a:t>
            </a:fld>
            <a:endParaRPr lang="en-ID"/>
          </a:p>
        </p:txBody>
      </p:sp>
      <p:sp>
        <p:nvSpPr>
          <p:cNvPr id="3" name="Footer Placeholder 2">
            <a:extLst>
              <a:ext uri="{FF2B5EF4-FFF2-40B4-BE49-F238E27FC236}">
                <a16:creationId xmlns:a16="http://schemas.microsoft.com/office/drawing/2014/main" id="{6DA8AEDA-D8EE-EA8F-F78C-A0DBAAC58BD8}"/>
              </a:ext>
            </a:extLst>
          </p:cNvPr>
          <p:cNvSpPr>
            <a:spLocks noGrp="1"/>
          </p:cNvSpPr>
          <p:nvPr>
            <p:ph type="ftr" sz="quarter" idx="11"/>
          </p:nvPr>
        </p:nvSpPr>
        <p:spPr/>
        <p:txBody>
          <a:bodyPr/>
          <a:lstStyle/>
          <a:p>
            <a:endParaRPr lang="en-ID"/>
          </a:p>
        </p:txBody>
      </p:sp>
      <p:sp>
        <p:nvSpPr>
          <p:cNvPr id="4" name="Slide Number Placeholder 3">
            <a:extLst>
              <a:ext uri="{FF2B5EF4-FFF2-40B4-BE49-F238E27FC236}">
                <a16:creationId xmlns:a16="http://schemas.microsoft.com/office/drawing/2014/main" id="{37CF7F9F-B58C-8EE8-15DA-A26F1D04A616}"/>
              </a:ext>
            </a:extLst>
          </p:cNvPr>
          <p:cNvSpPr>
            <a:spLocks noGrp="1"/>
          </p:cNvSpPr>
          <p:nvPr>
            <p:ph type="sldNum" sz="quarter" idx="12"/>
          </p:nvPr>
        </p:nvSpPr>
        <p:spPr/>
        <p:txBody>
          <a:bodyPr/>
          <a:lstStyle/>
          <a:p>
            <a:fld id="{BC5A0E4C-AEED-4EAC-B96D-5DCBA748C5AA}" type="slidenum">
              <a:rPr lang="en-ID" smtClean="0"/>
              <a:t>‹#›</a:t>
            </a:fld>
            <a:endParaRPr lang="en-ID"/>
          </a:p>
        </p:txBody>
      </p:sp>
    </p:spTree>
    <p:extLst>
      <p:ext uri="{BB962C8B-B14F-4D97-AF65-F5344CB8AC3E}">
        <p14:creationId xmlns:p14="http://schemas.microsoft.com/office/powerpoint/2010/main" val="177747774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d-ID"/>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d-ID"/>
          </a:p>
        </p:txBody>
      </p:sp>
      <p:sp>
        <p:nvSpPr>
          <p:cNvPr id="4" name="Date Placeholder 3"/>
          <p:cNvSpPr>
            <a:spLocks noGrp="1"/>
          </p:cNvSpPr>
          <p:nvPr>
            <p:ph type="dt" sz="half" idx="10"/>
          </p:nvPr>
        </p:nvSpPr>
        <p:spPr/>
        <p:txBody>
          <a:bodyPr/>
          <a:lstStyle/>
          <a:p>
            <a:fld id="{93A7B52D-8857-4EA8-B190-DAAB9D7A9523}" type="datetimeFigureOut">
              <a:rPr lang="id-ID" smtClean="0">
                <a:solidFill>
                  <a:prstClr val="black">
                    <a:tint val="75000"/>
                  </a:prstClr>
                </a:solidFill>
              </a:rPr>
              <a:pPr/>
              <a:t>12/12/2023</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34E38FA6-EE6B-4DF5-9366-65156340850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61795747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93A7B52D-8857-4EA8-B190-DAAB9D7A9523}" type="datetimeFigureOut">
              <a:rPr lang="id-ID" smtClean="0">
                <a:solidFill>
                  <a:prstClr val="black">
                    <a:tint val="75000"/>
                  </a:prstClr>
                </a:solidFill>
              </a:rPr>
              <a:pPr/>
              <a:t>12/12/2023</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34E38FA6-EE6B-4DF5-9366-65156340850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97564990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id-ID"/>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3A7B52D-8857-4EA8-B190-DAAB9D7A9523}" type="datetimeFigureOut">
              <a:rPr lang="id-ID" smtClean="0">
                <a:solidFill>
                  <a:prstClr val="black">
                    <a:tint val="75000"/>
                  </a:prstClr>
                </a:solidFill>
              </a:rPr>
              <a:pPr/>
              <a:t>12/12/2023</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34E38FA6-EE6B-4DF5-9366-65156340850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8875123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Date Placeholder 4"/>
          <p:cNvSpPr>
            <a:spLocks noGrp="1"/>
          </p:cNvSpPr>
          <p:nvPr>
            <p:ph type="dt" sz="half" idx="10"/>
          </p:nvPr>
        </p:nvSpPr>
        <p:spPr/>
        <p:txBody>
          <a:bodyPr/>
          <a:lstStyle/>
          <a:p>
            <a:fld id="{93A7B52D-8857-4EA8-B190-DAAB9D7A9523}" type="datetimeFigureOut">
              <a:rPr lang="id-ID" smtClean="0">
                <a:solidFill>
                  <a:prstClr val="black">
                    <a:tint val="75000"/>
                  </a:prstClr>
                </a:solidFill>
              </a:rPr>
              <a:pPr/>
              <a:t>12/12/2023</a:t>
            </a:fld>
            <a:endParaRPr lang="id-ID">
              <a:solidFill>
                <a:prstClr val="black">
                  <a:tint val="75000"/>
                </a:prstClr>
              </a:solidFill>
            </a:endParaRPr>
          </a:p>
        </p:txBody>
      </p:sp>
      <p:sp>
        <p:nvSpPr>
          <p:cNvPr id="6" name="Footer Placeholder 5"/>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p:cNvSpPr>
            <a:spLocks noGrp="1"/>
          </p:cNvSpPr>
          <p:nvPr>
            <p:ph type="sldNum" sz="quarter" idx="12"/>
          </p:nvPr>
        </p:nvSpPr>
        <p:spPr/>
        <p:txBody>
          <a:bodyPr/>
          <a:lstStyle/>
          <a:p>
            <a:fld id="{34E38FA6-EE6B-4DF5-9366-65156340850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43121747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id-ID"/>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7" name="Date Placeholder 6"/>
          <p:cNvSpPr>
            <a:spLocks noGrp="1"/>
          </p:cNvSpPr>
          <p:nvPr>
            <p:ph type="dt" sz="half" idx="10"/>
          </p:nvPr>
        </p:nvSpPr>
        <p:spPr/>
        <p:txBody>
          <a:bodyPr/>
          <a:lstStyle/>
          <a:p>
            <a:fld id="{93A7B52D-8857-4EA8-B190-DAAB9D7A9523}" type="datetimeFigureOut">
              <a:rPr lang="id-ID" smtClean="0">
                <a:solidFill>
                  <a:prstClr val="black">
                    <a:tint val="75000"/>
                  </a:prstClr>
                </a:solidFill>
              </a:rPr>
              <a:pPr/>
              <a:t>12/12/2023</a:t>
            </a:fld>
            <a:endParaRPr lang="id-ID">
              <a:solidFill>
                <a:prstClr val="black">
                  <a:tint val="75000"/>
                </a:prstClr>
              </a:solidFill>
            </a:endParaRPr>
          </a:p>
        </p:txBody>
      </p:sp>
      <p:sp>
        <p:nvSpPr>
          <p:cNvPr id="8" name="Footer Placeholder 7"/>
          <p:cNvSpPr>
            <a:spLocks noGrp="1"/>
          </p:cNvSpPr>
          <p:nvPr>
            <p:ph type="ftr" sz="quarter" idx="11"/>
          </p:nvPr>
        </p:nvSpPr>
        <p:spPr/>
        <p:txBody>
          <a:bodyPr/>
          <a:lstStyle/>
          <a:p>
            <a:endParaRPr lang="id-ID">
              <a:solidFill>
                <a:prstClr val="black">
                  <a:tint val="75000"/>
                </a:prstClr>
              </a:solidFill>
            </a:endParaRPr>
          </a:p>
        </p:txBody>
      </p:sp>
      <p:sp>
        <p:nvSpPr>
          <p:cNvPr id="9" name="Slide Number Placeholder 8"/>
          <p:cNvSpPr>
            <a:spLocks noGrp="1"/>
          </p:cNvSpPr>
          <p:nvPr>
            <p:ph type="sldNum" sz="quarter" idx="12"/>
          </p:nvPr>
        </p:nvSpPr>
        <p:spPr/>
        <p:txBody>
          <a:bodyPr/>
          <a:lstStyle/>
          <a:p>
            <a:fld id="{34E38FA6-EE6B-4DF5-9366-65156340850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67905877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Date Placeholder 2"/>
          <p:cNvSpPr>
            <a:spLocks noGrp="1"/>
          </p:cNvSpPr>
          <p:nvPr>
            <p:ph type="dt" sz="half" idx="10"/>
          </p:nvPr>
        </p:nvSpPr>
        <p:spPr/>
        <p:txBody>
          <a:bodyPr/>
          <a:lstStyle/>
          <a:p>
            <a:fld id="{93A7B52D-8857-4EA8-B190-DAAB9D7A9523}" type="datetimeFigureOut">
              <a:rPr lang="id-ID" smtClean="0">
                <a:solidFill>
                  <a:prstClr val="black">
                    <a:tint val="75000"/>
                  </a:prstClr>
                </a:solidFill>
              </a:rPr>
              <a:pPr/>
              <a:t>12/12/2023</a:t>
            </a:fld>
            <a:endParaRPr lang="id-ID">
              <a:solidFill>
                <a:prstClr val="black">
                  <a:tint val="75000"/>
                </a:prstClr>
              </a:solidFill>
            </a:endParaRPr>
          </a:p>
        </p:txBody>
      </p:sp>
      <p:sp>
        <p:nvSpPr>
          <p:cNvPr id="4" name="Footer Placeholder 3"/>
          <p:cNvSpPr>
            <a:spLocks noGrp="1"/>
          </p:cNvSpPr>
          <p:nvPr>
            <p:ph type="ftr" sz="quarter" idx="11"/>
          </p:nvPr>
        </p:nvSpPr>
        <p:spPr/>
        <p:txBody>
          <a:bodyPr/>
          <a:lstStyle/>
          <a:p>
            <a:endParaRPr lang="id-ID">
              <a:solidFill>
                <a:prstClr val="black">
                  <a:tint val="75000"/>
                </a:prstClr>
              </a:solidFill>
            </a:endParaRPr>
          </a:p>
        </p:txBody>
      </p:sp>
      <p:sp>
        <p:nvSpPr>
          <p:cNvPr id="5" name="Slide Number Placeholder 4"/>
          <p:cNvSpPr>
            <a:spLocks noGrp="1"/>
          </p:cNvSpPr>
          <p:nvPr>
            <p:ph type="sldNum" sz="quarter" idx="12"/>
          </p:nvPr>
        </p:nvSpPr>
        <p:spPr/>
        <p:txBody>
          <a:bodyPr/>
          <a:lstStyle/>
          <a:p>
            <a:fld id="{34E38FA6-EE6B-4DF5-9366-65156340850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39280687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A7B52D-8857-4EA8-B190-DAAB9D7A9523}" type="datetimeFigureOut">
              <a:rPr lang="id-ID" smtClean="0">
                <a:solidFill>
                  <a:prstClr val="black">
                    <a:tint val="75000"/>
                  </a:prstClr>
                </a:solidFill>
              </a:rPr>
              <a:pPr/>
              <a:t>12/12/2023</a:t>
            </a:fld>
            <a:endParaRPr lang="id-ID">
              <a:solidFill>
                <a:prstClr val="black">
                  <a:tint val="75000"/>
                </a:prstClr>
              </a:solidFill>
            </a:endParaRPr>
          </a:p>
        </p:txBody>
      </p:sp>
      <p:sp>
        <p:nvSpPr>
          <p:cNvPr id="3" name="Footer Placeholder 2"/>
          <p:cNvSpPr>
            <a:spLocks noGrp="1"/>
          </p:cNvSpPr>
          <p:nvPr>
            <p:ph type="ftr" sz="quarter" idx="11"/>
          </p:nvPr>
        </p:nvSpPr>
        <p:spPr/>
        <p:txBody>
          <a:bodyPr/>
          <a:lstStyle/>
          <a:p>
            <a:endParaRPr lang="id-ID">
              <a:solidFill>
                <a:prstClr val="black">
                  <a:tint val="75000"/>
                </a:prstClr>
              </a:solidFill>
            </a:endParaRPr>
          </a:p>
        </p:txBody>
      </p:sp>
      <p:sp>
        <p:nvSpPr>
          <p:cNvPr id="4" name="Slide Number Placeholder 3"/>
          <p:cNvSpPr>
            <a:spLocks noGrp="1"/>
          </p:cNvSpPr>
          <p:nvPr>
            <p:ph type="sldNum" sz="quarter" idx="12"/>
          </p:nvPr>
        </p:nvSpPr>
        <p:spPr/>
        <p:txBody>
          <a:bodyPr/>
          <a:lstStyle/>
          <a:p>
            <a:fld id="{34E38FA6-EE6B-4DF5-9366-65156340850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43273834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d-ID"/>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3A7B52D-8857-4EA8-B190-DAAB9D7A9523}" type="datetimeFigureOut">
              <a:rPr lang="id-ID" smtClean="0">
                <a:solidFill>
                  <a:prstClr val="black">
                    <a:tint val="75000"/>
                  </a:prstClr>
                </a:solidFill>
              </a:rPr>
              <a:pPr/>
              <a:t>12/12/2023</a:t>
            </a:fld>
            <a:endParaRPr lang="id-ID">
              <a:solidFill>
                <a:prstClr val="black">
                  <a:tint val="75000"/>
                </a:prstClr>
              </a:solidFill>
            </a:endParaRPr>
          </a:p>
        </p:txBody>
      </p:sp>
      <p:sp>
        <p:nvSpPr>
          <p:cNvPr id="6" name="Footer Placeholder 5"/>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p:cNvSpPr>
            <a:spLocks noGrp="1"/>
          </p:cNvSpPr>
          <p:nvPr>
            <p:ph type="sldNum" sz="quarter" idx="12"/>
          </p:nvPr>
        </p:nvSpPr>
        <p:spPr/>
        <p:txBody>
          <a:bodyPr/>
          <a:lstStyle/>
          <a:p>
            <a:fld id="{34E38FA6-EE6B-4DF5-9366-65156340850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42808096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d-ID"/>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d-ID"/>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3A7B52D-8857-4EA8-B190-DAAB9D7A9523}" type="datetimeFigureOut">
              <a:rPr lang="id-ID" smtClean="0">
                <a:solidFill>
                  <a:prstClr val="black">
                    <a:tint val="75000"/>
                  </a:prstClr>
                </a:solidFill>
              </a:rPr>
              <a:pPr/>
              <a:t>12/12/2023</a:t>
            </a:fld>
            <a:endParaRPr lang="id-ID">
              <a:solidFill>
                <a:prstClr val="black">
                  <a:tint val="75000"/>
                </a:prstClr>
              </a:solidFill>
            </a:endParaRPr>
          </a:p>
        </p:txBody>
      </p:sp>
      <p:sp>
        <p:nvSpPr>
          <p:cNvPr id="6" name="Footer Placeholder 5"/>
          <p:cNvSpPr>
            <a:spLocks noGrp="1"/>
          </p:cNvSpPr>
          <p:nvPr>
            <p:ph type="ftr" sz="quarter" idx="11"/>
          </p:nvPr>
        </p:nvSpPr>
        <p:spPr/>
        <p:txBody>
          <a:bodyPr/>
          <a:lstStyle/>
          <a:p>
            <a:endParaRPr lang="id-ID">
              <a:solidFill>
                <a:prstClr val="black">
                  <a:tint val="75000"/>
                </a:prstClr>
              </a:solidFill>
            </a:endParaRPr>
          </a:p>
        </p:txBody>
      </p:sp>
      <p:sp>
        <p:nvSpPr>
          <p:cNvPr id="7" name="Slide Number Placeholder 6"/>
          <p:cNvSpPr>
            <a:spLocks noGrp="1"/>
          </p:cNvSpPr>
          <p:nvPr>
            <p:ph type="sldNum" sz="quarter" idx="12"/>
          </p:nvPr>
        </p:nvSpPr>
        <p:spPr/>
        <p:txBody>
          <a:bodyPr/>
          <a:lstStyle/>
          <a:p>
            <a:fld id="{34E38FA6-EE6B-4DF5-9366-65156340850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92755041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93A7B52D-8857-4EA8-B190-DAAB9D7A9523}" type="datetimeFigureOut">
              <a:rPr lang="id-ID" smtClean="0">
                <a:solidFill>
                  <a:prstClr val="black">
                    <a:tint val="75000"/>
                  </a:prstClr>
                </a:solidFill>
              </a:rPr>
              <a:pPr/>
              <a:t>12/12/2023</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34E38FA6-EE6B-4DF5-9366-65156340850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39809393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C748E0-A92D-8BF6-8103-7915781EFD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B7C63B96-A6E9-2BD8-D319-EE9D45D6E8E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D1FAF8BB-CF9C-E754-8E51-DC3E818F1E5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F5C9A13-2A49-9234-AD6E-44014AAFF950}"/>
              </a:ext>
            </a:extLst>
          </p:cNvPr>
          <p:cNvSpPr>
            <a:spLocks noGrp="1"/>
          </p:cNvSpPr>
          <p:nvPr>
            <p:ph type="dt" sz="half" idx="10"/>
          </p:nvPr>
        </p:nvSpPr>
        <p:spPr/>
        <p:txBody>
          <a:bodyPr/>
          <a:lstStyle/>
          <a:p>
            <a:fld id="{62FB3A63-0457-4056-959C-681C51DC124A}" type="datetimeFigureOut">
              <a:rPr lang="en-ID" smtClean="0"/>
              <a:t>12/12/2023</a:t>
            </a:fld>
            <a:endParaRPr lang="en-ID"/>
          </a:p>
        </p:txBody>
      </p:sp>
      <p:sp>
        <p:nvSpPr>
          <p:cNvPr id="6" name="Footer Placeholder 5">
            <a:extLst>
              <a:ext uri="{FF2B5EF4-FFF2-40B4-BE49-F238E27FC236}">
                <a16:creationId xmlns:a16="http://schemas.microsoft.com/office/drawing/2014/main" id="{FD26CDBD-9B7E-833F-5A4C-469746BD3F65}"/>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755736BF-D8D2-C550-F151-5871B77A3C29}"/>
              </a:ext>
            </a:extLst>
          </p:cNvPr>
          <p:cNvSpPr>
            <a:spLocks noGrp="1"/>
          </p:cNvSpPr>
          <p:nvPr>
            <p:ph type="sldNum" sz="quarter" idx="12"/>
          </p:nvPr>
        </p:nvSpPr>
        <p:spPr/>
        <p:txBody>
          <a:bodyPr/>
          <a:lstStyle/>
          <a:p>
            <a:fld id="{BC5A0E4C-AEED-4EAC-B96D-5DCBA748C5AA}" type="slidenum">
              <a:rPr lang="en-ID" smtClean="0"/>
              <a:t>‹#›</a:t>
            </a:fld>
            <a:endParaRPr lang="en-ID"/>
          </a:p>
        </p:txBody>
      </p:sp>
    </p:spTree>
    <p:extLst>
      <p:ext uri="{BB962C8B-B14F-4D97-AF65-F5344CB8AC3E}">
        <p14:creationId xmlns:p14="http://schemas.microsoft.com/office/powerpoint/2010/main" val="372267764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id-ID"/>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93A7B52D-8857-4EA8-B190-DAAB9D7A9523}" type="datetimeFigureOut">
              <a:rPr lang="id-ID" smtClean="0">
                <a:solidFill>
                  <a:prstClr val="black">
                    <a:tint val="75000"/>
                  </a:prstClr>
                </a:solidFill>
              </a:rPr>
              <a:pPr/>
              <a:t>12/12/2023</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34E38FA6-EE6B-4DF5-9366-65156340850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89516387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PPTMON custom">
    <p:spTree>
      <p:nvGrpSpPr>
        <p:cNvPr id="1" name=""/>
        <p:cNvGrpSpPr/>
        <p:nvPr/>
      </p:nvGrpSpPr>
      <p:grpSpPr>
        <a:xfrm>
          <a:off x="0" y="0"/>
          <a:ext cx="0" cy="0"/>
          <a:chOff x="0" y="0"/>
          <a:chExt cx="0" cy="0"/>
        </a:xfrm>
      </p:grpSpPr>
      <p:pic>
        <p:nvPicPr>
          <p:cNvPr id="4" name="Graphic 3">
            <a:hlinkClick r:id="rId2"/>
            <a:extLst>
              <a:ext uri="{FF2B5EF4-FFF2-40B4-BE49-F238E27FC236}">
                <a16:creationId xmlns:a16="http://schemas.microsoft.com/office/drawing/2014/main" id="{18391A64-485F-424B-B3B2-B1CB6E26B08D}"/>
              </a:ext>
            </a:extLst>
          </p:cNvPr>
          <p:cNvPicPr>
            <a:picLocks noChangeAspect="1"/>
          </p:cNvPicPr>
          <p:nvPr userDrawn="1"/>
        </p:nvPicPr>
        <p:blipFill>
          <a:blip/>
          <a:stretch>
            <a:fillRect/>
          </a:stretch>
        </p:blipFill>
        <p:spPr>
          <a:xfrm>
            <a:off x="5647236" y="7063924"/>
            <a:ext cx="2471738" cy="190500"/>
          </a:xfrm>
          <a:prstGeom prst="rect">
            <a:avLst/>
          </a:prstGeom>
        </p:spPr>
      </p:pic>
      <p:sp>
        <p:nvSpPr>
          <p:cNvPr id="5" name="TextBox 4">
            <a:extLst>
              <a:ext uri="{FF2B5EF4-FFF2-40B4-BE49-F238E27FC236}">
                <a16:creationId xmlns:a16="http://schemas.microsoft.com/office/drawing/2014/main" id="{AA0AA798-D794-425E-BA64-2DD060502271}"/>
              </a:ext>
            </a:extLst>
          </p:cNvPr>
          <p:cNvSpPr txBox="1"/>
          <p:nvPr userDrawn="1"/>
        </p:nvSpPr>
        <p:spPr>
          <a:xfrm>
            <a:off x="4073025" y="7063924"/>
            <a:ext cx="2690631" cy="246221"/>
          </a:xfrm>
          <a:prstGeom prst="rect">
            <a:avLst/>
          </a:prstGeom>
          <a:noFill/>
        </p:spPr>
        <p:txBody>
          <a:bodyPr wrap="square" rtlCol="0">
            <a:spAutoFit/>
          </a:bodyPr>
          <a:lstStyle/>
          <a:p>
            <a:r>
              <a:rPr lang="en-US" altLang="ko-KR" sz="1000" dirty="0">
                <a:solidFill>
                  <a:prstClr val="black"/>
                </a:solidFill>
                <a:latin typeface="Century Gothic Regular" charset="0"/>
                <a:cs typeface="Century Gothic Regular" charset="0"/>
                <a:hlinkClick r:id="rId2"/>
              </a:rPr>
              <a:t>Presentation template by</a:t>
            </a:r>
            <a:endParaRPr lang="ko-KR" altLang="en-US" sz="1000" dirty="0">
              <a:solidFill>
                <a:prstClr val="black"/>
              </a:solidFill>
              <a:latin typeface="Century Gothic Regular" charset="0"/>
              <a:cs typeface="Century Gothic Regular" charset="0"/>
            </a:endParaRPr>
          </a:p>
        </p:txBody>
      </p:sp>
    </p:spTree>
    <p:extLst>
      <p:ext uri="{BB962C8B-B14F-4D97-AF65-F5344CB8AC3E}">
        <p14:creationId xmlns:p14="http://schemas.microsoft.com/office/powerpoint/2010/main" val="3739916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grpSp>
        <p:nvGrpSpPr>
          <p:cNvPr id="5" name="Group 4"/>
          <p:cNvGrpSpPr/>
          <p:nvPr userDrawn="1"/>
        </p:nvGrpSpPr>
        <p:grpSpPr>
          <a:xfrm>
            <a:off x="1905004" y="1"/>
            <a:ext cx="10286996" cy="6857999"/>
            <a:chOff x="1905004" y="1"/>
            <a:chExt cx="10286996" cy="6857999"/>
          </a:xfrm>
        </p:grpSpPr>
        <p:pic>
          <p:nvPicPr>
            <p:cNvPr id="6" name="Picture 6" descr="Image result for construction bridge indonesia"/>
            <p:cNvPicPr>
              <a:picLocks noChangeAspect="1" noChangeArrowheads="1"/>
            </p:cNvPicPr>
            <p:nvPr/>
          </p:nvPicPr>
          <p:blipFill>
            <a:blip r:embed="rId2">
              <a:lum bright="70000" contrast="-70000"/>
              <a:extLst>
                <a:ext uri="{28A0092B-C50C-407E-A947-70E740481C1C}">
                  <a14:useLocalDpi xmlns:a14="http://schemas.microsoft.com/office/drawing/2010/main"/>
                </a:ext>
              </a:extLst>
            </a:blip>
            <a:srcRect/>
            <a:stretch>
              <a:fillRect/>
            </a:stretch>
          </p:blipFill>
          <p:spPr bwMode="auto">
            <a:xfrm>
              <a:off x="1905004" y="1"/>
              <a:ext cx="10286996" cy="685799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7" name="Right Triangle 6"/>
            <p:cNvSpPr/>
            <p:nvPr/>
          </p:nvSpPr>
          <p:spPr>
            <a:xfrm rot="5400000">
              <a:off x="3042561" y="-1137553"/>
              <a:ext cx="5805715" cy="8080827"/>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 name="Rectangle 1"/>
          <p:cNvSpPr/>
          <p:nvPr userDrawn="1"/>
        </p:nvSpPr>
        <p:spPr>
          <a:xfrm>
            <a:off x="2049517" y="1"/>
            <a:ext cx="10142483" cy="6857999"/>
          </a:xfrm>
          <a:prstGeom prst="rect">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Slide Number Placeholder 5"/>
          <p:cNvSpPr>
            <a:spLocks noGrp="1"/>
          </p:cNvSpPr>
          <p:nvPr>
            <p:ph type="sldNum" sz="quarter" idx="12"/>
          </p:nvPr>
        </p:nvSpPr>
        <p:spPr>
          <a:xfrm>
            <a:off x="299449" y="6237310"/>
            <a:ext cx="439241" cy="390437"/>
          </a:xfrm>
          <a:prstGeom prst="rect">
            <a:avLst/>
          </a:prstGeom>
          <a:solidFill>
            <a:schemeClr val="accent4"/>
          </a:solidFill>
        </p:spPr>
        <p:txBody>
          <a:bodyPr anchor="ctr"/>
          <a:lstStyle>
            <a:lvl1pPr algn="ctr">
              <a:defRPr sz="1400">
                <a:solidFill>
                  <a:srgbClr val="2F3A46"/>
                </a:solidFill>
              </a:defRPr>
            </a:lvl1pPr>
          </a:lstStyle>
          <a:p>
            <a:pPr marL="0" marR="0" lvl="0" indent="0" algn="ctr" defTabSz="914354" rtl="0" eaLnBrk="1" fontAlgn="auto" latinLnBrk="0" hangingPunct="1">
              <a:lnSpc>
                <a:spcPct val="100000"/>
              </a:lnSpc>
              <a:spcBef>
                <a:spcPts val="0"/>
              </a:spcBef>
              <a:spcAft>
                <a:spcPts val="0"/>
              </a:spcAft>
              <a:buClrTx/>
              <a:buSzTx/>
              <a:buFontTx/>
              <a:buNone/>
              <a:tabLst/>
              <a:defRPr/>
            </a:pPr>
            <a:fld id="{F68327C5-B821-4FE9-A59A-A60D9EB59A9A}" type="slidenum">
              <a:rPr kumimoji="0" lang="en-US" sz="1400" b="0" i="0" u="none" strike="noStrike" kern="1200" cap="none" spc="0" normalizeH="0" baseline="0" noProof="0" smtClean="0">
                <a:ln>
                  <a:noFill/>
                </a:ln>
                <a:solidFill>
                  <a:srgbClr val="2F3A46"/>
                </a:solidFill>
                <a:effectLst/>
                <a:uLnTx/>
                <a:uFillTx/>
                <a:latin typeface="Calibri" panose="020F0502020204030204"/>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dirty="0">
              <a:ln>
                <a:noFill/>
              </a:ln>
              <a:solidFill>
                <a:srgbClr val="2F3A46"/>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6C284F94-28E1-4FFF-B3CC-4EF58DACF03D}"/>
              </a:ext>
            </a:extLst>
          </p:cNvPr>
          <p:cNvSpPr txBox="1"/>
          <p:nvPr userDrawn="1"/>
        </p:nvSpPr>
        <p:spPr>
          <a:xfrm>
            <a:off x="958311" y="6140142"/>
            <a:ext cx="5985934" cy="584775"/>
          </a:xfrm>
          <a:prstGeom prst="rect">
            <a:avLst/>
          </a:prstGeom>
          <a:noFill/>
        </p:spPr>
        <p:txBody>
          <a:bodyPr wrap="non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Tw Cen MT" pitchFamily="34" charset="0"/>
                <a:ea typeface="+mn-ea"/>
                <a:cs typeface="+mn-cs"/>
              </a:rPr>
              <a:t>KEMENTERIAN PEKERJAAN UMUM DAN PERUMAHAN RAKYAT</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2000" cap="none" spc="600" normalizeH="0" baseline="0" noProof="0" dirty="0">
                <a:ln>
                  <a:noFill/>
                </a:ln>
                <a:solidFill>
                  <a:prstClr val="black"/>
                </a:solidFill>
                <a:effectLst/>
                <a:uLnTx/>
                <a:uFillTx/>
                <a:latin typeface="Tw Cen MT" pitchFamily="34" charset="0"/>
                <a:ea typeface="+mn-ea"/>
                <a:cs typeface="+mn-cs"/>
              </a:rPr>
              <a:t>DIREKTORAT</a:t>
            </a:r>
            <a:r>
              <a:rPr kumimoji="0" lang="en-US" sz="1600" b="0" i="0" u="none" strike="noStrike" kern="2000" cap="none" spc="470" normalizeH="0" baseline="0" noProof="0" dirty="0">
                <a:ln>
                  <a:noFill/>
                </a:ln>
                <a:solidFill>
                  <a:prstClr val="black"/>
                </a:solidFill>
                <a:effectLst/>
                <a:uLnTx/>
                <a:uFillTx/>
                <a:latin typeface="Tw Cen MT" pitchFamily="34" charset="0"/>
                <a:ea typeface="+mn-ea"/>
                <a:cs typeface="+mn-cs"/>
              </a:rPr>
              <a:t> JENDERAL BINA KONSTRUKSI</a:t>
            </a:r>
          </a:p>
        </p:txBody>
      </p:sp>
      <p:cxnSp>
        <p:nvCxnSpPr>
          <p:cNvPr id="13" name="Straight Connector 12">
            <a:extLst>
              <a:ext uri="{FF2B5EF4-FFF2-40B4-BE49-F238E27FC236}">
                <a16:creationId xmlns:a16="http://schemas.microsoft.com/office/drawing/2014/main" id="{5F1A9D71-5BA3-4EE0-8ED7-150943366783}"/>
              </a:ext>
            </a:extLst>
          </p:cNvPr>
          <p:cNvCxnSpPr/>
          <p:nvPr userDrawn="1"/>
        </p:nvCxnSpPr>
        <p:spPr>
          <a:xfrm>
            <a:off x="958312" y="6127675"/>
            <a:ext cx="0" cy="540000"/>
          </a:xfrm>
          <a:prstGeom prst="line">
            <a:avLst/>
          </a:prstGeom>
          <a:ln w="38100">
            <a:solidFill>
              <a:srgbClr val="EEB70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0" y="1005673"/>
            <a:ext cx="523904"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F1A9D71-5BA3-4EE0-8ED7-150943366783}"/>
              </a:ext>
            </a:extLst>
          </p:cNvPr>
          <p:cNvCxnSpPr/>
          <p:nvPr userDrawn="1"/>
        </p:nvCxnSpPr>
        <p:spPr>
          <a:xfrm>
            <a:off x="12034064" y="6127675"/>
            <a:ext cx="0" cy="540000"/>
          </a:xfrm>
          <a:prstGeom prst="line">
            <a:avLst/>
          </a:prstGeom>
          <a:ln w="38100">
            <a:solidFill>
              <a:srgbClr val="EEB70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C284F94-28E1-4FFF-B3CC-4EF58DACF03D}"/>
              </a:ext>
            </a:extLst>
          </p:cNvPr>
          <p:cNvSpPr txBox="1"/>
          <p:nvPr userDrawn="1"/>
        </p:nvSpPr>
        <p:spPr>
          <a:xfrm>
            <a:off x="7048502" y="6063196"/>
            <a:ext cx="4962070" cy="73866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400" b="1" i="0" u="none" strike="noStrike" kern="1200" cap="none" spc="0" normalizeH="0" baseline="0" noProof="0">
                <a:ln>
                  <a:noFill/>
                </a:ln>
                <a:solidFill>
                  <a:prstClr val="black"/>
                </a:solidFill>
                <a:effectLst/>
                <a:uLnTx/>
                <a:uFillTx/>
                <a:latin typeface="Arial Narrow" panose="020B0606020202030204" pitchFamily="34" charset="0"/>
                <a:ea typeface="+mn-ea"/>
                <a:cs typeface="Segoe UI Light" panose="020B0502040204020203" pitchFamily="34" charset="0"/>
              </a:rPr>
              <a:t>PERATURAN PEMERINTAH NO 14 TAHUN 2021 </a:t>
            </a:r>
            <a:br>
              <a:rPr kumimoji="0" lang="id-ID" sz="1400" b="1" i="0" u="none" strike="noStrike" kern="1200" cap="none" spc="0" normalizeH="0" baseline="0" noProof="0">
                <a:ln>
                  <a:noFill/>
                </a:ln>
                <a:solidFill>
                  <a:prstClr val="black"/>
                </a:solidFill>
                <a:effectLst/>
                <a:uLnTx/>
                <a:uFillTx/>
                <a:latin typeface="Arial Narrow" panose="020B0606020202030204" pitchFamily="34" charset="0"/>
                <a:ea typeface="+mn-ea"/>
                <a:cs typeface="Segoe UI Light" panose="020B0502040204020203" pitchFamily="34" charset="0"/>
              </a:rPr>
            </a:br>
            <a:r>
              <a:rPr kumimoji="0" lang="id-ID" sz="1400" b="0" i="0" u="none" strike="noStrike" kern="2000" cap="none" spc="0" normalizeH="0" baseline="0" noProof="0">
                <a:ln>
                  <a:noFill/>
                </a:ln>
                <a:solidFill>
                  <a:prstClr val="black"/>
                </a:solidFill>
                <a:effectLst/>
                <a:uLnTx/>
                <a:uFillTx/>
                <a:latin typeface="Arial Narrow" panose="020B0606020202030204" pitchFamily="34" charset="0"/>
                <a:ea typeface="+mn-ea"/>
                <a:cs typeface="Segoe UI Light" panose="020B0502040204020203" pitchFamily="34" charset="0"/>
              </a:rPr>
              <a:t>tentang Perubahan atas PP Nomor 22 Tahun 2020 tentang Peraturan Pelaksanaan UU Nomor 2 Tahun 2017 tentang Jasa Konstruksi</a:t>
            </a:r>
          </a:p>
        </p:txBody>
      </p:sp>
      <p:sp>
        <p:nvSpPr>
          <p:cNvPr id="14" name="Content Placeholder 2"/>
          <p:cNvSpPr>
            <a:spLocks noGrp="1"/>
          </p:cNvSpPr>
          <p:nvPr>
            <p:ph idx="1"/>
          </p:nvPr>
        </p:nvSpPr>
        <p:spPr>
          <a:xfrm>
            <a:off x="363070" y="1279174"/>
            <a:ext cx="11647502" cy="4596620"/>
          </a:xfrm>
        </p:spPr>
        <p:txBody>
          <a:bodyPr/>
          <a:lstStyle/>
          <a:p>
            <a:endParaRPr lang="en-US"/>
          </a:p>
        </p:txBody>
      </p:sp>
      <p:sp>
        <p:nvSpPr>
          <p:cNvPr id="19" name="Title 1"/>
          <p:cNvSpPr>
            <a:spLocks noGrp="1"/>
          </p:cNvSpPr>
          <p:nvPr>
            <p:ph type="title"/>
          </p:nvPr>
        </p:nvSpPr>
        <p:spPr>
          <a:xfrm>
            <a:off x="363070" y="81234"/>
            <a:ext cx="9312843" cy="782036"/>
          </a:xfrm>
        </p:spPr>
        <p:txBody>
          <a:bodyPr>
            <a:normAutofit/>
          </a:bodyPr>
          <a:lstStyle>
            <a:lvl1pPr>
              <a:defRPr lang="en-US" sz="3600" b="1" kern="1200" cap="all" normalizeH="0" baseline="0">
                <a:solidFill>
                  <a:srgbClr val="2F3A46"/>
                </a:solidFill>
                <a:latin typeface="Open Sans" panose="020B0606030504020204"/>
                <a:ea typeface="Open Sans" panose="020B0606030504020204" pitchFamily="34" charset="0"/>
                <a:cs typeface="Open Sans" panose="020B0606030504020204" pitchFamily="34" charset="0"/>
              </a:defRPr>
            </a:lvl1pPr>
          </a:lstStyle>
          <a:p>
            <a:pPr marL="0" marR="0" lvl="0" indent="0" algn="l" defTabSz="914354" rtl="0" eaLnBrk="1" fontAlgn="auto" latinLnBrk="0" hangingPunct="1">
              <a:lnSpc>
                <a:spcPct val="100000"/>
              </a:lnSpc>
              <a:spcBef>
                <a:spcPct val="0"/>
              </a:spcBef>
              <a:spcAft>
                <a:spcPts val="0"/>
              </a:spcAft>
              <a:buClrTx/>
              <a:buSzTx/>
              <a:buFontTx/>
              <a:buNone/>
              <a:tabLst/>
              <a:defRPr/>
            </a:pPr>
            <a:endParaRPr lang="en-US" dirty="0"/>
          </a:p>
        </p:txBody>
      </p:sp>
      <p:pic>
        <p:nvPicPr>
          <p:cNvPr id="23" name="Picture 2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784159" y="96968"/>
            <a:ext cx="2220938" cy="828053"/>
          </a:xfrm>
          <a:prstGeom prst="rect">
            <a:avLst/>
          </a:prstGeom>
        </p:spPr>
      </p:pic>
    </p:spTree>
    <p:extLst>
      <p:ext uri="{BB962C8B-B14F-4D97-AF65-F5344CB8AC3E}">
        <p14:creationId xmlns:p14="http://schemas.microsoft.com/office/powerpoint/2010/main" val="3547068945"/>
      </p:ext>
    </p:extLst>
  </p:cSld>
  <p:clrMapOvr>
    <a:masterClrMapping/>
  </p:clrMapOvr>
  <mc:AlternateContent xmlns:mc="http://schemas.openxmlformats.org/markup-compatibility/2006" xmlns:p14="http://schemas.microsoft.com/office/powerpoint/2010/main">
    <mc:Choice Requires="p14">
      <p:transition spd="slow">
        <p14:pan dir="u"/>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06DD4E-27C3-4172-A5EA-06A4687DE2C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80BBF47-3956-48BE-85E0-38281F50D8E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D79A47F-C029-426F-BBB9-96835C664A96}"/>
              </a:ext>
            </a:extLst>
          </p:cNvPr>
          <p:cNvSpPr>
            <a:spLocks noGrp="1"/>
          </p:cNvSpPr>
          <p:nvPr>
            <p:ph type="dt" sz="half" idx="10"/>
          </p:nvPr>
        </p:nvSpPr>
        <p:spPr/>
        <p:txBody>
          <a:bodyPr/>
          <a:lstStyle/>
          <a:p>
            <a:fld id="{613D84E3-1DE8-4F33-A884-614083C34056}" type="datetimeFigureOut">
              <a:rPr lang="en-US" smtClean="0"/>
              <a:t>12/12/2023</a:t>
            </a:fld>
            <a:endParaRPr lang="en-US"/>
          </a:p>
        </p:txBody>
      </p:sp>
      <p:sp>
        <p:nvSpPr>
          <p:cNvPr id="5" name="Footer Placeholder 4">
            <a:extLst>
              <a:ext uri="{FF2B5EF4-FFF2-40B4-BE49-F238E27FC236}">
                <a16:creationId xmlns:a16="http://schemas.microsoft.com/office/drawing/2014/main" id="{FD85C33E-01C1-4C4C-A27C-76F8A1BFFF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E18F9C-22E6-4486-9013-3CC0AA325D5E}"/>
              </a:ext>
            </a:extLst>
          </p:cNvPr>
          <p:cNvSpPr>
            <a:spLocks noGrp="1"/>
          </p:cNvSpPr>
          <p:nvPr>
            <p:ph type="sldNum" sz="quarter" idx="12"/>
          </p:nvPr>
        </p:nvSpPr>
        <p:spPr/>
        <p:txBody>
          <a:bodyPr/>
          <a:lstStyle/>
          <a:p>
            <a:fld id="{5A9078B4-09E3-4E92-BBC9-74AC7508B2E8}" type="slidenum">
              <a:rPr lang="en-US" smtClean="0"/>
              <a:t>‹#›</a:t>
            </a:fld>
            <a:endParaRPr lang="en-US"/>
          </a:p>
        </p:txBody>
      </p:sp>
    </p:spTree>
    <p:extLst>
      <p:ext uri="{BB962C8B-B14F-4D97-AF65-F5344CB8AC3E}">
        <p14:creationId xmlns:p14="http://schemas.microsoft.com/office/powerpoint/2010/main" val="129684001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9D353B-ABC3-44AD-99B2-1F71C106873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638F164-5992-4860-85C0-F3EFE68D640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3284E8-7FB5-4841-98C6-1A8F83F53D91}"/>
              </a:ext>
            </a:extLst>
          </p:cNvPr>
          <p:cNvSpPr>
            <a:spLocks noGrp="1"/>
          </p:cNvSpPr>
          <p:nvPr>
            <p:ph type="dt" sz="half" idx="10"/>
          </p:nvPr>
        </p:nvSpPr>
        <p:spPr/>
        <p:txBody>
          <a:bodyPr/>
          <a:lstStyle/>
          <a:p>
            <a:fld id="{613D84E3-1DE8-4F33-A884-614083C34056}" type="datetimeFigureOut">
              <a:rPr lang="en-US" smtClean="0"/>
              <a:t>12/12/2023</a:t>
            </a:fld>
            <a:endParaRPr lang="en-US"/>
          </a:p>
        </p:txBody>
      </p:sp>
      <p:sp>
        <p:nvSpPr>
          <p:cNvPr id="5" name="Footer Placeholder 4">
            <a:extLst>
              <a:ext uri="{FF2B5EF4-FFF2-40B4-BE49-F238E27FC236}">
                <a16:creationId xmlns:a16="http://schemas.microsoft.com/office/drawing/2014/main" id="{EF96E8AB-4F18-46F8-8033-59F187ADCB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DAAA37-F541-43E2-8349-1A03A752A4AA}"/>
              </a:ext>
            </a:extLst>
          </p:cNvPr>
          <p:cNvSpPr>
            <a:spLocks noGrp="1"/>
          </p:cNvSpPr>
          <p:nvPr>
            <p:ph type="sldNum" sz="quarter" idx="12"/>
          </p:nvPr>
        </p:nvSpPr>
        <p:spPr/>
        <p:txBody>
          <a:bodyPr/>
          <a:lstStyle/>
          <a:p>
            <a:fld id="{5A9078B4-09E3-4E92-BBC9-74AC7508B2E8}" type="slidenum">
              <a:rPr lang="en-US" smtClean="0"/>
              <a:t>‹#›</a:t>
            </a:fld>
            <a:endParaRPr lang="en-US"/>
          </a:p>
        </p:txBody>
      </p:sp>
    </p:spTree>
    <p:extLst>
      <p:ext uri="{BB962C8B-B14F-4D97-AF65-F5344CB8AC3E}">
        <p14:creationId xmlns:p14="http://schemas.microsoft.com/office/powerpoint/2010/main" val="138499590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043FA-9A9D-42D8-AB2F-CCBBD3FC155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A75512A-3345-4408-9463-F0D07CA559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FAB60A9-D8BC-4CC7-9C38-39C0331F4C79}"/>
              </a:ext>
            </a:extLst>
          </p:cNvPr>
          <p:cNvSpPr>
            <a:spLocks noGrp="1"/>
          </p:cNvSpPr>
          <p:nvPr>
            <p:ph type="dt" sz="half" idx="10"/>
          </p:nvPr>
        </p:nvSpPr>
        <p:spPr/>
        <p:txBody>
          <a:bodyPr/>
          <a:lstStyle/>
          <a:p>
            <a:fld id="{613D84E3-1DE8-4F33-A884-614083C34056}" type="datetimeFigureOut">
              <a:rPr lang="en-US" smtClean="0"/>
              <a:t>12/12/2023</a:t>
            </a:fld>
            <a:endParaRPr lang="en-US"/>
          </a:p>
        </p:txBody>
      </p:sp>
      <p:sp>
        <p:nvSpPr>
          <p:cNvPr id="5" name="Footer Placeholder 4">
            <a:extLst>
              <a:ext uri="{FF2B5EF4-FFF2-40B4-BE49-F238E27FC236}">
                <a16:creationId xmlns:a16="http://schemas.microsoft.com/office/drawing/2014/main" id="{B2F167BD-120D-4114-8F01-7BA8205BB7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169E4D-44EE-4E0A-AA9C-6DCD99DB8034}"/>
              </a:ext>
            </a:extLst>
          </p:cNvPr>
          <p:cNvSpPr>
            <a:spLocks noGrp="1"/>
          </p:cNvSpPr>
          <p:nvPr>
            <p:ph type="sldNum" sz="quarter" idx="12"/>
          </p:nvPr>
        </p:nvSpPr>
        <p:spPr/>
        <p:txBody>
          <a:bodyPr/>
          <a:lstStyle/>
          <a:p>
            <a:fld id="{5A9078B4-09E3-4E92-BBC9-74AC7508B2E8}" type="slidenum">
              <a:rPr lang="en-US" smtClean="0"/>
              <a:t>‹#›</a:t>
            </a:fld>
            <a:endParaRPr lang="en-US"/>
          </a:p>
        </p:txBody>
      </p:sp>
    </p:spTree>
    <p:extLst>
      <p:ext uri="{BB962C8B-B14F-4D97-AF65-F5344CB8AC3E}">
        <p14:creationId xmlns:p14="http://schemas.microsoft.com/office/powerpoint/2010/main" val="201922916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4C7C0-7B0E-4D5B-937E-65760FCF912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2D8E08B-C867-464B-B460-8C777A71AC9D}"/>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E1AD5A-FCAB-4374-AAC8-6CBD67FE2F5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AF2AEDC-9E86-4C90-AAB4-E76AB572A5D3}"/>
              </a:ext>
            </a:extLst>
          </p:cNvPr>
          <p:cNvSpPr>
            <a:spLocks noGrp="1"/>
          </p:cNvSpPr>
          <p:nvPr>
            <p:ph type="dt" sz="half" idx="10"/>
          </p:nvPr>
        </p:nvSpPr>
        <p:spPr/>
        <p:txBody>
          <a:bodyPr/>
          <a:lstStyle/>
          <a:p>
            <a:fld id="{613D84E3-1DE8-4F33-A884-614083C34056}" type="datetimeFigureOut">
              <a:rPr lang="en-US" smtClean="0"/>
              <a:t>12/12/2023</a:t>
            </a:fld>
            <a:endParaRPr lang="en-US"/>
          </a:p>
        </p:txBody>
      </p:sp>
      <p:sp>
        <p:nvSpPr>
          <p:cNvPr id="6" name="Footer Placeholder 5">
            <a:extLst>
              <a:ext uri="{FF2B5EF4-FFF2-40B4-BE49-F238E27FC236}">
                <a16:creationId xmlns:a16="http://schemas.microsoft.com/office/drawing/2014/main" id="{5B53F756-F107-4DCC-808C-49761084CD3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6AFA7FF-E024-48FC-8A04-ABAEA477C070}"/>
              </a:ext>
            </a:extLst>
          </p:cNvPr>
          <p:cNvSpPr>
            <a:spLocks noGrp="1"/>
          </p:cNvSpPr>
          <p:nvPr>
            <p:ph type="sldNum" sz="quarter" idx="12"/>
          </p:nvPr>
        </p:nvSpPr>
        <p:spPr/>
        <p:txBody>
          <a:bodyPr/>
          <a:lstStyle/>
          <a:p>
            <a:fld id="{5A9078B4-09E3-4E92-BBC9-74AC7508B2E8}" type="slidenum">
              <a:rPr lang="en-US" smtClean="0"/>
              <a:t>‹#›</a:t>
            </a:fld>
            <a:endParaRPr lang="en-US"/>
          </a:p>
        </p:txBody>
      </p:sp>
    </p:spTree>
    <p:extLst>
      <p:ext uri="{BB962C8B-B14F-4D97-AF65-F5344CB8AC3E}">
        <p14:creationId xmlns:p14="http://schemas.microsoft.com/office/powerpoint/2010/main" val="378126345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28B3DC-A1A2-4178-BC9C-18D28A5CAE0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8DF5056-601E-48C9-8177-A4DDD8BE015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94C52C1-85F8-4074-B0F2-2412533EAF3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CEC94D1-8771-4A8C-B032-A9D0D623B30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4065715-8350-4A91-84C1-9D43CEFF15B0}"/>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19404AC-C928-4B49-8FE2-6236075715E6}"/>
              </a:ext>
            </a:extLst>
          </p:cNvPr>
          <p:cNvSpPr>
            <a:spLocks noGrp="1"/>
          </p:cNvSpPr>
          <p:nvPr>
            <p:ph type="dt" sz="half" idx="10"/>
          </p:nvPr>
        </p:nvSpPr>
        <p:spPr/>
        <p:txBody>
          <a:bodyPr/>
          <a:lstStyle/>
          <a:p>
            <a:fld id="{613D84E3-1DE8-4F33-A884-614083C34056}" type="datetimeFigureOut">
              <a:rPr lang="en-US" smtClean="0"/>
              <a:t>12/12/2023</a:t>
            </a:fld>
            <a:endParaRPr lang="en-US"/>
          </a:p>
        </p:txBody>
      </p:sp>
      <p:sp>
        <p:nvSpPr>
          <p:cNvPr id="8" name="Footer Placeholder 7">
            <a:extLst>
              <a:ext uri="{FF2B5EF4-FFF2-40B4-BE49-F238E27FC236}">
                <a16:creationId xmlns:a16="http://schemas.microsoft.com/office/drawing/2014/main" id="{5AD8F014-6D2F-43FC-904F-C2B5DFDD6B3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F814FBA-D065-4FA3-B2A4-B3A14F9E339D}"/>
              </a:ext>
            </a:extLst>
          </p:cNvPr>
          <p:cNvSpPr>
            <a:spLocks noGrp="1"/>
          </p:cNvSpPr>
          <p:nvPr>
            <p:ph type="sldNum" sz="quarter" idx="12"/>
          </p:nvPr>
        </p:nvSpPr>
        <p:spPr/>
        <p:txBody>
          <a:bodyPr/>
          <a:lstStyle/>
          <a:p>
            <a:fld id="{5A9078B4-09E3-4E92-BBC9-74AC7508B2E8}" type="slidenum">
              <a:rPr lang="en-US" smtClean="0"/>
              <a:t>‹#›</a:t>
            </a:fld>
            <a:endParaRPr lang="en-US"/>
          </a:p>
        </p:txBody>
      </p:sp>
    </p:spTree>
    <p:extLst>
      <p:ext uri="{BB962C8B-B14F-4D97-AF65-F5344CB8AC3E}">
        <p14:creationId xmlns:p14="http://schemas.microsoft.com/office/powerpoint/2010/main" val="201718304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7" name="Picture Placeholder 32">
            <a:extLst>
              <a:ext uri="{FF2B5EF4-FFF2-40B4-BE49-F238E27FC236}">
                <a16:creationId xmlns:a16="http://schemas.microsoft.com/office/drawing/2014/main" id="{F807600B-B6CF-4A17-895F-005923394515}"/>
              </a:ext>
            </a:extLst>
          </p:cNvPr>
          <p:cNvSpPr>
            <a:spLocks noGrp="1"/>
          </p:cNvSpPr>
          <p:nvPr>
            <p:ph type="pic" sz="quarter" idx="17"/>
          </p:nvPr>
        </p:nvSpPr>
        <p:spPr>
          <a:xfrm>
            <a:off x="9888045" y="3109019"/>
            <a:ext cx="1050925" cy="819150"/>
          </a:xfrm>
        </p:spPr>
        <p:txBody>
          <a:bodyPr anchor="ctr">
            <a:normAutofit/>
          </a:bodyPr>
          <a:lstStyle>
            <a:lvl1pPr marL="0" indent="0" algn="ctr">
              <a:buNone/>
              <a:defRPr sz="1200"/>
            </a:lvl1pPr>
          </a:lstStyle>
          <a:p>
            <a:endParaRPr lang="en-US"/>
          </a:p>
        </p:txBody>
      </p:sp>
      <p:sp>
        <p:nvSpPr>
          <p:cNvPr id="36" name="Picture Placeholder 32">
            <a:extLst>
              <a:ext uri="{FF2B5EF4-FFF2-40B4-BE49-F238E27FC236}">
                <a16:creationId xmlns:a16="http://schemas.microsoft.com/office/drawing/2014/main" id="{A6F9CD3E-4C01-47E9-8E53-8FE1715DECEE}"/>
              </a:ext>
            </a:extLst>
          </p:cNvPr>
          <p:cNvSpPr>
            <a:spLocks noGrp="1"/>
          </p:cNvSpPr>
          <p:nvPr>
            <p:ph type="pic" sz="quarter" idx="16"/>
          </p:nvPr>
        </p:nvSpPr>
        <p:spPr>
          <a:xfrm>
            <a:off x="7009379" y="3109019"/>
            <a:ext cx="1050925" cy="819150"/>
          </a:xfrm>
        </p:spPr>
        <p:txBody>
          <a:bodyPr anchor="ctr">
            <a:normAutofit/>
          </a:bodyPr>
          <a:lstStyle>
            <a:lvl1pPr marL="0" indent="0" algn="ctr">
              <a:buNone/>
              <a:defRPr sz="1200"/>
            </a:lvl1pPr>
          </a:lstStyle>
          <a:p>
            <a:endParaRPr lang="en-US"/>
          </a:p>
        </p:txBody>
      </p:sp>
      <p:sp>
        <p:nvSpPr>
          <p:cNvPr id="35" name="Picture Placeholder 32">
            <a:extLst>
              <a:ext uri="{FF2B5EF4-FFF2-40B4-BE49-F238E27FC236}">
                <a16:creationId xmlns:a16="http://schemas.microsoft.com/office/drawing/2014/main" id="{2D71831C-D257-4741-9FE5-6C91A558E809}"/>
              </a:ext>
            </a:extLst>
          </p:cNvPr>
          <p:cNvSpPr>
            <a:spLocks noGrp="1"/>
          </p:cNvSpPr>
          <p:nvPr>
            <p:ph type="pic" sz="quarter" idx="15"/>
          </p:nvPr>
        </p:nvSpPr>
        <p:spPr>
          <a:xfrm>
            <a:off x="4130713" y="3109019"/>
            <a:ext cx="1050925" cy="819150"/>
          </a:xfrm>
        </p:spPr>
        <p:txBody>
          <a:bodyPr anchor="ctr">
            <a:normAutofit/>
          </a:bodyPr>
          <a:lstStyle>
            <a:lvl1pPr marL="0" indent="0" algn="ctr">
              <a:buNone/>
              <a:defRPr sz="1200"/>
            </a:lvl1pPr>
          </a:lstStyle>
          <a:p>
            <a:endParaRPr lang="en-US"/>
          </a:p>
        </p:txBody>
      </p:sp>
      <p:sp>
        <p:nvSpPr>
          <p:cNvPr id="34" name="Picture Placeholder 32">
            <a:extLst>
              <a:ext uri="{FF2B5EF4-FFF2-40B4-BE49-F238E27FC236}">
                <a16:creationId xmlns:a16="http://schemas.microsoft.com/office/drawing/2014/main" id="{55AE3507-758E-476B-B0C7-A455CB878387}"/>
              </a:ext>
            </a:extLst>
          </p:cNvPr>
          <p:cNvSpPr>
            <a:spLocks noGrp="1"/>
          </p:cNvSpPr>
          <p:nvPr>
            <p:ph type="pic" sz="quarter" idx="14"/>
          </p:nvPr>
        </p:nvSpPr>
        <p:spPr>
          <a:xfrm>
            <a:off x="1253030" y="3109019"/>
            <a:ext cx="1050925" cy="819150"/>
          </a:xfrm>
        </p:spPr>
        <p:txBody>
          <a:bodyPr anchor="ctr">
            <a:normAutofit/>
          </a:bodyPr>
          <a:lstStyle>
            <a:lvl1pPr marL="0" indent="0" algn="ctr">
              <a:buNone/>
              <a:defRPr sz="1200"/>
            </a:lvl1pPr>
          </a:lstStyle>
          <a:p>
            <a:endParaRPr lang="en-US"/>
          </a:p>
        </p:txBody>
      </p:sp>
      <p:sp>
        <p:nvSpPr>
          <p:cNvPr id="33" name="Picture Placeholder 32">
            <a:extLst>
              <a:ext uri="{FF2B5EF4-FFF2-40B4-BE49-F238E27FC236}">
                <a16:creationId xmlns:a16="http://schemas.microsoft.com/office/drawing/2014/main" id="{32965218-7EAA-4C50-A1FC-CAFF1CC55C4A}"/>
              </a:ext>
            </a:extLst>
          </p:cNvPr>
          <p:cNvSpPr>
            <a:spLocks noGrp="1"/>
          </p:cNvSpPr>
          <p:nvPr>
            <p:ph type="pic" sz="quarter" idx="13"/>
          </p:nvPr>
        </p:nvSpPr>
        <p:spPr>
          <a:xfrm>
            <a:off x="5570538" y="1203325"/>
            <a:ext cx="1050925" cy="819150"/>
          </a:xfrm>
        </p:spPr>
        <p:txBody>
          <a:bodyPr anchor="ctr">
            <a:normAutofit/>
          </a:bodyPr>
          <a:lstStyle>
            <a:lvl1pPr marL="0" indent="0" algn="ctr">
              <a:buNone/>
              <a:defRPr sz="1200"/>
            </a:lvl1pPr>
          </a:lstStyle>
          <a:p>
            <a:endParaRPr lang="en-US"/>
          </a:p>
        </p:txBody>
      </p:sp>
      <p:sp>
        <p:nvSpPr>
          <p:cNvPr id="3" name="Date Placeholder 2">
            <a:extLst>
              <a:ext uri="{FF2B5EF4-FFF2-40B4-BE49-F238E27FC236}">
                <a16:creationId xmlns:a16="http://schemas.microsoft.com/office/drawing/2014/main" id="{13F4630D-11DC-4102-8766-0D88420E47E4}"/>
              </a:ext>
            </a:extLst>
          </p:cNvPr>
          <p:cNvSpPr>
            <a:spLocks noGrp="1"/>
          </p:cNvSpPr>
          <p:nvPr>
            <p:ph type="dt" sz="half" idx="10"/>
          </p:nvPr>
        </p:nvSpPr>
        <p:spPr/>
        <p:txBody>
          <a:bodyPr/>
          <a:lstStyle/>
          <a:p>
            <a:fld id="{613D84E3-1DE8-4F33-A884-614083C34056}" type="datetimeFigureOut">
              <a:rPr lang="en-US" smtClean="0"/>
              <a:t>12/12/2023</a:t>
            </a:fld>
            <a:endParaRPr lang="en-US"/>
          </a:p>
        </p:txBody>
      </p:sp>
      <p:sp>
        <p:nvSpPr>
          <p:cNvPr id="4" name="Footer Placeholder 3">
            <a:extLst>
              <a:ext uri="{FF2B5EF4-FFF2-40B4-BE49-F238E27FC236}">
                <a16:creationId xmlns:a16="http://schemas.microsoft.com/office/drawing/2014/main" id="{365838A5-7A4E-46FE-94C8-C4A48478EF7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79A2D4F-8D23-4CF7-AB45-4647EB802A3F}"/>
              </a:ext>
            </a:extLst>
          </p:cNvPr>
          <p:cNvSpPr>
            <a:spLocks noGrp="1"/>
          </p:cNvSpPr>
          <p:nvPr>
            <p:ph type="sldNum" sz="quarter" idx="12"/>
          </p:nvPr>
        </p:nvSpPr>
        <p:spPr/>
        <p:txBody>
          <a:bodyPr/>
          <a:lstStyle/>
          <a:p>
            <a:fld id="{5A9078B4-09E3-4E92-BBC9-74AC7508B2E8}" type="slidenum">
              <a:rPr lang="en-US" smtClean="0"/>
              <a:t>‹#›</a:t>
            </a:fld>
            <a:endParaRPr lang="en-US"/>
          </a:p>
        </p:txBody>
      </p:sp>
      <p:sp>
        <p:nvSpPr>
          <p:cNvPr id="19" name="Rectangle 18">
            <a:extLst>
              <a:ext uri="{FF2B5EF4-FFF2-40B4-BE49-F238E27FC236}">
                <a16:creationId xmlns:a16="http://schemas.microsoft.com/office/drawing/2014/main" id="{2EADFC39-5F39-47A0-8C0E-9C8E50DD6859}"/>
              </a:ext>
            </a:extLst>
          </p:cNvPr>
          <p:cNvSpPr/>
          <p:nvPr/>
        </p:nvSpPr>
        <p:spPr>
          <a:xfrm>
            <a:off x="5653617" y="1130300"/>
            <a:ext cx="884766" cy="965200"/>
          </a:xfrm>
          <a:prstGeom prst="rect">
            <a:avLst/>
          </a:prstGeom>
          <a:noFill/>
          <a:ln>
            <a:solidFill>
              <a:srgbClr val="E83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8306F4D3-C292-4A71-8595-05D32A26310E}"/>
              </a:ext>
            </a:extLst>
          </p:cNvPr>
          <p:cNvSpPr/>
          <p:nvPr/>
        </p:nvSpPr>
        <p:spPr>
          <a:xfrm>
            <a:off x="1335617" y="3035300"/>
            <a:ext cx="884766" cy="965200"/>
          </a:xfrm>
          <a:prstGeom prst="rect">
            <a:avLst/>
          </a:prstGeom>
          <a:noFill/>
          <a:ln>
            <a:solidFill>
              <a:srgbClr val="E83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67D30FF0-21D1-4CE5-89D0-DA444B2CF14D}"/>
              </a:ext>
            </a:extLst>
          </p:cNvPr>
          <p:cNvSpPr/>
          <p:nvPr/>
        </p:nvSpPr>
        <p:spPr>
          <a:xfrm>
            <a:off x="4214283" y="3035300"/>
            <a:ext cx="884766" cy="965200"/>
          </a:xfrm>
          <a:prstGeom prst="rect">
            <a:avLst/>
          </a:prstGeom>
          <a:noFill/>
          <a:ln>
            <a:solidFill>
              <a:srgbClr val="E83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19D0C822-0C5C-4C1D-AF89-4ECF70E5BC11}"/>
              </a:ext>
            </a:extLst>
          </p:cNvPr>
          <p:cNvSpPr/>
          <p:nvPr/>
        </p:nvSpPr>
        <p:spPr>
          <a:xfrm>
            <a:off x="7092949" y="3035300"/>
            <a:ext cx="884766" cy="965200"/>
          </a:xfrm>
          <a:prstGeom prst="rect">
            <a:avLst/>
          </a:prstGeom>
          <a:noFill/>
          <a:ln>
            <a:solidFill>
              <a:srgbClr val="E83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80CE8130-7EFD-48ED-B344-55BA0DF32E6E}"/>
              </a:ext>
            </a:extLst>
          </p:cNvPr>
          <p:cNvSpPr/>
          <p:nvPr/>
        </p:nvSpPr>
        <p:spPr>
          <a:xfrm>
            <a:off x="9971615" y="3035300"/>
            <a:ext cx="884766" cy="965200"/>
          </a:xfrm>
          <a:prstGeom prst="rect">
            <a:avLst/>
          </a:prstGeom>
          <a:noFill/>
          <a:ln>
            <a:solidFill>
              <a:srgbClr val="E83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3687179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F562D1-7000-4934-BA08-EB573283B16F}"/>
              </a:ext>
            </a:extLst>
          </p:cNvPr>
          <p:cNvSpPr>
            <a:spLocks noGrp="1"/>
          </p:cNvSpPr>
          <p:nvPr>
            <p:ph type="dt" sz="half" idx="10"/>
          </p:nvPr>
        </p:nvSpPr>
        <p:spPr/>
        <p:txBody>
          <a:bodyPr/>
          <a:lstStyle/>
          <a:p>
            <a:fld id="{613D84E3-1DE8-4F33-A884-614083C34056}" type="datetimeFigureOut">
              <a:rPr lang="en-US" smtClean="0"/>
              <a:t>12/12/2023</a:t>
            </a:fld>
            <a:endParaRPr lang="en-US"/>
          </a:p>
        </p:txBody>
      </p:sp>
      <p:sp>
        <p:nvSpPr>
          <p:cNvPr id="3" name="Footer Placeholder 2">
            <a:extLst>
              <a:ext uri="{FF2B5EF4-FFF2-40B4-BE49-F238E27FC236}">
                <a16:creationId xmlns:a16="http://schemas.microsoft.com/office/drawing/2014/main" id="{4B268B6C-8D0A-46F1-8118-2D6E0089D0D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3802E6F-C199-4AEC-A8EB-73083CF03E92}"/>
              </a:ext>
            </a:extLst>
          </p:cNvPr>
          <p:cNvSpPr>
            <a:spLocks noGrp="1"/>
          </p:cNvSpPr>
          <p:nvPr>
            <p:ph type="sldNum" sz="quarter" idx="12"/>
          </p:nvPr>
        </p:nvSpPr>
        <p:spPr/>
        <p:txBody>
          <a:bodyPr/>
          <a:lstStyle/>
          <a:p>
            <a:fld id="{5A9078B4-09E3-4E92-BBC9-74AC7508B2E8}" type="slidenum">
              <a:rPr lang="en-US" smtClean="0"/>
              <a:t>‹#›</a:t>
            </a:fld>
            <a:endParaRPr lang="en-US"/>
          </a:p>
        </p:txBody>
      </p:sp>
    </p:spTree>
    <p:extLst>
      <p:ext uri="{BB962C8B-B14F-4D97-AF65-F5344CB8AC3E}">
        <p14:creationId xmlns:p14="http://schemas.microsoft.com/office/powerpoint/2010/main" val="29192679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2762C-62D7-1AA2-4807-DD85013D42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35F4F434-479D-D616-4725-84A76B5E9FD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75DA7F97-0CC7-32AD-317F-4336F6D944B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52BD44C-A29E-ACFF-F055-D325B669AA85}"/>
              </a:ext>
            </a:extLst>
          </p:cNvPr>
          <p:cNvSpPr>
            <a:spLocks noGrp="1"/>
          </p:cNvSpPr>
          <p:nvPr>
            <p:ph type="dt" sz="half" idx="10"/>
          </p:nvPr>
        </p:nvSpPr>
        <p:spPr/>
        <p:txBody>
          <a:bodyPr/>
          <a:lstStyle/>
          <a:p>
            <a:fld id="{62FB3A63-0457-4056-959C-681C51DC124A}" type="datetimeFigureOut">
              <a:rPr lang="en-ID" smtClean="0"/>
              <a:t>12/12/2023</a:t>
            </a:fld>
            <a:endParaRPr lang="en-ID"/>
          </a:p>
        </p:txBody>
      </p:sp>
      <p:sp>
        <p:nvSpPr>
          <p:cNvPr id="6" name="Footer Placeholder 5">
            <a:extLst>
              <a:ext uri="{FF2B5EF4-FFF2-40B4-BE49-F238E27FC236}">
                <a16:creationId xmlns:a16="http://schemas.microsoft.com/office/drawing/2014/main" id="{EA9FBE48-42FD-AA6A-8C64-8CE33156E119}"/>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70835918-D0DB-2300-9204-A1616E809CA3}"/>
              </a:ext>
            </a:extLst>
          </p:cNvPr>
          <p:cNvSpPr>
            <a:spLocks noGrp="1"/>
          </p:cNvSpPr>
          <p:nvPr>
            <p:ph type="sldNum" sz="quarter" idx="12"/>
          </p:nvPr>
        </p:nvSpPr>
        <p:spPr/>
        <p:txBody>
          <a:bodyPr/>
          <a:lstStyle/>
          <a:p>
            <a:fld id="{BC5A0E4C-AEED-4EAC-B96D-5DCBA748C5AA}" type="slidenum">
              <a:rPr lang="en-ID" smtClean="0"/>
              <a:t>‹#›</a:t>
            </a:fld>
            <a:endParaRPr lang="en-ID"/>
          </a:p>
        </p:txBody>
      </p:sp>
    </p:spTree>
    <p:extLst>
      <p:ext uri="{BB962C8B-B14F-4D97-AF65-F5344CB8AC3E}">
        <p14:creationId xmlns:p14="http://schemas.microsoft.com/office/powerpoint/2010/main" val="32845154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14" name="Picture Placeholder 11">
            <a:extLst>
              <a:ext uri="{FF2B5EF4-FFF2-40B4-BE49-F238E27FC236}">
                <a16:creationId xmlns:a16="http://schemas.microsoft.com/office/drawing/2014/main" id="{CEFA43A9-1515-43E3-9040-ACE0DD553CE8}"/>
              </a:ext>
            </a:extLst>
          </p:cNvPr>
          <p:cNvSpPr>
            <a:spLocks noGrp="1"/>
          </p:cNvSpPr>
          <p:nvPr>
            <p:ph type="pic" sz="quarter" idx="12"/>
          </p:nvPr>
        </p:nvSpPr>
        <p:spPr>
          <a:xfrm>
            <a:off x="266700" y="3607994"/>
            <a:ext cx="3671888" cy="2584450"/>
          </a:xfrm>
        </p:spPr>
        <p:txBody>
          <a:bodyPr anchor="ctr">
            <a:normAutofit/>
          </a:bodyPr>
          <a:lstStyle>
            <a:lvl1pPr marL="0" indent="0" algn="ctr">
              <a:buNone/>
              <a:defRPr sz="1400"/>
            </a:lvl1pPr>
          </a:lstStyle>
          <a:p>
            <a:endParaRPr lang="en-US" dirty="0"/>
          </a:p>
        </p:txBody>
      </p:sp>
      <p:sp>
        <p:nvSpPr>
          <p:cNvPr id="12" name="Picture Placeholder 11">
            <a:extLst>
              <a:ext uri="{FF2B5EF4-FFF2-40B4-BE49-F238E27FC236}">
                <a16:creationId xmlns:a16="http://schemas.microsoft.com/office/drawing/2014/main" id="{9593DE47-F666-42DA-B91B-BBB963FB9675}"/>
              </a:ext>
            </a:extLst>
          </p:cNvPr>
          <p:cNvSpPr>
            <a:spLocks noGrp="1"/>
          </p:cNvSpPr>
          <p:nvPr>
            <p:ph type="pic" sz="quarter" idx="10"/>
          </p:nvPr>
        </p:nvSpPr>
        <p:spPr>
          <a:xfrm>
            <a:off x="4048125" y="925513"/>
            <a:ext cx="3671888" cy="2584450"/>
          </a:xfrm>
        </p:spPr>
        <p:txBody>
          <a:bodyPr anchor="ctr">
            <a:normAutofit/>
          </a:bodyPr>
          <a:lstStyle>
            <a:lvl1pPr marL="0" indent="0" algn="ctr">
              <a:buNone/>
              <a:defRPr sz="1400"/>
            </a:lvl1pPr>
          </a:lstStyle>
          <a:p>
            <a:endParaRPr lang="en-US" dirty="0"/>
          </a:p>
        </p:txBody>
      </p:sp>
      <p:sp>
        <p:nvSpPr>
          <p:cNvPr id="13" name="Picture Placeholder 11">
            <a:extLst>
              <a:ext uri="{FF2B5EF4-FFF2-40B4-BE49-F238E27FC236}">
                <a16:creationId xmlns:a16="http://schemas.microsoft.com/office/drawing/2014/main" id="{F9A6711B-CC92-4052-A8A9-22AB9080948E}"/>
              </a:ext>
            </a:extLst>
          </p:cNvPr>
          <p:cNvSpPr>
            <a:spLocks noGrp="1"/>
          </p:cNvSpPr>
          <p:nvPr>
            <p:ph type="pic" sz="quarter" idx="11"/>
          </p:nvPr>
        </p:nvSpPr>
        <p:spPr>
          <a:xfrm>
            <a:off x="7828868" y="3607994"/>
            <a:ext cx="3671888" cy="2584450"/>
          </a:xfrm>
        </p:spPr>
        <p:txBody>
          <a:bodyPr anchor="ctr">
            <a:normAutofit/>
          </a:bodyPr>
          <a:lstStyle>
            <a:lvl1pPr marL="0" indent="0" algn="ctr">
              <a:buNone/>
              <a:defRPr sz="1400"/>
            </a:lvl1pPr>
          </a:lstStyle>
          <a:p>
            <a:endParaRPr lang="en-US" dirty="0"/>
          </a:p>
        </p:txBody>
      </p:sp>
    </p:spTree>
    <p:extLst>
      <p:ext uri="{BB962C8B-B14F-4D97-AF65-F5344CB8AC3E}">
        <p14:creationId xmlns:p14="http://schemas.microsoft.com/office/powerpoint/2010/main" val="269713589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A90BF43A-ADF4-474C-A6C7-D13F30B47EDB}"/>
              </a:ext>
            </a:extLst>
          </p:cNvPr>
          <p:cNvSpPr>
            <a:spLocks noGrp="1"/>
          </p:cNvSpPr>
          <p:nvPr>
            <p:ph type="pic" sz="quarter" idx="10"/>
          </p:nvPr>
        </p:nvSpPr>
        <p:spPr>
          <a:xfrm>
            <a:off x="0" y="1003300"/>
            <a:ext cx="3952764" cy="5537200"/>
          </a:xfrm>
          <a:custGeom>
            <a:avLst/>
            <a:gdLst>
              <a:gd name="connsiteX0" fmla="*/ 1184164 w 3952764"/>
              <a:gd name="connsiteY0" fmla="*/ 0 h 5537200"/>
              <a:gd name="connsiteX1" fmla="*/ 3952764 w 3952764"/>
              <a:gd name="connsiteY1" fmla="*/ 2768600 h 5537200"/>
              <a:gd name="connsiteX2" fmla="*/ 1184164 w 3952764"/>
              <a:gd name="connsiteY2" fmla="*/ 5537200 h 5537200"/>
              <a:gd name="connsiteX3" fmla="*/ 106500 w 3952764"/>
              <a:gd name="connsiteY3" fmla="*/ 5319630 h 5537200"/>
              <a:gd name="connsiteX4" fmla="*/ 0 w 3952764"/>
              <a:gd name="connsiteY4" fmla="*/ 5268326 h 5537200"/>
              <a:gd name="connsiteX5" fmla="*/ 0 w 3952764"/>
              <a:gd name="connsiteY5" fmla="*/ 268874 h 5537200"/>
              <a:gd name="connsiteX6" fmla="*/ 106500 w 3952764"/>
              <a:gd name="connsiteY6" fmla="*/ 217570 h 5537200"/>
              <a:gd name="connsiteX7" fmla="*/ 1184164 w 3952764"/>
              <a:gd name="connsiteY7" fmla="*/ 0 h 553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52764" h="5537200">
                <a:moveTo>
                  <a:pt x="1184164" y="0"/>
                </a:moveTo>
                <a:cubicBezTo>
                  <a:pt x="2713220" y="0"/>
                  <a:pt x="3952764" y="1239544"/>
                  <a:pt x="3952764" y="2768600"/>
                </a:cubicBezTo>
                <a:cubicBezTo>
                  <a:pt x="3952764" y="4297656"/>
                  <a:pt x="2713220" y="5537200"/>
                  <a:pt x="1184164" y="5537200"/>
                </a:cubicBezTo>
                <a:cubicBezTo>
                  <a:pt x="801900" y="5537200"/>
                  <a:pt x="437731" y="5459729"/>
                  <a:pt x="106500" y="5319630"/>
                </a:cubicBezTo>
                <a:lnTo>
                  <a:pt x="0" y="5268326"/>
                </a:lnTo>
                <a:lnTo>
                  <a:pt x="0" y="268874"/>
                </a:lnTo>
                <a:lnTo>
                  <a:pt x="106500" y="217570"/>
                </a:lnTo>
                <a:cubicBezTo>
                  <a:pt x="437731" y="77472"/>
                  <a:pt x="801900" y="0"/>
                  <a:pt x="1184164" y="0"/>
                </a:cubicBezTo>
                <a:close/>
              </a:path>
            </a:pathLst>
          </a:custGeom>
        </p:spPr>
        <p:txBody>
          <a:bodyPr wrap="square" anchor="ctr">
            <a:noAutofit/>
          </a:bodyPr>
          <a:lstStyle>
            <a:lvl1pPr marL="0" indent="0" algn="ctr">
              <a:buNone/>
              <a:defRPr sz="1400"/>
            </a:lvl1pPr>
          </a:lstStyle>
          <a:p>
            <a:endParaRPr lang="en-US"/>
          </a:p>
        </p:txBody>
      </p:sp>
    </p:spTree>
    <p:extLst>
      <p:ext uri="{BB962C8B-B14F-4D97-AF65-F5344CB8AC3E}">
        <p14:creationId xmlns:p14="http://schemas.microsoft.com/office/powerpoint/2010/main" val="405688518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D94A58E8-F52F-4A44-B1EF-1CCF06E4E2CF}"/>
              </a:ext>
            </a:extLst>
          </p:cNvPr>
          <p:cNvSpPr>
            <a:spLocks noGrp="1"/>
          </p:cNvSpPr>
          <p:nvPr>
            <p:ph type="pic" sz="quarter" idx="12"/>
          </p:nvPr>
        </p:nvSpPr>
        <p:spPr>
          <a:xfrm>
            <a:off x="3429000" y="0"/>
            <a:ext cx="5130800" cy="6858000"/>
          </a:xfrm>
          <a:custGeom>
            <a:avLst/>
            <a:gdLst>
              <a:gd name="connsiteX0" fmla="*/ 0 w 5130800"/>
              <a:gd name="connsiteY0" fmla="*/ 0 h 6858000"/>
              <a:gd name="connsiteX1" fmla="*/ 2110503 w 5130800"/>
              <a:gd name="connsiteY1" fmla="*/ 0 h 6858000"/>
              <a:gd name="connsiteX2" fmla="*/ 5130800 w 5130800"/>
              <a:gd name="connsiteY2" fmla="*/ 6858000 h 6858000"/>
              <a:gd name="connsiteX3" fmla="*/ 3020297 w 51308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130800" h="6858000">
                <a:moveTo>
                  <a:pt x="0" y="0"/>
                </a:moveTo>
                <a:lnTo>
                  <a:pt x="2110503" y="0"/>
                </a:lnTo>
                <a:lnTo>
                  <a:pt x="5130800" y="6858000"/>
                </a:lnTo>
                <a:lnTo>
                  <a:pt x="3020297" y="6858000"/>
                </a:lnTo>
                <a:close/>
              </a:path>
            </a:pathLst>
          </a:custGeom>
        </p:spPr>
        <p:txBody>
          <a:bodyPr wrap="square">
            <a:noAutofit/>
          </a:bodyPr>
          <a:lstStyle/>
          <a:p>
            <a:endParaRPr lang="en-US"/>
          </a:p>
        </p:txBody>
      </p:sp>
      <p:sp>
        <p:nvSpPr>
          <p:cNvPr id="15" name="Picture Placeholder 14">
            <a:extLst>
              <a:ext uri="{FF2B5EF4-FFF2-40B4-BE49-F238E27FC236}">
                <a16:creationId xmlns:a16="http://schemas.microsoft.com/office/drawing/2014/main" id="{D69A26C0-BA85-43FA-9548-0A0F7A8D94C7}"/>
              </a:ext>
            </a:extLst>
          </p:cNvPr>
          <p:cNvSpPr>
            <a:spLocks noGrp="1"/>
          </p:cNvSpPr>
          <p:nvPr>
            <p:ph type="pic" sz="quarter" idx="11"/>
          </p:nvPr>
        </p:nvSpPr>
        <p:spPr>
          <a:xfrm>
            <a:off x="1219200" y="0"/>
            <a:ext cx="5130800" cy="6858000"/>
          </a:xfrm>
          <a:custGeom>
            <a:avLst/>
            <a:gdLst>
              <a:gd name="connsiteX0" fmla="*/ 0 w 5130800"/>
              <a:gd name="connsiteY0" fmla="*/ 0 h 6858000"/>
              <a:gd name="connsiteX1" fmla="*/ 2110503 w 5130800"/>
              <a:gd name="connsiteY1" fmla="*/ 0 h 6858000"/>
              <a:gd name="connsiteX2" fmla="*/ 5130800 w 5130800"/>
              <a:gd name="connsiteY2" fmla="*/ 6858000 h 6858000"/>
              <a:gd name="connsiteX3" fmla="*/ 3020297 w 51308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130800" h="6858000">
                <a:moveTo>
                  <a:pt x="0" y="0"/>
                </a:moveTo>
                <a:lnTo>
                  <a:pt x="2110503" y="0"/>
                </a:lnTo>
                <a:lnTo>
                  <a:pt x="5130800" y="6858000"/>
                </a:lnTo>
                <a:lnTo>
                  <a:pt x="3020297" y="6858000"/>
                </a:lnTo>
                <a:close/>
              </a:path>
            </a:pathLst>
          </a:custGeom>
        </p:spPr>
        <p:txBody>
          <a:bodyPr wrap="square">
            <a:noAutofit/>
          </a:bodyPr>
          <a:lstStyle/>
          <a:p>
            <a:endParaRPr lang="en-US"/>
          </a:p>
        </p:txBody>
      </p:sp>
      <p:sp>
        <p:nvSpPr>
          <p:cNvPr id="12" name="Picture Placeholder 11">
            <a:extLst>
              <a:ext uri="{FF2B5EF4-FFF2-40B4-BE49-F238E27FC236}">
                <a16:creationId xmlns:a16="http://schemas.microsoft.com/office/drawing/2014/main" id="{FD6440D9-CD52-44B2-A4EA-17B834508E6A}"/>
              </a:ext>
            </a:extLst>
          </p:cNvPr>
          <p:cNvSpPr>
            <a:spLocks noGrp="1"/>
          </p:cNvSpPr>
          <p:nvPr>
            <p:ph type="pic" sz="quarter" idx="10"/>
          </p:nvPr>
        </p:nvSpPr>
        <p:spPr>
          <a:xfrm>
            <a:off x="-990600" y="0"/>
            <a:ext cx="5130800" cy="6858000"/>
          </a:xfrm>
          <a:custGeom>
            <a:avLst/>
            <a:gdLst>
              <a:gd name="connsiteX0" fmla="*/ 0 w 5130800"/>
              <a:gd name="connsiteY0" fmla="*/ 0 h 6858000"/>
              <a:gd name="connsiteX1" fmla="*/ 2110503 w 5130800"/>
              <a:gd name="connsiteY1" fmla="*/ 0 h 6858000"/>
              <a:gd name="connsiteX2" fmla="*/ 5130800 w 5130800"/>
              <a:gd name="connsiteY2" fmla="*/ 6858000 h 6858000"/>
              <a:gd name="connsiteX3" fmla="*/ 3020297 w 51308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130800" h="6858000">
                <a:moveTo>
                  <a:pt x="0" y="0"/>
                </a:moveTo>
                <a:lnTo>
                  <a:pt x="2110503" y="0"/>
                </a:lnTo>
                <a:lnTo>
                  <a:pt x="5130800" y="6858000"/>
                </a:lnTo>
                <a:lnTo>
                  <a:pt x="3020297" y="6858000"/>
                </a:lnTo>
                <a:close/>
              </a:path>
            </a:pathLst>
          </a:custGeom>
        </p:spPr>
        <p:txBody>
          <a:bodyPr wrap="square">
            <a:noAutofit/>
          </a:bodyPr>
          <a:lstStyle/>
          <a:p>
            <a:endParaRPr lang="en-US"/>
          </a:p>
        </p:txBody>
      </p:sp>
    </p:spTree>
    <p:extLst>
      <p:ext uri="{BB962C8B-B14F-4D97-AF65-F5344CB8AC3E}">
        <p14:creationId xmlns:p14="http://schemas.microsoft.com/office/powerpoint/2010/main" val="64197133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EF540B0D-4795-4BC7-87C5-70C1142C5639}"/>
              </a:ext>
            </a:extLst>
          </p:cNvPr>
          <p:cNvSpPr>
            <a:spLocks noGrp="1"/>
          </p:cNvSpPr>
          <p:nvPr>
            <p:ph type="pic" sz="quarter" idx="15"/>
          </p:nvPr>
        </p:nvSpPr>
        <p:spPr>
          <a:xfrm>
            <a:off x="7391401" y="4470974"/>
            <a:ext cx="1387475" cy="1609023"/>
          </a:xfrm>
          <a:custGeom>
            <a:avLst/>
            <a:gdLst>
              <a:gd name="connsiteX0" fmla="*/ 692214 w 1387475"/>
              <a:gd name="connsiteY0" fmla="*/ 0 h 1609023"/>
              <a:gd name="connsiteX1" fmla="*/ 695360 w 1387475"/>
              <a:gd name="connsiteY1" fmla="*/ 0 h 1609023"/>
              <a:gd name="connsiteX2" fmla="*/ 1387475 w 1387475"/>
              <a:gd name="connsiteY2" fmla="*/ 346058 h 1609023"/>
              <a:gd name="connsiteX3" fmla="*/ 1387475 w 1387475"/>
              <a:gd name="connsiteY3" fmla="*/ 1262179 h 1609023"/>
              <a:gd name="connsiteX4" fmla="*/ 693787 w 1387475"/>
              <a:gd name="connsiteY4" fmla="*/ 1609023 h 1609023"/>
              <a:gd name="connsiteX5" fmla="*/ 0 w 1387475"/>
              <a:gd name="connsiteY5" fmla="*/ 1262129 h 1609023"/>
              <a:gd name="connsiteX6" fmla="*/ 0 w 1387475"/>
              <a:gd name="connsiteY6" fmla="*/ 346107 h 160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475" h="1609023">
                <a:moveTo>
                  <a:pt x="692214" y="0"/>
                </a:moveTo>
                <a:lnTo>
                  <a:pt x="695360" y="0"/>
                </a:lnTo>
                <a:lnTo>
                  <a:pt x="1387475" y="346058"/>
                </a:lnTo>
                <a:lnTo>
                  <a:pt x="1387475" y="1262179"/>
                </a:lnTo>
                <a:lnTo>
                  <a:pt x="693787" y="1609023"/>
                </a:lnTo>
                <a:lnTo>
                  <a:pt x="0" y="1262129"/>
                </a:lnTo>
                <a:lnTo>
                  <a:pt x="0" y="346107"/>
                </a:lnTo>
                <a:close/>
              </a:path>
            </a:pathLst>
          </a:custGeom>
        </p:spPr>
        <p:txBody>
          <a:bodyPr wrap="square" anchor="ctr">
            <a:noAutofit/>
          </a:bodyPr>
          <a:lstStyle>
            <a:lvl1pPr marL="0" indent="0" algn="ctr">
              <a:buNone/>
              <a:defRPr sz="1400"/>
            </a:lvl1pPr>
          </a:lstStyle>
          <a:p>
            <a:endParaRPr lang="en-US"/>
          </a:p>
        </p:txBody>
      </p:sp>
      <p:sp>
        <p:nvSpPr>
          <p:cNvPr id="19" name="Picture Placeholder 18">
            <a:extLst>
              <a:ext uri="{FF2B5EF4-FFF2-40B4-BE49-F238E27FC236}">
                <a16:creationId xmlns:a16="http://schemas.microsoft.com/office/drawing/2014/main" id="{577385D8-4260-4CD4-8EDB-C56E34A32864}"/>
              </a:ext>
            </a:extLst>
          </p:cNvPr>
          <p:cNvSpPr>
            <a:spLocks noGrp="1"/>
          </p:cNvSpPr>
          <p:nvPr>
            <p:ph type="pic" sz="quarter" idx="14"/>
          </p:nvPr>
        </p:nvSpPr>
        <p:spPr>
          <a:xfrm>
            <a:off x="8845358" y="4470974"/>
            <a:ext cx="1387475" cy="1609023"/>
          </a:xfrm>
          <a:custGeom>
            <a:avLst/>
            <a:gdLst>
              <a:gd name="connsiteX0" fmla="*/ 692214 w 1387475"/>
              <a:gd name="connsiteY0" fmla="*/ 0 h 1609023"/>
              <a:gd name="connsiteX1" fmla="*/ 695360 w 1387475"/>
              <a:gd name="connsiteY1" fmla="*/ 0 h 1609023"/>
              <a:gd name="connsiteX2" fmla="*/ 1387475 w 1387475"/>
              <a:gd name="connsiteY2" fmla="*/ 346058 h 1609023"/>
              <a:gd name="connsiteX3" fmla="*/ 1387475 w 1387475"/>
              <a:gd name="connsiteY3" fmla="*/ 1262179 h 1609023"/>
              <a:gd name="connsiteX4" fmla="*/ 693787 w 1387475"/>
              <a:gd name="connsiteY4" fmla="*/ 1609023 h 1609023"/>
              <a:gd name="connsiteX5" fmla="*/ 0 w 1387475"/>
              <a:gd name="connsiteY5" fmla="*/ 1262129 h 1609023"/>
              <a:gd name="connsiteX6" fmla="*/ 0 w 1387475"/>
              <a:gd name="connsiteY6" fmla="*/ 346107 h 160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475" h="1609023">
                <a:moveTo>
                  <a:pt x="692214" y="0"/>
                </a:moveTo>
                <a:lnTo>
                  <a:pt x="695360" y="0"/>
                </a:lnTo>
                <a:lnTo>
                  <a:pt x="1387475" y="346058"/>
                </a:lnTo>
                <a:lnTo>
                  <a:pt x="1387475" y="1262179"/>
                </a:lnTo>
                <a:lnTo>
                  <a:pt x="693787" y="1609023"/>
                </a:lnTo>
                <a:lnTo>
                  <a:pt x="0" y="1262129"/>
                </a:lnTo>
                <a:lnTo>
                  <a:pt x="0" y="346107"/>
                </a:lnTo>
                <a:close/>
              </a:path>
            </a:pathLst>
          </a:custGeom>
        </p:spPr>
        <p:txBody>
          <a:bodyPr wrap="square" anchor="ctr">
            <a:noAutofit/>
          </a:bodyPr>
          <a:lstStyle>
            <a:lvl1pPr marL="0" indent="0" algn="ctr">
              <a:buNone/>
              <a:defRPr sz="1400"/>
            </a:lvl1pPr>
          </a:lstStyle>
          <a:p>
            <a:endParaRPr lang="en-US"/>
          </a:p>
        </p:txBody>
      </p:sp>
      <p:sp>
        <p:nvSpPr>
          <p:cNvPr id="18" name="Picture Placeholder 17">
            <a:extLst>
              <a:ext uri="{FF2B5EF4-FFF2-40B4-BE49-F238E27FC236}">
                <a16:creationId xmlns:a16="http://schemas.microsoft.com/office/drawing/2014/main" id="{FC53C9E8-AC21-4D16-BB7D-EDD25725256F}"/>
              </a:ext>
            </a:extLst>
          </p:cNvPr>
          <p:cNvSpPr>
            <a:spLocks noGrp="1"/>
          </p:cNvSpPr>
          <p:nvPr>
            <p:ph type="pic" sz="quarter" idx="13"/>
          </p:nvPr>
        </p:nvSpPr>
        <p:spPr>
          <a:xfrm>
            <a:off x="9572625" y="3142045"/>
            <a:ext cx="1387475" cy="1609023"/>
          </a:xfrm>
          <a:custGeom>
            <a:avLst/>
            <a:gdLst>
              <a:gd name="connsiteX0" fmla="*/ 692214 w 1387475"/>
              <a:gd name="connsiteY0" fmla="*/ 0 h 1609023"/>
              <a:gd name="connsiteX1" fmla="*/ 695360 w 1387475"/>
              <a:gd name="connsiteY1" fmla="*/ 0 h 1609023"/>
              <a:gd name="connsiteX2" fmla="*/ 1387475 w 1387475"/>
              <a:gd name="connsiteY2" fmla="*/ 346058 h 1609023"/>
              <a:gd name="connsiteX3" fmla="*/ 1387475 w 1387475"/>
              <a:gd name="connsiteY3" fmla="*/ 1262179 h 1609023"/>
              <a:gd name="connsiteX4" fmla="*/ 693787 w 1387475"/>
              <a:gd name="connsiteY4" fmla="*/ 1609023 h 1609023"/>
              <a:gd name="connsiteX5" fmla="*/ 0 w 1387475"/>
              <a:gd name="connsiteY5" fmla="*/ 1262129 h 1609023"/>
              <a:gd name="connsiteX6" fmla="*/ 0 w 1387475"/>
              <a:gd name="connsiteY6" fmla="*/ 346107 h 160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475" h="1609023">
                <a:moveTo>
                  <a:pt x="692214" y="0"/>
                </a:moveTo>
                <a:lnTo>
                  <a:pt x="695360" y="0"/>
                </a:lnTo>
                <a:lnTo>
                  <a:pt x="1387475" y="346058"/>
                </a:lnTo>
                <a:lnTo>
                  <a:pt x="1387475" y="1262179"/>
                </a:lnTo>
                <a:lnTo>
                  <a:pt x="693787" y="1609023"/>
                </a:lnTo>
                <a:lnTo>
                  <a:pt x="0" y="1262129"/>
                </a:lnTo>
                <a:lnTo>
                  <a:pt x="0" y="346107"/>
                </a:lnTo>
                <a:close/>
              </a:path>
            </a:pathLst>
          </a:custGeom>
        </p:spPr>
        <p:txBody>
          <a:bodyPr wrap="square" anchor="ctr">
            <a:noAutofit/>
          </a:bodyPr>
          <a:lstStyle>
            <a:lvl1pPr marL="0" indent="0" algn="ctr">
              <a:buNone/>
              <a:defRPr sz="1400"/>
            </a:lvl1pPr>
          </a:lstStyle>
          <a:p>
            <a:endParaRPr lang="en-US"/>
          </a:p>
        </p:txBody>
      </p:sp>
      <p:sp>
        <p:nvSpPr>
          <p:cNvPr id="17" name="Picture Placeholder 16">
            <a:extLst>
              <a:ext uri="{FF2B5EF4-FFF2-40B4-BE49-F238E27FC236}">
                <a16:creationId xmlns:a16="http://schemas.microsoft.com/office/drawing/2014/main" id="{6900CEAA-39BA-434B-8E0D-4C5FFF31F795}"/>
              </a:ext>
            </a:extLst>
          </p:cNvPr>
          <p:cNvSpPr>
            <a:spLocks noGrp="1"/>
          </p:cNvSpPr>
          <p:nvPr>
            <p:ph type="pic" sz="quarter" idx="12"/>
          </p:nvPr>
        </p:nvSpPr>
        <p:spPr>
          <a:xfrm>
            <a:off x="8118379" y="3142045"/>
            <a:ext cx="1387475" cy="1609023"/>
          </a:xfrm>
          <a:custGeom>
            <a:avLst/>
            <a:gdLst>
              <a:gd name="connsiteX0" fmla="*/ 692214 w 1387475"/>
              <a:gd name="connsiteY0" fmla="*/ 0 h 1609023"/>
              <a:gd name="connsiteX1" fmla="*/ 695360 w 1387475"/>
              <a:gd name="connsiteY1" fmla="*/ 0 h 1609023"/>
              <a:gd name="connsiteX2" fmla="*/ 1387475 w 1387475"/>
              <a:gd name="connsiteY2" fmla="*/ 346058 h 1609023"/>
              <a:gd name="connsiteX3" fmla="*/ 1387475 w 1387475"/>
              <a:gd name="connsiteY3" fmla="*/ 1262179 h 1609023"/>
              <a:gd name="connsiteX4" fmla="*/ 693787 w 1387475"/>
              <a:gd name="connsiteY4" fmla="*/ 1609023 h 1609023"/>
              <a:gd name="connsiteX5" fmla="*/ 0 w 1387475"/>
              <a:gd name="connsiteY5" fmla="*/ 1262129 h 1609023"/>
              <a:gd name="connsiteX6" fmla="*/ 0 w 1387475"/>
              <a:gd name="connsiteY6" fmla="*/ 346107 h 160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475" h="1609023">
                <a:moveTo>
                  <a:pt x="692214" y="0"/>
                </a:moveTo>
                <a:lnTo>
                  <a:pt x="695360" y="0"/>
                </a:lnTo>
                <a:lnTo>
                  <a:pt x="1387475" y="346058"/>
                </a:lnTo>
                <a:lnTo>
                  <a:pt x="1387475" y="1262179"/>
                </a:lnTo>
                <a:lnTo>
                  <a:pt x="693787" y="1609023"/>
                </a:lnTo>
                <a:lnTo>
                  <a:pt x="0" y="1262129"/>
                </a:lnTo>
                <a:lnTo>
                  <a:pt x="0" y="346107"/>
                </a:lnTo>
                <a:close/>
              </a:path>
            </a:pathLst>
          </a:custGeom>
        </p:spPr>
        <p:txBody>
          <a:bodyPr wrap="square" anchor="ctr">
            <a:noAutofit/>
          </a:bodyPr>
          <a:lstStyle>
            <a:lvl1pPr marL="0" indent="0" algn="ctr">
              <a:buNone/>
              <a:defRPr sz="1400"/>
            </a:lvl1pPr>
          </a:lstStyle>
          <a:p>
            <a:endParaRPr lang="en-US"/>
          </a:p>
        </p:txBody>
      </p:sp>
      <p:sp>
        <p:nvSpPr>
          <p:cNvPr id="16" name="Picture Placeholder 15">
            <a:extLst>
              <a:ext uri="{FF2B5EF4-FFF2-40B4-BE49-F238E27FC236}">
                <a16:creationId xmlns:a16="http://schemas.microsoft.com/office/drawing/2014/main" id="{8CB1BD77-7453-40ED-A9B1-6A70B0FBBF9C}"/>
              </a:ext>
            </a:extLst>
          </p:cNvPr>
          <p:cNvSpPr>
            <a:spLocks noGrp="1"/>
          </p:cNvSpPr>
          <p:nvPr>
            <p:ph type="pic" sz="quarter" idx="11"/>
          </p:nvPr>
        </p:nvSpPr>
        <p:spPr>
          <a:xfrm>
            <a:off x="8845648" y="1813117"/>
            <a:ext cx="1387475" cy="1609023"/>
          </a:xfrm>
          <a:custGeom>
            <a:avLst/>
            <a:gdLst>
              <a:gd name="connsiteX0" fmla="*/ 692214 w 1387475"/>
              <a:gd name="connsiteY0" fmla="*/ 0 h 1609023"/>
              <a:gd name="connsiteX1" fmla="*/ 695360 w 1387475"/>
              <a:gd name="connsiteY1" fmla="*/ 0 h 1609023"/>
              <a:gd name="connsiteX2" fmla="*/ 1387475 w 1387475"/>
              <a:gd name="connsiteY2" fmla="*/ 346058 h 1609023"/>
              <a:gd name="connsiteX3" fmla="*/ 1387475 w 1387475"/>
              <a:gd name="connsiteY3" fmla="*/ 1262179 h 1609023"/>
              <a:gd name="connsiteX4" fmla="*/ 693787 w 1387475"/>
              <a:gd name="connsiteY4" fmla="*/ 1609023 h 1609023"/>
              <a:gd name="connsiteX5" fmla="*/ 0 w 1387475"/>
              <a:gd name="connsiteY5" fmla="*/ 1262129 h 1609023"/>
              <a:gd name="connsiteX6" fmla="*/ 0 w 1387475"/>
              <a:gd name="connsiteY6" fmla="*/ 346107 h 160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475" h="1609023">
                <a:moveTo>
                  <a:pt x="692214" y="0"/>
                </a:moveTo>
                <a:lnTo>
                  <a:pt x="695360" y="0"/>
                </a:lnTo>
                <a:lnTo>
                  <a:pt x="1387475" y="346058"/>
                </a:lnTo>
                <a:lnTo>
                  <a:pt x="1387475" y="1262179"/>
                </a:lnTo>
                <a:lnTo>
                  <a:pt x="693787" y="1609023"/>
                </a:lnTo>
                <a:lnTo>
                  <a:pt x="0" y="1262129"/>
                </a:lnTo>
                <a:lnTo>
                  <a:pt x="0" y="346107"/>
                </a:lnTo>
                <a:close/>
              </a:path>
            </a:pathLst>
          </a:custGeom>
        </p:spPr>
        <p:txBody>
          <a:bodyPr wrap="square" anchor="ctr">
            <a:noAutofit/>
          </a:bodyPr>
          <a:lstStyle>
            <a:lvl1pPr marL="0" indent="0" algn="ctr">
              <a:buNone/>
              <a:defRPr sz="1400"/>
            </a:lvl1pPr>
          </a:lstStyle>
          <a:p>
            <a:endParaRPr lang="en-US"/>
          </a:p>
        </p:txBody>
      </p:sp>
      <p:sp>
        <p:nvSpPr>
          <p:cNvPr id="15" name="Picture Placeholder 14">
            <a:extLst>
              <a:ext uri="{FF2B5EF4-FFF2-40B4-BE49-F238E27FC236}">
                <a16:creationId xmlns:a16="http://schemas.microsoft.com/office/drawing/2014/main" id="{56A50284-9143-4611-AC0B-E85174E0D0CB}"/>
              </a:ext>
            </a:extLst>
          </p:cNvPr>
          <p:cNvSpPr>
            <a:spLocks noGrp="1"/>
          </p:cNvSpPr>
          <p:nvPr>
            <p:ph type="pic" sz="quarter" idx="10"/>
          </p:nvPr>
        </p:nvSpPr>
        <p:spPr>
          <a:xfrm>
            <a:off x="8118475" y="484188"/>
            <a:ext cx="1387475" cy="1609023"/>
          </a:xfrm>
          <a:custGeom>
            <a:avLst/>
            <a:gdLst>
              <a:gd name="connsiteX0" fmla="*/ 692214 w 1387475"/>
              <a:gd name="connsiteY0" fmla="*/ 0 h 1609023"/>
              <a:gd name="connsiteX1" fmla="*/ 695360 w 1387475"/>
              <a:gd name="connsiteY1" fmla="*/ 0 h 1609023"/>
              <a:gd name="connsiteX2" fmla="*/ 1387475 w 1387475"/>
              <a:gd name="connsiteY2" fmla="*/ 346058 h 1609023"/>
              <a:gd name="connsiteX3" fmla="*/ 1387475 w 1387475"/>
              <a:gd name="connsiteY3" fmla="*/ 1262179 h 1609023"/>
              <a:gd name="connsiteX4" fmla="*/ 693787 w 1387475"/>
              <a:gd name="connsiteY4" fmla="*/ 1609023 h 1609023"/>
              <a:gd name="connsiteX5" fmla="*/ 0 w 1387475"/>
              <a:gd name="connsiteY5" fmla="*/ 1262129 h 1609023"/>
              <a:gd name="connsiteX6" fmla="*/ 0 w 1387475"/>
              <a:gd name="connsiteY6" fmla="*/ 346107 h 160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475" h="1609023">
                <a:moveTo>
                  <a:pt x="692214" y="0"/>
                </a:moveTo>
                <a:lnTo>
                  <a:pt x="695360" y="0"/>
                </a:lnTo>
                <a:lnTo>
                  <a:pt x="1387475" y="346058"/>
                </a:lnTo>
                <a:lnTo>
                  <a:pt x="1387475" y="1262179"/>
                </a:lnTo>
                <a:lnTo>
                  <a:pt x="693787" y="1609023"/>
                </a:lnTo>
                <a:lnTo>
                  <a:pt x="0" y="1262129"/>
                </a:lnTo>
                <a:lnTo>
                  <a:pt x="0" y="346107"/>
                </a:lnTo>
                <a:close/>
              </a:path>
            </a:pathLst>
          </a:custGeom>
        </p:spPr>
        <p:txBody>
          <a:bodyPr wrap="square" anchor="ctr">
            <a:noAutofit/>
          </a:bodyPr>
          <a:lstStyle>
            <a:lvl1pPr marL="0" indent="0" algn="ctr">
              <a:buNone/>
              <a:defRPr sz="1400"/>
            </a:lvl1pPr>
          </a:lstStyle>
          <a:p>
            <a:endParaRPr lang="en-US"/>
          </a:p>
        </p:txBody>
      </p:sp>
    </p:spTree>
    <p:extLst>
      <p:ext uri="{BB962C8B-B14F-4D97-AF65-F5344CB8AC3E}">
        <p14:creationId xmlns:p14="http://schemas.microsoft.com/office/powerpoint/2010/main" val="59401613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15_Blank">
  <p:cSld name="15_Blank">
    <p:spTree>
      <p:nvGrpSpPr>
        <p:cNvPr id="1" name="Shape 46"/>
        <p:cNvGrpSpPr/>
        <p:nvPr/>
      </p:nvGrpSpPr>
      <p:grpSpPr>
        <a:xfrm>
          <a:off x="0" y="0"/>
          <a:ext cx="0" cy="0"/>
          <a:chOff x="0" y="0"/>
          <a:chExt cx="0" cy="0"/>
        </a:xfrm>
      </p:grpSpPr>
      <p:sp>
        <p:nvSpPr>
          <p:cNvPr id="47" name="Google Shape;47;p64"/>
          <p:cNvSpPr>
            <a:spLocks noGrp="1"/>
          </p:cNvSpPr>
          <p:nvPr>
            <p:ph type="pic" idx="2"/>
          </p:nvPr>
        </p:nvSpPr>
        <p:spPr>
          <a:xfrm>
            <a:off x="0" y="0"/>
            <a:ext cx="12192000" cy="6858000"/>
          </a:xfrm>
          <a:prstGeom prst="rect">
            <a:avLst/>
          </a:prstGeom>
          <a:blipFill rotWithShape="1">
            <a:blip r:embed="rId2">
              <a:alphaModFix/>
            </a:blip>
            <a:tile tx="0" ty="0" sx="100000" sy="100000" flip="none" algn="tl"/>
          </a:blipFill>
          <a:ln>
            <a:noFill/>
          </a:ln>
        </p:spPr>
        <p:txBody>
          <a:bodyPr spcFirstLastPara="1" wrap="square" lIns="91425" tIns="45700" rIns="91425" bIns="45700" anchor="ctr" anchorCtr="1">
            <a:normAutofit/>
          </a:bodyPr>
          <a:lstStyle>
            <a:lvl1pPr marR="0" lvl="0" algn="l" rtl="0">
              <a:lnSpc>
                <a:spcPct val="90000"/>
              </a:lnSpc>
              <a:spcBef>
                <a:spcPts val="1000"/>
              </a:spcBef>
              <a:spcAft>
                <a:spcPts val="0"/>
              </a:spcAft>
              <a:buClr>
                <a:schemeClr val="dk1"/>
              </a:buClr>
              <a:buSzPts val="600"/>
              <a:buFont typeface="Arial"/>
              <a:buChar char="•"/>
              <a:defRPr sz="6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8" name="Google Shape;48;p64"/>
          <p:cNvSpPr txBox="1">
            <a:spLocks noGrp="1"/>
          </p:cNvSpPr>
          <p:nvPr>
            <p:ph type="body" idx="1"/>
          </p:nvPr>
        </p:nvSpPr>
        <p:spPr>
          <a:xfrm>
            <a:off x="5799137" y="1306517"/>
            <a:ext cx="3956051" cy="31702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0"/>
              </a:spcBef>
              <a:spcAft>
                <a:spcPts val="0"/>
              </a:spcAft>
              <a:buClr>
                <a:schemeClr val="lt2"/>
              </a:buClr>
              <a:buSzPts val="3000"/>
              <a:buNone/>
              <a:defRPr sz="3000" b="1">
                <a:solidFill>
                  <a:schemeClr val="lt2"/>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8224063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9F89DD-CA58-45CD-90F9-4278575A1B00}"/>
              </a:ext>
            </a:extLst>
          </p:cNvPr>
          <p:cNvGraphicFramePr>
            <a:graphicFrameLocks noChangeAspect="1"/>
          </p:cNvGraphicFramePr>
          <p:nvPr userDrawn="1">
            <p:custDataLst>
              <p:tags r:id="rId1"/>
            </p:custDataLst>
            <p:extLst>
              <p:ext uri="{D42A27DB-BD31-4B8C-83A1-F6EECF244321}">
                <p14:modId xmlns:p14="http://schemas.microsoft.com/office/powerpoint/2010/main" val="3481566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5" name="Object 4" hidden="1">
                        <a:extLst>
                          <a:ext uri="{FF2B5EF4-FFF2-40B4-BE49-F238E27FC236}">
                            <a16:creationId xmlns:a16="http://schemas.microsoft.com/office/drawing/2014/main" id="{469F89DD-CA58-45CD-90F9-4278575A1B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EA4E1EA-D881-409B-8C04-1257A8D74E5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1">
            <a:extLst>
              <a:ext uri="{FF2B5EF4-FFF2-40B4-BE49-F238E27FC236}">
                <a16:creationId xmlns:a16="http://schemas.microsoft.com/office/drawing/2014/main" id="{0C9ADFF5-D2DF-4F4C-B84D-A9AF846D83A3}"/>
              </a:ext>
            </a:extLst>
          </p:cNvPr>
          <p:cNvSpPr>
            <a:spLocks noGrp="1"/>
          </p:cNvSpPr>
          <p:nvPr>
            <p:ph type="title"/>
          </p:nvPr>
        </p:nvSpPr>
        <p:spPr/>
        <p:txBody>
          <a:bodyPr/>
          <a:lstStyle/>
          <a:p>
            <a:r>
              <a:rPr lang="en-US"/>
              <a:t>Click to edit Master title style</a:t>
            </a:r>
            <a:endParaRPr lang="en-ID"/>
          </a:p>
        </p:txBody>
      </p:sp>
      <p:sp>
        <p:nvSpPr>
          <p:cNvPr id="7" name="TextBox 6">
            <a:extLst>
              <a:ext uri="{FF2B5EF4-FFF2-40B4-BE49-F238E27FC236}">
                <a16:creationId xmlns:a16="http://schemas.microsoft.com/office/drawing/2014/main" id="{A30A0191-1FAF-4367-B442-46F8272CC223}"/>
              </a:ext>
            </a:extLst>
          </p:cNvPr>
          <p:cNvSpPr txBox="1"/>
          <p:nvPr userDrawn="1"/>
        </p:nvSpPr>
        <p:spPr>
          <a:xfrm>
            <a:off x="11425306" y="6484838"/>
            <a:ext cx="233294" cy="169277"/>
          </a:xfrm>
          <a:prstGeom prst="rect">
            <a:avLst/>
          </a:prstGeom>
          <a:noFill/>
        </p:spPr>
        <p:txBody>
          <a:bodyPr wrap="square" lIns="0" tIns="0" rIns="0" bIns="0" rtlCol="0" anchor="ctr">
            <a:spAutoFit/>
          </a:bodyPr>
          <a:lstStyle/>
          <a:p>
            <a:pPr algn="ctr"/>
            <a:fld id="{40876BFF-1584-4FA6-A406-00684317F9C8}" type="slidenum">
              <a:rPr lang="en-US" sz="1100" b="1" smtClean="0">
                <a:solidFill>
                  <a:schemeClr val="accent4"/>
                </a:solidFill>
                <a:latin typeface="Segoe UI" panose="020B0502040204020203" pitchFamily="34" charset="0"/>
                <a:cs typeface="Segoe UI" panose="020B0502040204020203" pitchFamily="34" charset="0"/>
              </a:rPr>
              <a:t>‹#›</a:t>
            </a:fld>
            <a:endParaRPr lang="en-US" sz="1100" b="1" dirty="0">
              <a:solidFill>
                <a:schemeClr val="accent4"/>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992D4470-69BB-4864-BBB8-F96270AE99D6}"/>
              </a:ext>
            </a:extLst>
          </p:cNvPr>
          <p:cNvSpPr txBox="1"/>
          <p:nvPr userDrawn="1"/>
        </p:nvSpPr>
        <p:spPr>
          <a:xfrm>
            <a:off x="533400" y="6507921"/>
            <a:ext cx="1312237" cy="123111"/>
          </a:xfrm>
          <a:prstGeom prst="rect">
            <a:avLst/>
          </a:prstGeom>
          <a:noFill/>
        </p:spPr>
        <p:txBody>
          <a:bodyPr wrap="square" lIns="0" tIns="0" rIns="0" bIns="0" rtlCol="0" anchor="ctr">
            <a:spAutoFit/>
          </a:bodyPr>
          <a:lstStyle/>
          <a:p>
            <a:pPr algn="l"/>
            <a:r>
              <a:rPr lang="en-US" sz="800" b="0" dirty="0">
                <a:solidFill>
                  <a:schemeClr val="bg1">
                    <a:lumMod val="65000"/>
                  </a:schemeClr>
                </a:solidFill>
                <a:latin typeface="Segoe UI Light" panose="020B0502040204020203" pitchFamily="34" charset="0"/>
                <a:cs typeface="Segoe UI Light" panose="020B0502040204020203" pitchFamily="34" charset="0"/>
              </a:rPr>
              <a:t>Data Privacy</a:t>
            </a:r>
          </a:p>
        </p:txBody>
      </p:sp>
    </p:spTree>
    <p:extLst>
      <p:ext uri="{BB962C8B-B14F-4D97-AF65-F5344CB8AC3E}">
        <p14:creationId xmlns:p14="http://schemas.microsoft.com/office/powerpoint/2010/main" val="244388864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C450B92-4B37-4F18-BB97-A5E278988ECA}"/>
              </a:ext>
            </a:extLst>
          </p:cNvPr>
          <p:cNvSpPr>
            <a:spLocks noGrp="1"/>
          </p:cNvSpPr>
          <p:nvPr>
            <p:ph type="pic" sz="quarter" idx="10"/>
          </p:nvPr>
        </p:nvSpPr>
        <p:spPr>
          <a:xfrm>
            <a:off x="6264566" y="543887"/>
            <a:ext cx="4936834" cy="4844056"/>
          </a:xfrm>
          <a:custGeom>
            <a:avLst/>
            <a:gdLst>
              <a:gd name="connsiteX0" fmla="*/ 1925955 w 3851910"/>
              <a:gd name="connsiteY0" fmla="*/ 0 h 3779520"/>
              <a:gd name="connsiteX1" fmla="*/ 3851910 w 3851910"/>
              <a:gd name="connsiteY1" fmla="*/ 1889760 h 3779520"/>
              <a:gd name="connsiteX2" fmla="*/ 1925955 w 3851910"/>
              <a:gd name="connsiteY2" fmla="*/ 3779520 h 3779520"/>
              <a:gd name="connsiteX3" fmla="*/ 0 w 3851910"/>
              <a:gd name="connsiteY3" fmla="*/ 1889760 h 3779520"/>
              <a:gd name="connsiteX4" fmla="*/ 1925955 w 3851910"/>
              <a:gd name="connsiteY4" fmla="*/ 0 h 3779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1910" h="3779520">
                <a:moveTo>
                  <a:pt x="1925955" y="0"/>
                </a:moveTo>
                <a:cubicBezTo>
                  <a:pt x="2989631" y="0"/>
                  <a:pt x="3851910" y="846074"/>
                  <a:pt x="3851910" y="1889760"/>
                </a:cubicBezTo>
                <a:cubicBezTo>
                  <a:pt x="3851910" y="2933446"/>
                  <a:pt x="2989631" y="3779520"/>
                  <a:pt x="1925955" y="3779520"/>
                </a:cubicBezTo>
                <a:cubicBezTo>
                  <a:pt x="862279" y="3779520"/>
                  <a:pt x="0" y="2933446"/>
                  <a:pt x="0" y="1889760"/>
                </a:cubicBezTo>
                <a:cubicBezTo>
                  <a:pt x="0" y="846074"/>
                  <a:pt x="862279" y="0"/>
                  <a:pt x="1925955"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0311331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926485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605542-4BA6-49E2-9186-328C7257FF4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E3AE337-4659-4614-A3B2-9A3295D4F36B}"/>
              </a:ext>
            </a:extLst>
          </p:cNvPr>
          <p:cNvSpPr>
            <a:spLocks noGrp="1"/>
          </p:cNvSpPr>
          <p:nvPr>
            <p:ph type="dt" sz="half" idx="10"/>
          </p:nvPr>
        </p:nvSpPr>
        <p:spPr/>
        <p:txBody>
          <a:bodyPr/>
          <a:lstStyle/>
          <a:p>
            <a:fld id="{4A377AB3-EA0F-4564-BA11-CE86CEC2B74E}" type="datetimeFigureOut">
              <a:rPr lang="en-US" smtClean="0"/>
              <a:t>12/12/2023</a:t>
            </a:fld>
            <a:endParaRPr lang="en-US"/>
          </a:p>
        </p:txBody>
      </p:sp>
      <p:sp>
        <p:nvSpPr>
          <p:cNvPr id="4" name="Footer Placeholder 3">
            <a:extLst>
              <a:ext uri="{FF2B5EF4-FFF2-40B4-BE49-F238E27FC236}">
                <a16:creationId xmlns:a16="http://schemas.microsoft.com/office/drawing/2014/main" id="{E0D358D3-5A6A-496C-A8B2-A7B60581D45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FA4B1E0-2B52-4B39-B6EF-22A5CCB74AFE}"/>
              </a:ext>
            </a:extLst>
          </p:cNvPr>
          <p:cNvSpPr>
            <a:spLocks noGrp="1"/>
          </p:cNvSpPr>
          <p:nvPr>
            <p:ph type="sldNum" sz="quarter" idx="12"/>
          </p:nvPr>
        </p:nvSpPr>
        <p:spPr/>
        <p:txBody>
          <a:bodyPr/>
          <a:lstStyle/>
          <a:p>
            <a:fld id="{1EFBD112-55D8-4CF9-923F-275B1C8B9368}" type="slidenum">
              <a:rPr lang="en-US" smtClean="0"/>
              <a:t>‹#›</a:t>
            </a:fld>
            <a:endParaRPr lang="en-US"/>
          </a:p>
        </p:txBody>
      </p:sp>
    </p:spTree>
    <p:extLst>
      <p:ext uri="{BB962C8B-B14F-4D97-AF65-F5344CB8AC3E}">
        <p14:creationId xmlns:p14="http://schemas.microsoft.com/office/powerpoint/2010/main" val="95932204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F8465CD8-01F2-4B39-9718-EB9ED29A67B6}"/>
              </a:ext>
            </a:extLst>
          </p:cNvPr>
          <p:cNvSpPr>
            <a:spLocks noGrp="1"/>
          </p:cNvSpPr>
          <p:nvPr>
            <p:ph type="pic" sz="quarter" idx="10"/>
          </p:nvPr>
        </p:nvSpPr>
        <p:spPr>
          <a:xfrm>
            <a:off x="7843703" y="1034119"/>
            <a:ext cx="3450614" cy="4862287"/>
          </a:xfrm>
          <a:custGeom>
            <a:avLst/>
            <a:gdLst>
              <a:gd name="connsiteX0" fmla="*/ 1725317 w 3450614"/>
              <a:gd name="connsiteY0" fmla="*/ 0 h 4862287"/>
              <a:gd name="connsiteX1" fmla="*/ 1725334 w 3450614"/>
              <a:gd name="connsiteY1" fmla="*/ 1 h 4862287"/>
              <a:gd name="connsiteX2" fmla="*/ 1726349 w 3450614"/>
              <a:gd name="connsiteY2" fmla="*/ 1 h 4862287"/>
              <a:gd name="connsiteX3" fmla="*/ 3448576 w 3450614"/>
              <a:gd name="connsiteY3" fmla="*/ 1 h 4862287"/>
              <a:gd name="connsiteX4" fmla="*/ 3448576 w 3450614"/>
              <a:gd name="connsiteY4" fmla="*/ 1654075 h 4862287"/>
              <a:gd name="connsiteX5" fmla="*/ 3450614 w 3450614"/>
              <a:gd name="connsiteY5" fmla="*/ 1654075 h 4862287"/>
              <a:gd name="connsiteX6" fmla="*/ 3450614 w 3450614"/>
              <a:gd name="connsiteY6" fmla="*/ 1746610 h 4862287"/>
              <a:gd name="connsiteX7" fmla="*/ 3450614 w 3450614"/>
              <a:gd name="connsiteY7" fmla="*/ 2081042 h 4862287"/>
              <a:gd name="connsiteX8" fmla="*/ 3450614 w 3450614"/>
              <a:gd name="connsiteY8" fmla="*/ 2781245 h 4862287"/>
              <a:gd name="connsiteX9" fmla="*/ 3450614 w 3450614"/>
              <a:gd name="connsiteY9" fmla="*/ 3115676 h 4862287"/>
              <a:gd name="connsiteX10" fmla="*/ 3448555 w 3450614"/>
              <a:gd name="connsiteY10" fmla="*/ 3115676 h 4862287"/>
              <a:gd name="connsiteX11" fmla="*/ 3448555 w 3450614"/>
              <a:gd name="connsiteY11" fmla="*/ 3115677 h 4862287"/>
              <a:gd name="connsiteX12" fmla="*/ 3448555 w 3450614"/>
              <a:gd name="connsiteY12" fmla="*/ 3116199 h 4862287"/>
              <a:gd name="connsiteX13" fmla="*/ 3448555 w 3450614"/>
              <a:gd name="connsiteY13" fmla="*/ 3138605 h 4862287"/>
              <a:gd name="connsiteX14" fmla="*/ 3448555 w 3450614"/>
              <a:gd name="connsiteY14" fmla="*/ 3208212 h 4862287"/>
              <a:gd name="connsiteX15" fmla="*/ 3444255 w 3450614"/>
              <a:gd name="connsiteY15" fmla="*/ 3208212 h 4862287"/>
              <a:gd name="connsiteX16" fmla="*/ 3440728 w 3450614"/>
              <a:gd name="connsiteY16" fmla="*/ 3283711 h 4862287"/>
              <a:gd name="connsiteX17" fmla="*/ 3439830 w 3450614"/>
              <a:gd name="connsiteY17" fmla="*/ 3290202 h 4862287"/>
              <a:gd name="connsiteX18" fmla="*/ 3439651 w 3450614"/>
              <a:gd name="connsiteY18" fmla="*/ 3293788 h 4862287"/>
              <a:gd name="connsiteX19" fmla="*/ 3434630 w 3450614"/>
              <a:gd name="connsiteY19" fmla="*/ 3327838 h 4862287"/>
              <a:gd name="connsiteX20" fmla="*/ 3419589 w 3450614"/>
              <a:gd name="connsiteY20" fmla="*/ 3436693 h 4862287"/>
              <a:gd name="connsiteX21" fmla="*/ 3416731 w 3450614"/>
              <a:gd name="connsiteY21" fmla="*/ 3449212 h 4862287"/>
              <a:gd name="connsiteX22" fmla="*/ 3415644 w 3450614"/>
              <a:gd name="connsiteY22" fmla="*/ 3456587 h 4862287"/>
              <a:gd name="connsiteX23" fmla="*/ 3406357 w 3450614"/>
              <a:gd name="connsiteY23" fmla="*/ 3494653 h 4862287"/>
              <a:gd name="connsiteX24" fmla="*/ 3385699 w 3450614"/>
              <a:gd name="connsiteY24" fmla="*/ 3585139 h 4862287"/>
              <a:gd name="connsiteX25" fmla="*/ 3379816 w 3450614"/>
              <a:gd name="connsiteY25" fmla="*/ 3603445 h 4862287"/>
              <a:gd name="connsiteX26" fmla="*/ 3377210 w 3450614"/>
              <a:gd name="connsiteY26" fmla="*/ 3614128 h 4862287"/>
              <a:gd name="connsiteX27" fmla="*/ 3364680 w 3450614"/>
              <a:gd name="connsiteY27" fmla="*/ 3650544 h 4862287"/>
              <a:gd name="connsiteX28" fmla="*/ 3339643 w 3450614"/>
              <a:gd name="connsiteY28" fmla="*/ 3728452 h 4862287"/>
              <a:gd name="connsiteX29" fmla="*/ 3329740 w 3450614"/>
              <a:gd name="connsiteY29" fmla="*/ 3752093 h 4862287"/>
              <a:gd name="connsiteX30" fmla="*/ 3325063 w 3450614"/>
              <a:gd name="connsiteY30" fmla="*/ 3765685 h 4862287"/>
              <a:gd name="connsiteX31" fmla="*/ 3310233 w 3450614"/>
              <a:gd name="connsiteY31" fmla="*/ 3798661 h 4862287"/>
              <a:gd name="connsiteX32" fmla="*/ 3282010 w 3450614"/>
              <a:gd name="connsiteY32" fmla="*/ 3866035 h 4862287"/>
              <a:gd name="connsiteX33" fmla="*/ 3267141 w 3450614"/>
              <a:gd name="connsiteY33" fmla="*/ 3894476 h 4862287"/>
              <a:gd name="connsiteX34" fmla="*/ 3259917 w 3450614"/>
              <a:gd name="connsiteY34" fmla="*/ 3910538 h 4862287"/>
              <a:gd name="connsiteX35" fmla="*/ 3243649 w 3450614"/>
              <a:gd name="connsiteY35" fmla="*/ 3939410 h 4862287"/>
              <a:gd name="connsiteX36" fmla="*/ 3213389 w 3450614"/>
              <a:gd name="connsiteY36" fmla="*/ 3997293 h 4862287"/>
              <a:gd name="connsiteX37" fmla="*/ 3192653 w 3450614"/>
              <a:gd name="connsiteY37" fmla="*/ 4029922 h 4862287"/>
              <a:gd name="connsiteX38" fmla="*/ 3182489 w 3450614"/>
              <a:gd name="connsiteY38" fmla="*/ 4047960 h 4862287"/>
              <a:gd name="connsiteX39" fmla="*/ 3165573 w 3450614"/>
              <a:gd name="connsiteY39" fmla="*/ 4072530 h 4862287"/>
              <a:gd name="connsiteX40" fmla="*/ 3134368 w 3450614"/>
              <a:gd name="connsiteY40" fmla="*/ 4121631 h 4862287"/>
              <a:gd name="connsiteX41" fmla="*/ 3106897 w 3450614"/>
              <a:gd name="connsiteY41" fmla="*/ 4157755 h 4862287"/>
              <a:gd name="connsiteX42" fmla="*/ 3093490 w 3450614"/>
              <a:gd name="connsiteY42" fmla="*/ 4177230 h 4862287"/>
              <a:gd name="connsiteX43" fmla="*/ 3076642 w 3450614"/>
              <a:gd name="connsiteY43" fmla="*/ 4197541 h 4862287"/>
              <a:gd name="connsiteX44" fmla="*/ 3045532 w 3450614"/>
              <a:gd name="connsiteY44" fmla="*/ 4238452 h 4862287"/>
              <a:gd name="connsiteX45" fmla="*/ 3010479 w 3450614"/>
              <a:gd name="connsiteY45" fmla="*/ 4277313 h 4862287"/>
              <a:gd name="connsiteX46" fmla="*/ 2993635 w 3450614"/>
              <a:gd name="connsiteY46" fmla="*/ 4297621 h 4862287"/>
              <a:gd name="connsiteX47" fmla="*/ 2977507 w 3450614"/>
              <a:gd name="connsiteY47" fmla="*/ 4313865 h 4862287"/>
              <a:gd name="connsiteX48" fmla="*/ 2947474 w 3450614"/>
              <a:gd name="connsiteY48" fmla="*/ 4347160 h 4862287"/>
              <a:gd name="connsiteX49" fmla="*/ 2903963 w 3450614"/>
              <a:gd name="connsiteY49" fmla="*/ 4387941 h 4862287"/>
              <a:gd name="connsiteX50" fmla="*/ 2883638 w 3450614"/>
              <a:gd name="connsiteY50" fmla="*/ 4408412 h 4862287"/>
              <a:gd name="connsiteX51" fmla="*/ 2868821 w 3450614"/>
              <a:gd name="connsiteY51" fmla="*/ 4420877 h 4862287"/>
              <a:gd name="connsiteX52" fmla="*/ 2840778 w 3450614"/>
              <a:gd name="connsiteY52" fmla="*/ 4447160 h 4862287"/>
              <a:gd name="connsiteX53" fmla="*/ 2787837 w 3450614"/>
              <a:gd name="connsiteY53" fmla="*/ 4489006 h 4862287"/>
              <a:gd name="connsiteX54" fmla="*/ 2764214 w 3450614"/>
              <a:gd name="connsiteY54" fmla="*/ 4508880 h 4862287"/>
              <a:gd name="connsiteX55" fmla="*/ 2751241 w 3450614"/>
              <a:gd name="connsiteY55" fmla="*/ 4517932 h 4862287"/>
              <a:gd name="connsiteX56" fmla="*/ 2726034 w 3450614"/>
              <a:gd name="connsiteY56" fmla="*/ 4537856 h 4862287"/>
              <a:gd name="connsiteX57" fmla="*/ 2662417 w 3450614"/>
              <a:gd name="connsiteY57" fmla="*/ 4579917 h 4862287"/>
              <a:gd name="connsiteX58" fmla="*/ 2636077 w 3450614"/>
              <a:gd name="connsiteY58" fmla="*/ 4598299 h 4862287"/>
              <a:gd name="connsiteX59" fmla="*/ 2625433 w 3450614"/>
              <a:gd name="connsiteY59" fmla="*/ 4604369 h 4862287"/>
              <a:gd name="connsiteX60" fmla="*/ 2603830 w 3450614"/>
              <a:gd name="connsiteY60" fmla="*/ 4618652 h 4862287"/>
              <a:gd name="connsiteX61" fmla="*/ 2527603 w 3450614"/>
              <a:gd name="connsiteY61" fmla="*/ 4660169 h 4862287"/>
              <a:gd name="connsiteX62" fmla="*/ 2499940 w 3450614"/>
              <a:gd name="connsiteY62" fmla="*/ 4675947 h 4862287"/>
              <a:gd name="connsiteX63" fmla="*/ 2492063 w 3450614"/>
              <a:gd name="connsiteY63" fmla="*/ 4679525 h 4862287"/>
              <a:gd name="connsiteX64" fmla="*/ 2474754 w 3450614"/>
              <a:gd name="connsiteY64" fmla="*/ 4688952 h 4862287"/>
              <a:gd name="connsiteX65" fmla="*/ 2382012 w 3450614"/>
              <a:gd name="connsiteY65" fmla="*/ 4729518 h 4862287"/>
              <a:gd name="connsiteX66" fmla="*/ 2356518 w 3450614"/>
              <a:gd name="connsiteY66" fmla="*/ 4741099 h 4862287"/>
              <a:gd name="connsiteX67" fmla="*/ 2351802 w 3450614"/>
              <a:gd name="connsiteY67" fmla="*/ 4742732 h 4862287"/>
              <a:gd name="connsiteX68" fmla="*/ 2339394 w 3450614"/>
              <a:gd name="connsiteY68" fmla="*/ 4748160 h 4862287"/>
              <a:gd name="connsiteX69" fmla="*/ 2218506 w 3450614"/>
              <a:gd name="connsiteY69" fmla="*/ 4788884 h 4862287"/>
              <a:gd name="connsiteX70" fmla="*/ 2206525 w 3450614"/>
              <a:gd name="connsiteY70" fmla="*/ 4793033 h 4862287"/>
              <a:gd name="connsiteX71" fmla="*/ 2205321 w 3450614"/>
              <a:gd name="connsiteY71" fmla="*/ 4793327 h 4862287"/>
              <a:gd name="connsiteX72" fmla="*/ 2198337 w 3450614"/>
              <a:gd name="connsiteY72" fmla="*/ 4795679 h 4862287"/>
              <a:gd name="connsiteX73" fmla="*/ 1901489 w 3450614"/>
              <a:gd name="connsiteY73" fmla="*/ 4853272 h 4862287"/>
              <a:gd name="connsiteX74" fmla="*/ 1894746 w 3450614"/>
              <a:gd name="connsiteY74" fmla="*/ 4853617 h 4862287"/>
              <a:gd name="connsiteX75" fmla="*/ 1889684 w 3450614"/>
              <a:gd name="connsiteY75" fmla="*/ 4854350 h 4862287"/>
              <a:gd name="connsiteX76" fmla="*/ 1806254 w 3450614"/>
              <a:gd name="connsiteY76" fmla="*/ 4858353 h 4862287"/>
              <a:gd name="connsiteX77" fmla="*/ 1806254 w 3450614"/>
              <a:gd name="connsiteY77" fmla="*/ 4862286 h 4862287"/>
              <a:gd name="connsiteX78" fmla="*/ 1725313 w 3450614"/>
              <a:gd name="connsiteY78" fmla="*/ 4862286 h 4862287"/>
              <a:gd name="connsiteX79" fmla="*/ 1725296 w 3450614"/>
              <a:gd name="connsiteY79" fmla="*/ 4862287 h 4862287"/>
              <a:gd name="connsiteX80" fmla="*/ 1725280 w 3450614"/>
              <a:gd name="connsiteY80" fmla="*/ 4862286 h 4862287"/>
              <a:gd name="connsiteX81" fmla="*/ 1724265 w 3450614"/>
              <a:gd name="connsiteY81" fmla="*/ 4862286 h 4862287"/>
              <a:gd name="connsiteX82" fmla="*/ 2039 w 3450614"/>
              <a:gd name="connsiteY82" fmla="*/ 4862286 h 4862287"/>
              <a:gd name="connsiteX83" fmla="*/ 2039 w 3450614"/>
              <a:gd name="connsiteY83" fmla="*/ 3208212 h 4862287"/>
              <a:gd name="connsiteX84" fmla="*/ 0 w 3450614"/>
              <a:gd name="connsiteY84" fmla="*/ 3208212 h 4862287"/>
              <a:gd name="connsiteX85" fmla="*/ 0 w 3450614"/>
              <a:gd name="connsiteY85" fmla="*/ 3115677 h 4862287"/>
              <a:gd name="connsiteX86" fmla="*/ 0 w 3450614"/>
              <a:gd name="connsiteY86" fmla="*/ 2781245 h 4862287"/>
              <a:gd name="connsiteX87" fmla="*/ 0 w 3450614"/>
              <a:gd name="connsiteY87" fmla="*/ 2081042 h 4862287"/>
              <a:gd name="connsiteX88" fmla="*/ 0 w 3450614"/>
              <a:gd name="connsiteY88" fmla="*/ 1746611 h 4862287"/>
              <a:gd name="connsiteX89" fmla="*/ 2059 w 3450614"/>
              <a:gd name="connsiteY89" fmla="*/ 1746611 h 4862287"/>
              <a:gd name="connsiteX90" fmla="*/ 2059 w 3450614"/>
              <a:gd name="connsiteY90" fmla="*/ 1746610 h 4862287"/>
              <a:gd name="connsiteX91" fmla="*/ 2059 w 3450614"/>
              <a:gd name="connsiteY91" fmla="*/ 1746088 h 4862287"/>
              <a:gd name="connsiteX92" fmla="*/ 2059 w 3450614"/>
              <a:gd name="connsiteY92" fmla="*/ 1723682 h 4862287"/>
              <a:gd name="connsiteX93" fmla="*/ 2059 w 3450614"/>
              <a:gd name="connsiteY93" fmla="*/ 1654075 h 4862287"/>
              <a:gd name="connsiteX94" fmla="*/ 6359 w 3450614"/>
              <a:gd name="connsiteY94" fmla="*/ 1654075 h 4862287"/>
              <a:gd name="connsiteX95" fmla="*/ 9887 w 3450614"/>
              <a:gd name="connsiteY95" fmla="*/ 1578577 h 4862287"/>
              <a:gd name="connsiteX96" fmla="*/ 10784 w 3450614"/>
              <a:gd name="connsiteY96" fmla="*/ 1572084 h 4862287"/>
              <a:gd name="connsiteX97" fmla="*/ 10963 w 3450614"/>
              <a:gd name="connsiteY97" fmla="*/ 1568500 h 4862287"/>
              <a:gd name="connsiteX98" fmla="*/ 15984 w 3450614"/>
              <a:gd name="connsiteY98" fmla="*/ 1534449 h 4862287"/>
              <a:gd name="connsiteX99" fmla="*/ 31025 w 3450614"/>
              <a:gd name="connsiteY99" fmla="*/ 1425594 h 4862287"/>
              <a:gd name="connsiteX100" fmla="*/ 33883 w 3450614"/>
              <a:gd name="connsiteY100" fmla="*/ 1413074 h 4862287"/>
              <a:gd name="connsiteX101" fmla="*/ 34970 w 3450614"/>
              <a:gd name="connsiteY101" fmla="*/ 1405701 h 4862287"/>
              <a:gd name="connsiteX102" fmla="*/ 44257 w 3450614"/>
              <a:gd name="connsiteY102" fmla="*/ 1367635 h 4862287"/>
              <a:gd name="connsiteX103" fmla="*/ 64915 w 3450614"/>
              <a:gd name="connsiteY103" fmla="*/ 1277148 h 4862287"/>
              <a:gd name="connsiteX104" fmla="*/ 70798 w 3450614"/>
              <a:gd name="connsiteY104" fmla="*/ 1258842 h 4862287"/>
              <a:gd name="connsiteX105" fmla="*/ 73404 w 3450614"/>
              <a:gd name="connsiteY105" fmla="*/ 1248160 h 4862287"/>
              <a:gd name="connsiteX106" fmla="*/ 85934 w 3450614"/>
              <a:gd name="connsiteY106" fmla="*/ 1211743 h 4862287"/>
              <a:gd name="connsiteX107" fmla="*/ 110971 w 3450614"/>
              <a:gd name="connsiteY107" fmla="*/ 1133836 h 4862287"/>
              <a:gd name="connsiteX108" fmla="*/ 120874 w 3450614"/>
              <a:gd name="connsiteY108" fmla="*/ 1110194 h 4862287"/>
              <a:gd name="connsiteX109" fmla="*/ 125551 w 3450614"/>
              <a:gd name="connsiteY109" fmla="*/ 1096602 h 4862287"/>
              <a:gd name="connsiteX110" fmla="*/ 140381 w 3450614"/>
              <a:gd name="connsiteY110" fmla="*/ 1063627 h 4862287"/>
              <a:gd name="connsiteX111" fmla="*/ 168604 w 3450614"/>
              <a:gd name="connsiteY111" fmla="*/ 996252 h 4862287"/>
              <a:gd name="connsiteX112" fmla="*/ 183473 w 3450614"/>
              <a:gd name="connsiteY112" fmla="*/ 967811 h 4862287"/>
              <a:gd name="connsiteX113" fmla="*/ 190697 w 3450614"/>
              <a:gd name="connsiteY113" fmla="*/ 951749 h 4862287"/>
              <a:gd name="connsiteX114" fmla="*/ 206965 w 3450614"/>
              <a:gd name="connsiteY114" fmla="*/ 922877 h 4862287"/>
              <a:gd name="connsiteX115" fmla="*/ 237225 w 3450614"/>
              <a:gd name="connsiteY115" fmla="*/ 864994 h 4862287"/>
              <a:gd name="connsiteX116" fmla="*/ 257961 w 3450614"/>
              <a:gd name="connsiteY116" fmla="*/ 832366 h 4862287"/>
              <a:gd name="connsiteX117" fmla="*/ 268126 w 3450614"/>
              <a:gd name="connsiteY117" fmla="*/ 814326 h 4862287"/>
              <a:gd name="connsiteX118" fmla="*/ 285041 w 3450614"/>
              <a:gd name="connsiteY118" fmla="*/ 789757 h 4862287"/>
              <a:gd name="connsiteX119" fmla="*/ 316247 w 3450614"/>
              <a:gd name="connsiteY119" fmla="*/ 740656 h 4862287"/>
              <a:gd name="connsiteX120" fmla="*/ 343717 w 3450614"/>
              <a:gd name="connsiteY120" fmla="*/ 704532 h 4862287"/>
              <a:gd name="connsiteX121" fmla="*/ 357124 w 3450614"/>
              <a:gd name="connsiteY121" fmla="*/ 685058 h 4862287"/>
              <a:gd name="connsiteX122" fmla="*/ 373972 w 3450614"/>
              <a:gd name="connsiteY122" fmla="*/ 664746 h 4862287"/>
              <a:gd name="connsiteX123" fmla="*/ 405082 w 3450614"/>
              <a:gd name="connsiteY123" fmla="*/ 623835 h 4862287"/>
              <a:gd name="connsiteX124" fmla="*/ 440135 w 3450614"/>
              <a:gd name="connsiteY124" fmla="*/ 584975 h 4862287"/>
              <a:gd name="connsiteX125" fmla="*/ 456979 w 3450614"/>
              <a:gd name="connsiteY125" fmla="*/ 564666 h 4862287"/>
              <a:gd name="connsiteX126" fmla="*/ 473107 w 3450614"/>
              <a:gd name="connsiteY126" fmla="*/ 548422 h 4862287"/>
              <a:gd name="connsiteX127" fmla="*/ 503141 w 3450614"/>
              <a:gd name="connsiteY127" fmla="*/ 515126 h 4862287"/>
              <a:gd name="connsiteX128" fmla="*/ 546651 w 3450614"/>
              <a:gd name="connsiteY128" fmla="*/ 474346 h 4862287"/>
              <a:gd name="connsiteX129" fmla="*/ 566976 w 3450614"/>
              <a:gd name="connsiteY129" fmla="*/ 453875 h 4862287"/>
              <a:gd name="connsiteX130" fmla="*/ 581793 w 3450614"/>
              <a:gd name="connsiteY130" fmla="*/ 441410 h 4862287"/>
              <a:gd name="connsiteX131" fmla="*/ 609835 w 3450614"/>
              <a:gd name="connsiteY131" fmla="*/ 415127 h 4862287"/>
              <a:gd name="connsiteX132" fmla="*/ 662777 w 3450614"/>
              <a:gd name="connsiteY132" fmla="*/ 373281 h 4862287"/>
              <a:gd name="connsiteX133" fmla="*/ 686400 w 3450614"/>
              <a:gd name="connsiteY133" fmla="*/ 353407 h 4862287"/>
              <a:gd name="connsiteX134" fmla="*/ 699372 w 3450614"/>
              <a:gd name="connsiteY134" fmla="*/ 344355 h 4862287"/>
              <a:gd name="connsiteX135" fmla="*/ 724580 w 3450614"/>
              <a:gd name="connsiteY135" fmla="*/ 324431 h 4862287"/>
              <a:gd name="connsiteX136" fmla="*/ 788197 w 3450614"/>
              <a:gd name="connsiteY136" fmla="*/ 282370 h 4862287"/>
              <a:gd name="connsiteX137" fmla="*/ 814537 w 3450614"/>
              <a:gd name="connsiteY137" fmla="*/ 263988 h 4862287"/>
              <a:gd name="connsiteX138" fmla="*/ 825181 w 3450614"/>
              <a:gd name="connsiteY138" fmla="*/ 257919 h 4862287"/>
              <a:gd name="connsiteX139" fmla="*/ 846784 w 3450614"/>
              <a:gd name="connsiteY139" fmla="*/ 243635 h 4862287"/>
              <a:gd name="connsiteX140" fmla="*/ 923012 w 3450614"/>
              <a:gd name="connsiteY140" fmla="*/ 202119 h 4862287"/>
              <a:gd name="connsiteX141" fmla="*/ 950674 w 3450614"/>
              <a:gd name="connsiteY141" fmla="*/ 186341 h 4862287"/>
              <a:gd name="connsiteX142" fmla="*/ 958551 w 3450614"/>
              <a:gd name="connsiteY142" fmla="*/ 182762 h 4862287"/>
              <a:gd name="connsiteX143" fmla="*/ 975861 w 3450614"/>
              <a:gd name="connsiteY143" fmla="*/ 173335 h 4862287"/>
              <a:gd name="connsiteX144" fmla="*/ 1068602 w 3450614"/>
              <a:gd name="connsiteY144" fmla="*/ 132770 h 4862287"/>
              <a:gd name="connsiteX145" fmla="*/ 1094096 w 3450614"/>
              <a:gd name="connsiteY145" fmla="*/ 121188 h 4862287"/>
              <a:gd name="connsiteX146" fmla="*/ 1098812 w 3450614"/>
              <a:gd name="connsiteY146" fmla="*/ 119555 h 4862287"/>
              <a:gd name="connsiteX147" fmla="*/ 1111220 w 3450614"/>
              <a:gd name="connsiteY147" fmla="*/ 114128 h 4862287"/>
              <a:gd name="connsiteX148" fmla="*/ 1232108 w 3450614"/>
              <a:gd name="connsiteY148" fmla="*/ 73404 h 4862287"/>
              <a:gd name="connsiteX149" fmla="*/ 1244089 w 3450614"/>
              <a:gd name="connsiteY149" fmla="*/ 69254 h 4862287"/>
              <a:gd name="connsiteX150" fmla="*/ 1245293 w 3450614"/>
              <a:gd name="connsiteY150" fmla="*/ 68960 h 4862287"/>
              <a:gd name="connsiteX151" fmla="*/ 1252276 w 3450614"/>
              <a:gd name="connsiteY151" fmla="*/ 66608 h 4862287"/>
              <a:gd name="connsiteX152" fmla="*/ 1549124 w 3450614"/>
              <a:gd name="connsiteY152" fmla="*/ 9015 h 4862287"/>
              <a:gd name="connsiteX153" fmla="*/ 1555869 w 3450614"/>
              <a:gd name="connsiteY153" fmla="*/ 8671 h 4862287"/>
              <a:gd name="connsiteX154" fmla="*/ 1560930 w 3450614"/>
              <a:gd name="connsiteY154" fmla="*/ 7937 h 4862287"/>
              <a:gd name="connsiteX155" fmla="*/ 1644360 w 3450614"/>
              <a:gd name="connsiteY155" fmla="*/ 3934 h 4862287"/>
              <a:gd name="connsiteX156" fmla="*/ 1644360 w 3450614"/>
              <a:gd name="connsiteY156" fmla="*/ 1 h 4862287"/>
              <a:gd name="connsiteX157" fmla="*/ 1725301 w 3450614"/>
              <a:gd name="connsiteY157" fmla="*/ 1 h 4862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3450614" h="4862287">
                <a:moveTo>
                  <a:pt x="1725317" y="0"/>
                </a:moveTo>
                <a:lnTo>
                  <a:pt x="1725334" y="1"/>
                </a:lnTo>
                <a:lnTo>
                  <a:pt x="1726349" y="1"/>
                </a:lnTo>
                <a:lnTo>
                  <a:pt x="3448576" y="1"/>
                </a:lnTo>
                <a:lnTo>
                  <a:pt x="3448576" y="1654075"/>
                </a:lnTo>
                <a:lnTo>
                  <a:pt x="3450614" y="1654075"/>
                </a:lnTo>
                <a:lnTo>
                  <a:pt x="3450614" y="1746610"/>
                </a:lnTo>
                <a:lnTo>
                  <a:pt x="3450614" y="2081042"/>
                </a:lnTo>
                <a:lnTo>
                  <a:pt x="3450614" y="2781245"/>
                </a:lnTo>
                <a:lnTo>
                  <a:pt x="3450614" y="3115676"/>
                </a:lnTo>
                <a:lnTo>
                  <a:pt x="3448555" y="3115676"/>
                </a:lnTo>
                <a:lnTo>
                  <a:pt x="3448555" y="3115677"/>
                </a:lnTo>
                <a:lnTo>
                  <a:pt x="3448555" y="3116199"/>
                </a:lnTo>
                <a:lnTo>
                  <a:pt x="3448555" y="3138605"/>
                </a:lnTo>
                <a:lnTo>
                  <a:pt x="3448555" y="3208212"/>
                </a:lnTo>
                <a:lnTo>
                  <a:pt x="3444255" y="3208212"/>
                </a:lnTo>
                <a:lnTo>
                  <a:pt x="3440728" y="3283711"/>
                </a:lnTo>
                <a:lnTo>
                  <a:pt x="3439830" y="3290202"/>
                </a:lnTo>
                <a:lnTo>
                  <a:pt x="3439651" y="3293788"/>
                </a:lnTo>
                <a:lnTo>
                  <a:pt x="3434630" y="3327838"/>
                </a:lnTo>
                <a:lnTo>
                  <a:pt x="3419589" y="3436693"/>
                </a:lnTo>
                <a:lnTo>
                  <a:pt x="3416731" y="3449212"/>
                </a:lnTo>
                <a:lnTo>
                  <a:pt x="3415644" y="3456587"/>
                </a:lnTo>
                <a:lnTo>
                  <a:pt x="3406357" y="3494653"/>
                </a:lnTo>
                <a:lnTo>
                  <a:pt x="3385699" y="3585139"/>
                </a:lnTo>
                <a:lnTo>
                  <a:pt x="3379816" y="3603445"/>
                </a:lnTo>
                <a:lnTo>
                  <a:pt x="3377210" y="3614128"/>
                </a:lnTo>
                <a:lnTo>
                  <a:pt x="3364680" y="3650544"/>
                </a:lnTo>
                <a:lnTo>
                  <a:pt x="3339643" y="3728452"/>
                </a:lnTo>
                <a:lnTo>
                  <a:pt x="3329740" y="3752093"/>
                </a:lnTo>
                <a:lnTo>
                  <a:pt x="3325063" y="3765685"/>
                </a:lnTo>
                <a:lnTo>
                  <a:pt x="3310233" y="3798661"/>
                </a:lnTo>
                <a:lnTo>
                  <a:pt x="3282010" y="3866035"/>
                </a:lnTo>
                <a:lnTo>
                  <a:pt x="3267141" y="3894476"/>
                </a:lnTo>
                <a:lnTo>
                  <a:pt x="3259917" y="3910538"/>
                </a:lnTo>
                <a:lnTo>
                  <a:pt x="3243649" y="3939410"/>
                </a:lnTo>
                <a:lnTo>
                  <a:pt x="3213389" y="3997293"/>
                </a:lnTo>
                <a:lnTo>
                  <a:pt x="3192653" y="4029922"/>
                </a:lnTo>
                <a:lnTo>
                  <a:pt x="3182489" y="4047960"/>
                </a:lnTo>
                <a:lnTo>
                  <a:pt x="3165573" y="4072530"/>
                </a:lnTo>
                <a:lnTo>
                  <a:pt x="3134368" y="4121631"/>
                </a:lnTo>
                <a:lnTo>
                  <a:pt x="3106897" y="4157755"/>
                </a:lnTo>
                <a:lnTo>
                  <a:pt x="3093490" y="4177230"/>
                </a:lnTo>
                <a:lnTo>
                  <a:pt x="3076642" y="4197541"/>
                </a:lnTo>
                <a:lnTo>
                  <a:pt x="3045532" y="4238452"/>
                </a:lnTo>
                <a:lnTo>
                  <a:pt x="3010479" y="4277313"/>
                </a:lnTo>
                <a:lnTo>
                  <a:pt x="2993635" y="4297621"/>
                </a:lnTo>
                <a:lnTo>
                  <a:pt x="2977507" y="4313865"/>
                </a:lnTo>
                <a:lnTo>
                  <a:pt x="2947474" y="4347160"/>
                </a:lnTo>
                <a:lnTo>
                  <a:pt x="2903963" y="4387941"/>
                </a:lnTo>
                <a:lnTo>
                  <a:pt x="2883638" y="4408412"/>
                </a:lnTo>
                <a:lnTo>
                  <a:pt x="2868821" y="4420877"/>
                </a:lnTo>
                <a:lnTo>
                  <a:pt x="2840778" y="4447160"/>
                </a:lnTo>
                <a:lnTo>
                  <a:pt x="2787837" y="4489006"/>
                </a:lnTo>
                <a:lnTo>
                  <a:pt x="2764214" y="4508880"/>
                </a:lnTo>
                <a:lnTo>
                  <a:pt x="2751241" y="4517932"/>
                </a:lnTo>
                <a:lnTo>
                  <a:pt x="2726034" y="4537856"/>
                </a:lnTo>
                <a:lnTo>
                  <a:pt x="2662417" y="4579917"/>
                </a:lnTo>
                <a:lnTo>
                  <a:pt x="2636077" y="4598299"/>
                </a:lnTo>
                <a:lnTo>
                  <a:pt x="2625433" y="4604369"/>
                </a:lnTo>
                <a:lnTo>
                  <a:pt x="2603830" y="4618652"/>
                </a:lnTo>
                <a:lnTo>
                  <a:pt x="2527603" y="4660169"/>
                </a:lnTo>
                <a:lnTo>
                  <a:pt x="2499940" y="4675947"/>
                </a:lnTo>
                <a:lnTo>
                  <a:pt x="2492063" y="4679525"/>
                </a:lnTo>
                <a:lnTo>
                  <a:pt x="2474754" y="4688952"/>
                </a:lnTo>
                <a:lnTo>
                  <a:pt x="2382012" y="4729518"/>
                </a:lnTo>
                <a:lnTo>
                  <a:pt x="2356518" y="4741099"/>
                </a:lnTo>
                <a:lnTo>
                  <a:pt x="2351802" y="4742732"/>
                </a:lnTo>
                <a:lnTo>
                  <a:pt x="2339394" y="4748160"/>
                </a:lnTo>
                <a:lnTo>
                  <a:pt x="2218506" y="4788884"/>
                </a:lnTo>
                <a:lnTo>
                  <a:pt x="2206525" y="4793033"/>
                </a:lnTo>
                <a:lnTo>
                  <a:pt x="2205321" y="4793327"/>
                </a:lnTo>
                <a:lnTo>
                  <a:pt x="2198337" y="4795679"/>
                </a:lnTo>
                <a:cubicBezTo>
                  <a:pt x="2102531" y="4823331"/>
                  <a:pt x="2003321" y="4842793"/>
                  <a:pt x="1901489" y="4853272"/>
                </a:cubicBezTo>
                <a:lnTo>
                  <a:pt x="1894746" y="4853617"/>
                </a:lnTo>
                <a:lnTo>
                  <a:pt x="1889684" y="4854350"/>
                </a:lnTo>
                <a:lnTo>
                  <a:pt x="1806254" y="4858353"/>
                </a:lnTo>
                <a:lnTo>
                  <a:pt x="1806254" y="4862286"/>
                </a:lnTo>
                <a:lnTo>
                  <a:pt x="1725313" y="4862286"/>
                </a:lnTo>
                <a:lnTo>
                  <a:pt x="1725296" y="4862287"/>
                </a:lnTo>
                <a:lnTo>
                  <a:pt x="1725280" y="4862286"/>
                </a:lnTo>
                <a:lnTo>
                  <a:pt x="1724265" y="4862286"/>
                </a:lnTo>
                <a:lnTo>
                  <a:pt x="2039" y="4862286"/>
                </a:lnTo>
                <a:lnTo>
                  <a:pt x="2039" y="3208212"/>
                </a:lnTo>
                <a:lnTo>
                  <a:pt x="0" y="3208212"/>
                </a:lnTo>
                <a:lnTo>
                  <a:pt x="0" y="3115677"/>
                </a:lnTo>
                <a:lnTo>
                  <a:pt x="0" y="2781245"/>
                </a:lnTo>
                <a:lnTo>
                  <a:pt x="0" y="2081042"/>
                </a:lnTo>
                <a:lnTo>
                  <a:pt x="0" y="1746611"/>
                </a:lnTo>
                <a:lnTo>
                  <a:pt x="2059" y="1746611"/>
                </a:lnTo>
                <a:lnTo>
                  <a:pt x="2059" y="1746610"/>
                </a:lnTo>
                <a:lnTo>
                  <a:pt x="2059" y="1746088"/>
                </a:lnTo>
                <a:lnTo>
                  <a:pt x="2059" y="1723682"/>
                </a:lnTo>
                <a:lnTo>
                  <a:pt x="2059" y="1654075"/>
                </a:lnTo>
                <a:lnTo>
                  <a:pt x="6359" y="1654075"/>
                </a:lnTo>
                <a:lnTo>
                  <a:pt x="9887" y="1578577"/>
                </a:lnTo>
                <a:lnTo>
                  <a:pt x="10784" y="1572084"/>
                </a:lnTo>
                <a:lnTo>
                  <a:pt x="10963" y="1568500"/>
                </a:lnTo>
                <a:lnTo>
                  <a:pt x="15984" y="1534449"/>
                </a:lnTo>
                <a:lnTo>
                  <a:pt x="31025" y="1425594"/>
                </a:lnTo>
                <a:lnTo>
                  <a:pt x="33883" y="1413074"/>
                </a:lnTo>
                <a:lnTo>
                  <a:pt x="34970" y="1405701"/>
                </a:lnTo>
                <a:lnTo>
                  <a:pt x="44257" y="1367635"/>
                </a:lnTo>
                <a:lnTo>
                  <a:pt x="64915" y="1277148"/>
                </a:lnTo>
                <a:lnTo>
                  <a:pt x="70798" y="1258842"/>
                </a:lnTo>
                <a:lnTo>
                  <a:pt x="73404" y="1248160"/>
                </a:lnTo>
                <a:lnTo>
                  <a:pt x="85934" y="1211743"/>
                </a:lnTo>
                <a:lnTo>
                  <a:pt x="110971" y="1133836"/>
                </a:lnTo>
                <a:lnTo>
                  <a:pt x="120874" y="1110194"/>
                </a:lnTo>
                <a:lnTo>
                  <a:pt x="125551" y="1096602"/>
                </a:lnTo>
                <a:lnTo>
                  <a:pt x="140381" y="1063627"/>
                </a:lnTo>
                <a:lnTo>
                  <a:pt x="168604" y="996252"/>
                </a:lnTo>
                <a:lnTo>
                  <a:pt x="183473" y="967811"/>
                </a:lnTo>
                <a:lnTo>
                  <a:pt x="190697" y="951749"/>
                </a:lnTo>
                <a:lnTo>
                  <a:pt x="206965" y="922877"/>
                </a:lnTo>
                <a:lnTo>
                  <a:pt x="237225" y="864994"/>
                </a:lnTo>
                <a:lnTo>
                  <a:pt x="257961" y="832366"/>
                </a:lnTo>
                <a:lnTo>
                  <a:pt x="268126" y="814326"/>
                </a:lnTo>
                <a:lnTo>
                  <a:pt x="285041" y="789757"/>
                </a:lnTo>
                <a:lnTo>
                  <a:pt x="316247" y="740656"/>
                </a:lnTo>
                <a:lnTo>
                  <a:pt x="343717" y="704532"/>
                </a:lnTo>
                <a:lnTo>
                  <a:pt x="357124" y="685058"/>
                </a:lnTo>
                <a:lnTo>
                  <a:pt x="373972" y="664746"/>
                </a:lnTo>
                <a:lnTo>
                  <a:pt x="405082" y="623835"/>
                </a:lnTo>
                <a:lnTo>
                  <a:pt x="440135" y="584975"/>
                </a:lnTo>
                <a:lnTo>
                  <a:pt x="456979" y="564666"/>
                </a:lnTo>
                <a:lnTo>
                  <a:pt x="473107" y="548422"/>
                </a:lnTo>
                <a:lnTo>
                  <a:pt x="503141" y="515126"/>
                </a:lnTo>
                <a:lnTo>
                  <a:pt x="546651" y="474346"/>
                </a:lnTo>
                <a:lnTo>
                  <a:pt x="566976" y="453875"/>
                </a:lnTo>
                <a:lnTo>
                  <a:pt x="581793" y="441410"/>
                </a:lnTo>
                <a:lnTo>
                  <a:pt x="609835" y="415127"/>
                </a:lnTo>
                <a:lnTo>
                  <a:pt x="662777" y="373281"/>
                </a:lnTo>
                <a:lnTo>
                  <a:pt x="686400" y="353407"/>
                </a:lnTo>
                <a:lnTo>
                  <a:pt x="699372" y="344355"/>
                </a:lnTo>
                <a:lnTo>
                  <a:pt x="724580" y="324431"/>
                </a:lnTo>
                <a:lnTo>
                  <a:pt x="788197" y="282370"/>
                </a:lnTo>
                <a:lnTo>
                  <a:pt x="814537" y="263988"/>
                </a:lnTo>
                <a:lnTo>
                  <a:pt x="825181" y="257919"/>
                </a:lnTo>
                <a:lnTo>
                  <a:pt x="846784" y="243635"/>
                </a:lnTo>
                <a:lnTo>
                  <a:pt x="923012" y="202119"/>
                </a:lnTo>
                <a:lnTo>
                  <a:pt x="950674" y="186341"/>
                </a:lnTo>
                <a:lnTo>
                  <a:pt x="958551" y="182762"/>
                </a:lnTo>
                <a:lnTo>
                  <a:pt x="975861" y="173335"/>
                </a:lnTo>
                <a:lnTo>
                  <a:pt x="1068602" y="132770"/>
                </a:lnTo>
                <a:lnTo>
                  <a:pt x="1094096" y="121188"/>
                </a:lnTo>
                <a:lnTo>
                  <a:pt x="1098812" y="119555"/>
                </a:lnTo>
                <a:lnTo>
                  <a:pt x="1111220" y="114128"/>
                </a:lnTo>
                <a:lnTo>
                  <a:pt x="1232108" y="73404"/>
                </a:lnTo>
                <a:lnTo>
                  <a:pt x="1244089" y="69254"/>
                </a:lnTo>
                <a:lnTo>
                  <a:pt x="1245293" y="68960"/>
                </a:lnTo>
                <a:lnTo>
                  <a:pt x="1252276" y="66608"/>
                </a:lnTo>
                <a:cubicBezTo>
                  <a:pt x="1348082" y="38957"/>
                  <a:pt x="1447293" y="19494"/>
                  <a:pt x="1549124" y="9015"/>
                </a:cubicBezTo>
                <a:lnTo>
                  <a:pt x="1555869" y="8671"/>
                </a:lnTo>
                <a:lnTo>
                  <a:pt x="1560930" y="7937"/>
                </a:lnTo>
                <a:lnTo>
                  <a:pt x="1644360" y="3934"/>
                </a:lnTo>
                <a:lnTo>
                  <a:pt x="1644360" y="1"/>
                </a:lnTo>
                <a:lnTo>
                  <a:pt x="1725301" y="1"/>
                </a:lnTo>
                <a:close/>
              </a:path>
            </a:pathLst>
          </a:custGeom>
        </p:spPr>
        <p:txBody>
          <a:bodyPr wrap="square">
            <a:noAutofit/>
          </a:bodyPr>
          <a:lstStyle/>
          <a:p>
            <a:endParaRPr lang="en-US"/>
          </a:p>
        </p:txBody>
      </p:sp>
    </p:spTree>
    <p:extLst>
      <p:ext uri="{BB962C8B-B14F-4D97-AF65-F5344CB8AC3E}">
        <p14:creationId xmlns:p14="http://schemas.microsoft.com/office/powerpoint/2010/main" val="898180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26" Type="http://schemas.openxmlformats.org/officeDocument/2006/relationships/theme" Target="../theme/theme10.xml"/><Relationship Id="rId3" Type="http://schemas.openxmlformats.org/officeDocument/2006/relationships/slideLayout" Target="../slideLayouts/slideLayout152.xml"/><Relationship Id="rId21" Type="http://schemas.openxmlformats.org/officeDocument/2006/relationships/slideLayout" Target="../slideLayouts/slideLayout170.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5" Type="http://schemas.openxmlformats.org/officeDocument/2006/relationships/slideLayout" Target="../slideLayouts/slideLayout174.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slideLayout" Target="../slideLayouts/slideLayout169.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24" Type="http://schemas.openxmlformats.org/officeDocument/2006/relationships/slideLayout" Target="../slideLayouts/slideLayout173.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23" Type="http://schemas.openxmlformats.org/officeDocument/2006/relationships/slideLayout" Target="../slideLayouts/slideLayout172.xml"/><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slideLayout" Target="../slideLayouts/slideLayout171.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177.xml"/><Relationship Id="rId7" Type="http://schemas.openxmlformats.org/officeDocument/2006/relationships/slideLayout" Target="../slideLayouts/slideLayout181.xml"/><Relationship Id="rId2" Type="http://schemas.openxmlformats.org/officeDocument/2006/relationships/slideLayout" Target="../slideLayouts/slideLayout176.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5" Type="http://schemas.openxmlformats.org/officeDocument/2006/relationships/slideLayout" Target="../slideLayouts/slideLayout179.xml"/><Relationship Id="rId4" Type="http://schemas.openxmlformats.org/officeDocument/2006/relationships/slideLayout" Target="../slideLayouts/slideLayout17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theme" Target="../theme/theme12.x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2" Type="http://schemas.openxmlformats.org/officeDocument/2006/relationships/slideLayout" Target="../slideLayouts/slideLayout183.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0" Type="http://schemas.openxmlformats.org/officeDocument/2006/relationships/slideLayout" Target="../slideLayouts/slideLayout191.xml"/><Relationship Id="rId4" Type="http://schemas.openxmlformats.org/officeDocument/2006/relationships/slideLayout" Target="../slideLayouts/slideLayout185.xml"/><Relationship Id="rId9" Type="http://schemas.openxmlformats.org/officeDocument/2006/relationships/slideLayout" Target="../slideLayouts/slideLayout19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slideLayout" Target="../slideLayouts/slideLayout206.xml"/><Relationship Id="rId18" Type="http://schemas.openxmlformats.org/officeDocument/2006/relationships/oleObject" Target="../embeddings/oleObject14.bin"/><Relationship Id="rId3" Type="http://schemas.openxmlformats.org/officeDocument/2006/relationships/slideLayout" Target="../slideLayouts/slideLayout196.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tags" Target="../tags/tag28.xml"/><Relationship Id="rId2" Type="http://schemas.openxmlformats.org/officeDocument/2006/relationships/slideLayout" Target="../slideLayouts/slideLayout195.xml"/><Relationship Id="rId16" Type="http://schemas.openxmlformats.org/officeDocument/2006/relationships/tags" Target="../tags/tag27.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5" Type="http://schemas.openxmlformats.org/officeDocument/2006/relationships/slideLayout" Target="../slideLayouts/slideLayout198.xml"/><Relationship Id="rId15" Type="http://schemas.openxmlformats.org/officeDocument/2006/relationships/theme" Target="../theme/theme13.xml"/><Relationship Id="rId10" Type="http://schemas.openxmlformats.org/officeDocument/2006/relationships/slideLayout" Target="../slideLayouts/slideLayout203.xml"/><Relationship Id="rId19" Type="http://schemas.openxmlformats.org/officeDocument/2006/relationships/image" Target="../media/image3.emf"/><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image" Target="../media/image3.emf"/><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oleObject" Target="../embeddings/oleObject1.bin"/><Relationship Id="rId2" Type="http://schemas.openxmlformats.org/officeDocument/2006/relationships/slideLayout" Target="../slideLayouts/slideLayout30.xml"/><Relationship Id="rId16" Type="http://schemas.openxmlformats.org/officeDocument/2006/relationships/tags" Target="../tags/tag2.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ags" Target="../tags/tag1.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image" Target="../media/image7.emf"/><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oleObject" Target="../embeddings/oleObject12.bin"/><Relationship Id="rId2" Type="http://schemas.openxmlformats.org/officeDocument/2006/relationships/slideLayout" Target="../slideLayouts/slideLayout43.xml"/><Relationship Id="rId16" Type="http://schemas.openxmlformats.org/officeDocument/2006/relationships/tags" Target="../tags/tag24.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tags" Target="../tags/tag23.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6" Type="http://schemas.openxmlformats.org/officeDocument/2006/relationships/theme" Target="../theme/theme5.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 Type="http://schemas.openxmlformats.org/officeDocument/2006/relationships/slideLayout" Target="../slideLayouts/slideLayout98.xml"/><Relationship Id="rId21" Type="http://schemas.openxmlformats.org/officeDocument/2006/relationships/slideLayout" Target="../slideLayouts/slideLayout116.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29" Type="http://schemas.openxmlformats.org/officeDocument/2006/relationships/slideLayout" Target="../slideLayouts/slideLayout124.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theme" Target="../theme/theme9.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E16D989-4D6C-CCC2-BE96-254E2ACE2AA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28280A87-1241-102B-1F69-F191671431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9A5F3973-FE1E-BDD1-0E54-5758A694346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FB3A63-0457-4056-959C-681C51DC124A}" type="datetimeFigureOut">
              <a:rPr lang="en-ID" smtClean="0"/>
              <a:t>12/12/2023</a:t>
            </a:fld>
            <a:endParaRPr lang="en-ID"/>
          </a:p>
        </p:txBody>
      </p:sp>
      <p:sp>
        <p:nvSpPr>
          <p:cNvPr id="5" name="Footer Placeholder 4">
            <a:extLst>
              <a:ext uri="{FF2B5EF4-FFF2-40B4-BE49-F238E27FC236}">
                <a16:creationId xmlns:a16="http://schemas.microsoft.com/office/drawing/2014/main" id="{386EEBD7-A8A6-B434-9EDE-BB5D64BE64C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D"/>
          </a:p>
        </p:txBody>
      </p:sp>
      <p:sp>
        <p:nvSpPr>
          <p:cNvPr id="6" name="Slide Number Placeholder 5">
            <a:extLst>
              <a:ext uri="{FF2B5EF4-FFF2-40B4-BE49-F238E27FC236}">
                <a16:creationId xmlns:a16="http://schemas.microsoft.com/office/drawing/2014/main" id="{082DAB4E-2084-8346-D1E3-CAF346FB656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5A0E4C-AEED-4EAC-B96D-5DCBA748C5AA}" type="slidenum">
              <a:rPr lang="en-ID" smtClean="0"/>
              <a:t>‹#›</a:t>
            </a:fld>
            <a:endParaRPr lang="en-ID"/>
          </a:p>
        </p:txBody>
      </p:sp>
    </p:spTree>
    <p:extLst>
      <p:ext uri="{BB962C8B-B14F-4D97-AF65-F5344CB8AC3E}">
        <p14:creationId xmlns:p14="http://schemas.microsoft.com/office/powerpoint/2010/main" val="3532605545"/>
      </p:ext>
    </p:extLst>
  </p:cSld>
  <p:clrMap bg1="lt1" tx1="dk1" bg2="lt2" tx2="dk2" accent1="accent1" accent2="accent2" accent3="accent3" accent4="accent4" accent5="accent5" accent6="accent6" hlink="hlink" folHlink="folHlink"/>
  <p:sldLayoutIdLst>
    <p:sldLayoutId id="2147484059" r:id="rId1"/>
    <p:sldLayoutId id="2147484060" r:id="rId2"/>
    <p:sldLayoutId id="2147484061" r:id="rId3"/>
    <p:sldLayoutId id="2147484062" r:id="rId4"/>
    <p:sldLayoutId id="2147484063" r:id="rId5"/>
    <p:sldLayoutId id="2147484064" r:id="rId6"/>
    <p:sldLayoutId id="2147484065" r:id="rId7"/>
    <p:sldLayoutId id="2147484066" r:id="rId8"/>
    <p:sldLayoutId id="2147484067" r:id="rId9"/>
    <p:sldLayoutId id="2147484068" r:id="rId10"/>
    <p:sldLayoutId id="214748406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pattFill prst="lgGrid">
          <a:fgClr>
            <a:srgbClr val="F6F5F8"/>
          </a:fgClr>
          <a:bgClr>
            <a:schemeClr val="bg1"/>
          </a:bgClr>
        </a:patt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0711390"/>
      </p:ext>
    </p:extLst>
  </p:cSld>
  <p:clrMap bg1="lt1" tx1="dk1" bg2="lt2" tx2="dk2" accent1="accent1" accent2="accent2" accent3="accent3" accent4="accent4" accent5="accent5" accent6="accent6" hlink="hlink" folHlink="folHlink"/>
  <p:sldLayoutIdLst>
    <p:sldLayoutId id="2147484023" r:id="rId1"/>
    <p:sldLayoutId id="2147484024" r:id="rId2"/>
    <p:sldLayoutId id="2147484025" r:id="rId3"/>
    <p:sldLayoutId id="2147484026" r:id="rId4"/>
    <p:sldLayoutId id="2147484027" r:id="rId5"/>
    <p:sldLayoutId id="2147484028" r:id="rId6"/>
    <p:sldLayoutId id="2147484029" r:id="rId7"/>
    <p:sldLayoutId id="2147484030" r:id="rId8"/>
    <p:sldLayoutId id="2147484031" r:id="rId9"/>
    <p:sldLayoutId id="2147484032" r:id="rId10"/>
    <p:sldLayoutId id="2147484033" r:id="rId11"/>
    <p:sldLayoutId id="2147484034" r:id="rId12"/>
    <p:sldLayoutId id="2147484035" r:id="rId13"/>
    <p:sldLayoutId id="2147484036" r:id="rId14"/>
    <p:sldLayoutId id="2147484037" r:id="rId15"/>
    <p:sldLayoutId id="2147484038" r:id="rId16"/>
    <p:sldLayoutId id="2147484039" r:id="rId17"/>
    <p:sldLayoutId id="2147484040" r:id="rId18"/>
    <p:sldLayoutId id="2147484041" r:id="rId19"/>
    <p:sldLayoutId id="2147484042" r:id="rId20"/>
    <p:sldLayoutId id="2147484043" r:id="rId21"/>
    <p:sldLayoutId id="2147484044" r:id="rId22"/>
    <p:sldLayoutId id="2147484045" r:id="rId23"/>
    <p:sldLayoutId id="2147484046" r:id="rId24"/>
    <p:sldLayoutId id="2147484047" r:id="rId2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7701212"/>
      </p:ext>
    </p:extLst>
  </p:cSld>
  <p:clrMap bg1="lt1" tx1="dk1" bg2="lt2" tx2="dk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54" r:id="rId5"/>
    <p:sldLayoutId id="2147484055" r:id="rId6"/>
    <p:sldLayoutId id="2147484056" r:id="rId7"/>
  </p:sldLayoutIdLst>
  <p:txStyles>
    <p:titleStyle>
      <a:lvl1pPr algn="l" defTabSz="91430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7" indent="-228577" algn="l" defTabSz="91430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1" indent="-228577" algn="l" defTabSz="91430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86" indent="-228577" algn="l" defTabSz="91430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40"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94"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42">
          <p15:clr>
            <a:srgbClr val="F26B43"/>
          </p15:clr>
        </p15:guide>
        <p15:guide id="2" pos="280">
          <p15:clr>
            <a:srgbClr val="F26B43"/>
          </p15:clr>
        </p15:guide>
        <p15:guide id="3" pos="7401">
          <p15:clr>
            <a:srgbClr val="F26B43"/>
          </p15:clr>
        </p15:guide>
        <p15:guide id="4" orient="horz" pos="278">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7069483-3D68-B87B-1A3D-9ED1F790EAF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070171C1-ADF3-259C-6D46-365EEF46A98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4BE5F60A-498C-25D9-1526-7375CBE7993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84ED6E5-7F45-4282-B189-698C06F862DD}" type="datetimeFigureOut">
              <a:rPr lang="en-ID" smtClean="0"/>
              <a:t>12/12/2023</a:t>
            </a:fld>
            <a:endParaRPr lang="en-ID"/>
          </a:p>
        </p:txBody>
      </p:sp>
      <p:sp>
        <p:nvSpPr>
          <p:cNvPr id="5" name="Footer Placeholder 4">
            <a:extLst>
              <a:ext uri="{FF2B5EF4-FFF2-40B4-BE49-F238E27FC236}">
                <a16:creationId xmlns:a16="http://schemas.microsoft.com/office/drawing/2014/main" id="{6B2BF1CC-E7EB-B0D6-194B-ECD3F4BB726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D"/>
          </a:p>
        </p:txBody>
      </p:sp>
      <p:sp>
        <p:nvSpPr>
          <p:cNvPr id="6" name="Slide Number Placeholder 5">
            <a:extLst>
              <a:ext uri="{FF2B5EF4-FFF2-40B4-BE49-F238E27FC236}">
                <a16:creationId xmlns:a16="http://schemas.microsoft.com/office/drawing/2014/main" id="{536A914E-842D-D2B1-9C25-D085414D1D8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438B275-EEAF-4280-B421-105E2A74F45A}" type="slidenum">
              <a:rPr lang="en-ID" smtClean="0"/>
              <a:t>‹#›</a:t>
            </a:fld>
            <a:endParaRPr lang="en-ID"/>
          </a:p>
        </p:txBody>
      </p:sp>
    </p:spTree>
    <p:extLst>
      <p:ext uri="{BB962C8B-B14F-4D97-AF65-F5344CB8AC3E}">
        <p14:creationId xmlns:p14="http://schemas.microsoft.com/office/powerpoint/2010/main" val="214331260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60"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C400A77-AD0B-405E-A5FA-E65B071C7CEB}"/>
              </a:ext>
            </a:extLst>
          </p:cNvPr>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81" imgH="381" progId="TCLayout.ActiveDocument.1">
                  <p:embed/>
                </p:oleObj>
              </mc:Choice>
              <mc:Fallback>
                <p:oleObj name="think-cell Slide" r:id="rId18" imgW="381" imgH="381" progId="TCLayout.ActiveDocument.1">
                  <p:embed/>
                  <p:pic>
                    <p:nvPicPr>
                      <p:cNvPr id="8" name="Object 7" hidden="1">
                        <a:extLst>
                          <a:ext uri="{FF2B5EF4-FFF2-40B4-BE49-F238E27FC236}">
                            <a16:creationId xmlns:a16="http://schemas.microsoft.com/office/drawing/2014/main" id="{EC400A77-AD0B-405E-A5FA-E65B071C7CEB}"/>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B645C99-D70B-4790-B0BE-1C95AB6555BB}"/>
              </a:ext>
            </a:extLst>
          </p:cNvPr>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Placeholder 1">
            <a:extLst>
              <a:ext uri="{FF2B5EF4-FFF2-40B4-BE49-F238E27FC236}">
                <a16:creationId xmlns:a16="http://schemas.microsoft.com/office/drawing/2014/main" id="{C22C23F0-DCF9-41B0-AA2D-CF76531A033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484D7B43-34F1-4B75-8BE8-A4E952C9142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021E6030-3EAA-4394-A32C-021176AB378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C427EFE-020E-4662-B68A-EB3CD7C19C13}" type="datetimeFigureOut">
              <a:rPr lang="en-ID" smtClean="0"/>
              <a:t>12/12/2023</a:t>
            </a:fld>
            <a:endParaRPr lang="en-ID"/>
          </a:p>
        </p:txBody>
      </p:sp>
      <p:sp>
        <p:nvSpPr>
          <p:cNvPr id="5" name="Footer Placeholder 4">
            <a:extLst>
              <a:ext uri="{FF2B5EF4-FFF2-40B4-BE49-F238E27FC236}">
                <a16:creationId xmlns:a16="http://schemas.microsoft.com/office/drawing/2014/main" id="{89072208-910C-4EDC-96B9-5730526A9AC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D"/>
          </a:p>
        </p:txBody>
      </p:sp>
      <p:sp>
        <p:nvSpPr>
          <p:cNvPr id="6" name="Slide Number Placeholder 5">
            <a:extLst>
              <a:ext uri="{FF2B5EF4-FFF2-40B4-BE49-F238E27FC236}">
                <a16:creationId xmlns:a16="http://schemas.microsoft.com/office/drawing/2014/main" id="{E70A8EAB-110A-49AD-BCB5-6042D31E8AC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496F1BE-04CE-4CAE-A759-6641647F1F40}" type="slidenum">
              <a:rPr lang="en-ID" smtClean="0"/>
              <a:t>‹#›</a:t>
            </a:fld>
            <a:endParaRPr lang="en-ID"/>
          </a:p>
        </p:txBody>
      </p:sp>
    </p:spTree>
    <p:extLst>
      <p:ext uri="{BB962C8B-B14F-4D97-AF65-F5344CB8AC3E}">
        <p14:creationId xmlns:p14="http://schemas.microsoft.com/office/powerpoint/2010/main" val="1248150485"/>
      </p:ext>
    </p:extLst>
  </p:cSld>
  <p:clrMap bg1="lt1" tx1="dk1" bg2="lt2" tx2="dk2" accent1="accent1" accent2="accent2" accent3="accent3" accent4="accent4" accent5="accent5" accent6="accent6" hlink="hlink" folHlink="folHlink"/>
  <p:sldLayoutIdLst>
    <p:sldLayoutId id="2147484071" r:id="rId1"/>
    <p:sldLayoutId id="2147484072" r:id="rId2"/>
    <p:sldLayoutId id="2147484073" r:id="rId3"/>
    <p:sldLayoutId id="2147484074" r:id="rId4"/>
    <p:sldLayoutId id="2147484075" r:id="rId5"/>
    <p:sldLayoutId id="2147484076" r:id="rId6"/>
    <p:sldLayoutId id="2147484077" r:id="rId7"/>
    <p:sldLayoutId id="2147484078" r:id="rId8"/>
    <p:sldLayoutId id="2147484079" r:id="rId9"/>
    <p:sldLayoutId id="2147484080" r:id="rId10"/>
    <p:sldLayoutId id="2147484081" r:id="rId11"/>
    <p:sldLayoutId id="2147484082" r:id="rId12"/>
    <p:sldLayoutId id="2147483738" r:id="rId13"/>
    <p:sldLayoutId id="2147484083"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0810715-F384-405E-B2D4-14A5DD866D8C}"/>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30EF3A42-39CB-4B1A-B8F4-C9A5833C0074}"/>
              </a:ext>
            </a:extLst>
          </p:cNvPr>
          <p:cNvSpPr>
            <a:spLocks noGrp="1"/>
          </p:cNvSpPr>
          <p:nvPr>
            <p:ph type="body" idx="1"/>
          </p:nvPr>
        </p:nvSpPr>
        <p:spPr>
          <a:xfrm>
            <a:off x="838200" y="1825626"/>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BC22C0DD-E642-4809-B860-CE63AC785B09}"/>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67F9B67-2119-4870-B423-950E2B02F070}" type="datetimeFigureOut">
              <a:rPr lang="en-ID" smtClean="0">
                <a:solidFill>
                  <a:prstClr val="black">
                    <a:tint val="75000"/>
                  </a:prstClr>
                </a:solidFill>
              </a:rPr>
              <a:pPr/>
              <a:t>12/12/2023</a:t>
            </a:fld>
            <a:endParaRPr lang="en-ID">
              <a:solidFill>
                <a:prstClr val="black">
                  <a:tint val="75000"/>
                </a:prstClr>
              </a:solidFill>
            </a:endParaRPr>
          </a:p>
        </p:txBody>
      </p:sp>
      <p:sp>
        <p:nvSpPr>
          <p:cNvPr id="5" name="Footer Placeholder 4">
            <a:extLst>
              <a:ext uri="{FF2B5EF4-FFF2-40B4-BE49-F238E27FC236}">
                <a16:creationId xmlns:a16="http://schemas.microsoft.com/office/drawing/2014/main" id="{D47C798E-E4BC-4D31-9825-205C3EA50D27}"/>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D">
              <a:solidFill>
                <a:prstClr val="black">
                  <a:tint val="75000"/>
                </a:prstClr>
              </a:solidFill>
            </a:endParaRPr>
          </a:p>
        </p:txBody>
      </p:sp>
      <p:sp>
        <p:nvSpPr>
          <p:cNvPr id="6" name="Slide Number Placeholder 5">
            <a:extLst>
              <a:ext uri="{FF2B5EF4-FFF2-40B4-BE49-F238E27FC236}">
                <a16:creationId xmlns:a16="http://schemas.microsoft.com/office/drawing/2014/main" id="{DB6EA2AB-6643-4957-978C-C0764B231AC7}"/>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8928EB-67EA-4DF5-8889-76A19408D29A}" type="slidenum">
              <a:rPr lang="en-ID" smtClean="0">
                <a:solidFill>
                  <a:prstClr val="black">
                    <a:tint val="75000"/>
                  </a:prstClr>
                </a:solidFill>
              </a:rPr>
              <a:pPr/>
              <a:t>‹#›</a:t>
            </a:fld>
            <a:endParaRPr lang="en-ID">
              <a:solidFill>
                <a:prstClr val="black">
                  <a:tint val="75000"/>
                </a:prstClr>
              </a:solidFill>
            </a:endParaRPr>
          </a:p>
        </p:txBody>
      </p:sp>
    </p:spTree>
    <p:extLst>
      <p:ext uri="{BB962C8B-B14F-4D97-AF65-F5344CB8AC3E}">
        <p14:creationId xmlns:p14="http://schemas.microsoft.com/office/powerpoint/2010/main" val="50890068"/>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981" r:id="rId14"/>
    <p:sldLayoutId id="2147483724" r:id="rId15"/>
    <p:sldLayoutId id="2147484086" r:id="rId16"/>
    <p:sldLayoutId id="2147484087" r:id="rId17"/>
  </p:sldLayoutIdLst>
  <p:txStyles>
    <p:titleStyle>
      <a:lvl1pPr algn="l" defTabSz="914446"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11" indent="-228611" algn="l" defTabSz="91444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34" indent="-228611" algn="l" defTabSz="9144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57" indent="-228611" algn="l" defTabSz="9144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80"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503"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pos="7242">
          <p15:clr>
            <a:srgbClr val="F26B43"/>
          </p15:clr>
        </p15:guide>
        <p15:guide id="3" orient="horz" pos="3748">
          <p15:clr>
            <a:srgbClr val="F26B43"/>
          </p15:clr>
        </p15:guide>
        <p15:guide id="4" orient="horz" pos="27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C400A77-AD0B-405E-A5FA-E65B071C7CEB}"/>
              </a:ext>
            </a:extLst>
          </p:cNvPr>
          <p:cNvGraphicFramePr>
            <a:graphicFrameLocks noChangeAspect="1"/>
          </p:cNvGraphicFramePr>
          <p:nvPr userDrawn="1">
            <p:custDataLst>
              <p:tags r:id="rId15"/>
            </p:custDataLst>
            <p:extLst>
              <p:ext uri="{D42A27DB-BD31-4B8C-83A1-F6EECF244321}">
                <p14:modId xmlns:p14="http://schemas.microsoft.com/office/powerpoint/2010/main" val="443801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81" imgH="381" progId="TCLayout.ActiveDocument.1">
                  <p:embed/>
                </p:oleObj>
              </mc:Choice>
              <mc:Fallback>
                <p:oleObj name="think-cell Slide" r:id="rId17" imgW="381" imgH="381" progId="TCLayout.ActiveDocument.1">
                  <p:embed/>
                  <p:pic>
                    <p:nvPicPr>
                      <p:cNvPr id="8" name="Object 7" hidden="1">
                        <a:extLst>
                          <a:ext uri="{FF2B5EF4-FFF2-40B4-BE49-F238E27FC236}">
                            <a16:creationId xmlns:a16="http://schemas.microsoft.com/office/drawing/2014/main" id="{EC400A77-AD0B-405E-A5FA-E65B071C7CE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B645C99-D70B-4790-B0BE-1C95AB6555BB}"/>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Segoe UI" panose="020B0502040204020203" pitchFamily="34" charset="0"/>
              <a:ea typeface="+mj-ea"/>
              <a:cs typeface="+mj-cs"/>
              <a:sym typeface="Segoe UI" panose="020B0502040204020203" pitchFamily="34" charset="0"/>
            </a:endParaRPr>
          </a:p>
        </p:txBody>
      </p:sp>
      <p:sp>
        <p:nvSpPr>
          <p:cNvPr id="2" name="Title Placeholder 1">
            <a:extLst>
              <a:ext uri="{FF2B5EF4-FFF2-40B4-BE49-F238E27FC236}">
                <a16:creationId xmlns:a16="http://schemas.microsoft.com/office/drawing/2014/main" id="{C22C23F0-DCF9-41B0-AA2D-CF76531A033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484D7B43-34F1-4B75-8BE8-A4E952C9142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021E6030-3EAA-4394-A32C-021176AB378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C427EFE-020E-4662-B68A-EB3CD7C19C13}" type="datetimeFigureOut">
              <a:rPr lang="en-ID" smtClean="0"/>
              <a:t>12/12/2023</a:t>
            </a:fld>
            <a:endParaRPr lang="en-ID"/>
          </a:p>
        </p:txBody>
      </p:sp>
      <p:sp>
        <p:nvSpPr>
          <p:cNvPr id="5" name="Footer Placeholder 4">
            <a:extLst>
              <a:ext uri="{FF2B5EF4-FFF2-40B4-BE49-F238E27FC236}">
                <a16:creationId xmlns:a16="http://schemas.microsoft.com/office/drawing/2014/main" id="{89072208-910C-4EDC-96B9-5730526A9AC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D"/>
          </a:p>
        </p:txBody>
      </p:sp>
      <p:sp>
        <p:nvSpPr>
          <p:cNvPr id="6" name="Slide Number Placeholder 5">
            <a:extLst>
              <a:ext uri="{FF2B5EF4-FFF2-40B4-BE49-F238E27FC236}">
                <a16:creationId xmlns:a16="http://schemas.microsoft.com/office/drawing/2014/main" id="{E70A8EAB-110A-49AD-BCB5-6042D31E8AC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496F1BE-04CE-4CAE-A759-6641647F1F40}" type="slidenum">
              <a:rPr lang="en-ID" smtClean="0"/>
              <a:t>‹#›</a:t>
            </a:fld>
            <a:endParaRPr lang="en-ID"/>
          </a:p>
        </p:txBody>
      </p:sp>
    </p:spTree>
    <p:extLst>
      <p:ext uri="{BB962C8B-B14F-4D97-AF65-F5344CB8AC3E}">
        <p14:creationId xmlns:p14="http://schemas.microsoft.com/office/powerpoint/2010/main" val="1248150485"/>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95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4EC3AC-F1CF-9E4C-885D-59835F089E6C}"/>
              </a:ext>
            </a:extLst>
          </p:cNvPr>
          <p:cNvGraphicFramePr>
            <a:graphicFrameLocks noChangeAspect="1"/>
          </p:cNvGraphicFramePr>
          <p:nvPr userDrawn="1">
            <p:custDataLst>
              <p:tags r:id="rId15"/>
            </p:custDataLst>
            <p:extLst>
              <p:ext uri="{D42A27DB-BD31-4B8C-83A1-F6EECF244321}">
                <p14:modId xmlns:p14="http://schemas.microsoft.com/office/powerpoint/2010/main" val="5625123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5" name="Object 4" hidden="1">
                        <a:extLst>
                          <a:ext uri="{FF2B5EF4-FFF2-40B4-BE49-F238E27FC236}">
                            <a16:creationId xmlns:a16="http://schemas.microsoft.com/office/drawing/2014/main" id="{544EC3AC-F1CF-9E4C-885D-59835F089E6C}"/>
                          </a:ext>
                        </a:extLst>
                      </p:cNvPr>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49BDBB0-C9C9-C241-A882-A3EBAA385177}"/>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Georgia" panose="02040502050405020303" pitchFamily="18" charset="0"/>
              <a:ea typeface="+mj-ea"/>
              <a:sym typeface="Georgia" panose="02040502050405020303" pitchFamily="18" charset="0"/>
            </a:endParaRPr>
          </a:p>
        </p:txBody>
      </p:sp>
      <p:sp>
        <p:nvSpPr>
          <p:cNvPr id="2" name="Title Placeholder 1">
            <a:extLst>
              <a:ext uri="{FF2B5EF4-FFF2-40B4-BE49-F238E27FC236}">
                <a16:creationId xmlns:a16="http://schemas.microsoft.com/office/drawing/2014/main" id="{21DE9C95-668D-4C97-99D8-074E1701B424}"/>
              </a:ext>
            </a:extLst>
          </p:cNvPr>
          <p:cNvSpPr>
            <a:spLocks noGrp="1"/>
          </p:cNvSpPr>
          <p:nvPr>
            <p:ph type="title"/>
          </p:nvPr>
        </p:nvSpPr>
        <p:spPr>
          <a:xfrm>
            <a:off x="533400" y="406400"/>
            <a:ext cx="11125200" cy="889000"/>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a16="http://schemas.microsoft.com/office/drawing/2014/main" id="{A2F9BE55-B1B7-4BDF-8E9F-D05E93906AC4}"/>
              </a:ext>
            </a:extLst>
          </p:cNvPr>
          <p:cNvSpPr>
            <a:spLocks noGrp="1"/>
          </p:cNvSpPr>
          <p:nvPr>
            <p:ph type="body" idx="1"/>
          </p:nvPr>
        </p:nvSpPr>
        <p:spPr>
          <a:xfrm>
            <a:off x="533400" y="1524000"/>
            <a:ext cx="11125200" cy="4652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Tree>
    <p:extLst>
      <p:ext uri="{BB962C8B-B14F-4D97-AF65-F5344CB8AC3E}">
        <p14:creationId xmlns:p14="http://schemas.microsoft.com/office/powerpoint/2010/main" val="2395111958"/>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 id="2147483832" r:id="rId10"/>
    <p:sldLayoutId id="2147483833" r:id="rId11"/>
    <p:sldLayoutId id="2147483834" r:id="rId12"/>
    <p:sldLayoutId id="2147484057" r:id="rId13"/>
  </p:sldLayoutIdLst>
  <p:txStyles>
    <p:title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
          <p15:clr>
            <a:srgbClr val="F26B43"/>
          </p15:clr>
        </p15:guide>
        <p15:guide id="2" pos="7344">
          <p15:clr>
            <a:srgbClr val="F26B43"/>
          </p15:clr>
        </p15:guide>
        <p15:guide id="3" orient="horz" pos="3936">
          <p15:clr>
            <a:srgbClr val="F26B43"/>
          </p15:clr>
        </p15:guide>
        <p15:guide id="5" orient="horz" pos="960">
          <p15:clr>
            <a:srgbClr val="F26B43"/>
          </p15:clr>
        </p15:guide>
        <p15:guide id="6" orient="horz" pos="8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d-ID"/>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54EAF8A-8E24-4573-AE52-517AF92AEB79}" type="datetimeFigureOut">
              <a:rPr lang="id-ID" smtClean="0"/>
              <a:t>12/12/2023</a:t>
            </a:fld>
            <a:endParaRPr lang="id-ID"/>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d-ID"/>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C580289-987A-4698-B2AB-644BC4CD6BF0}" type="slidenum">
              <a:rPr lang="id-ID" smtClean="0"/>
              <a:t>‹#›</a:t>
            </a:fld>
            <a:endParaRPr lang="id-ID"/>
          </a:p>
        </p:txBody>
      </p:sp>
    </p:spTree>
    <p:extLst>
      <p:ext uri="{BB962C8B-B14F-4D97-AF65-F5344CB8AC3E}">
        <p14:creationId xmlns:p14="http://schemas.microsoft.com/office/powerpoint/2010/main" val="2612585920"/>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id-ID"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Century Gothic Regular" charset="0"/>
              </a:defRPr>
            </a:lvl1pPr>
          </a:lstStyle>
          <a:p>
            <a:fld id="{93A7B52D-8857-4EA8-B190-DAAB9D7A9523}" type="datetimeFigureOut">
              <a:rPr lang="id-ID" smtClean="0">
                <a:solidFill>
                  <a:prstClr val="black">
                    <a:tint val="75000"/>
                  </a:prstClr>
                </a:solidFill>
              </a:rPr>
              <a:pPr/>
              <a:t>12/12/2023</a:t>
            </a:fld>
            <a:endParaRPr lang="id-ID"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Century Gothic Regular" charset="0"/>
              </a:defRPr>
            </a:lvl1pPr>
          </a:lstStyle>
          <a:p>
            <a:endParaRPr lang="id-ID"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Century Gothic Regular" charset="0"/>
              </a:defRPr>
            </a:lvl1pPr>
          </a:lstStyle>
          <a:p>
            <a:fld id="{34E38FA6-EE6B-4DF5-9366-651563408506}" type="slidenum">
              <a:rPr lang="id-ID" smtClean="0">
                <a:solidFill>
                  <a:prstClr val="black">
                    <a:tint val="75000"/>
                  </a:prstClr>
                </a:solidFill>
              </a:rPr>
              <a:pPr/>
              <a:t>‹#›</a:t>
            </a:fld>
            <a:endParaRPr lang="id-ID" dirty="0">
              <a:solidFill>
                <a:prstClr val="black">
                  <a:tint val="75000"/>
                </a:prstClr>
              </a:solidFill>
            </a:endParaRPr>
          </a:p>
        </p:txBody>
      </p:sp>
    </p:spTree>
    <p:extLst>
      <p:ext uri="{BB962C8B-B14F-4D97-AF65-F5344CB8AC3E}">
        <p14:creationId xmlns:p14="http://schemas.microsoft.com/office/powerpoint/2010/main" val="294042341"/>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Lst>
  <p:txStyles>
    <p:titleStyle>
      <a:lvl1pPr algn="l" defTabSz="914400" rtl="0" eaLnBrk="1" latinLnBrk="0" hangingPunct="1">
        <a:lnSpc>
          <a:spcPct val="90000"/>
        </a:lnSpc>
        <a:spcBef>
          <a:spcPct val="0"/>
        </a:spcBef>
        <a:buNone/>
        <a:defRPr sz="4400" b="0" i="0" kern="1200">
          <a:solidFill>
            <a:schemeClr val="tx1"/>
          </a:solidFill>
          <a:latin typeface="Century Gothic Regular"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Century Gothic Regular"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Century Gothic Regular"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Century Gothic Regular"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entury Gothic Regular"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entury Gothic Regular"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60789B-B2CE-47B4-919F-70C6DAB9CF6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0D5A94A-FC61-48A6-9910-75A4B805B8D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3DA1DBD-5C0C-4888-B917-44054DB025E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13D84E3-1DE8-4F33-A884-614083C34056}" type="datetimeFigureOut">
              <a:rPr lang="en-US" smtClean="0"/>
              <a:t>12/12/2023</a:t>
            </a:fld>
            <a:endParaRPr lang="en-US"/>
          </a:p>
        </p:txBody>
      </p:sp>
      <p:sp>
        <p:nvSpPr>
          <p:cNvPr id="5" name="Footer Placeholder 4">
            <a:extLst>
              <a:ext uri="{FF2B5EF4-FFF2-40B4-BE49-F238E27FC236}">
                <a16:creationId xmlns:a16="http://schemas.microsoft.com/office/drawing/2014/main" id="{CB77358C-9098-4674-ACDB-BDD372543BC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27513AF-9268-426C-B69C-DB3CADD7416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A9078B4-09E3-4E92-BBC9-74AC7508B2E8}" type="slidenum">
              <a:rPr lang="en-US" smtClean="0"/>
              <a:t>‹#›</a:t>
            </a:fld>
            <a:endParaRPr lang="en-US"/>
          </a:p>
        </p:txBody>
      </p:sp>
    </p:spTree>
    <p:extLst>
      <p:ext uri="{BB962C8B-B14F-4D97-AF65-F5344CB8AC3E}">
        <p14:creationId xmlns:p14="http://schemas.microsoft.com/office/powerpoint/2010/main" val="4244651670"/>
      </p:ext>
    </p:extLst>
  </p:cSld>
  <p:clrMap bg1="lt1" tx1="dk1" bg2="lt2" tx2="dk2" accent1="accent1" accent2="accent2" accent3="accent3" accent4="accent4" accent5="accent5" accent6="accent6" hlink="hlink" folHlink="folHlink"/>
  <p:sldLayoutIdLst>
    <p:sldLayoutId id="2147483954" r:id="rId1"/>
    <p:sldLayoutId id="2147483955" r:id="rId2"/>
    <p:sldLayoutId id="2147483956" r:id="rId3"/>
    <p:sldLayoutId id="2147483957" r:id="rId4"/>
    <p:sldLayoutId id="2147483958" r:id="rId5"/>
    <p:sldLayoutId id="2147483959" r:id="rId6"/>
    <p:sldLayoutId id="2147483960" r:id="rId7"/>
    <p:sldLayoutId id="2147483961" r:id="rId8"/>
    <p:sldLayoutId id="2147483962" r:id="rId9"/>
    <p:sldLayoutId id="2147483963" r:id="rId10"/>
    <p:sldLayoutId id="2147483964" r:id="rId11"/>
    <p:sldLayoutId id="2147483965" r:id="rId12"/>
    <p:sldLayoutId id="2147483966"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BC0169B-A9D3-4BA8-81B2-7D53EAB6829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48C56E1-9AD3-42D3-A2CE-7B73529672B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2EC1A2-C2A5-4323-BF31-352919B9E86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377AB3-EA0F-4564-BA11-CE86CEC2B74E}" type="datetimeFigureOut">
              <a:rPr lang="en-US" smtClean="0"/>
              <a:t>12/12/2023</a:t>
            </a:fld>
            <a:endParaRPr lang="en-US"/>
          </a:p>
        </p:txBody>
      </p:sp>
      <p:sp>
        <p:nvSpPr>
          <p:cNvPr id="5" name="Footer Placeholder 4">
            <a:extLst>
              <a:ext uri="{FF2B5EF4-FFF2-40B4-BE49-F238E27FC236}">
                <a16:creationId xmlns:a16="http://schemas.microsoft.com/office/drawing/2014/main" id="{535D1A3A-9C42-41BB-AD2B-86954C86C0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2C9FF7F-659A-4D75-9BB5-67CC5253CAD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EFBD112-55D8-4CF9-923F-275B1C8B9368}" type="slidenum">
              <a:rPr lang="en-US" smtClean="0"/>
              <a:t>‹#›</a:t>
            </a:fld>
            <a:endParaRPr lang="en-US"/>
          </a:p>
        </p:txBody>
      </p:sp>
    </p:spTree>
    <p:extLst>
      <p:ext uri="{BB962C8B-B14F-4D97-AF65-F5344CB8AC3E}">
        <p14:creationId xmlns:p14="http://schemas.microsoft.com/office/powerpoint/2010/main" val="1295917643"/>
      </p:ext>
    </p:extLst>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 id="2147483979" r:id="rId12"/>
    <p:sldLayoutId id="2147483980" r:id="rId13"/>
    <p:sldLayoutId id="2147484084" r:id="rId14"/>
    <p:sldLayoutId id="2147483982" r:id="rId15"/>
    <p:sldLayoutId id="2147483983" r:id="rId16"/>
    <p:sldLayoutId id="2147483984" r:id="rId17"/>
    <p:sldLayoutId id="2147483985" r:id="rId18"/>
    <p:sldLayoutId id="2147483986" r:id="rId19"/>
    <p:sldLayoutId id="2147483987" r:id="rId20"/>
    <p:sldLayoutId id="2147483988" r:id="rId21"/>
    <p:sldLayoutId id="2147483989" r:id="rId22"/>
    <p:sldLayoutId id="2147483990" r:id="rId23"/>
    <p:sldLayoutId id="2147483991" r:id="rId24"/>
    <p:sldLayoutId id="2147483992" r:id="rId25"/>
    <p:sldLayoutId id="2147483993" r:id="rId26"/>
    <p:sldLayoutId id="2147483994" r:id="rId27"/>
    <p:sldLayoutId id="2147483995" r:id="rId28"/>
    <p:sldLayoutId id="2147484085" r:id="rId2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F6F5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7904226"/>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 id="2147484017" r:id="rId21"/>
    <p:sldLayoutId id="2147484018" r:id="rId22"/>
    <p:sldLayoutId id="2147484019" r:id="rId23"/>
    <p:sldLayoutId id="2147484020" r:id="rId24"/>
    <p:sldLayoutId id="2147484021" r:id="rId2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8.png"/><Relationship Id="rId7"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176.xml"/><Relationship Id="rId6" Type="http://schemas.openxmlformats.org/officeDocument/2006/relationships/image" Target="../media/image20.jpeg"/><Relationship Id="rId5" Type="http://schemas.openxmlformats.org/officeDocument/2006/relationships/image" Target="../media/image19.jpeg"/><Relationship Id="rId4" Type="http://schemas.microsoft.com/office/2007/relationships/hdphoto" Target="../media/hdphoto2.wdp"/></Relationships>
</file>

<file path=ppt/slides/_rels/slide10.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69.xml"/><Relationship Id="rId6" Type="http://schemas.openxmlformats.org/officeDocument/2006/relationships/image" Target="../media/image61.svg"/><Relationship Id="rId5" Type="http://schemas.openxmlformats.org/officeDocument/2006/relationships/image" Target="../media/image60.png"/><Relationship Id="rId4" Type="http://schemas.openxmlformats.org/officeDocument/2006/relationships/image" Target="../media/image59.png"/></Relationships>
</file>

<file path=ppt/slides/_rels/slide1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7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1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xml"/><Relationship Id="rId1" Type="http://schemas.openxmlformats.org/officeDocument/2006/relationships/slideLayout" Target="../slideLayouts/slideLayout55.xml"/></Relationships>
</file>

<file path=ppt/slides/_rels/slide14.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Layout" Target="../slideLayouts/slideLayout56.xml"/></Relationships>
</file>

<file path=ppt/slides/_rels/slide15.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diagramLayout" Target="../diagrams/layout3.xml"/><Relationship Id="rId7" Type="http://schemas.openxmlformats.org/officeDocument/2006/relationships/image" Target="../media/image67.png"/><Relationship Id="rId2" Type="http://schemas.openxmlformats.org/officeDocument/2006/relationships/diagramData" Target="../diagrams/data3.xml"/><Relationship Id="rId1" Type="http://schemas.openxmlformats.org/officeDocument/2006/relationships/slideLayout" Target="../slideLayouts/slideLayout18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6.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Layout" Target="../slideLayouts/slideLayout183.xml"/></Relationships>
</file>

<file path=ppt/slides/_rels/slide1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83.xml"/><Relationship Id="rId5" Type="http://schemas.openxmlformats.org/officeDocument/2006/relationships/image" Target="../media/image71.png"/><Relationship Id="rId4" Type="http://schemas.openxmlformats.org/officeDocument/2006/relationships/image" Target="../media/image70.jpeg"/></Relationships>
</file>

<file path=ppt/slides/_rels/slide18.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diagramLayout" Target="../diagrams/layout4.xml"/><Relationship Id="rId7" Type="http://schemas.openxmlformats.org/officeDocument/2006/relationships/image" Target="../media/image72.png"/><Relationship Id="rId2" Type="http://schemas.openxmlformats.org/officeDocument/2006/relationships/diagramData" Target="../diagrams/data4.xml"/><Relationship Id="rId1" Type="http://schemas.openxmlformats.org/officeDocument/2006/relationships/slideLayout" Target="../slideLayouts/slideLayout18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9.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diagramLayout" Target="../diagrams/layout7.xml"/><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diagramData" Target="../diagrams/data7.xml"/><Relationship Id="rId2" Type="http://schemas.openxmlformats.org/officeDocument/2006/relationships/diagramData" Target="../diagrams/data5.xml"/><Relationship Id="rId16" Type="http://schemas.microsoft.com/office/2007/relationships/diagramDrawing" Target="../diagrams/drawing7.xml"/><Relationship Id="rId1" Type="http://schemas.openxmlformats.org/officeDocument/2006/relationships/slideLayout" Target="../slideLayouts/slideLayout82.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5" Type="http://schemas.openxmlformats.org/officeDocument/2006/relationships/diagramColors" Target="../diagrams/colors7.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 Id="rId14" Type="http://schemas.openxmlformats.org/officeDocument/2006/relationships/diagramQuickStyle" Target="../diagrams/quickStyle7.xml"/></Relationships>
</file>

<file path=ppt/slides/_rels/slide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Layout" Target="../slideLayouts/slideLayout7.xml"/><Relationship Id="rId4" Type="http://schemas.openxmlformats.org/officeDocument/2006/relationships/image" Target="../media/image25.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6.xml"/></Relationships>
</file>

<file path=ppt/slides/_rels/slide2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6.xml"/><Relationship Id="rId1" Type="http://schemas.openxmlformats.org/officeDocument/2006/relationships/slideLayout" Target="../slideLayouts/slideLayout54.xml"/><Relationship Id="rId4" Type="http://schemas.openxmlformats.org/officeDocument/2006/relationships/image" Target="../media/image74.png"/></Relationships>
</file>

<file path=ppt/slides/_rels/slide2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41.xml"/><Relationship Id="rId5" Type="http://schemas.openxmlformats.org/officeDocument/2006/relationships/image" Target="../media/image78.png"/><Relationship Id="rId4" Type="http://schemas.openxmlformats.org/officeDocument/2006/relationships/image" Target="../media/image77.png"/></Relationships>
</file>

<file path=ppt/slides/_rels/slide2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41.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2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5.png"/><Relationship Id="rId1" Type="http://schemas.openxmlformats.org/officeDocument/2006/relationships/slideLayout" Target="../slideLayouts/slideLayout41.xml"/><Relationship Id="rId5" Type="http://schemas.openxmlformats.org/officeDocument/2006/relationships/image" Target="../media/image79.png"/><Relationship Id="rId4" Type="http://schemas.openxmlformats.org/officeDocument/2006/relationships/image" Target="../media/image78.png"/></Relationships>
</file>

<file path=ppt/slides/_rels/slide25.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image" Target="../media/image39.jpeg"/><Relationship Id="rId7" Type="http://schemas.openxmlformats.org/officeDocument/2006/relationships/diagramColors" Target="../diagrams/colors8.xml"/><Relationship Id="rId2" Type="http://schemas.openxmlformats.org/officeDocument/2006/relationships/notesSlide" Target="../notesSlides/notesSlide7.xml"/><Relationship Id="rId1" Type="http://schemas.openxmlformats.org/officeDocument/2006/relationships/slideLayout" Target="../slideLayouts/slideLayout34.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2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Layout" Target="../slideLayouts/slideLayout35.xml"/><Relationship Id="rId4" Type="http://schemas.openxmlformats.org/officeDocument/2006/relationships/image" Target="../media/image25.png"/></Relationships>
</file>

<file path=ppt/slides/_rels/slide2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8.xml"/><Relationship Id="rId1" Type="http://schemas.openxmlformats.org/officeDocument/2006/relationships/slideLayout" Target="../slideLayouts/slideLayout90.xml"/><Relationship Id="rId6" Type="http://schemas.openxmlformats.org/officeDocument/2006/relationships/image" Target="../media/image82.emf"/><Relationship Id="rId5" Type="http://schemas.openxmlformats.org/officeDocument/2006/relationships/image" Target="../media/image81.png"/><Relationship Id="rId4" Type="http://schemas.microsoft.com/office/2007/relationships/hdphoto" Target="../media/hdphoto7.wdp"/></Relationships>
</file>

<file path=ppt/slides/_rels/slide28.xml.rels><?xml version="1.0" encoding="UTF-8" standalone="yes"?>
<Relationships xmlns="http://schemas.openxmlformats.org/package/2006/relationships"><Relationship Id="rId3" Type="http://schemas.openxmlformats.org/officeDocument/2006/relationships/image" Target="../media/image80.png"/><Relationship Id="rId7" Type="http://schemas.openxmlformats.org/officeDocument/2006/relationships/image" Target="../media/image84.svg"/><Relationship Id="rId2" Type="http://schemas.openxmlformats.org/officeDocument/2006/relationships/notesSlide" Target="../notesSlides/notesSlide9.xml"/><Relationship Id="rId1" Type="http://schemas.openxmlformats.org/officeDocument/2006/relationships/slideLayout" Target="../slideLayouts/slideLayout90.xml"/><Relationship Id="rId6" Type="http://schemas.openxmlformats.org/officeDocument/2006/relationships/image" Target="../media/image83.png"/><Relationship Id="rId5" Type="http://schemas.openxmlformats.org/officeDocument/2006/relationships/image" Target="../media/image81.png"/><Relationship Id="rId4" Type="http://schemas.microsoft.com/office/2007/relationships/hdphoto" Target="../media/hdphoto8.wdp"/></Relationships>
</file>

<file path=ppt/slides/_rels/slide2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jpeg"/><Relationship Id="rId1" Type="http://schemas.openxmlformats.org/officeDocument/2006/relationships/slideLayout" Target="../slideLayouts/slideLayout114.xml"/><Relationship Id="rId6" Type="http://schemas.openxmlformats.org/officeDocument/2006/relationships/image" Target="../media/image89.emf"/><Relationship Id="rId5" Type="http://schemas.openxmlformats.org/officeDocument/2006/relationships/image" Target="../media/image88.png"/><Relationship Id="rId4" Type="http://schemas.openxmlformats.org/officeDocument/2006/relationships/image" Target="../media/image87.svg"/></Relationships>
</file>

<file path=ppt/slides/_rels/slide3.xml.rels><?xml version="1.0" encoding="UTF-8" standalone="yes"?>
<Relationships xmlns="http://schemas.openxmlformats.org/package/2006/relationships"><Relationship Id="rId8" Type="http://schemas.microsoft.com/office/2007/relationships/hdphoto" Target="../media/hdphoto5.wdp"/><Relationship Id="rId3" Type="http://schemas.microsoft.com/office/2007/relationships/hdphoto" Target="../media/hdphoto3.wdp"/><Relationship Id="rId7" Type="http://schemas.openxmlformats.org/officeDocument/2006/relationships/image" Target="../media/image29.png"/><Relationship Id="rId2" Type="http://schemas.openxmlformats.org/officeDocument/2006/relationships/image" Target="../media/image26.png"/><Relationship Id="rId1" Type="http://schemas.openxmlformats.org/officeDocument/2006/relationships/slideLayout" Target="../slideLayouts/slideLayout26.xml"/><Relationship Id="rId6" Type="http://schemas.openxmlformats.org/officeDocument/2006/relationships/image" Target="../media/image28.png"/><Relationship Id="rId5" Type="http://schemas.microsoft.com/office/2007/relationships/hdphoto" Target="../media/hdphoto4.wdp"/><Relationship Id="rId10" Type="http://schemas.openxmlformats.org/officeDocument/2006/relationships/image" Target="../media/image31.png"/><Relationship Id="rId4" Type="http://schemas.openxmlformats.org/officeDocument/2006/relationships/image" Target="../media/image27.png"/><Relationship Id="rId9" Type="http://schemas.openxmlformats.org/officeDocument/2006/relationships/image" Target="../media/image30.png"/></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Layout" Target="../slideLayouts/slideLayout124.xml"/><Relationship Id="rId4" Type="http://schemas.openxmlformats.org/officeDocument/2006/relationships/image" Target="../media/image25.png"/></Relationships>
</file>

<file path=ppt/slides/_rels/slide3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0.xml"/><Relationship Id="rId1" Type="http://schemas.openxmlformats.org/officeDocument/2006/relationships/slideLayout" Target="../slideLayouts/slideLayout27.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3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1.xml"/><Relationship Id="rId1" Type="http://schemas.openxmlformats.org/officeDocument/2006/relationships/slideLayout" Target="../slideLayouts/slideLayout28.xml"/><Relationship Id="rId4" Type="http://schemas.openxmlformats.org/officeDocument/2006/relationships/image" Target="../media/image92.png"/></Relationships>
</file>

<file path=ppt/slides/_rels/slide3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2.xml"/><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3.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Layout" Target="../slideLayouts/slideLayout15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9.jpeg"/><Relationship Id="rId7" Type="http://schemas.openxmlformats.org/officeDocument/2006/relationships/diagramColors" Target="../diagrams/colors1.xml"/><Relationship Id="rId2" Type="http://schemas.openxmlformats.org/officeDocument/2006/relationships/notesSlide" Target="../notesSlides/notesSlide2.xml"/><Relationship Id="rId1" Type="http://schemas.openxmlformats.org/officeDocument/2006/relationships/slideLayout" Target="../slideLayouts/slideLayout199.xml"/><Relationship Id="rId6" Type="http://schemas.openxmlformats.org/officeDocument/2006/relationships/diagramQuickStyle" Target="../diagrams/quickStyle1.xml"/><Relationship Id="rId5" Type="http://schemas.openxmlformats.org/officeDocument/2006/relationships/diagramLayout" Target="../diagrams/layout1.xml"/><Relationship Id="rId10" Type="http://schemas.openxmlformats.org/officeDocument/2006/relationships/image" Target="../media/image41.png"/><Relationship Id="rId4" Type="http://schemas.openxmlformats.org/officeDocument/2006/relationships/diagramData" Target="../diagrams/data1.xml"/><Relationship Id="rId9" Type="http://schemas.openxmlformats.org/officeDocument/2006/relationships/image" Target="../media/image40.png"/></Relationships>
</file>

<file path=ppt/slides/_rels/slide6.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svg"/><Relationship Id="rId3" Type="http://schemas.openxmlformats.org/officeDocument/2006/relationships/image" Target="../media/image42.png"/><Relationship Id="rId7" Type="http://schemas.openxmlformats.org/officeDocument/2006/relationships/image" Target="../media/image45.svg"/><Relationship Id="rId12" Type="http://schemas.openxmlformats.org/officeDocument/2006/relationships/image" Target="../media/image50.png"/><Relationship Id="rId2" Type="http://schemas.openxmlformats.org/officeDocument/2006/relationships/notesSlide" Target="../notesSlides/notesSlide3.xml"/><Relationship Id="rId1" Type="http://schemas.openxmlformats.org/officeDocument/2006/relationships/slideLayout" Target="../slideLayouts/slideLayout140.xml"/><Relationship Id="rId6" Type="http://schemas.openxmlformats.org/officeDocument/2006/relationships/image" Target="../media/image44.png"/><Relationship Id="rId11" Type="http://schemas.openxmlformats.org/officeDocument/2006/relationships/image" Target="../media/image49.svg"/><Relationship Id="rId5" Type="http://schemas.openxmlformats.org/officeDocument/2006/relationships/image" Target="../media/image43.png"/><Relationship Id="rId15" Type="http://schemas.openxmlformats.org/officeDocument/2006/relationships/image" Target="../media/image53.svg"/><Relationship Id="rId10" Type="http://schemas.openxmlformats.org/officeDocument/2006/relationships/image" Target="../media/image48.png"/><Relationship Id="rId4" Type="http://schemas.microsoft.com/office/2007/relationships/hdphoto" Target="../media/hdphoto6.wdp"/><Relationship Id="rId9" Type="http://schemas.openxmlformats.org/officeDocument/2006/relationships/image" Target="../media/image47.svg"/><Relationship Id="rId14" Type="http://schemas.openxmlformats.org/officeDocument/2006/relationships/image" Target="../media/image52.pn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Layout" Target="../slideLayouts/slideLayout35.xml"/><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diagramLayout" Target="../diagrams/layout2.xml"/><Relationship Id="rId7" Type="http://schemas.openxmlformats.org/officeDocument/2006/relationships/image" Target="../media/image44.png"/><Relationship Id="rId2" Type="http://schemas.openxmlformats.org/officeDocument/2006/relationships/diagramData" Target="../diagrams/data2.xml"/><Relationship Id="rId1" Type="http://schemas.openxmlformats.org/officeDocument/2006/relationships/slideLayout" Target="../slideLayouts/slideLayout40.xml"/><Relationship Id="rId6" Type="http://schemas.microsoft.com/office/2007/relationships/diagramDrawing" Target="../diagrams/drawing2.xml"/><Relationship Id="rId5" Type="http://schemas.openxmlformats.org/officeDocument/2006/relationships/diagramColors" Target="../diagrams/colors2.xml"/><Relationship Id="rId10" Type="http://schemas.openxmlformats.org/officeDocument/2006/relationships/image" Target="../media/image55.svg"/><Relationship Id="rId4" Type="http://schemas.openxmlformats.org/officeDocument/2006/relationships/diagramQuickStyle" Target="../diagrams/quickStyle2.xml"/><Relationship Id="rId9" Type="http://schemas.openxmlformats.org/officeDocument/2006/relationships/image" Target="../media/image54.png"/></Relationships>
</file>

<file path=ppt/slides/_rels/slide9.xml.rels><?xml version="1.0" encoding="UTF-8" standalone="yes"?>
<Relationships xmlns="http://schemas.openxmlformats.org/package/2006/relationships"><Relationship Id="rId3" Type="http://schemas.openxmlformats.org/officeDocument/2006/relationships/hyperlink" Target="https://oss.go.id/informasi/kbli-berbasis-risiko" TargetMode="External"/><Relationship Id="rId2" Type="http://schemas.openxmlformats.org/officeDocument/2006/relationships/image" Target="../media/image56.jpeg"/><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17000"/>
            <a:lum/>
            <a:extLst>
              <a:ext uri="{BEBA8EAE-BF5A-486C-A8C5-ECC9F3942E4B}">
                <a14:imgProps xmlns:a14="http://schemas.microsoft.com/office/drawing/2010/main">
                  <a14:imgLayer r:embed="rId4">
                    <a14:imgEffect>
                      <a14:sharpenSoften amount="5000"/>
                    </a14:imgEffect>
                    <a14:imgEffect>
                      <a14:saturation sat="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511" name="Rectangle: Rounded Corners 56">
            <a:extLst>
              <a:ext uri="{FF2B5EF4-FFF2-40B4-BE49-F238E27FC236}">
                <a16:creationId xmlns:a16="http://schemas.microsoft.com/office/drawing/2014/main" id="{9241543B-03A5-BD46-9123-7BC58CAC3E59}"/>
              </a:ext>
            </a:extLst>
          </p:cNvPr>
          <p:cNvSpPr/>
          <p:nvPr/>
        </p:nvSpPr>
        <p:spPr>
          <a:xfrm>
            <a:off x="284019" y="223704"/>
            <a:ext cx="11623963" cy="6410593"/>
          </a:xfrm>
          <a:prstGeom prst="roundRect">
            <a:avLst>
              <a:gd name="adj" fmla="val 10698"/>
            </a:avLst>
          </a:prstGeom>
          <a:gradFill flip="none" rotWithShape="1">
            <a:gsLst>
              <a:gs pos="46000">
                <a:schemeClr val="bg1">
                  <a:alpha val="17000"/>
                </a:schemeClr>
              </a:gs>
              <a:gs pos="96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538" name="Picture Placeholder 73">
            <a:extLst>
              <a:ext uri="{FF2B5EF4-FFF2-40B4-BE49-F238E27FC236}">
                <a16:creationId xmlns:a16="http://schemas.microsoft.com/office/drawing/2014/main" id="{14D42D94-4533-7D47-BC08-266445A3E9DE}"/>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a:xfrm>
            <a:off x="6337504" y="1054997"/>
            <a:ext cx="3555402" cy="3826347"/>
          </a:xfrm>
          <a:prstGeom prst="roundRect">
            <a:avLst>
              <a:gd name="adj" fmla="val 5391"/>
            </a:avLst>
          </a:prstGeom>
          <a:pattFill prst="smConfetti">
            <a:fgClr>
              <a:srgbClr val="70AD47">
                <a:lumMod val="75000"/>
              </a:srgbClr>
            </a:fgClr>
            <a:bgClr>
              <a:sysClr val="window" lastClr="FFFFFF"/>
            </a:bgClr>
          </a:pattFill>
        </p:spPr>
      </p:pic>
      <p:pic>
        <p:nvPicPr>
          <p:cNvPr id="539" name="Picture Placeholder 75">
            <a:extLst>
              <a:ext uri="{FF2B5EF4-FFF2-40B4-BE49-F238E27FC236}">
                <a16:creationId xmlns:a16="http://schemas.microsoft.com/office/drawing/2014/main" id="{0D422AE0-487F-7D48-8E36-51C93A6943E7}"/>
              </a:ext>
            </a:extLst>
          </p:cNvPr>
          <p:cNvPicPr>
            <a:picLocks noChangeAspect="1"/>
          </p:cNvPicPr>
          <p:nvPr/>
        </p:nvPicPr>
        <p:blipFill>
          <a:blip r:embed="rId6" cstate="hqprint">
            <a:extLst>
              <a:ext uri="{28A0092B-C50C-407E-A947-70E740481C1C}">
                <a14:useLocalDpi xmlns:a14="http://schemas.microsoft.com/office/drawing/2010/main"/>
              </a:ext>
            </a:extLst>
          </a:blip>
          <a:srcRect/>
          <a:stretch/>
        </p:blipFill>
        <p:spPr>
          <a:xfrm>
            <a:off x="10490464" y="1054997"/>
            <a:ext cx="3959437" cy="3826347"/>
          </a:xfrm>
          <a:prstGeom prst="roundRect">
            <a:avLst>
              <a:gd name="adj" fmla="val 5391"/>
            </a:avLst>
          </a:prstGeom>
          <a:pattFill prst="smConfetti">
            <a:fgClr>
              <a:srgbClr val="70AD47">
                <a:lumMod val="75000"/>
              </a:srgbClr>
            </a:fgClr>
            <a:bgClr>
              <a:sysClr val="window" lastClr="FFFFFF"/>
            </a:bgClr>
          </a:pattFill>
        </p:spPr>
      </p:pic>
      <p:sp>
        <p:nvSpPr>
          <p:cNvPr id="540" name="Rectangle: Rounded Corners 53">
            <a:extLst>
              <a:ext uri="{FF2B5EF4-FFF2-40B4-BE49-F238E27FC236}">
                <a16:creationId xmlns:a16="http://schemas.microsoft.com/office/drawing/2014/main" id="{0B620C5C-03ED-FB40-9587-1B4D1884918D}"/>
              </a:ext>
            </a:extLst>
          </p:cNvPr>
          <p:cNvSpPr/>
          <p:nvPr/>
        </p:nvSpPr>
        <p:spPr>
          <a:xfrm>
            <a:off x="6337504" y="2211190"/>
            <a:ext cx="3555402" cy="2670154"/>
          </a:xfrm>
          <a:prstGeom prst="roundRect">
            <a:avLst>
              <a:gd name="adj" fmla="val 7830"/>
            </a:avLst>
          </a:prstGeom>
          <a:gradFill>
            <a:gsLst>
              <a:gs pos="0">
                <a:srgbClr val="4472C4">
                  <a:alpha val="0"/>
                  <a:lumMod val="20000"/>
                </a:srgbClr>
              </a:gs>
              <a:gs pos="80000">
                <a:sysClr val="windowText" lastClr="000000">
                  <a:lumMod val="85000"/>
                  <a:lumOff val="15000"/>
                  <a:alpha val="76000"/>
                </a:sysClr>
              </a:gs>
            </a:gsLst>
            <a:lin ang="5400000" scaled="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541" name="Rectangle: Rounded Corners 54">
            <a:extLst>
              <a:ext uri="{FF2B5EF4-FFF2-40B4-BE49-F238E27FC236}">
                <a16:creationId xmlns:a16="http://schemas.microsoft.com/office/drawing/2014/main" id="{B29D4FBD-DDFB-8941-85EB-CF6A615D36EF}"/>
              </a:ext>
            </a:extLst>
          </p:cNvPr>
          <p:cNvSpPr/>
          <p:nvPr/>
        </p:nvSpPr>
        <p:spPr>
          <a:xfrm>
            <a:off x="10490224" y="2240339"/>
            <a:ext cx="3959437" cy="2670154"/>
          </a:xfrm>
          <a:prstGeom prst="roundRect">
            <a:avLst>
              <a:gd name="adj" fmla="val 8819"/>
            </a:avLst>
          </a:prstGeom>
          <a:gradFill>
            <a:gsLst>
              <a:gs pos="0">
                <a:srgbClr val="4472C4">
                  <a:alpha val="0"/>
                  <a:lumMod val="20000"/>
                </a:srgbClr>
              </a:gs>
              <a:gs pos="80000">
                <a:sysClr val="windowText" lastClr="000000">
                  <a:lumMod val="85000"/>
                  <a:lumOff val="15000"/>
                  <a:alpha val="76000"/>
                </a:sysClr>
              </a:gs>
            </a:gsLst>
            <a:lin ang="5400000" scaled="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512" name="Rectangle: Top Corners Rounded 33">
            <a:extLst>
              <a:ext uri="{FF2B5EF4-FFF2-40B4-BE49-F238E27FC236}">
                <a16:creationId xmlns:a16="http://schemas.microsoft.com/office/drawing/2014/main" id="{E1ECC137-F437-CB47-ACEA-F4B1032F02E9}"/>
              </a:ext>
            </a:extLst>
          </p:cNvPr>
          <p:cNvSpPr/>
          <p:nvPr/>
        </p:nvSpPr>
        <p:spPr>
          <a:xfrm rot="5400000">
            <a:off x="2459787" y="-1011986"/>
            <a:ext cx="3066185" cy="7985761"/>
          </a:xfrm>
          <a:prstGeom prst="round2SameRect">
            <a:avLst>
              <a:gd name="adj1" fmla="val 12390"/>
              <a:gd name="adj2" fmla="val 0"/>
            </a:avLst>
          </a:prstGeom>
          <a:solidFill>
            <a:srgbClr val="1E32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513" name="TextBox 512">
            <a:extLst>
              <a:ext uri="{FF2B5EF4-FFF2-40B4-BE49-F238E27FC236}">
                <a16:creationId xmlns:a16="http://schemas.microsoft.com/office/drawing/2014/main" id="{D8BE01CF-DBB3-484E-A2A2-C66CDC70E52C}"/>
              </a:ext>
            </a:extLst>
          </p:cNvPr>
          <p:cNvSpPr txBox="1"/>
          <p:nvPr/>
        </p:nvSpPr>
        <p:spPr>
          <a:xfrm>
            <a:off x="210198" y="1784437"/>
            <a:ext cx="7314113" cy="1754326"/>
          </a:xfrm>
          <a:prstGeom prst="rect">
            <a:avLst/>
          </a:prstGeom>
          <a:noFill/>
        </p:spPr>
        <p:txBody>
          <a:bodyPr wrap="square" lIns="0">
            <a:spAutoFit/>
          </a:bodyPr>
          <a:lstStyle/>
          <a:p>
            <a:pPr lvl="0"/>
            <a:r>
              <a:rPr lang="en-US" sz="3500" b="1" dirty="0">
                <a:solidFill>
                  <a:srgbClr val="FFFFFF"/>
                </a:solidFill>
                <a:latin typeface="Century Gothic" panose="020B0502020202020204" pitchFamily="34" charset="0"/>
              </a:rPr>
              <a:t>KEBIJAKAN REGULSI PERIZINAN BERUSAHA BERBASIS RISIKO SUBSEKTOR JASA KONSTRUKSI</a:t>
            </a:r>
          </a:p>
        </p:txBody>
      </p:sp>
      <p:cxnSp>
        <p:nvCxnSpPr>
          <p:cNvPr id="514" name="Straight Connector 513">
            <a:extLst>
              <a:ext uri="{FF2B5EF4-FFF2-40B4-BE49-F238E27FC236}">
                <a16:creationId xmlns:a16="http://schemas.microsoft.com/office/drawing/2014/main" id="{8547B010-7E5F-CE4D-9B5A-45BD66FE63DF}"/>
              </a:ext>
            </a:extLst>
          </p:cNvPr>
          <p:cNvCxnSpPr>
            <a:cxnSpLocks/>
          </p:cNvCxnSpPr>
          <p:nvPr/>
        </p:nvCxnSpPr>
        <p:spPr>
          <a:xfrm flipV="1">
            <a:off x="0" y="3599614"/>
            <a:ext cx="7985761" cy="4280"/>
          </a:xfrm>
          <a:prstGeom prst="line">
            <a:avLst/>
          </a:prstGeom>
          <a:ln w="25400">
            <a:solidFill>
              <a:schemeClr val="bg1"/>
            </a:solidFill>
            <a:headEnd type="none"/>
          </a:ln>
        </p:spPr>
        <p:style>
          <a:lnRef idx="1">
            <a:schemeClr val="accent1"/>
          </a:lnRef>
          <a:fillRef idx="0">
            <a:schemeClr val="accent1"/>
          </a:fillRef>
          <a:effectRef idx="0">
            <a:schemeClr val="accent1"/>
          </a:effectRef>
          <a:fontRef idx="minor">
            <a:schemeClr val="tx1"/>
          </a:fontRef>
        </p:style>
      </p:cxnSp>
      <p:pic>
        <p:nvPicPr>
          <p:cNvPr id="517" name="Picture 516">
            <a:extLst>
              <a:ext uri="{FF2B5EF4-FFF2-40B4-BE49-F238E27FC236}">
                <a16:creationId xmlns:a16="http://schemas.microsoft.com/office/drawing/2014/main" id="{86A70CFC-DCD2-F446-BDF3-61963E017F9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147104" y="329029"/>
            <a:ext cx="1861426" cy="617556"/>
          </a:xfrm>
          <a:prstGeom prst="rect">
            <a:avLst/>
          </a:prstGeom>
        </p:spPr>
      </p:pic>
      <p:sp>
        <p:nvSpPr>
          <p:cNvPr id="523" name="TextBox 522">
            <a:extLst>
              <a:ext uri="{FF2B5EF4-FFF2-40B4-BE49-F238E27FC236}">
                <a16:creationId xmlns:a16="http://schemas.microsoft.com/office/drawing/2014/main" id="{0EFD00C2-2F33-E349-AAED-B2887FFB98FF}"/>
              </a:ext>
            </a:extLst>
          </p:cNvPr>
          <p:cNvSpPr txBox="1"/>
          <p:nvPr/>
        </p:nvSpPr>
        <p:spPr>
          <a:xfrm>
            <a:off x="6617803" y="6047885"/>
            <a:ext cx="4932818" cy="461665"/>
          </a:xfrm>
          <a:prstGeom prst="rect">
            <a:avLst/>
          </a:prstGeom>
          <a:noFill/>
        </p:spPr>
        <p:txBody>
          <a:bodyPr wrap="square" lIns="0">
            <a:spAutoFit/>
          </a:bodyPr>
          <a:lstStyle/>
          <a:p>
            <a:r>
              <a:rPr lang="en-GB" sz="2400" dirty="0" err="1">
                <a:solidFill>
                  <a:srgbClr val="1E3267"/>
                </a:solidFill>
                <a:latin typeface="Century Gothic" panose="020B0502020202020204" pitchFamily="34" charset="0"/>
              </a:rPr>
              <a:t>Samarinda</a:t>
            </a:r>
            <a:r>
              <a:rPr lang="en-US" sz="2400" dirty="0">
                <a:solidFill>
                  <a:srgbClr val="1E3267"/>
                </a:solidFill>
                <a:latin typeface="Century Gothic" panose="020B0502020202020204" pitchFamily="34" charset="0"/>
              </a:rPr>
              <a:t>, </a:t>
            </a:r>
            <a:r>
              <a:rPr lang="id-ID" sz="2400" dirty="0">
                <a:solidFill>
                  <a:srgbClr val="1E3267"/>
                </a:solidFill>
                <a:latin typeface="Century Gothic" panose="020B0502020202020204" pitchFamily="34" charset="0"/>
              </a:rPr>
              <a:t> Desember </a:t>
            </a:r>
            <a:r>
              <a:rPr lang="en-US" sz="2400" dirty="0">
                <a:solidFill>
                  <a:srgbClr val="1E3267"/>
                </a:solidFill>
                <a:latin typeface="Century Gothic" panose="020B0502020202020204" pitchFamily="34" charset="0"/>
              </a:rPr>
              <a:t>2023</a:t>
            </a:r>
          </a:p>
        </p:txBody>
      </p:sp>
      <p:sp>
        <p:nvSpPr>
          <p:cNvPr id="524" name="TextBox 523">
            <a:extLst>
              <a:ext uri="{FF2B5EF4-FFF2-40B4-BE49-F238E27FC236}">
                <a16:creationId xmlns:a16="http://schemas.microsoft.com/office/drawing/2014/main" id="{28AE7024-F2AF-FF4C-ADEE-8CBC99F5272C}"/>
              </a:ext>
            </a:extLst>
          </p:cNvPr>
          <p:cNvSpPr txBox="1"/>
          <p:nvPr/>
        </p:nvSpPr>
        <p:spPr>
          <a:xfrm>
            <a:off x="169668" y="4815788"/>
            <a:ext cx="5827068" cy="1046440"/>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id-ID" sz="2000" b="0" i="0" u="none" strike="noStrike" kern="1200" cap="none" spc="100" normalizeH="0" baseline="0" noProof="0" dirty="0">
                <a:ln>
                  <a:noFill/>
                </a:ln>
                <a:solidFill>
                  <a:srgbClr val="1E3267"/>
                </a:solidFill>
                <a:effectLst/>
                <a:uLnTx/>
                <a:uFillTx/>
                <a:latin typeface="Century Gothic" panose="020B0502020202020204" pitchFamily="34" charset="0"/>
                <a:cs typeface="Poppins" panose="00000500000000000000" pitchFamily="2" charset="0"/>
                <a:sym typeface="Arial"/>
              </a:rPr>
              <a:t>OLEH:</a:t>
            </a:r>
          </a:p>
          <a:p>
            <a:pPr marL="0" marR="0" lvl="0" indent="0" algn="l" defTabSz="914400" rtl="0" eaLnBrk="1" fontAlgn="auto" latinLnBrk="0" hangingPunct="1">
              <a:spcBef>
                <a:spcPts val="0"/>
              </a:spcBef>
              <a:spcAft>
                <a:spcPts val="0"/>
              </a:spcAft>
              <a:buClrTx/>
              <a:buSzTx/>
              <a:buFontTx/>
              <a:buNone/>
              <a:tabLst/>
              <a:defRPr/>
            </a:pPr>
            <a:r>
              <a:rPr kumimoji="0" lang="id-ID" sz="1600" i="1" u="none" strike="noStrike" kern="1200" cap="none" spc="100" normalizeH="0" baseline="0" noProof="0" dirty="0">
                <a:ln>
                  <a:noFill/>
                </a:ln>
                <a:solidFill>
                  <a:srgbClr val="1E3267"/>
                </a:solidFill>
                <a:effectLst/>
                <a:uLnTx/>
                <a:uFillTx/>
                <a:latin typeface="Century Gothic" panose="020B0502020202020204" pitchFamily="34" charset="0"/>
                <a:cs typeface="Poppins" panose="00000500000000000000" pitchFamily="2" charset="0"/>
                <a:sym typeface="Arial"/>
              </a:rPr>
              <a:t>Direktorat Kelembagaan Dan </a:t>
            </a:r>
          </a:p>
          <a:p>
            <a:pPr marL="0" marR="0" lvl="0" indent="0" algn="l" defTabSz="914400" rtl="0" eaLnBrk="1" fontAlgn="auto" latinLnBrk="0" hangingPunct="1">
              <a:spcBef>
                <a:spcPts val="0"/>
              </a:spcBef>
              <a:spcAft>
                <a:spcPts val="0"/>
              </a:spcAft>
              <a:buClrTx/>
              <a:buSzTx/>
              <a:buFontTx/>
              <a:buNone/>
              <a:tabLst/>
              <a:defRPr/>
            </a:pPr>
            <a:r>
              <a:rPr kumimoji="0" lang="id-ID" sz="1600" i="1" u="none" strike="noStrike" kern="1200" cap="none" spc="100" normalizeH="0" baseline="0" noProof="0" dirty="0">
                <a:ln>
                  <a:noFill/>
                </a:ln>
                <a:solidFill>
                  <a:srgbClr val="1E3267"/>
                </a:solidFill>
                <a:effectLst/>
                <a:uLnTx/>
                <a:uFillTx/>
                <a:latin typeface="Century Gothic" panose="020B0502020202020204" pitchFamily="34" charset="0"/>
                <a:cs typeface="Poppins" panose="00000500000000000000" pitchFamily="2" charset="0"/>
                <a:sym typeface="Arial"/>
              </a:rPr>
              <a:t>Sumber Daya Konstruksi</a:t>
            </a:r>
            <a:endParaRPr kumimoji="0" lang="id-ID" i="1" u="none" strike="noStrike" kern="1200" cap="none" spc="100" normalizeH="0" baseline="0" noProof="0" dirty="0">
              <a:ln>
                <a:noFill/>
              </a:ln>
              <a:solidFill>
                <a:srgbClr val="1E3267"/>
              </a:solidFill>
              <a:effectLst/>
              <a:uLnTx/>
              <a:uFillTx/>
              <a:latin typeface="Century Gothic" panose="020B0502020202020204" pitchFamily="34" charset="0"/>
              <a:cs typeface="Poppins" panose="00000500000000000000" pitchFamily="2" charset="0"/>
              <a:sym typeface="Arial"/>
            </a:endParaRPr>
          </a:p>
        </p:txBody>
      </p:sp>
      <p:sp>
        <p:nvSpPr>
          <p:cNvPr id="525" name="Rectangle: Rounded Corners 32">
            <a:extLst>
              <a:ext uri="{FF2B5EF4-FFF2-40B4-BE49-F238E27FC236}">
                <a16:creationId xmlns:a16="http://schemas.microsoft.com/office/drawing/2014/main" id="{13EEEB23-DE33-6C47-8AA8-7A285DD6C648}"/>
              </a:ext>
            </a:extLst>
          </p:cNvPr>
          <p:cNvSpPr/>
          <p:nvPr/>
        </p:nvSpPr>
        <p:spPr>
          <a:xfrm>
            <a:off x="6295208" y="5129179"/>
            <a:ext cx="2616546" cy="82295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27" name="Picture 526" descr="Text, logo&#10;&#10;Description automatically generated">
            <a:extLst>
              <a:ext uri="{FF2B5EF4-FFF2-40B4-BE49-F238E27FC236}">
                <a16:creationId xmlns:a16="http://schemas.microsoft.com/office/drawing/2014/main" id="{7F009FF4-7D05-2F4B-B74F-F69A5DD9C36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617803" y="5174090"/>
            <a:ext cx="1903812" cy="724195"/>
          </a:xfrm>
          <a:prstGeom prst="rect">
            <a:avLst/>
          </a:prstGeom>
        </p:spPr>
      </p:pic>
      <p:cxnSp>
        <p:nvCxnSpPr>
          <p:cNvPr id="528" name="Straight Connector 527">
            <a:extLst>
              <a:ext uri="{FF2B5EF4-FFF2-40B4-BE49-F238E27FC236}">
                <a16:creationId xmlns:a16="http://schemas.microsoft.com/office/drawing/2014/main" id="{35202BAA-6998-6B48-9C0A-9B943098E5CA}"/>
              </a:ext>
            </a:extLst>
          </p:cNvPr>
          <p:cNvCxnSpPr>
            <a:cxnSpLocks/>
          </p:cNvCxnSpPr>
          <p:nvPr/>
        </p:nvCxnSpPr>
        <p:spPr>
          <a:xfrm>
            <a:off x="8844210" y="5539113"/>
            <a:ext cx="3063772" cy="0"/>
          </a:xfrm>
          <a:prstGeom prst="line">
            <a:avLst/>
          </a:prstGeom>
          <a:ln w="25400">
            <a:solidFill>
              <a:schemeClr val="bg1"/>
            </a:solidFill>
            <a:headEnd type="none"/>
          </a:ln>
        </p:spPr>
        <p:style>
          <a:lnRef idx="1">
            <a:schemeClr val="accent1"/>
          </a:lnRef>
          <a:fillRef idx="0">
            <a:schemeClr val="accent1"/>
          </a:fillRef>
          <a:effectRef idx="0">
            <a:schemeClr val="accent1"/>
          </a:effectRef>
          <a:fontRef idx="minor">
            <a:schemeClr val="tx1"/>
          </a:fontRef>
        </p:style>
      </p:cxnSp>
      <p:sp>
        <p:nvSpPr>
          <p:cNvPr id="529" name="TextBox 528">
            <a:extLst>
              <a:ext uri="{FF2B5EF4-FFF2-40B4-BE49-F238E27FC236}">
                <a16:creationId xmlns:a16="http://schemas.microsoft.com/office/drawing/2014/main" id="{A20FA08C-326E-E24C-AF61-BA8001C5284D}"/>
              </a:ext>
            </a:extLst>
          </p:cNvPr>
          <p:cNvSpPr txBox="1"/>
          <p:nvPr/>
        </p:nvSpPr>
        <p:spPr>
          <a:xfrm>
            <a:off x="231926" y="355916"/>
            <a:ext cx="5622571" cy="736099"/>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39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1E3267"/>
                </a:solidFill>
                <a:effectLst/>
                <a:uLnTx/>
                <a:uFillTx/>
                <a:latin typeface="Century Gothic" panose="020B0502020202020204" pitchFamily="34" charset="0"/>
                <a:ea typeface="Tahoma" panose="020B0604030504040204" pitchFamily="34" charset="0"/>
                <a:cs typeface="Tahoma" panose="020B0604030504040204" pitchFamily="34" charset="0"/>
                <a:sym typeface="Arial"/>
              </a:rPr>
              <a:t>DIREKTORAT KELEMBAGAAN DAN SUMBER DAYA KONSTRUKSI</a:t>
            </a:r>
          </a:p>
          <a:p>
            <a:pPr marL="0" marR="0" lvl="0" indent="0" defTabSz="914400" rtl="0" eaLnBrk="1" fontAlgn="auto" latinLnBrk="0" hangingPunct="1">
              <a:lnSpc>
                <a:spcPct val="100000"/>
              </a:lnSpc>
              <a:spcBef>
                <a:spcPts val="39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1E3267"/>
                </a:solidFill>
                <a:effectLst/>
                <a:uLnTx/>
                <a:uFillTx/>
                <a:latin typeface="Century Gothic" panose="020B0502020202020204" pitchFamily="34" charset="0"/>
                <a:ea typeface="Tahoma" panose="020B0604030504040204" pitchFamily="34" charset="0"/>
                <a:cs typeface="Tahoma" panose="020B0604030504040204" pitchFamily="34" charset="0"/>
                <a:sym typeface="Arial"/>
              </a:rPr>
              <a:t>DIREKTORAT JENDERAL BINA KONSTRUKSI</a:t>
            </a:r>
          </a:p>
          <a:p>
            <a:pPr marL="0" marR="0" lvl="0" indent="0" defTabSz="914400" rtl="0" eaLnBrk="1" fontAlgn="auto" latinLnBrk="0" hangingPunct="1">
              <a:lnSpc>
                <a:spcPct val="100000"/>
              </a:lnSpc>
              <a:spcBef>
                <a:spcPts val="295"/>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1E3267"/>
                </a:solidFill>
                <a:effectLst/>
                <a:uLnTx/>
                <a:uFillTx/>
                <a:latin typeface="Century Gothic" panose="020B0502020202020204" pitchFamily="34" charset="0"/>
                <a:ea typeface="Tahoma" panose="020B0604030504040204" pitchFamily="34" charset="0"/>
                <a:cs typeface="Tahoma" panose="020B0604030504040204" pitchFamily="34" charset="0"/>
                <a:sym typeface="Arial"/>
              </a:rPr>
              <a:t>KEMENTERIAN PEKERJAAN UMUM DAN PERUMAHAN RAKYAT</a:t>
            </a:r>
          </a:p>
        </p:txBody>
      </p:sp>
    </p:spTree>
    <p:extLst>
      <p:ext uri="{BB962C8B-B14F-4D97-AF65-F5344CB8AC3E}">
        <p14:creationId xmlns:p14="http://schemas.microsoft.com/office/powerpoint/2010/main" val="34702225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B5C246A-A5CB-9846-AFAB-B5081C1FDB4C}"/>
              </a:ext>
            </a:extLst>
          </p:cNvPr>
          <p:cNvSpPr/>
          <p:nvPr/>
        </p:nvSpPr>
        <p:spPr>
          <a:xfrm>
            <a:off x="0" y="5597780"/>
            <a:ext cx="12192000" cy="127754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4" name="Straight Connector 23">
            <a:extLst>
              <a:ext uri="{FF2B5EF4-FFF2-40B4-BE49-F238E27FC236}">
                <a16:creationId xmlns:a16="http://schemas.microsoft.com/office/drawing/2014/main" id="{14CFDB0E-E54C-404A-A58D-61A33CFF9429}"/>
              </a:ext>
            </a:extLst>
          </p:cNvPr>
          <p:cNvCxnSpPr>
            <a:cxnSpLocks/>
          </p:cNvCxnSpPr>
          <p:nvPr/>
        </p:nvCxnSpPr>
        <p:spPr>
          <a:xfrm>
            <a:off x="6096000" y="267594"/>
            <a:ext cx="0" cy="6471294"/>
          </a:xfrm>
          <a:prstGeom prst="line">
            <a:avLst/>
          </a:prstGeom>
          <a:ln w="762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217A450-1582-2949-BABB-C941CFC00AC6}"/>
              </a:ext>
            </a:extLst>
          </p:cNvPr>
          <p:cNvCxnSpPr>
            <a:cxnSpLocks/>
          </p:cNvCxnSpPr>
          <p:nvPr/>
        </p:nvCxnSpPr>
        <p:spPr>
          <a:xfrm>
            <a:off x="5730977" y="6738888"/>
            <a:ext cx="741261"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14BFFD0B-FC8D-FB49-B6E3-FB56F24260B1}"/>
              </a:ext>
            </a:extLst>
          </p:cNvPr>
          <p:cNvSpPr/>
          <p:nvPr/>
        </p:nvSpPr>
        <p:spPr>
          <a:xfrm>
            <a:off x="339969" y="2726816"/>
            <a:ext cx="5756031" cy="12207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946F1B50-32B0-0747-9B99-2E71CC6BB685}"/>
              </a:ext>
            </a:extLst>
          </p:cNvPr>
          <p:cNvSpPr/>
          <p:nvPr/>
        </p:nvSpPr>
        <p:spPr>
          <a:xfrm>
            <a:off x="3749626" y="2096005"/>
            <a:ext cx="1382075" cy="1382075"/>
          </a:xfrm>
          <a:prstGeom prst="ellipse">
            <a:avLst/>
          </a:prstGeom>
          <a:solidFill>
            <a:schemeClr val="bg1"/>
          </a:solidFill>
          <a:ln w="57150">
            <a:solidFill>
              <a:srgbClr val="9FEA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3976519E-478B-164A-B71B-8DF5DA4A2524}"/>
              </a:ext>
            </a:extLst>
          </p:cNvPr>
          <p:cNvSpPr/>
          <p:nvPr/>
        </p:nvSpPr>
        <p:spPr>
          <a:xfrm>
            <a:off x="339968" y="3695029"/>
            <a:ext cx="5718571" cy="252549"/>
          </a:xfrm>
          <a:prstGeom prst="rect">
            <a:avLst/>
          </a:prstGeom>
          <a:solidFill>
            <a:srgbClr val="9FEA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TextBox 28">
            <a:extLst>
              <a:ext uri="{FF2B5EF4-FFF2-40B4-BE49-F238E27FC236}">
                <a16:creationId xmlns:a16="http://schemas.microsoft.com/office/drawing/2014/main" id="{701A86DD-6CB7-7747-AD99-38941A7B45D1}"/>
              </a:ext>
            </a:extLst>
          </p:cNvPr>
          <p:cNvSpPr txBox="1"/>
          <p:nvPr/>
        </p:nvSpPr>
        <p:spPr>
          <a:xfrm>
            <a:off x="463328" y="2803687"/>
            <a:ext cx="3735683"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ROSES PENYUSUNAN PERIZINAN</a:t>
            </a:r>
          </a:p>
        </p:txBody>
      </p:sp>
      <p:pic>
        <p:nvPicPr>
          <p:cNvPr id="30" name="Graphic 29" descr="Calligraphy Pen">
            <a:extLst>
              <a:ext uri="{FF2B5EF4-FFF2-40B4-BE49-F238E27FC236}">
                <a16:creationId xmlns:a16="http://schemas.microsoft.com/office/drawing/2014/main" id="{3756E5E7-E5D3-1445-AD6B-4713B5EA751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960542" y="1861530"/>
            <a:ext cx="1186963" cy="1186963"/>
          </a:xfrm>
          <a:prstGeom prst="rect">
            <a:avLst/>
          </a:prstGeom>
        </p:spPr>
      </p:pic>
      <p:sp>
        <p:nvSpPr>
          <p:cNvPr id="31" name="TextBox 30">
            <a:extLst>
              <a:ext uri="{FF2B5EF4-FFF2-40B4-BE49-F238E27FC236}">
                <a16:creationId xmlns:a16="http://schemas.microsoft.com/office/drawing/2014/main" id="{EBDB7679-84B5-3747-B006-8C17A0832822}"/>
              </a:ext>
            </a:extLst>
          </p:cNvPr>
          <p:cNvSpPr txBox="1"/>
          <p:nvPr/>
        </p:nvSpPr>
        <p:spPr>
          <a:xfrm>
            <a:off x="363813" y="3964900"/>
            <a:ext cx="5551381" cy="2893100"/>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1">
                <a:ln>
                  <a:noFill/>
                </a:ln>
                <a:solidFill>
                  <a:prstClr val="black"/>
                </a:solidFill>
                <a:effectLst/>
                <a:uLnTx/>
                <a:uFillTx/>
                <a:latin typeface="Apple LiGothic Medium" pitchFamily="2" charset="-120"/>
                <a:ea typeface="Apple LiGothic Medium" pitchFamily="2" charset="-120"/>
                <a:cs typeface="+mn-cs"/>
              </a:rPr>
              <a:t>Perizinan Berusaha berdasarkan KBLI 2020 telah disusun dibawah koordinasi Kementerian Koordinator Bidang Ekonomi, BPS, dan BSN dengan melibatkan semua kementerian / lembaga terkait dengan tahapan meliputi:</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1">
                <a:ln>
                  <a:noFill/>
                </a:ln>
                <a:solidFill>
                  <a:prstClr val="black"/>
                </a:solidFill>
                <a:effectLst/>
                <a:uLnTx/>
                <a:uFillTx/>
                <a:latin typeface="Apple LiGothic Medium" pitchFamily="2" charset="-120"/>
                <a:ea typeface="Apple LiGothic Medium" pitchFamily="2" charset="-120"/>
                <a:cs typeface="+mn-cs"/>
              </a:rPr>
              <a:t>Pembahasan Analisis Risiko Berusaha Internal Kementerian;</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1">
                <a:ln>
                  <a:noFill/>
                </a:ln>
                <a:solidFill>
                  <a:prstClr val="black"/>
                </a:solidFill>
                <a:effectLst/>
                <a:uLnTx/>
                <a:uFillTx/>
                <a:latin typeface="Apple LiGothic Medium" pitchFamily="2" charset="-120"/>
                <a:ea typeface="Apple LiGothic Medium" pitchFamily="2" charset="-120"/>
                <a:cs typeface="+mn-cs"/>
              </a:rPr>
              <a:t>Koordinasi dengan K/L beririsan;</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1">
                <a:ln>
                  <a:noFill/>
                </a:ln>
                <a:solidFill>
                  <a:prstClr val="black"/>
                </a:solidFill>
                <a:effectLst/>
                <a:uLnTx/>
                <a:uFillTx/>
                <a:latin typeface="Apple LiGothic Medium" pitchFamily="2" charset="-120"/>
                <a:ea typeface="Apple LiGothic Medium" pitchFamily="2" charset="-120"/>
                <a:cs typeface="+mn-cs"/>
              </a:rPr>
              <a:t>Konsensus dengan Pengampu K3L;</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1">
                <a:ln>
                  <a:noFill/>
                </a:ln>
                <a:solidFill>
                  <a:prstClr val="black"/>
                </a:solidFill>
                <a:effectLst/>
                <a:uLnTx/>
                <a:uFillTx/>
                <a:latin typeface="Apple LiGothic Medium" pitchFamily="2" charset="-120"/>
                <a:ea typeface="Apple LiGothic Medium" pitchFamily="2" charset="-120"/>
                <a:cs typeface="+mn-cs"/>
              </a:rPr>
              <a:t>Konsensus dengan Pelaku Usaha; dan</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1">
                <a:ln>
                  <a:noFill/>
                </a:ln>
                <a:solidFill>
                  <a:prstClr val="black"/>
                </a:solidFill>
                <a:effectLst/>
                <a:uLnTx/>
                <a:uFillTx/>
                <a:latin typeface="Apple LiGothic Medium" pitchFamily="2" charset="-120"/>
                <a:ea typeface="Apple LiGothic Medium" pitchFamily="2" charset="-120"/>
                <a:cs typeface="+mn-cs"/>
              </a:rPr>
              <a:t>Pengesahan.</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1">
              <a:ln>
                <a:noFill/>
              </a:ln>
              <a:solidFill>
                <a:prstClr val="black"/>
              </a:solidFill>
              <a:effectLst/>
              <a:uLnTx/>
              <a:uFillTx/>
              <a:latin typeface="Apple LiGothic Medium" pitchFamily="2" charset="-120"/>
              <a:ea typeface="Apple LiGothic Medium" pitchFamily="2" charset="-120"/>
              <a:cs typeface="+mn-cs"/>
            </a:endParaRPr>
          </a:p>
        </p:txBody>
      </p:sp>
      <p:sp>
        <p:nvSpPr>
          <p:cNvPr id="32" name="Rectangle 31">
            <a:extLst>
              <a:ext uri="{FF2B5EF4-FFF2-40B4-BE49-F238E27FC236}">
                <a16:creationId xmlns:a16="http://schemas.microsoft.com/office/drawing/2014/main" id="{42644D83-0AE7-B341-A478-7AF80FCE46DA}"/>
              </a:ext>
            </a:extLst>
          </p:cNvPr>
          <p:cNvSpPr/>
          <p:nvPr/>
        </p:nvSpPr>
        <p:spPr>
          <a:xfrm>
            <a:off x="6086873" y="937599"/>
            <a:ext cx="5756031" cy="105005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0BE724E7-2800-E94E-9DC7-5B567AFB4562}"/>
              </a:ext>
            </a:extLst>
          </p:cNvPr>
          <p:cNvSpPr/>
          <p:nvPr/>
        </p:nvSpPr>
        <p:spPr>
          <a:xfrm>
            <a:off x="8268991" y="267594"/>
            <a:ext cx="1283369" cy="1283369"/>
          </a:xfrm>
          <a:prstGeom prst="ellipse">
            <a:avLst/>
          </a:prstGeom>
          <a:solidFill>
            <a:schemeClr val="bg1"/>
          </a:solidFill>
          <a:ln w="57150">
            <a:solidFill>
              <a:srgbClr val="9FEA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4" name="Picture 33">
            <a:extLst>
              <a:ext uri="{FF2B5EF4-FFF2-40B4-BE49-F238E27FC236}">
                <a16:creationId xmlns:a16="http://schemas.microsoft.com/office/drawing/2014/main" id="{D043EB83-A5CC-FB47-98D4-FB9AB9C80370}"/>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rot="20323833">
            <a:off x="8425844" y="298313"/>
            <a:ext cx="969662" cy="1320599"/>
          </a:xfrm>
          <a:custGeom>
            <a:avLst/>
            <a:gdLst>
              <a:gd name="connsiteX0" fmla="*/ 0 w 1260176"/>
              <a:gd name="connsiteY0" fmla="*/ 1660823 h 1716255"/>
              <a:gd name="connsiteX1" fmla="*/ 142402 w 1260176"/>
              <a:gd name="connsiteY1" fmla="*/ 1716255 h 1716255"/>
              <a:gd name="connsiteX2" fmla="*/ 0 w 1260176"/>
              <a:gd name="connsiteY2" fmla="*/ 1716255 h 1716255"/>
              <a:gd name="connsiteX3" fmla="*/ 1260176 w 1260176"/>
              <a:gd name="connsiteY3" fmla="*/ 0 h 1716255"/>
              <a:gd name="connsiteX4" fmla="*/ 1260176 w 1260176"/>
              <a:gd name="connsiteY4" fmla="*/ 1320134 h 1716255"/>
              <a:gd name="connsiteX5" fmla="*/ 1242297 w 1260176"/>
              <a:gd name="connsiteY5" fmla="*/ 1342599 h 1716255"/>
              <a:gd name="connsiteX6" fmla="*/ 367441 w 1260176"/>
              <a:gd name="connsiteY6" fmla="*/ 1532848 h 1716255"/>
              <a:gd name="connsiteX7" fmla="*/ 96753 w 1260176"/>
              <a:gd name="connsiteY7" fmla="*/ 1359180 h 1716255"/>
              <a:gd name="connsiteX8" fmla="*/ 0 w 1260176"/>
              <a:gd name="connsiteY8" fmla="*/ 1244843 h 1716255"/>
              <a:gd name="connsiteX9" fmla="*/ 0 w 1260176"/>
              <a:gd name="connsiteY9" fmla="*/ 0 h 1716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0176" h="1716255">
                <a:moveTo>
                  <a:pt x="0" y="1660823"/>
                </a:moveTo>
                <a:lnTo>
                  <a:pt x="142402" y="1716255"/>
                </a:lnTo>
                <a:lnTo>
                  <a:pt x="0" y="1716255"/>
                </a:lnTo>
                <a:close/>
                <a:moveTo>
                  <a:pt x="1260176" y="0"/>
                </a:moveTo>
                <a:lnTo>
                  <a:pt x="1260176" y="1320134"/>
                </a:lnTo>
                <a:lnTo>
                  <a:pt x="1242297" y="1342599"/>
                </a:lnTo>
                <a:cubicBezTo>
                  <a:pt x="1022276" y="1568883"/>
                  <a:pt x="680061" y="1654542"/>
                  <a:pt x="367441" y="1532848"/>
                </a:cubicBezTo>
                <a:cubicBezTo>
                  <a:pt x="263234" y="1492284"/>
                  <a:pt x="172181" y="1432521"/>
                  <a:pt x="96753" y="1359180"/>
                </a:cubicBezTo>
                <a:lnTo>
                  <a:pt x="0" y="1244843"/>
                </a:lnTo>
                <a:lnTo>
                  <a:pt x="0" y="0"/>
                </a:lnTo>
                <a:close/>
              </a:path>
            </a:pathLst>
          </a:cu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1FAE4AF5-32E8-A149-AED7-55DA65BD94DF}"/>
              </a:ext>
            </a:extLst>
          </p:cNvPr>
          <p:cNvSpPr/>
          <p:nvPr/>
        </p:nvSpPr>
        <p:spPr>
          <a:xfrm>
            <a:off x="6130178" y="1749811"/>
            <a:ext cx="5718571" cy="252549"/>
          </a:xfrm>
          <a:prstGeom prst="rect">
            <a:avLst/>
          </a:prstGeom>
          <a:solidFill>
            <a:srgbClr val="9FEA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B7FBFD42-FD8C-404E-BADC-2743712A8840}"/>
              </a:ext>
            </a:extLst>
          </p:cNvPr>
          <p:cNvSpPr txBox="1"/>
          <p:nvPr/>
        </p:nvSpPr>
        <p:spPr>
          <a:xfrm>
            <a:off x="6306832" y="1085487"/>
            <a:ext cx="271707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KBLI 2020</a:t>
            </a:r>
          </a:p>
        </p:txBody>
      </p:sp>
      <p:sp>
        <p:nvSpPr>
          <p:cNvPr id="37" name="TextBox 36">
            <a:extLst>
              <a:ext uri="{FF2B5EF4-FFF2-40B4-BE49-F238E27FC236}">
                <a16:creationId xmlns:a16="http://schemas.microsoft.com/office/drawing/2014/main" id="{95D55C98-424D-D542-BB5E-E469C92E56ED}"/>
              </a:ext>
            </a:extLst>
          </p:cNvPr>
          <p:cNvSpPr txBox="1"/>
          <p:nvPr/>
        </p:nvSpPr>
        <p:spPr>
          <a:xfrm>
            <a:off x="6248218" y="2093410"/>
            <a:ext cx="5551381" cy="1754326"/>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1">
                <a:ln>
                  <a:noFill/>
                </a:ln>
                <a:solidFill>
                  <a:prstClr val="black"/>
                </a:solidFill>
                <a:effectLst/>
                <a:uLnTx/>
                <a:uFillTx/>
                <a:latin typeface="Apple LiGothic Medium" pitchFamily="2" charset="-120"/>
                <a:ea typeface="Apple LiGothic Medium" pitchFamily="2" charset="-120"/>
                <a:cs typeface="+mn-cs"/>
              </a:rPr>
              <a:t>KBLI (Klasifikasi Baku Usaha Indonesia) adalah klasifikasi rujukan yang digunakan untuk mengklasifikasikan aktivitas/kegiatan ekonomi Indonesia ke dalam beberapa lapangan usaha/bidang usaha yang dibedakan berdasarkan jenis kegiatan ekonomi yang menghasilkan produk/output baik berupa barang maupun jasa.</a:t>
            </a:r>
          </a:p>
        </p:txBody>
      </p:sp>
      <p:sp>
        <p:nvSpPr>
          <p:cNvPr id="38" name="Rectangle 37">
            <a:extLst>
              <a:ext uri="{FF2B5EF4-FFF2-40B4-BE49-F238E27FC236}">
                <a16:creationId xmlns:a16="http://schemas.microsoft.com/office/drawing/2014/main" id="{CC5F55C6-40AF-3D4D-828B-E5E20B8B55CD}"/>
              </a:ext>
            </a:extLst>
          </p:cNvPr>
          <p:cNvSpPr/>
          <p:nvPr/>
        </p:nvSpPr>
        <p:spPr>
          <a:xfrm>
            <a:off x="6086873" y="4362315"/>
            <a:ext cx="5756031" cy="12207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Oval 38">
            <a:extLst>
              <a:ext uri="{FF2B5EF4-FFF2-40B4-BE49-F238E27FC236}">
                <a16:creationId xmlns:a16="http://schemas.microsoft.com/office/drawing/2014/main" id="{293D3317-6C44-B54D-8024-63ABF179AC6C}"/>
              </a:ext>
            </a:extLst>
          </p:cNvPr>
          <p:cNvSpPr/>
          <p:nvPr/>
        </p:nvSpPr>
        <p:spPr>
          <a:xfrm>
            <a:off x="11038471" y="4138354"/>
            <a:ext cx="1283369" cy="1283369"/>
          </a:xfrm>
          <a:prstGeom prst="ellipse">
            <a:avLst/>
          </a:prstGeom>
          <a:solidFill>
            <a:schemeClr val="bg1"/>
          </a:solidFill>
          <a:ln w="57150">
            <a:solidFill>
              <a:srgbClr val="9FEA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7D877F92-40DF-AE43-987E-33F119C3C390}"/>
              </a:ext>
            </a:extLst>
          </p:cNvPr>
          <p:cNvSpPr/>
          <p:nvPr/>
        </p:nvSpPr>
        <p:spPr>
          <a:xfrm>
            <a:off x="6130178" y="5345231"/>
            <a:ext cx="5718571" cy="252549"/>
          </a:xfrm>
          <a:prstGeom prst="rect">
            <a:avLst/>
          </a:prstGeom>
          <a:solidFill>
            <a:srgbClr val="9FEA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1" name="Graphic 40" descr="Traffic cone">
            <a:extLst>
              <a:ext uri="{FF2B5EF4-FFF2-40B4-BE49-F238E27FC236}">
                <a16:creationId xmlns:a16="http://schemas.microsoft.com/office/drawing/2014/main" id="{02371C56-E9DD-174F-A1B7-D95A5554B84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95513" y="3652198"/>
            <a:ext cx="1608172" cy="1608172"/>
          </a:xfrm>
          <a:prstGeom prst="rect">
            <a:avLst/>
          </a:prstGeom>
        </p:spPr>
      </p:pic>
      <p:sp>
        <p:nvSpPr>
          <p:cNvPr id="42" name="TextBox 41">
            <a:extLst>
              <a:ext uri="{FF2B5EF4-FFF2-40B4-BE49-F238E27FC236}">
                <a16:creationId xmlns:a16="http://schemas.microsoft.com/office/drawing/2014/main" id="{FE5636F9-EE07-9F4A-8E04-AEF04E907B86}"/>
              </a:ext>
            </a:extLst>
          </p:cNvPr>
          <p:cNvSpPr txBox="1"/>
          <p:nvPr/>
        </p:nvSpPr>
        <p:spPr>
          <a:xfrm>
            <a:off x="6350137" y="4456567"/>
            <a:ext cx="3533011"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KBLI DAN SUBKLASIFIKAS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BIDANG KONSTRUKSI</a:t>
            </a:r>
          </a:p>
        </p:txBody>
      </p:sp>
      <p:sp>
        <p:nvSpPr>
          <p:cNvPr id="43" name="TextBox 42">
            <a:extLst>
              <a:ext uri="{FF2B5EF4-FFF2-40B4-BE49-F238E27FC236}">
                <a16:creationId xmlns:a16="http://schemas.microsoft.com/office/drawing/2014/main" id="{233C82B5-45DE-A549-8620-37CC1B724185}"/>
              </a:ext>
            </a:extLst>
          </p:cNvPr>
          <p:cNvSpPr txBox="1"/>
          <p:nvPr/>
        </p:nvSpPr>
        <p:spPr>
          <a:xfrm>
            <a:off x="6248218" y="5525237"/>
            <a:ext cx="5551381" cy="1077218"/>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1">
                <a:ln>
                  <a:noFill/>
                </a:ln>
                <a:solidFill>
                  <a:prstClr val="black"/>
                </a:solidFill>
                <a:effectLst/>
                <a:uLnTx/>
                <a:uFillTx/>
                <a:latin typeface="Apple LiGothic Medium" pitchFamily="2" charset="-120"/>
                <a:ea typeface="Apple LiGothic Medium" pitchFamily="2" charset="-120"/>
                <a:cs typeface="+mn-cs"/>
              </a:rPr>
              <a:t>Terdapat 1790 klasifikasi usaha pada KBLI 2020, termasuk didalamnya terdapat </a:t>
            </a:r>
            <a:r>
              <a:rPr kumimoji="0" lang="en-US" sz="1600" b="0" i="0" u="none" strike="noStrike" kern="1200" cap="none" spc="0" normalizeH="0" baseline="0" noProof="1">
                <a:ln>
                  <a:noFill/>
                </a:ln>
                <a:solidFill>
                  <a:srgbClr val="FF0000"/>
                </a:solidFill>
                <a:effectLst/>
                <a:uLnTx/>
                <a:uFillTx/>
                <a:latin typeface="Apple LiGothic Medium" pitchFamily="2" charset="-120"/>
                <a:ea typeface="Apple LiGothic Medium" pitchFamily="2" charset="-120"/>
                <a:cs typeface="+mn-cs"/>
              </a:rPr>
              <a:t>68 + 2 KBLI </a:t>
            </a:r>
            <a:r>
              <a:rPr kumimoji="0" lang="en-US" sz="1600" b="0" i="0" u="none" strike="noStrike" kern="1200" cap="none" spc="0" normalizeH="0" baseline="0" noProof="1">
                <a:ln>
                  <a:noFill/>
                </a:ln>
                <a:solidFill>
                  <a:prstClr val="black"/>
                </a:solidFill>
                <a:effectLst/>
                <a:uLnTx/>
                <a:uFillTx/>
                <a:latin typeface="Apple LiGothic Medium" pitchFamily="2" charset="-120"/>
                <a:ea typeface="Apple LiGothic Medium" pitchFamily="2" charset="-120"/>
                <a:cs typeface="+mn-cs"/>
              </a:rPr>
              <a:t>untuk rujukan berusaha di Bidang </a:t>
            </a:r>
            <a:r>
              <a:rPr kumimoji="0" lang="en-US" sz="1600" b="0" i="0" u="none" strike="noStrike" kern="1200" cap="none" spc="0" normalizeH="0" baseline="0" noProof="1">
                <a:ln>
                  <a:noFill/>
                </a:ln>
                <a:solidFill>
                  <a:srgbClr val="70AD47">
                    <a:lumMod val="50000"/>
                  </a:srgbClr>
                </a:solidFill>
                <a:effectLst/>
                <a:uLnTx/>
                <a:uFillTx/>
                <a:latin typeface="Apple LiGothic Medium" pitchFamily="2" charset="-120"/>
                <a:ea typeface="Apple LiGothic Medium" pitchFamily="2" charset="-120"/>
                <a:cs typeface="+mn-cs"/>
              </a:rPr>
              <a:t>Pekerjaan Umum dan Perumahan Rakyat. </a:t>
            </a:r>
            <a:r>
              <a:rPr kumimoji="0" lang="en-US" sz="1600" b="0" i="0" u="none" strike="noStrike" kern="1200" cap="none" spc="0" normalizeH="0" baseline="0" noProof="1">
                <a:ln>
                  <a:noFill/>
                </a:ln>
                <a:solidFill>
                  <a:prstClr val="black"/>
                </a:solidFill>
                <a:effectLst/>
                <a:uLnTx/>
                <a:uFillTx/>
                <a:latin typeface="Apple LiGothic Medium" pitchFamily="2" charset="-120"/>
                <a:ea typeface="Apple LiGothic Medium" pitchFamily="2" charset="-120"/>
                <a:cs typeface="+mn-cs"/>
              </a:rPr>
              <a:t>Dari 70 KBLI terdapat </a:t>
            </a:r>
            <a:r>
              <a:rPr kumimoji="0" lang="en-US" sz="1600" b="0" i="0" u="none" strike="noStrike" kern="1200" cap="none" spc="0" normalizeH="0" baseline="0" noProof="1">
                <a:ln>
                  <a:noFill/>
                </a:ln>
                <a:solidFill>
                  <a:srgbClr val="FF0000"/>
                </a:solidFill>
                <a:effectLst/>
                <a:uLnTx/>
                <a:uFillTx/>
                <a:latin typeface="Apple LiGothic Medium" pitchFamily="2" charset="-120"/>
                <a:ea typeface="Apple LiGothic Medium" pitchFamily="2" charset="-120"/>
                <a:cs typeface="+mn-cs"/>
              </a:rPr>
              <a:t>130 + 2 Subklasifikasi </a:t>
            </a:r>
            <a:r>
              <a:rPr kumimoji="0" lang="en-US" sz="1600" b="0" i="0" u="none" strike="noStrike" kern="1200" cap="none" spc="0" normalizeH="0" baseline="0" noProof="1">
                <a:ln>
                  <a:noFill/>
                </a:ln>
                <a:solidFill>
                  <a:prstClr val="black"/>
                </a:solidFill>
                <a:effectLst/>
                <a:uLnTx/>
                <a:uFillTx/>
                <a:latin typeface="Apple LiGothic Medium" pitchFamily="2" charset="-120"/>
                <a:ea typeface="Apple LiGothic Medium" pitchFamily="2" charset="-120"/>
                <a:cs typeface="+mn-cs"/>
              </a:rPr>
              <a:t>Usaha Jasa Konstruksi.</a:t>
            </a:r>
          </a:p>
        </p:txBody>
      </p:sp>
      <p:sp>
        <p:nvSpPr>
          <p:cNvPr id="44" name="TextBox 43">
            <a:extLst>
              <a:ext uri="{FF2B5EF4-FFF2-40B4-BE49-F238E27FC236}">
                <a16:creationId xmlns:a16="http://schemas.microsoft.com/office/drawing/2014/main" id="{DBAC61E0-1137-F945-8EBC-79E086D46FEE}"/>
              </a:ext>
            </a:extLst>
          </p:cNvPr>
          <p:cNvSpPr txBox="1"/>
          <p:nvPr/>
        </p:nvSpPr>
        <p:spPr>
          <a:xfrm>
            <a:off x="339968" y="267595"/>
            <a:ext cx="5697256" cy="947400"/>
          </a:xfrm>
          <a:prstGeom prst="rect">
            <a:avLst/>
          </a:prstGeom>
          <a:solidFill>
            <a:schemeClr val="accent5">
              <a:lumMod val="50000"/>
            </a:schemeClr>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ERIZINAN BERUSAHA BERBASIS RISIKO BERDASARKAN KBLI 2020</a:t>
            </a:r>
          </a:p>
        </p:txBody>
      </p:sp>
    </p:spTree>
    <p:extLst>
      <p:ext uri="{BB962C8B-B14F-4D97-AF65-F5344CB8AC3E}">
        <p14:creationId xmlns:p14="http://schemas.microsoft.com/office/powerpoint/2010/main" val="2832458181"/>
      </p:ext>
    </p:extLst>
  </p:cSld>
  <p:clrMapOvr>
    <a:masterClrMapping/>
  </p:clrMapOvr>
  <mc:AlternateContent xmlns:mc="http://schemas.openxmlformats.org/markup-compatibility/2006" xmlns:p14="http://schemas.microsoft.com/office/powerpoint/2010/main">
    <mc:Choice Requires="p14">
      <p:transition spd="slow">
        <p14:pan dir="u"/>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lgo sigap.png">
            <a:extLst>
              <a:ext uri="{FF2B5EF4-FFF2-40B4-BE49-F238E27FC236}">
                <a16:creationId xmlns:a16="http://schemas.microsoft.com/office/drawing/2014/main" id="{08BF8071-ECD2-5F4F-B9BA-784DD29A0364}"/>
              </a:ext>
            </a:extLst>
          </p:cNvPr>
          <p:cNvPicPr>
            <a:picLocks noChangeAspect="1"/>
          </p:cNvPicPr>
          <p:nvPr/>
        </p:nvPicPr>
        <p:blipFill>
          <a:blip r:embed="rId2"/>
          <a:stretch>
            <a:fillRect/>
          </a:stretch>
        </p:blipFill>
        <p:spPr>
          <a:xfrm>
            <a:off x="9344601" y="15240"/>
            <a:ext cx="2877879" cy="1109585"/>
          </a:xfrm>
          <a:prstGeom prst="rect">
            <a:avLst/>
          </a:prstGeom>
        </p:spPr>
      </p:pic>
      <p:pic>
        <p:nvPicPr>
          <p:cNvPr id="18" name="Picture 17">
            <a:extLst>
              <a:ext uri="{FF2B5EF4-FFF2-40B4-BE49-F238E27FC236}">
                <a16:creationId xmlns:a16="http://schemas.microsoft.com/office/drawing/2014/main" id="{0FAA183D-08DA-4145-BFBB-65555671FD62}"/>
              </a:ext>
            </a:extLst>
          </p:cNvPr>
          <p:cNvPicPr>
            <a:picLocks noChangeAspect="1"/>
          </p:cNvPicPr>
          <p:nvPr/>
        </p:nvPicPr>
        <p:blipFill>
          <a:blip r:embed="rId3"/>
          <a:stretch>
            <a:fillRect/>
          </a:stretch>
        </p:blipFill>
        <p:spPr>
          <a:xfrm>
            <a:off x="7696200" y="6437778"/>
            <a:ext cx="698500" cy="711200"/>
          </a:xfrm>
          <a:prstGeom prst="rect">
            <a:avLst/>
          </a:prstGeom>
        </p:spPr>
      </p:pic>
      <p:sp>
        <p:nvSpPr>
          <p:cNvPr id="21" name="Rectangle 20"/>
          <p:cNvSpPr/>
          <p:nvPr/>
        </p:nvSpPr>
        <p:spPr>
          <a:xfrm>
            <a:off x="-77477" y="64622"/>
            <a:ext cx="9759403" cy="584775"/>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sv-SE" sz="3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ERATURAN PEMERINTAH NOMOR 5 TAHUN 2021</a:t>
            </a:r>
          </a:p>
        </p:txBody>
      </p:sp>
      <p:cxnSp>
        <p:nvCxnSpPr>
          <p:cNvPr id="22" name="Straight Connector 21"/>
          <p:cNvCxnSpPr/>
          <p:nvPr/>
        </p:nvCxnSpPr>
        <p:spPr>
          <a:xfrm>
            <a:off x="142240" y="734950"/>
            <a:ext cx="8488884" cy="17840"/>
          </a:xfrm>
          <a:prstGeom prst="line">
            <a:avLst/>
          </a:prstGeom>
          <a:ln w="38100">
            <a:solidFill>
              <a:srgbClr val="FFDB16"/>
            </a:solidFill>
          </a:ln>
        </p:spPr>
        <p:style>
          <a:lnRef idx="1">
            <a:schemeClr val="accent6"/>
          </a:lnRef>
          <a:fillRef idx="0">
            <a:schemeClr val="accent6"/>
          </a:fillRef>
          <a:effectRef idx="0">
            <a:schemeClr val="accent6"/>
          </a:effectRef>
          <a:fontRef idx="minor">
            <a:schemeClr val="tx1"/>
          </a:fontRef>
        </p:style>
      </p:cxnSp>
      <p:sp>
        <p:nvSpPr>
          <p:cNvPr id="23" name="Freeform 48">
            <a:extLst>
              <a:ext uri="{FF2B5EF4-FFF2-40B4-BE49-F238E27FC236}">
                <a16:creationId xmlns:a16="http://schemas.microsoft.com/office/drawing/2014/main" id="{05E24286-A186-49C4-8605-07E565671F03}"/>
              </a:ext>
            </a:extLst>
          </p:cNvPr>
          <p:cNvSpPr/>
          <p:nvPr/>
        </p:nvSpPr>
        <p:spPr>
          <a:xfrm>
            <a:off x="422592" y="1552363"/>
            <a:ext cx="11232292" cy="4338301"/>
          </a:xfrm>
          <a:custGeom>
            <a:avLst/>
            <a:gdLst>
              <a:gd name="connsiteX0" fmla="*/ 0 w 11232292"/>
              <a:gd name="connsiteY0" fmla="*/ 0 h 4338301"/>
              <a:gd name="connsiteX1" fmla="*/ 11232292 w 11232292"/>
              <a:gd name="connsiteY1" fmla="*/ 0 h 4338301"/>
              <a:gd name="connsiteX2" fmla="*/ 11232292 w 11232292"/>
              <a:gd name="connsiteY2" fmla="*/ 1606379 h 4338301"/>
              <a:gd name="connsiteX3" fmla="*/ 11232291 w 11232292"/>
              <a:gd name="connsiteY3" fmla="*/ 1606379 h 4338301"/>
              <a:gd name="connsiteX4" fmla="*/ 11232291 w 11232292"/>
              <a:gd name="connsiteY4" fmla="*/ 4338301 h 4338301"/>
              <a:gd name="connsiteX5" fmla="*/ 7661185 w 11232292"/>
              <a:gd name="connsiteY5" fmla="*/ 4338301 h 4338301"/>
              <a:gd name="connsiteX6" fmla="*/ 7661185 w 11232292"/>
              <a:gd name="connsiteY6" fmla="*/ 1606379 h 4338301"/>
              <a:gd name="connsiteX7" fmla="*/ 0 w 11232292"/>
              <a:gd name="connsiteY7" fmla="*/ 1606379 h 4338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32292" h="4338301">
                <a:moveTo>
                  <a:pt x="0" y="0"/>
                </a:moveTo>
                <a:lnTo>
                  <a:pt x="11232292" y="0"/>
                </a:lnTo>
                <a:lnTo>
                  <a:pt x="11232292" y="1606379"/>
                </a:lnTo>
                <a:lnTo>
                  <a:pt x="11232291" y="1606379"/>
                </a:lnTo>
                <a:lnTo>
                  <a:pt x="11232291" y="4338301"/>
                </a:lnTo>
                <a:lnTo>
                  <a:pt x="7661185" y="4338301"/>
                </a:lnTo>
                <a:lnTo>
                  <a:pt x="7661185" y="1606379"/>
                </a:lnTo>
                <a:lnTo>
                  <a:pt x="0" y="1606379"/>
                </a:lnTo>
                <a:close/>
              </a:path>
            </a:pathLst>
          </a:cu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235D92CD-3337-44E0-BEF1-5168BD0580E4}"/>
              </a:ext>
            </a:extLst>
          </p:cNvPr>
          <p:cNvSpPr/>
          <p:nvPr/>
        </p:nvSpPr>
        <p:spPr>
          <a:xfrm>
            <a:off x="422592" y="3279078"/>
            <a:ext cx="7512908" cy="2611586"/>
          </a:xfrm>
          <a:prstGeom prst="rect">
            <a:avLst/>
          </a:prstGeom>
          <a:solidFill>
            <a:schemeClr val="accent6">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A4840F87-6C5C-470F-9786-C7A77564FB66}"/>
              </a:ext>
            </a:extLst>
          </p:cNvPr>
          <p:cNvSpPr txBox="1"/>
          <p:nvPr/>
        </p:nvSpPr>
        <p:spPr>
          <a:xfrm>
            <a:off x="7876730" y="6105546"/>
            <a:ext cx="3919429"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Pasal</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80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s.d.</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Pasal</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81</a:t>
            </a:r>
          </a:p>
        </p:txBody>
      </p:sp>
      <p:cxnSp>
        <p:nvCxnSpPr>
          <p:cNvPr id="26" name="Straight Connector 25">
            <a:extLst>
              <a:ext uri="{FF2B5EF4-FFF2-40B4-BE49-F238E27FC236}">
                <a16:creationId xmlns:a16="http://schemas.microsoft.com/office/drawing/2014/main" id="{963D9315-83C3-4FEF-ABC1-382080D6A803}"/>
              </a:ext>
            </a:extLst>
          </p:cNvPr>
          <p:cNvCxnSpPr>
            <a:cxnSpLocks/>
          </p:cNvCxnSpPr>
          <p:nvPr/>
        </p:nvCxnSpPr>
        <p:spPr>
          <a:xfrm>
            <a:off x="9403908" y="5987552"/>
            <a:ext cx="2539769" cy="0"/>
          </a:xfrm>
          <a:prstGeom prst="line">
            <a:avLst/>
          </a:prstGeom>
          <a:ln w="38100">
            <a:solidFill>
              <a:srgbClr val="FFC001"/>
            </a:solidFill>
          </a:ln>
        </p:spPr>
        <p:style>
          <a:lnRef idx="1">
            <a:schemeClr val="accent1"/>
          </a:lnRef>
          <a:fillRef idx="0">
            <a:schemeClr val="accent1"/>
          </a:fillRef>
          <a:effectRef idx="0">
            <a:schemeClr val="accent1"/>
          </a:effectRef>
          <a:fontRef idx="minor">
            <a:schemeClr val="tx1"/>
          </a:fontRef>
        </p:style>
      </p:cxnSp>
      <p:sp>
        <p:nvSpPr>
          <p:cNvPr id="27" name="Rounded Rectangle 2">
            <a:extLst>
              <a:ext uri="{FF2B5EF4-FFF2-40B4-BE49-F238E27FC236}">
                <a16:creationId xmlns:a16="http://schemas.microsoft.com/office/drawing/2014/main" id="{EF9EEE55-C905-4196-B7D4-7D95D2668CDF}"/>
              </a:ext>
            </a:extLst>
          </p:cNvPr>
          <p:cNvSpPr/>
          <p:nvPr/>
        </p:nvSpPr>
        <p:spPr>
          <a:xfrm>
            <a:off x="1089855" y="898030"/>
            <a:ext cx="1519881" cy="457200"/>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rPr>
              <a:t>SUBSEKTOR</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 name="Rounded Rectangle 7">
            <a:extLst>
              <a:ext uri="{FF2B5EF4-FFF2-40B4-BE49-F238E27FC236}">
                <a16:creationId xmlns:a16="http://schemas.microsoft.com/office/drawing/2014/main" id="{798B295B-328B-4AF8-A681-51892B72416B}"/>
              </a:ext>
            </a:extLst>
          </p:cNvPr>
          <p:cNvSpPr/>
          <p:nvPr/>
        </p:nvSpPr>
        <p:spPr>
          <a:xfrm>
            <a:off x="1509984" y="2120776"/>
            <a:ext cx="2286002" cy="457200"/>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JASA KONSTRUKSI</a:t>
            </a:r>
          </a:p>
        </p:txBody>
      </p:sp>
      <p:sp>
        <p:nvSpPr>
          <p:cNvPr id="29" name="Rounded Rectangle 8">
            <a:extLst>
              <a:ext uri="{FF2B5EF4-FFF2-40B4-BE49-F238E27FC236}">
                <a16:creationId xmlns:a16="http://schemas.microsoft.com/office/drawing/2014/main" id="{C0BD22A8-CB98-47E4-9A80-9B81C50382B6}"/>
              </a:ext>
            </a:extLst>
          </p:cNvPr>
          <p:cNvSpPr/>
          <p:nvPr/>
        </p:nvSpPr>
        <p:spPr>
          <a:xfrm>
            <a:off x="1509984" y="3572122"/>
            <a:ext cx="2286002" cy="457200"/>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SUMBER DAYA AIR</a:t>
            </a:r>
          </a:p>
        </p:txBody>
      </p:sp>
      <p:sp>
        <p:nvSpPr>
          <p:cNvPr id="30" name="Rounded Rectangle 10">
            <a:extLst>
              <a:ext uri="{FF2B5EF4-FFF2-40B4-BE49-F238E27FC236}">
                <a16:creationId xmlns:a16="http://schemas.microsoft.com/office/drawing/2014/main" id="{394B7D89-2908-48E7-B7EA-52D0A416C404}"/>
              </a:ext>
            </a:extLst>
          </p:cNvPr>
          <p:cNvSpPr/>
          <p:nvPr/>
        </p:nvSpPr>
        <p:spPr>
          <a:xfrm>
            <a:off x="1509984" y="4559082"/>
            <a:ext cx="2286002" cy="457200"/>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BINA MARGA</a:t>
            </a:r>
          </a:p>
        </p:txBody>
      </p:sp>
      <p:cxnSp>
        <p:nvCxnSpPr>
          <p:cNvPr id="32" name="Elbow Connector 11">
            <a:extLst>
              <a:ext uri="{FF2B5EF4-FFF2-40B4-BE49-F238E27FC236}">
                <a16:creationId xmlns:a16="http://schemas.microsoft.com/office/drawing/2014/main" id="{B9B1718A-5764-4FE9-B1A7-BDC2290847DC}"/>
              </a:ext>
            </a:extLst>
          </p:cNvPr>
          <p:cNvCxnSpPr>
            <a:cxnSpLocks/>
            <a:stCxn id="27" idx="1"/>
            <a:endCxn id="28" idx="1"/>
          </p:cNvCxnSpPr>
          <p:nvPr/>
        </p:nvCxnSpPr>
        <p:spPr>
          <a:xfrm rot="10800000" flipH="1" flipV="1">
            <a:off x="1089854" y="1126630"/>
            <a:ext cx="420129" cy="1222746"/>
          </a:xfrm>
          <a:prstGeom prst="bentConnector3">
            <a:avLst>
              <a:gd name="adj1" fmla="val -54412"/>
            </a:avLst>
          </a:prstGeom>
          <a:ln w="28575">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34" name="Elbow Connector 13">
            <a:extLst>
              <a:ext uri="{FF2B5EF4-FFF2-40B4-BE49-F238E27FC236}">
                <a16:creationId xmlns:a16="http://schemas.microsoft.com/office/drawing/2014/main" id="{F95DBC26-629B-46EA-BEC3-8D613B2641FC}"/>
              </a:ext>
            </a:extLst>
          </p:cNvPr>
          <p:cNvCxnSpPr>
            <a:cxnSpLocks/>
            <a:stCxn id="27" idx="1"/>
            <a:endCxn id="29" idx="1"/>
          </p:cNvCxnSpPr>
          <p:nvPr/>
        </p:nvCxnSpPr>
        <p:spPr>
          <a:xfrm rot="10800000" flipH="1" flipV="1">
            <a:off x="1089854" y="1126630"/>
            <a:ext cx="420129" cy="2674092"/>
          </a:xfrm>
          <a:prstGeom prst="bentConnector3">
            <a:avLst>
              <a:gd name="adj1" fmla="val -54412"/>
            </a:avLst>
          </a:prstGeom>
          <a:ln w="28575">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35" name="Elbow Connector 17">
            <a:extLst>
              <a:ext uri="{FF2B5EF4-FFF2-40B4-BE49-F238E27FC236}">
                <a16:creationId xmlns:a16="http://schemas.microsoft.com/office/drawing/2014/main" id="{4234BEE5-535B-417E-B8DE-4780D97F36E8}"/>
              </a:ext>
            </a:extLst>
          </p:cNvPr>
          <p:cNvCxnSpPr>
            <a:cxnSpLocks/>
            <a:stCxn id="27" idx="1"/>
            <a:endCxn id="30" idx="1"/>
          </p:cNvCxnSpPr>
          <p:nvPr/>
        </p:nvCxnSpPr>
        <p:spPr>
          <a:xfrm rot="10800000" flipH="1" flipV="1">
            <a:off x="1089854" y="1126630"/>
            <a:ext cx="420129" cy="3661052"/>
          </a:xfrm>
          <a:prstGeom prst="bentConnector3">
            <a:avLst>
              <a:gd name="adj1" fmla="val -54412"/>
            </a:avLst>
          </a:prstGeom>
          <a:ln w="28575">
            <a:solidFill>
              <a:schemeClr val="tx2"/>
            </a:solidFill>
            <a:tailEnd type="triangle"/>
          </a:ln>
        </p:spPr>
        <p:style>
          <a:lnRef idx="1">
            <a:schemeClr val="dk1"/>
          </a:lnRef>
          <a:fillRef idx="0">
            <a:schemeClr val="dk1"/>
          </a:fillRef>
          <a:effectRef idx="0">
            <a:schemeClr val="dk1"/>
          </a:effectRef>
          <a:fontRef idx="minor">
            <a:schemeClr val="tx1"/>
          </a:fontRef>
        </p:style>
      </p:cxnSp>
      <p:sp>
        <p:nvSpPr>
          <p:cNvPr id="36" name="Rounded Rectangle 24">
            <a:extLst>
              <a:ext uri="{FF2B5EF4-FFF2-40B4-BE49-F238E27FC236}">
                <a16:creationId xmlns:a16="http://schemas.microsoft.com/office/drawing/2014/main" id="{09CBFE89-401C-461C-9210-3E04D8E75AE2}"/>
              </a:ext>
            </a:extLst>
          </p:cNvPr>
          <p:cNvSpPr/>
          <p:nvPr/>
        </p:nvSpPr>
        <p:spPr>
          <a:xfrm>
            <a:off x="4515691" y="1713814"/>
            <a:ext cx="3361039" cy="320463"/>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Jasa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Konsultansi</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Konstruksi</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Rounded Rectangle 25">
            <a:extLst>
              <a:ext uri="{FF2B5EF4-FFF2-40B4-BE49-F238E27FC236}">
                <a16:creationId xmlns:a16="http://schemas.microsoft.com/office/drawing/2014/main" id="{9853B4E2-50BC-473E-B927-C177282CB50C}"/>
              </a:ext>
            </a:extLst>
          </p:cNvPr>
          <p:cNvSpPr/>
          <p:nvPr/>
        </p:nvSpPr>
        <p:spPr>
          <a:xfrm>
            <a:off x="4515691" y="2189144"/>
            <a:ext cx="3361039" cy="320463"/>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Pekerjaan</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Konstruksi</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Rounded Rectangle 26">
            <a:extLst>
              <a:ext uri="{FF2B5EF4-FFF2-40B4-BE49-F238E27FC236}">
                <a16:creationId xmlns:a16="http://schemas.microsoft.com/office/drawing/2014/main" id="{5C13D61F-B505-48F3-BC2B-A8B728D032B4}"/>
              </a:ext>
            </a:extLst>
          </p:cNvPr>
          <p:cNvSpPr/>
          <p:nvPr/>
        </p:nvSpPr>
        <p:spPr>
          <a:xfrm>
            <a:off x="4515691" y="2664474"/>
            <a:ext cx="3361039" cy="320463"/>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Pekerjaan</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Konstruksi</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Terintegrasi</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39" name="Elbow Connector 27">
            <a:extLst>
              <a:ext uri="{FF2B5EF4-FFF2-40B4-BE49-F238E27FC236}">
                <a16:creationId xmlns:a16="http://schemas.microsoft.com/office/drawing/2014/main" id="{79A398FF-38FC-4F17-945A-913BB3708FF5}"/>
              </a:ext>
            </a:extLst>
          </p:cNvPr>
          <p:cNvCxnSpPr>
            <a:cxnSpLocks/>
            <a:stCxn id="28" idx="3"/>
            <a:endCxn id="36" idx="1"/>
          </p:cNvCxnSpPr>
          <p:nvPr/>
        </p:nvCxnSpPr>
        <p:spPr>
          <a:xfrm flipV="1">
            <a:off x="3795986" y="1874046"/>
            <a:ext cx="719705" cy="475330"/>
          </a:xfrm>
          <a:prstGeom prst="bentConnector3">
            <a:avLst>
              <a:gd name="adj1" fmla="val 50000"/>
            </a:avLst>
          </a:prstGeom>
          <a:ln w="28575">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40" name="Elbow Connector 31">
            <a:extLst>
              <a:ext uri="{FF2B5EF4-FFF2-40B4-BE49-F238E27FC236}">
                <a16:creationId xmlns:a16="http://schemas.microsoft.com/office/drawing/2014/main" id="{1585C1DE-52D6-4CCA-82E2-B675F18195B0}"/>
              </a:ext>
            </a:extLst>
          </p:cNvPr>
          <p:cNvCxnSpPr>
            <a:cxnSpLocks/>
            <a:stCxn id="28" idx="3"/>
            <a:endCxn id="38" idx="1"/>
          </p:cNvCxnSpPr>
          <p:nvPr/>
        </p:nvCxnSpPr>
        <p:spPr>
          <a:xfrm>
            <a:off x="3795986" y="2349376"/>
            <a:ext cx="719705" cy="475330"/>
          </a:xfrm>
          <a:prstGeom prst="bentConnector3">
            <a:avLst>
              <a:gd name="adj1" fmla="val 50000"/>
            </a:avLst>
          </a:prstGeom>
          <a:ln w="28575">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41" name="Elbow Connector 34">
            <a:extLst>
              <a:ext uri="{FF2B5EF4-FFF2-40B4-BE49-F238E27FC236}">
                <a16:creationId xmlns:a16="http://schemas.microsoft.com/office/drawing/2014/main" id="{6F644DE7-CCA1-4124-A63C-7DFD9B83D28E}"/>
              </a:ext>
            </a:extLst>
          </p:cNvPr>
          <p:cNvCxnSpPr>
            <a:cxnSpLocks/>
            <a:stCxn id="28" idx="3"/>
            <a:endCxn id="37" idx="1"/>
          </p:cNvCxnSpPr>
          <p:nvPr/>
        </p:nvCxnSpPr>
        <p:spPr>
          <a:xfrm>
            <a:off x="3795986" y="2349376"/>
            <a:ext cx="719705" cy="12700"/>
          </a:xfrm>
          <a:prstGeom prst="bentConnector3">
            <a:avLst>
              <a:gd name="adj1" fmla="val 50000"/>
            </a:avLst>
          </a:prstGeom>
          <a:ln w="28575">
            <a:solidFill>
              <a:schemeClr val="tx2"/>
            </a:solidFill>
            <a:tailEnd type="triangle"/>
          </a:ln>
        </p:spPr>
        <p:style>
          <a:lnRef idx="1">
            <a:schemeClr val="dk1"/>
          </a:lnRef>
          <a:fillRef idx="0">
            <a:schemeClr val="dk1"/>
          </a:fillRef>
          <a:effectRef idx="0">
            <a:schemeClr val="dk1"/>
          </a:effectRef>
          <a:fontRef idx="minor">
            <a:schemeClr val="tx1"/>
          </a:fontRef>
        </p:style>
      </p:cxnSp>
      <p:sp>
        <p:nvSpPr>
          <p:cNvPr id="42" name="TextBox 41">
            <a:extLst>
              <a:ext uri="{FF2B5EF4-FFF2-40B4-BE49-F238E27FC236}">
                <a16:creationId xmlns:a16="http://schemas.microsoft.com/office/drawing/2014/main" id="{A9AA4A48-044B-42A4-A319-4E3DB6EEB038}"/>
              </a:ext>
            </a:extLst>
          </p:cNvPr>
          <p:cNvSpPr txBox="1"/>
          <p:nvPr/>
        </p:nvSpPr>
        <p:spPr>
          <a:xfrm>
            <a:off x="4595850" y="3958917"/>
            <a:ext cx="2807515"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800" b="0" i="0" u="none" strike="noStrike" kern="1200" cap="none" spc="0" normalizeH="0" baseline="0" noProof="0" dirty="0" err="1">
                <a:ln>
                  <a:noFill/>
                </a:ln>
                <a:solidFill>
                  <a:prstClr val="black"/>
                </a:solidFill>
                <a:effectLst/>
                <a:uLnTx/>
                <a:uFillTx/>
                <a:latin typeface="Calibri" panose="020F0502020204030204"/>
                <a:ea typeface="+mn-ea"/>
                <a:cs typeface="+mn-cs"/>
              </a:rPr>
              <a:t>tidak</a:t>
            </a:r>
            <a:r>
              <a:rPr kumimoji="0" lang="en-ID"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ID" sz="1800" b="0" i="0" u="none" strike="noStrike" kern="1200" cap="none" spc="0" normalizeH="0" baseline="0" noProof="0" dirty="0" err="1">
                <a:ln>
                  <a:noFill/>
                </a:ln>
                <a:solidFill>
                  <a:prstClr val="black"/>
                </a:solidFill>
                <a:effectLst/>
                <a:uLnTx/>
                <a:uFillTx/>
                <a:latin typeface="Calibri" panose="020F0502020204030204"/>
                <a:ea typeface="+mn-ea"/>
                <a:cs typeface="+mn-cs"/>
              </a:rPr>
              <a:t>memiliki</a:t>
            </a:r>
            <a:r>
              <a:rPr kumimoji="0" lang="en-ID"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ID" sz="1800" b="0" i="0" u="none" strike="noStrike" kern="1200" cap="none" spc="0" normalizeH="0" baseline="0" noProof="0" dirty="0" err="1">
                <a:ln>
                  <a:noFill/>
                </a:ln>
                <a:solidFill>
                  <a:prstClr val="black"/>
                </a:solidFill>
                <a:effectLst/>
                <a:uLnTx/>
                <a:uFillTx/>
                <a:latin typeface="Calibri" panose="020F0502020204030204"/>
                <a:ea typeface="+mn-ea"/>
                <a:cs typeface="+mn-cs"/>
              </a:rPr>
              <a:t>Perizinan</a:t>
            </a:r>
            <a:r>
              <a:rPr kumimoji="0" lang="en-ID"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ID" sz="1800" b="0" i="0" u="none" strike="noStrike" kern="1200" cap="none" spc="0" normalizeH="0" baseline="0" noProof="0" dirty="0" err="1">
                <a:ln>
                  <a:noFill/>
                </a:ln>
                <a:solidFill>
                  <a:prstClr val="black"/>
                </a:solidFill>
                <a:effectLst/>
                <a:uLnTx/>
                <a:uFillTx/>
                <a:latin typeface="Calibri" panose="020F0502020204030204"/>
                <a:ea typeface="+mn-ea"/>
                <a:cs typeface="+mn-cs"/>
              </a:rPr>
              <a:t>Berusaha</a:t>
            </a:r>
            <a:r>
              <a:rPr kumimoji="0" lang="en-ID" sz="1800" b="0" i="0" u="none" strike="noStrike" kern="1200" cap="none" spc="0" normalizeH="0" baseline="0" noProof="0" dirty="0">
                <a:ln>
                  <a:noFill/>
                </a:ln>
                <a:solidFill>
                  <a:prstClr val="black"/>
                </a:solidFill>
                <a:effectLst/>
                <a:uLnTx/>
                <a:uFillTx/>
                <a:latin typeface="Calibri" panose="020F0502020204030204"/>
                <a:ea typeface="+mn-ea"/>
                <a:cs typeface="+mn-cs"/>
              </a:rPr>
              <a:t> yang </a:t>
            </a:r>
            <a:r>
              <a:rPr kumimoji="0" lang="en-ID" sz="1800" b="0" i="0" u="none" strike="noStrike" kern="1200" cap="none" spc="0" normalizeH="0" baseline="0" noProof="0" dirty="0" err="1">
                <a:ln>
                  <a:noFill/>
                </a:ln>
                <a:solidFill>
                  <a:prstClr val="black"/>
                </a:solidFill>
                <a:effectLst/>
                <a:uLnTx/>
                <a:uFillTx/>
                <a:latin typeface="Calibri" panose="020F0502020204030204"/>
                <a:ea typeface="+mn-ea"/>
                <a:cs typeface="+mn-cs"/>
              </a:rPr>
              <a:t>ditetapkan</a:t>
            </a:r>
            <a:r>
              <a:rPr kumimoji="0" lang="en-ID"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ID" sz="1800" b="0" i="0" u="none" strike="noStrike" kern="1200" cap="none" spc="0" normalizeH="0" baseline="0" noProof="0" dirty="0" err="1">
                <a:ln>
                  <a:noFill/>
                </a:ln>
                <a:solidFill>
                  <a:prstClr val="black"/>
                </a:solidFill>
                <a:effectLst/>
                <a:uLnTx/>
                <a:uFillTx/>
                <a:latin typeface="Calibri" panose="020F0502020204030204"/>
                <a:ea typeface="+mn-ea"/>
                <a:cs typeface="+mn-cs"/>
              </a:rPr>
              <a:t>berdasarkan</a:t>
            </a:r>
            <a:r>
              <a:rPr kumimoji="0" lang="en-ID"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ID" sz="1800" b="0" i="0" u="none" strike="noStrike" kern="1200" cap="none" spc="0" normalizeH="0" baseline="0" noProof="0" dirty="0" err="1">
                <a:ln>
                  <a:noFill/>
                </a:ln>
                <a:solidFill>
                  <a:prstClr val="black"/>
                </a:solidFill>
                <a:effectLst/>
                <a:uLnTx/>
                <a:uFillTx/>
                <a:latin typeface="Calibri" panose="020F0502020204030204"/>
                <a:ea typeface="+mn-ea"/>
                <a:cs typeface="+mn-cs"/>
              </a:rPr>
              <a:t>hasil</a:t>
            </a:r>
            <a:r>
              <a:rPr kumimoji="0" lang="en-ID"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ID" sz="1800" b="0" i="0" u="none" strike="noStrike" kern="1200" cap="none" spc="0" normalizeH="0" baseline="0" noProof="0" dirty="0" err="1">
                <a:ln>
                  <a:noFill/>
                </a:ln>
                <a:solidFill>
                  <a:prstClr val="black"/>
                </a:solidFill>
                <a:effectLst/>
                <a:uLnTx/>
                <a:uFillTx/>
                <a:latin typeface="Calibri" panose="020F0502020204030204"/>
                <a:ea typeface="+mn-ea"/>
                <a:cs typeface="+mn-cs"/>
              </a:rPr>
              <a:t>analisis</a:t>
            </a:r>
            <a:r>
              <a:rPr kumimoji="0" lang="en-ID"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ID" sz="1800" b="0" i="0" u="none" strike="noStrike" kern="1200" cap="none" spc="0" normalizeH="0" baseline="0" noProof="0" dirty="0" err="1">
                <a:ln>
                  <a:noFill/>
                </a:ln>
                <a:solidFill>
                  <a:prstClr val="black"/>
                </a:solidFill>
                <a:effectLst/>
                <a:uLnTx/>
                <a:uFillTx/>
                <a:latin typeface="Calibri" panose="020F0502020204030204"/>
                <a:ea typeface="+mn-ea"/>
                <a:cs typeface="+mn-cs"/>
              </a:rPr>
              <a:t>tingkat</a:t>
            </a:r>
            <a:r>
              <a:rPr kumimoji="0" lang="en-ID"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ID" sz="1800" b="0" i="0" u="none" strike="noStrike" kern="1200" cap="none" spc="0" normalizeH="0" baseline="0" noProof="0" dirty="0" err="1">
                <a:ln>
                  <a:noFill/>
                </a:ln>
                <a:solidFill>
                  <a:prstClr val="black"/>
                </a:solidFill>
                <a:effectLst/>
                <a:uLnTx/>
                <a:uFillTx/>
                <a:latin typeface="Calibri" panose="020F0502020204030204"/>
                <a:ea typeface="+mn-ea"/>
                <a:cs typeface="+mn-cs"/>
              </a:rPr>
              <a:t>Risiko</a:t>
            </a:r>
            <a:r>
              <a:rPr kumimoji="0" lang="en-ID"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43" name="Rounded Rectangle 43">
            <a:extLst>
              <a:ext uri="{FF2B5EF4-FFF2-40B4-BE49-F238E27FC236}">
                <a16:creationId xmlns:a16="http://schemas.microsoft.com/office/drawing/2014/main" id="{C6B437B1-A443-4582-A325-E1E84180F3EA}"/>
              </a:ext>
            </a:extLst>
          </p:cNvPr>
          <p:cNvSpPr/>
          <p:nvPr/>
        </p:nvSpPr>
        <p:spPr>
          <a:xfrm>
            <a:off x="4529458" y="3498347"/>
            <a:ext cx="2807515" cy="2230599"/>
          </a:xfrm>
          <a:prstGeom prst="roundRect">
            <a:avLst>
              <a:gd name="adj" fmla="val 3801"/>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351C07A9-2D03-40DD-90A8-DD9232F37A0E}"/>
              </a:ext>
            </a:extLst>
          </p:cNvPr>
          <p:cNvSpPr txBox="1"/>
          <p:nvPr/>
        </p:nvSpPr>
        <p:spPr>
          <a:xfrm>
            <a:off x="8410763" y="1686684"/>
            <a:ext cx="2741693"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800" b="0" i="0" u="none" strike="noStrike" kern="1200" cap="none" spc="0" normalizeH="0" baseline="0" noProof="0" dirty="0">
                <a:ln>
                  <a:noFill/>
                </a:ln>
                <a:solidFill>
                  <a:prstClr val="black"/>
                </a:solidFill>
                <a:effectLst/>
                <a:uLnTx/>
                <a:uFillTx/>
                <a:latin typeface="Calibri" panose="020F0502020204030204"/>
                <a:ea typeface="+mn-ea"/>
                <a:cs typeface="+mn-cs"/>
              </a:rPr>
              <a:t>Tingkat </a:t>
            </a:r>
            <a:r>
              <a:rPr kumimoji="0" lang="en-ID" sz="1800" b="0" i="0" u="none" strike="noStrike" kern="1200" cap="none" spc="0" normalizeH="0" baseline="0" noProof="0" dirty="0" err="1">
                <a:ln>
                  <a:noFill/>
                </a:ln>
                <a:solidFill>
                  <a:prstClr val="black"/>
                </a:solidFill>
                <a:effectLst/>
                <a:uLnTx/>
                <a:uFillTx/>
                <a:latin typeface="Calibri" panose="020F0502020204030204"/>
                <a:ea typeface="+mn-ea"/>
                <a:cs typeface="+mn-cs"/>
              </a:rPr>
              <a:t>Risiko</a:t>
            </a:r>
            <a:r>
              <a:rPr kumimoji="0" lang="en-ID" sz="18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2400" b="1" i="0" u="none" strike="noStrike" kern="1200" cap="none" spc="0" normalizeH="0" baseline="0" noProof="0" dirty="0">
                <a:ln>
                  <a:noFill/>
                </a:ln>
                <a:solidFill>
                  <a:srgbClr val="FF0000"/>
                </a:solidFill>
                <a:effectLst/>
                <a:uLnTx/>
                <a:uFillTx/>
                <a:latin typeface="Calibri" panose="020F0502020204030204"/>
                <a:ea typeface="+mn-ea"/>
                <a:cs typeface="+mn-cs"/>
              </a:rPr>
              <a:t>MENENGAH TINGGI</a:t>
            </a:r>
          </a:p>
        </p:txBody>
      </p:sp>
      <p:sp>
        <p:nvSpPr>
          <p:cNvPr id="45" name="Rounded Rectangle 45">
            <a:extLst>
              <a:ext uri="{FF2B5EF4-FFF2-40B4-BE49-F238E27FC236}">
                <a16:creationId xmlns:a16="http://schemas.microsoft.com/office/drawing/2014/main" id="{8A6507E4-1113-4826-B97C-EEB2B978D4FB}"/>
              </a:ext>
            </a:extLst>
          </p:cNvPr>
          <p:cNvSpPr/>
          <p:nvPr/>
        </p:nvSpPr>
        <p:spPr>
          <a:xfrm>
            <a:off x="8410763" y="1662495"/>
            <a:ext cx="2807515" cy="831501"/>
          </a:xfrm>
          <a:prstGeom prst="roundRect">
            <a:avLst>
              <a:gd name="adj" fmla="val 8233"/>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TextBox 45">
            <a:extLst>
              <a:ext uri="{FF2B5EF4-FFF2-40B4-BE49-F238E27FC236}">
                <a16:creationId xmlns:a16="http://schemas.microsoft.com/office/drawing/2014/main" id="{CBFA94C0-904E-48EB-86D5-93803CC76AD4}"/>
              </a:ext>
            </a:extLst>
          </p:cNvPr>
          <p:cNvSpPr txBox="1"/>
          <p:nvPr/>
        </p:nvSpPr>
        <p:spPr>
          <a:xfrm>
            <a:off x="8292252" y="2680749"/>
            <a:ext cx="3362632" cy="30777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800" b="1" i="0" u="none" strike="noStrike" kern="1200" cap="none" spc="0" normalizeH="0" baseline="0" noProof="0" dirty="0" err="1">
                <a:ln>
                  <a:noFill/>
                </a:ln>
                <a:solidFill>
                  <a:prstClr val="black"/>
                </a:solidFill>
                <a:effectLst/>
                <a:uLnTx/>
                <a:uFillTx/>
                <a:latin typeface="Calibri" panose="020F0502020204030204"/>
                <a:ea typeface="+mn-ea"/>
                <a:cs typeface="+mn-cs"/>
              </a:rPr>
              <a:t>Perizinan</a:t>
            </a:r>
            <a:r>
              <a:rPr kumimoji="0" lang="en-ID" sz="18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ID" sz="1800" b="1" i="0" u="none" strike="noStrike" kern="1200" cap="none" spc="0" normalizeH="0" baseline="0" noProof="0" dirty="0" err="1">
                <a:ln>
                  <a:noFill/>
                </a:ln>
                <a:solidFill>
                  <a:prstClr val="black"/>
                </a:solidFill>
                <a:effectLst/>
                <a:uLnTx/>
                <a:uFillTx/>
                <a:latin typeface="Calibri" panose="020F0502020204030204"/>
                <a:ea typeface="+mn-ea"/>
                <a:cs typeface="+mn-cs"/>
              </a:rPr>
              <a:t>Berusaha</a:t>
            </a:r>
            <a:r>
              <a:rPr kumimoji="0" lang="en-ID" sz="18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ID" sz="1800" b="1" i="0" u="none" strike="noStrike" kern="1200" cap="none" spc="0" normalizeH="0" baseline="0" noProof="0" dirty="0" err="1">
                <a:ln>
                  <a:noFill/>
                </a:ln>
                <a:solidFill>
                  <a:prstClr val="black"/>
                </a:solidFill>
                <a:effectLst/>
                <a:uLnTx/>
                <a:uFillTx/>
                <a:latin typeface="Calibri" panose="020F0502020204030204"/>
                <a:ea typeface="+mn-ea"/>
                <a:cs typeface="+mn-cs"/>
              </a:rPr>
              <a:t>Penunjang</a:t>
            </a:r>
            <a:r>
              <a:rPr kumimoji="0" lang="en-ID" sz="1800" b="1"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D" sz="1600" b="0" i="0" u="none" strike="noStrike" kern="1200" cap="none" spc="0" normalizeH="0" baseline="0" noProof="0" dirty="0" err="1">
                <a:ln>
                  <a:noFill/>
                </a:ln>
                <a:solidFill>
                  <a:prstClr val="black"/>
                </a:solidFill>
                <a:effectLst/>
                <a:uLnTx/>
                <a:uFillTx/>
                <a:latin typeface="Calibri" panose="020F0502020204030204"/>
                <a:ea typeface="+mn-ea"/>
                <a:cs typeface="+mn-cs"/>
              </a:rPr>
              <a:t>Sertifikat</a:t>
            </a:r>
            <a:r>
              <a:rPr kumimoji="0" lang="en-ID" sz="1600" b="0" i="0" u="none" strike="noStrike" kern="1200" cap="none" spc="0" normalizeH="0" baseline="0" noProof="0" dirty="0">
                <a:ln>
                  <a:noFill/>
                </a:ln>
                <a:solidFill>
                  <a:prstClr val="black"/>
                </a:solidFill>
                <a:effectLst/>
                <a:uLnTx/>
                <a:uFillTx/>
                <a:latin typeface="Calibri" panose="020F0502020204030204"/>
                <a:ea typeface="+mn-ea"/>
                <a:cs typeface="+mn-cs"/>
              </a:rPr>
              <a:t> Badan Usaha (SBU) </a:t>
            </a:r>
            <a:r>
              <a:rPr kumimoji="0" lang="en-ID" sz="1600" b="0" i="0" u="none" strike="noStrike" kern="1200" cap="none" spc="0" normalizeH="0" baseline="0" noProof="0" dirty="0" err="1">
                <a:ln>
                  <a:noFill/>
                </a:ln>
                <a:solidFill>
                  <a:prstClr val="black"/>
                </a:solidFill>
                <a:effectLst/>
                <a:uLnTx/>
                <a:uFillTx/>
                <a:latin typeface="Calibri" panose="020F0502020204030204"/>
                <a:ea typeface="+mn-ea"/>
                <a:cs typeface="+mn-cs"/>
              </a:rPr>
              <a:t>Konstruksi</a:t>
            </a:r>
            <a:r>
              <a:rPr kumimoji="0" lang="en-ID" sz="16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D" sz="1600" b="0" i="0" u="none" strike="noStrike" kern="1200" cap="none" spc="0" normalizeH="0" baseline="0" noProof="0" dirty="0" err="1">
                <a:ln>
                  <a:noFill/>
                </a:ln>
                <a:solidFill>
                  <a:prstClr val="black"/>
                </a:solidFill>
                <a:effectLst/>
                <a:uLnTx/>
                <a:uFillTx/>
                <a:latin typeface="Calibri" panose="020F0502020204030204"/>
                <a:ea typeface="+mn-ea"/>
                <a:cs typeface="+mn-cs"/>
              </a:rPr>
              <a:t>Sertifikat</a:t>
            </a:r>
            <a:r>
              <a:rPr kumimoji="0" lang="en-ID"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panose="020F0502020204030204"/>
                <a:ea typeface="+mn-ea"/>
                <a:cs typeface="+mn-cs"/>
              </a:rPr>
              <a:t>Kompetensi</a:t>
            </a:r>
            <a:r>
              <a:rPr kumimoji="0" lang="en-ID"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panose="020F0502020204030204"/>
                <a:ea typeface="+mn-ea"/>
                <a:cs typeface="+mn-cs"/>
              </a:rPr>
              <a:t>Kerja</a:t>
            </a:r>
            <a:r>
              <a:rPr kumimoji="0" lang="en-ID" sz="1600" b="0" i="0" u="none" strike="noStrike" kern="1200" cap="none" spc="0" normalizeH="0" baseline="0" noProof="0" dirty="0">
                <a:ln>
                  <a:noFill/>
                </a:ln>
                <a:solidFill>
                  <a:prstClr val="black"/>
                </a:solidFill>
                <a:effectLst/>
                <a:uLnTx/>
                <a:uFillTx/>
                <a:latin typeface="Calibri" panose="020F0502020204030204"/>
                <a:ea typeface="+mn-ea"/>
                <a:cs typeface="+mn-cs"/>
              </a:rPr>
              <a:t> (SKK) </a:t>
            </a:r>
            <a:r>
              <a:rPr kumimoji="0" lang="en-ID" sz="1600" b="0" i="0" u="none" strike="noStrike" kern="1200" cap="none" spc="0" normalizeH="0" baseline="0" noProof="0" dirty="0" err="1">
                <a:ln>
                  <a:noFill/>
                </a:ln>
                <a:solidFill>
                  <a:prstClr val="black"/>
                </a:solidFill>
                <a:effectLst/>
                <a:uLnTx/>
                <a:uFillTx/>
                <a:latin typeface="Calibri" panose="020F0502020204030204"/>
                <a:ea typeface="+mn-ea"/>
                <a:cs typeface="+mn-cs"/>
              </a:rPr>
              <a:t>Konstruksi</a:t>
            </a:r>
            <a:r>
              <a:rPr kumimoji="0" lang="en-ID" sz="16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D" sz="1600" b="0" i="0" u="none" strike="noStrike" kern="1200" cap="none" spc="0" normalizeH="0" baseline="0" noProof="0" dirty="0" err="1">
                <a:ln>
                  <a:noFill/>
                </a:ln>
                <a:solidFill>
                  <a:prstClr val="black"/>
                </a:solidFill>
                <a:effectLst/>
                <a:uLnTx/>
                <a:uFillTx/>
                <a:latin typeface="Calibri" panose="020F0502020204030204"/>
                <a:ea typeface="+mn-ea"/>
                <a:cs typeface="+mn-cs"/>
              </a:rPr>
              <a:t>Registrasi</a:t>
            </a:r>
            <a:r>
              <a:rPr kumimoji="0" lang="en-ID"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panose="020F0502020204030204"/>
                <a:ea typeface="+mn-ea"/>
                <a:cs typeface="+mn-cs"/>
              </a:rPr>
              <a:t>kantor</a:t>
            </a:r>
            <a:r>
              <a:rPr kumimoji="0" lang="en-ID"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panose="020F0502020204030204"/>
                <a:ea typeface="+mn-ea"/>
                <a:cs typeface="+mn-cs"/>
              </a:rPr>
              <a:t>perwakilan</a:t>
            </a:r>
            <a:r>
              <a:rPr kumimoji="0" lang="en-ID" sz="1600" b="0" i="0" u="none" strike="noStrike" kern="1200" cap="none" spc="0" normalizeH="0" baseline="0" noProof="0" dirty="0">
                <a:ln>
                  <a:noFill/>
                </a:ln>
                <a:solidFill>
                  <a:prstClr val="black"/>
                </a:solidFill>
                <a:effectLst/>
                <a:uLnTx/>
                <a:uFillTx/>
                <a:latin typeface="Calibri" panose="020F0502020204030204"/>
                <a:ea typeface="+mn-ea"/>
                <a:cs typeface="+mn-cs"/>
              </a:rPr>
              <a:t> Badan Usaha Jasa </a:t>
            </a:r>
            <a:r>
              <a:rPr kumimoji="0" lang="en-ID" sz="1600" b="0" i="0" u="none" strike="noStrike" kern="1200" cap="none" spc="0" normalizeH="0" baseline="0" noProof="0" dirty="0" err="1">
                <a:ln>
                  <a:noFill/>
                </a:ln>
                <a:solidFill>
                  <a:prstClr val="black"/>
                </a:solidFill>
                <a:effectLst/>
                <a:uLnTx/>
                <a:uFillTx/>
                <a:latin typeface="Calibri" panose="020F0502020204030204"/>
                <a:ea typeface="+mn-ea"/>
                <a:cs typeface="+mn-cs"/>
              </a:rPr>
              <a:t>Konstruksi</a:t>
            </a:r>
            <a:r>
              <a:rPr kumimoji="0" lang="en-ID"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panose="020F0502020204030204"/>
                <a:ea typeface="+mn-ea"/>
                <a:cs typeface="+mn-cs"/>
              </a:rPr>
              <a:t>Asing</a:t>
            </a:r>
            <a:r>
              <a:rPr kumimoji="0" lang="en-ID" sz="1600" b="0" i="0" u="none" strike="noStrike" kern="1200" cap="none" spc="0" normalizeH="0" baseline="0" noProof="0" dirty="0">
                <a:ln>
                  <a:noFill/>
                </a:ln>
                <a:solidFill>
                  <a:prstClr val="black"/>
                </a:solidFill>
                <a:effectLst/>
                <a:uLnTx/>
                <a:uFillTx/>
                <a:latin typeface="Calibri" panose="020F0502020204030204"/>
                <a:ea typeface="+mn-ea"/>
                <a:cs typeface="+mn-cs"/>
              </a:rPr>
              <a:t> (BUJKA);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D" sz="1600" b="0" i="0" u="none" strike="noStrike" kern="1200" cap="none" spc="0" normalizeH="0" baseline="0" noProof="0" dirty="0" err="1">
                <a:ln>
                  <a:noFill/>
                </a:ln>
                <a:solidFill>
                  <a:prstClr val="black"/>
                </a:solidFill>
                <a:effectLst/>
                <a:uLnTx/>
                <a:uFillTx/>
                <a:latin typeface="Calibri" panose="020F0502020204030204"/>
                <a:ea typeface="+mn-ea"/>
                <a:cs typeface="+mn-cs"/>
              </a:rPr>
              <a:t>Lisensi</a:t>
            </a:r>
            <a:r>
              <a:rPr kumimoji="0" lang="en-ID" sz="1600" b="0" i="0" u="none" strike="noStrike" kern="1200" cap="none" spc="0" normalizeH="0" baseline="0" noProof="0" dirty="0">
                <a:ln>
                  <a:noFill/>
                </a:ln>
                <a:solidFill>
                  <a:prstClr val="black"/>
                </a:solidFill>
                <a:effectLst/>
                <a:uLnTx/>
                <a:uFillTx/>
                <a:latin typeface="Calibri" panose="020F0502020204030204"/>
                <a:ea typeface="+mn-ea"/>
                <a:cs typeface="+mn-cs"/>
              </a:rPr>
              <a:t> Lembaga </a:t>
            </a:r>
            <a:r>
              <a:rPr kumimoji="0" lang="en-ID" sz="1600" b="0" i="0" u="none" strike="noStrike" kern="1200" cap="none" spc="0" normalizeH="0" baseline="0" noProof="0" dirty="0" err="1">
                <a:ln>
                  <a:noFill/>
                </a:ln>
                <a:solidFill>
                  <a:prstClr val="black"/>
                </a:solidFill>
                <a:effectLst/>
                <a:uLnTx/>
                <a:uFillTx/>
                <a:latin typeface="Calibri" panose="020F0502020204030204"/>
                <a:ea typeface="+mn-ea"/>
                <a:cs typeface="+mn-cs"/>
              </a:rPr>
              <a:t>Sertifikasi</a:t>
            </a:r>
            <a:r>
              <a:rPr kumimoji="0" lang="en-ID" sz="1600" b="0" i="0" u="none" strike="noStrike" kern="1200" cap="none" spc="0" normalizeH="0" baseline="0" noProof="0" dirty="0">
                <a:ln>
                  <a:noFill/>
                </a:ln>
                <a:solidFill>
                  <a:prstClr val="black"/>
                </a:solidFill>
                <a:effectLst/>
                <a:uLnTx/>
                <a:uFillTx/>
                <a:latin typeface="Calibri" panose="020F0502020204030204"/>
                <a:ea typeface="+mn-ea"/>
                <a:cs typeface="+mn-cs"/>
              </a:rPr>
              <a:t> Badan Usaha </a:t>
            </a:r>
            <a:r>
              <a:rPr kumimoji="0" lang="en-ID" sz="1600" b="0" i="0" u="none" strike="noStrike" kern="1200" cap="none" spc="0" normalizeH="0" baseline="0" noProof="0" dirty="0" err="1">
                <a:ln>
                  <a:noFill/>
                </a:ln>
                <a:solidFill>
                  <a:prstClr val="black"/>
                </a:solidFill>
                <a:effectLst/>
                <a:uLnTx/>
                <a:uFillTx/>
                <a:latin typeface="Calibri" panose="020F0502020204030204"/>
                <a:ea typeface="+mn-ea"/>
                <a:cs typeface="+mn-cs"/>
              </a:rPr>
              <a:t>jasa</a:t>
            </a:r>
            <a:r>
              <a:rPr kumimoji="0" lang="en-ID"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panose="020F0502020204030204"/>
                <a:ea typeface="+mn-ea"/>
                <a:cs typeface="+mn-cs"/>
              </a:rPr>
              <a:t>konstruksi</a:t>
            </a:r>
            <a:r>
              <a:rPr kumimoji="0" lang="en-ID" sz="16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D" sz="1600" b="0" i="0" u="none" strike="noStrike" kern="1200" cap="none" spc="0" normalizeH="0" baseline="0" noProof="0" dirty="0" err="1">
                <a:ln>
                  <a:noFill/>
                </a:ln>
                <a:solidFill>
                  <a:prstClr val="black"/>
                </a:solidFill>
                <a:effectLst/>
                <a:uLnTx/>
                <a:uFillTx/>
                <a:latin typeface="Calibri" panose="020F0502020204030204"/>
                <a:ea typeface="+mn-ea"/>
                <a:cs typeface="+mn-cs"/>
              </a:rPr>
              <a:t>Lisensi</a:t>
            </a:r>
            <a:r>
              <a:rPr kumimoji="0" lang="en-ID" sz="1600" b="0" i="0" u="none" strike="noStrike" kern="1200" cap="none" spc="0" normalizeH="0" baseline="0" noProof="0" dirty="0">
                <a:ln>
                  <a:noFill/>
                </a:ln>
                <a:solidFill>
                  <a:prstClr val="black"/>
                </a:solidFill>
                <a:effectLst/>
                <a:uLnTx/>
                <a:uFillTx/>
                <a:latin typeface="Calibri" panose="020F0502020204030204"/>
                <a:ea typeface="+mn-ea"/>
                <a:cs typeface="+mn-cs"/>
              </a:rPr>
              <a:t> Lembaga </a:t>
            </a:r>
            <a:r>
              <a:rPr kumimoji="0" lang="en-ID" sz="1600" b="0" i="0" u="none" strike="noStrike" kern="1200" cap="none" spc="0" normalizeH="0" baseline="0" noProof="0" dirty="0" err="1">
                <a:ln>
                  <a:noFill/>
                </a:ln>
                <a:solidFill>
                  <a:prstClr val="black"/>
                </a:solidFill>
                <a:effectLst/>
                <a:uLnTx/>
                <a:uFillTx/>
                <a:latin typeface="Calibri" panose="020F0502020204030204"/>
                <a:ea typeface="+mn-ea"/>
                <a:cs typeface="+mn-cs"/>
              </a:rPr>
              <a:t>Sertifikasi</a:t>
            </a:r>
            <a:r>
              <a:rPr kumimoji="0" lang="en-ID"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panose="020F0502020204030204"/>
                <a:ea typeface="+mn-ea"/>
                <a:cs typeface="+mn-cs"/>
              </a:rPr>
              <a:t>Profesi</a:t>
            </a:r>
            <a:r>
              <a:rPr kumimoji="0" lang="en-ID"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panose="020F0502020204030204"/>
                <a:ea typeface="+mn-ea"/>
                <a:cs typeface="+mn-cs"/>
              </a:rPr>
              <a:t>jasa</a:t>
            </a:r>
            <a:r>
              <a:rPr kumimoji="0" lang="en-ID"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panose="020F0502020204030204"/>
                <a:ea typeface="+mn-ea"/>
                <a:cs typeface="+mn-cs"/>
              </a:rPr>
              <a:t>konstruksi</a:t>
            </a:r>
            <a:r>
              <a:rPr kumimoji="0" lang="en-ID" sz="16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47" name="Right Arrow 49">
            <a:extLst>
              <a:ext uri="{FF2B5EF4-FFF2-40B4-BE49-F238E27FC236}">
                <a16:creationId xmlns:a16="http://schemas.microsoft.com/office/drawing/2014/main" id="{D44A0A8D-BB91-4589-8F7E-EF3B83AA1F45}"/>
              </a:ext>
            </a:extLst>
          </p:cNvPr>
          <p:cNvSpPr/>
          <p:nvPr/>
        </p:nvSpPr>
        <p:spPr>
          <a:xfrm>
            <a:off x="4016072" y="3646817"/>
            <a:ext cx="267177" cy="30780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Right Arrow 50">
            <a:extLst>
              <a:ext uri="{FF2B5EF4-FFF2-40B4-BE49-F238E27FC236}">
                <a16:creationId xmlns:a16="http://schemas.microsoft.com/office/drawing/2014/main" id="{511118A4-BA0B-4111-9BC5-ED4AD40DB50F}"/>
              </a:ext>
            </a:extLst>
          </p:cNvPr>
          <p:cNvSpPr/>
          <p:nvPr/>
        </p:nvSpPr>
        <p:spPr>
          <a:xfrm>
            <a:off x="4016072" y="4633777"/>
            <a:ext cx="267177" cy="30780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TextBox 48">
            <a:extLst>
              <a:ext uri="{FF2B5EF4-FFF2-40B4-BE49-F238E27FC236}">
                <a16:creationId xmlns:a16="http://schemas.microsoft.com/office/drawing/2014/main" id="{B1E2DE3E-6C9D-4AB1-9374-4378F0A90488}"/>
              </a:ext>
            </a:extLst>
          </p:cNvPr>
          <p:cNvSpPr txBox="1"/>
          <p:nvPr/>
        </p:nvSpPr>
        <p:spPr>
          <a:xfrm>
            <a:off x="1576376" y="4035862"/>
            <a:ext cx="2413325" cy="52322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D" sz="1400" b="0" i="0" u="none" strike="noStrike" kern="1200" cap="none" spc="0" normalizeH="0" baseline="0" noProof="0" dirty="0" err="1">
                <a:ln>
                  <a:noFill/>
                </a:ln>
                <a:solidFill>
                  <a:prstClr val="black"/>
                </a:solidFill>
                <a:effectLst/>
                <a:uLnTx/>
                <a:uFillTx/>
                <a:latin typeface="Calibri" panose="020F0502020204030204"/>
                <a:ea typeface="+mn-ea"/>
                <a:cs typeface="+mn-cs"/>
              </a:rPr>
              <a:t>Izin</a:t>
            </a:r>
            <a:r>
              <a:rPr kumimoji="0" lang="en-ID"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ID" sz="1400" b="0" i="0" u="none" strike="noStrike" kern="1200" cap="none" spc="0" normalizeH="0" baseline="0" noProof="0" dirty="0" err="1">
                <a:ln>
                  <a:noFill/>
                </a:ln>
                <a:solidFill>
                  <a:prstClr val="black"/>
                </a:solidFill>
                <a:effectLst/>
                <a:uLnTx/>
                <a:uFillTx/>
                <a:latin typeface="Calibri" panose="020F0502020204030204"/>
                <a:ea typeface="+mn-ea"/>
                <a:cs typeface="+mn-cs"/>
              </a:rPr>
              <a:t>Penggunaan</a:t>
            </a:r>
            <a:r>
              <a:rPr kumimoji="0" lang="en-ID"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ID" sz="1400" b="0" i="0" u="none" strike="noStrike" kern="1200" cap="none" spc="0" normalizeH="0" baseline="0" noProof="0" dirty="0" err="1">
                <a:ln>
                  <a:noFill/>
                </a:ln>
                <a:solidFill>
                  <a:prstClr val="black"/>
                </a:solidFill>
                <a:effectLst/>
                <a:uLnTx/>
                <a:uFillTx/>
                <a:latin typeface="Calibri" panose="020F0502020204030204"/>
                <a:ea typeface="+mn-ea"/>
                <a:cs typeface="+mn-cs"/>
              </a:rPr>
              <a:t>Sumber</a:t>
            </a:r>
            <a:r>
              <a:rPr kumimoji="0" lang="en-ID"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ID" sz="1400" b="0" i="0" u="none" strike="noStrike" kern="1200" cap="none" spc="0" normalizeH="0" baseline="0" noProof="0" dirty="0" err="1">
                <a:ln>
                  <a:noFill/>
                </a:ln>
                <a:solidFill>
                  <a:prstClr val="black"/>
                </a:solidFill>
                <a:effectLst/>
                <a:uLnTx/>
                <a:uFillTx/>
                <a:latin typeface="Calibri" panose="020F0502020204030204"/>
                <a:ea typeface="+mn-ea"/>
                <a:cs typeface="+mn-cs"/>
              </a:rPr>
              <a:t>Daya</a:t>
            </a:r>
            <a:r>
              <a:rPr kumimoji="0" lang="en-ID" sz="1400" b="0" i="0" u="none" strike="noStrike" kern="1200" cap="none" spc="0" normalizeH="0" baseline="0" noProof="0" dirty="0">
                <a:ln>
                  <a:noFill/>
                </a:ln>
                <a:solidFill>
                  <a:prstClr val="black"/>
                </a:solidFill>
                <a:effectLst/>
                <a:uLnTx/>
                <a:uFillTx/>
                <a:latin typeface="Calibri" panose="020F0502020204030204"/>
                <a:ea typeface="+mn-ea"/>
                <a:cs typeface="+mn-cs"/>
              </a:rPr>
              <a:t> air. </a:t>
            </a:r>
          </a:p>
        </p:txBody>
      </p:sp>
      <p:sp>
        <p:nvSpPr>
          <p:cNvPr id="50" name="TextBox 49">
            <a:extLst>
              <a:ext uri="{FF2B5EF4-FFF2-40B4-BE49-F238E27FC236}">
                <a16:creationId xmlns:a16="http://schemas.microsoft.com/office/drawing/2014/main" id="{48EC8062-9807-4B64-AD5B-B882D53F71FD}"/>
              </a:ext>
            </a:extLst>
          </p:cNvPr>
          <p:cNvSpPr txBox="1"/>
          <p:nvPr/>
        </p:nvSpPr>
        <p:spPr>
          <a:xfrm>
            <a:off x="1576376" y="5026516"/>
            <a:ext cx="2706873"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D" sz="1200" b="0" i="0" u="none" strike="noStrike" kern="1200" cap="none" spc="0" normalizeH="0" baseline="0" noProof="0" dirty="0" err="1">
                <a:ln>
                  <a:noFill/>
                </a:ln>
                <a:solidFill>
                  <a:prstClr val="black"/>
                </a:solidFill>
                <a:effectLst/>
                <a:uLnTx/>
                <a:uFillTx/>
                <a:latin typeface="Calibri" panose="020F0502020204030204"/>
                <a:ea typeface="+mn-ea"/>
                <a:cs typeface="+mn-cs"/>
              </a:rPr>
              <a:t>Izin</a:t>
            </a:r>
            <a:r>
              <a:rPr kumimoji="0" lang="en-ID"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ID" sz="1200" b="0" i="0" u="none" strike="noStrike" kern="1200" cap="none" spc="0" normalizeH="0" baseline="0" noProof="0" dirty="0" err="1">
                <a:ln>
                  <a:noFill/>
                </a:ln>
                <a:solidFill>
                  <a:prstClr val="black"/>
                </a:solidFill>
                <a:effectLst/>
                <a:uLnTx/>
                <a:uFillTx/>
                <a:latin typeface="Calibri" panose="020F0502020204030204"/>
                <a:ea typeface="+mn-ea"/>
                <a:cs typeface="+mn-cs"/>
              </a:rPr>
              <a:t>Pemanfaatan</a:t>
            </a:r>
            <a:r>
              <a:rPr kumimoji="0" lang="en-ID" sz="1200" b="0" i="0" u="none" strike="noStrike" kern="1200" cap="none" spc="0" normalizeH="0" baseline="0" noProof="0" dirty="0">
                <a:ln>
                  <a:noFill/>
                </a:ln>
                <a:solidFill>
                  <a:prstClr val="black"/>
                </a:solidFill>
                <a:effectLst/>
                <a:uLnTx/>
                <a:uFillTx/>
                <a:latin typeface="Calibri" panose="020F0502020204030204"/>
                <a:ea typeface="+mn-ea"/>
                <a:cs typeface="+mn-cs"/>
              </a:rPr>
              <a:t> dan </a:t>
            </a:r>
            <a:r>
              <a:rPr kumimoji="0" lang="en-ID" sz="1200" b="0" i="0" u="none" strike="noStrike" kern="1200" cap="none" spc="0" normalizeH="0" baseline="0" noProof="0" dirty="0" err="1">
                <a:ln>
                  <a:noFill/>
                </a:ln>
                <a:solidFill>
                  <a:prstClr val="black"/>
                </a:solidFill>
                <a:effectLst/>
                <a:uLnTx/>
                <a:uFillTx/>
                <a:latin typeface="Calibri" panose="020F0502020204030204"/>
                <a:ea typeface="+mn-ea"/>
                <a:cs typeface="+mn-cs"/>
              </a:rPr>
              <a:t>Penggunaan</a:t>
            </a:r>
            <a:r>
              <a:rPr kumimoji="0" lang="en-ID" sz="1200" b="0" i="0" u="none" strike="noStrike" kern="1200" cap="none" spc="0" normalizeH="0" baseline="0" noProof="0" dirty="0">
                <a:ln>
                  <a:noFill/>
                </a:ln>
                <a:solidFill>
                  <a:prstClr val="black"/>
                </a:solidFill>
                <a:effectLst/>
                <a:uLnTx/>
                <a:uFillTx/>
                <a:latin typeface="Calibri" panose="020F0502020204030204"/>
                <a:ea typeface="+mn-ea"/>
                <a:cs typeface="+mn-cs"/>
              </a:rPr>
              <a:t> Bagian Jalan (Ruang Milik Jala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D" sz="1200" b="0" i="0" u="none" strike="noStrike" kern="1200" cap="none" spc="0" normalizeH="0" baseline="0" noProof="0" dirty="0" err="1">
                <a:ln>
                  <a:noFill/>
                </a:ln>
                <a:solidFill>
                  <a:prstClr val="black"/>
                </a:solidFill>
                <a:effectLst/>
                <a:uLnTx/>
                <a:uFillTx/>
                <a:latin typeface="Calibri" panose="020F0502020204030204"/>
                <a:ea typeface="+mn-ea"/>
                <a:cs typeface="+mn-cs"/>
              </a:rPr>
              <a:t>Izin</a:t>
            </a:r>
            <a:r>
              <a:rPr kumimoji="0" lang="en-ID"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ID" sz="1200" b="0" i="0" u="none" strike="noStrike" kern="1200" cap="none" spc="0" normalizeH="0" baseline="0" noProof="0" dirty="0" err="1">
                <a:ln>
                  <a:noFill/>
                </a:ln>
                <a:solidFill>
                  <a:prstClr val="black"/>
                </a:solidFill>
                <a:effectLst/>
                <a:uLnTx/>
                <a:uFillTx/>
                <a:latin typeface="Calibri" panose="020F0502020204030204"/>
                <a:ea typeface="+mn-ea"/>
                <a:cs typeface="+mn-cs"/>
              </a:rPr>
              <a:t>Pemanfaatan</a:t>
            </a:r>
            <a:r>
              <a:rPr kumimoji="0" lang="en-ID" sz="1200" b="0" i="0" u="none" strike="noStrike" kern="1200" cap="none" spc="0" normalizeH="0" baseline="0" noProof="0" dirty="0">
                <a:ln>
                  <a:noFill/>
                </a:ln>
                <a:solidFill>
                  <a:prstClr val="black"/>
                </a:solidFill>
                <a:effectLst/>
                <a:uLnTx/>
                <a:uFillTx/>
                <a:latin typeface="Calibri" panose="020F0502020204030204"/>
                <a:ea typeface="+mn-ea"/>
                <a:cs typeface="+mn-cs"/>
              </a:rPr>
              <a:t> dan </a:t>
            </a:r>
            <a:r>
              <a:rPr kumimoji="0" lang="en-ID" sz="1200" b="0" i="0" u="none" strike="noStrike" kern="1200" cap="none" spc="0" normalizeH="0" baseline="0" noProof="0" dirty="0" err="1">
                <a:ln>
                  <a:noFill/>
                </a:ln>
                <a:solidFill>
                  <a:prstClr val="black"/>
                </a:solidFill>
                <a:effectLst/>
                <a:uLnTx/>
                <a:uFillTx/>
                <a:latin typeface="Calibri" panose="020F0502020204030204"/>
                <a:ea typeface="+mn-ea"/>
                <a:cs typeface="+mn-cs"/>
              </a:rPr>
              <a:t>Penggunaan</a:t>
            </a:r>
            <a:r>
              <a:rPr kumimoji="0" lang="en-ID" sz="1200" b="0" i="0" u="none" strike="noStrike" kern="1200" cap="none" spc="0" normalizeH="0" baseline="0" noProof="0" dirty="0">
                <a:ln>
                  <a:noFill/>
                </a:ln>
                <a:solidFill>
                  <a:prstClr val="black"/>
                </a:solidFill>
                <a:effectLst/>
                <a:uLnTx/>
                <a:uFillTx/>
                <a:latin typeface="Calibri" panose="020F0502020204030204"/>
                <a:ea typeface="+mn-ea"/>
                <a:cs typeface="+mn-cs"/>
              </a:rPr>
              <a:t> Bagian-</a:t>
            </a:r>
            <a:r>
              <a:rPr kumimoji="0" lang="en-ID" sz="1200" b="0" i="0" u="none" strike="noStrike" kern="1200" cap="none" spc="0" normalizeH="0" baseline="0" noProof="0" dirty="0" err="1">
                <a:ln>
                  <a:noFill/>
                </a:ln>
                <a:solidFill>
                  <a:prstClr val="black"/>
                </a:solidFill>
                <a:effectLst/>
                <a:uLnTx/>
                <a:uFillTx/>
                <a:latin typeface="Calibri" panose="020F0502020204030204"/>
                <a:ea typeface="+mn-ea"/>
                <a:cs typeface="+mn-cs"/>
              </a:rPr>
              <a:t>bagian</a:t>
            </a:r>
            <a:r>
              <a:rPr kumimoji="0" lang="en-ID" sz="1200" b="0" i="0" u="none" strike="noStrike" kern="1200" cap="none" spc="0" normalizeH="0" baseline="0" noProof="0" dirty="0">
                <a:ln>
                  <a:noFill/>
                </a:ln>
                <a:solidFill>
                  <a:prstClr val="black"/>
                </a:solidFill>
                <a:effectLst/>
                <a:uLnTx/>
                <a:uFillTx/>
                <a:latin typeface="Calibri" panose="020F0502020204030204"/>
                <a:ea typeface="+mn-ea"/>
                <a:cs typeface="+mn-cs"/>
              </a:rPr>
              <a:t> Jalan Tol </a:t>
            </a:r>
          </a:p>
        </p:txBody>
      </p:sp>
      <p:sp>
        <p:nvSpPr>
          <p:cNvPr id="51" name="Rounded Rectangle 55">
            <a:extLst>
              <a:ext uri="{FF2B5EF4-FFF2-40B4-BE49-F238E27FC236}">
                <a16:creationId xmlns:a16="http://schemas.microsoft.com/office/drawing/2014/main" id="{332B5AE5-B086-4556-A400-371F23107DAF}"/>
              </a:ext>
            </a:extLst>
          </p:cNvPr>
          <p:cNvSpPr/>
          <p:nvPr/>
        </p:nvSpPr>
        <p:spPr>
          <a:xfrm>
            <a:off x="4013263" y="1266372"/>
            <a:ext cx="4082875" cy="1810746"/>
          </a:xfrm>
          <a:prstGeom prst="roundRect">
            <a:avLst>
              <a:gd name="adj" fmla="val 4225"/>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030FC44F-D1C5-4C07-B221-689CEAB921A1}"/>
              </a:ext>
            </a:extLst>
          </p:cNvPr>
          <p:cNvSpPr/>
          <p:nvPr/>
        </p:nvSpPr>
        <p:spPr>
          <a:xfrm>
            <a:off x="7122512" y="1094943"/>
            <a:ext cx="635847" cy="369332"/>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800" b="1" i="0" u="none" strike="noStrike" kern="1200" cap="none" spc="0" normalizeH="0" baseline="0" noProof="0" dirty="0">
                <a:ln>
                  <a:noFill/>
                </a:ln>
                <a:solidFill>
                  <a:srgbClr val="FF0000"/>
                </a:solidFill>
                <a:effectLst/>
                <a:uLnTx/>
                <a:uFillTx/>
                <a:latin typeface="Calibri" panose="020F0502020204030204"/>
                <a:ea typeface="+mn-ea"/>
                <a:cs typeface="+mn-cs"/>
              </a:rPr>
              <a:t>KBLI</a:t>
            </a:r>
            <a:endParaRPr kumimoji="0" lang="en-US" sz="180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2" name="Right Arrow 1">
            <a:extLst>
              <a:ext uri="{FF2B5EF4-FFF2-40B4-BE49-F238E27FC236}">
                <a16:creationId xmlns:a16="http://schemas.microsoft.com/office/drawing/2014/main" id="{D1FF3E75-8E00-FA06-4570-8F0F0F19D11B}"/>
              </a:ext>
            </a:extLst>
          </p:cNvPr>
          <p:cNvSpPr/>
          <p:nvPr/>
        </p:nvSpPr>
        <p:spPr>
          <a:xfrm>
            <a:off x="8068962" y="1964723"/>
            <a:ext cx="370703" cy="46955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d-ID"/>
          </a:p>
        </p:txBody>
      </p:sp>
    </p:spTree>
    <p:extLst>
      <p:ext uri="{BB962C8B-B14F-4D97-AF65-F5344CB8AC3E}">
        <p14:creationId xmlns:p14="http://schemas.microsoft.com/office/powerpoint/2010/main" val="428735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F41712-CDE5-EE4D-ABE3-746DB48A7635}"/>
              </a:ext>
            </a:extLst>
          </p:cNvPr>
          <p:cNvSpPr>
            <a:spLocks noGrp="1"/>
          </p:cNvSpPr>
          <p:nvPr>
            <p:ph type="sldNum" sz="quarter" idx="12"/>
          </p:nvPr>
        </p:nvSpPr>
        <p:spPr/>
        <p: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fld id="{F68327C5-B821-4FE9-A59A-A60D9EB59A9A}" type="slidenum">
              <a:rPr kumimoji="0" lang="en-US" sz="1400" b="0" i="0" u="none" strike="noStrike" kern="1200" cap="none" spc="0" normalizeH="0" baseline="0" noProof="0" smtClean="0">
                <a:ln>
                  <a:noFill/>
                </a:ln>
                <a:solidFill>
                  <a:srgbClr val="2F3A46"/>
                </a:solidFill>
                <a:effectLst/>
                <a:uLnTx/>
                <a:uFillTx/>
                <a:latin typeface="Calibri" panose="020F0502020204030204"/>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12</a:t>
            </a:fld>
            <a:endParaRPr kumimoji="0" lang="en-US" sz="1400" b="0" i="0" u="none" strike="noStrike" kern="1200" cap="none" spc="0" normalizeH="0" baseline="0" noProof="0">
              <a:ln>
                <a:noFill/>
              </a:ln>
              <a:solidFill>
                <a:srgbClr val="2F3A46"/>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210DA8B5-23F3-C141-A5AE-56D902E91444}"/>
              </a:ext>
            </a:extLst>
          </p:cNvPr>
          <p:cNvSpPr>
            <a:spLocks noGrp="1"/>
          </p:cNvSpPr>
          <p:nvPr>
            <p:ph type="title"/>
          </p:nvPr>
        </p:nvSpPr>
        <p:spPr/>
        <p:txBody>
          <a:bodyPr>
            <a:normAutofit fontScale="90000"/>
          </a:bodyPr>
          <a:lstStyle/>
          <a:p>
            <a:r>
              <a:rPr lang="en-US"/>
              <a:t>SUBKLASIFIKASI USAHA JASA KONSTRUKSI</a:t>
            </a:r>
          </a:p>
        </p:txBody>
      </p:sp>
      <p:graphicFrame>
        <p:nvGraphicFramePr>
          <p:cNvPr id="5" name="Table 4">
            <a:extLst>
              <a:ext uri="{FF2B5EF4-FFF2-40B4-BE49-F238E27FC236}">
                <a16:creationId xmlns:a16="http://schemas.microsoft.com/office/drawing/2014/main" id="{5767D276-0E73-DC4B-AA6A-F3D458F80D0D}"/>
              </a:ext>
            </a:extLst>
          </p:cNvPr>
          <p:cNvGraphicFramePr>
            <a:graphicFrameLocks noGrp="1"/>
          </p:cNvGraphicFramePr>
          <p:nvPr/>
        </p:nvGraphicFramePr>
        <p:xfrm>
          <a:off x="824016" y="952270"/>
          <a:ext cx="10543968" cy="5675477"/>
        </p:xfrm>
        <a:graphic>
          <a:graphicData uri="http://schemas.openxmlformats.org/drawingml/2006/table">
            <a:tbl>
              <a:tblPr>
                <a:tableStyleId>{5C22544A-7EE6-4342-B048-85BDC9FD1C3A}</a:tableStyleId>
              </a:tblPr>
              <a:tblGrid>
                <a:gridCol w="2470245">
                  <a:extLst>
                    <a:ext uri="{9D8B030D-6E8A-4147-A177-3AD203B41FA5}">
                      <a16:colId xmlns:a16="http://schemas.microsoft.com/office/drawing/2014/main" val="3964319552"/>
                    </a:ext>
                  </a:extLst>
                </a:gridCol>
                <a:gridCol w="1621165">
                  <a:extLst>
                    <a:ext uri="{9D8B030D-6E8A-4147-A177-3AD203B41FA5}">
                      <a16:colId xmlns:a16="http://schemas.microsoft.com/office/drawing/2014/main" val="3992034643"/>
                    </a:ext>
                  </a:extLst>
                </a:gridCol>
                <a:gridCol w="4606505">
                  <a:extLst>
                    <a:ext uri="{9D8B030D-6E8A-4147-A177-3AD203B41FA5}">
                      <a16:colId xmlns:a16="http://schemas.microsoft.com/office/drawing/2014/main" val="2756740093"/>
                    </a:ext>
                  </a:extLst>
                </a:gridCol>
                <a:gridCol w="1104181">
                  <a:extLst>
                    <a:ext uri="{9D8B030D-6E8A-4147-A177-3AD203B41FA5}">
                      <a16:colId xmlns:a16="http://schemas.microsoft.com/office/drawing/2014/main" val="877014689"/>
                    </a:ext>
                  </a:extLst>
                </a:gridCol>
                <a:gridCol w="741872">
                  <a:extLst>
                    <a:ext uri="{9D8B030D-6E8A-4147-A177-3AD203B41FA5}">
                      <a16:colId xmlns:a16="http://schemas.microsoft.com/office/drawing/2014/main" val="525472121"/>
                    </a:ext>
                  </a:extLst>
                </a:gridCol>
              </a:tblGrid>
              <a:tr h="510232">
                <a:tc>
                  <a:txBody>
                    <a:bodyPr/>
                    <a:lstStyle/>
                    <a:p>
                      <a:pPr algn="ctr" fontAlgn="ctr"/>
                      <a:r>
                        <a:rPr lang="en-ID" sz="1800" b="1" u="none" strike="noStrike" err="1">
                          <a:solidFill>
                            <a:schemeClr val="bg1"/>
                          </a:solidFill>
                          <a:effectLst/>
                        </a:rPr>
                        <a:t>Jenis</a:t>
                      </a:r>
                      <a:r>
                        <a:rPr lang="en-ID" sz="1800" b="1" u="none" strike="noStrike">
                          <a:solidFill>
                            <a:schemeClr val="bg1"/>
                          </a:solidFill>
                          <a:effectLst/>
                        </a:rPr>
                        <a:t> Usaha</a:t>
                      </a:r>
                      <a:endParaRPr lang="en-ID" sz="1800" b="1" i="0" u="none" strike="noStrike">
                        <a:solidFill>
                          <a:schemeClr val="bg1"/>
                        </a:solidFill>
                        <a:effectLst/>
                        <a:latin typeface="Calibri" panose="020F0502020204030204" pitchFamily="34" charset="0"/>
                      </a:endParaRPr>
                    </a:p>
                  </a:txBody>
                  <a:tcPr marL="72000" marR="72000" marT="768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lumMod val="75000"/>
                      </a:schemeClr>
                    </a:solidFill>
                  </a:tcPr>
                </a:tc>
                <a:tc>
                  <a:txBody>
                    <a:bodyPr/>
                    <a:lstStyle/>
                    <a:p>
                      <a:pPr algn="ctr" fontAlgn="ctr"/>
                      <a:r>
                        <a:rPr lang="en-ID" sz="1800" b="1" u="none" strike="noStrike">
                          <a:solidFill>
                            <a:schemeClr val="bg1"/>
                          </a:solidFill>
                          <a:effectLst/>
                        </a:rPr>
                        <a:t>Sifat Usaha</a:t>
                      </a:r>
                      <a:endParaRPr lang="en-ID" sz="1800" b="1" i="0" u="none" strike="noStrike">
                        <a:solidFill>
                          <a:schemeClr val="bg1"/>
                        </a:solidFill>
                        <a:effectLst/>
                        <a:latin typeface="Calibri" panose="020F0502020204030204" pitchFamily="34" charset="0"/>
                      </a:endParaRPr>
                    </a:p>
                  </a:txBody>
                  <a:tcPr marL="72000" marR="72000" marT="768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lumMod val="75000"/>
                      </a:schemeClr>
                    </a:solidFill>
                  </a:tcPr>
                </a:tc>
                <a:tc>
                  <a:txBody>
                    <a:bodyPr/>
                    <a:lstStyle/>
                    <a:p>
                      <a:pPr algn="ctr" fontAlgn="ctr"/>
                      <a:r>
                        <a:rPr lang="en-ID" sz="1800" b="1" u="none" strike="noStrike" err="1">
                          <a:solidFill>
                            <a:schemeClr val="bg1"/>
                          </a:solidFill>
                          <a:effectLst/>
                        </a:rPr>
                        <a:t>Klasifikasi</a:t>
                      </a:r>
                      <a:endParaRPr lang="en-ID" sz="1800" b="1" i="0" u="none" strike="noStrike">
                        <a:solidFill>
                          <a:schemeClr val="bg1"/>
                        </a:solidFill>
                        <a:effectLst/>
                        <a:latin typeface="Calibri" panose="020F0502020204030204" pitchFamily="34" charset="0"/>
                      </a:endParaRPr>
                    </a:p>
                  </a:txBody>
                  <a:tcPr marL="72000" marR="72000" marT="768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lumMod val="75000"/>
                      </a:schemeClr>
                    </a:solidFill>
                  </a:tcPr>
                </a:tc>
                <a:tc>
                  <a:txBody>
                    <a:bodyPr/>
                    <a:lstStyle/>
                    <a:p>
                      <a:pPr algn="ctr" fontAlgn="ctr"/>
                      <a:r>
                        <a:rPr lang="en-ID" sz="1800" b="1" u="none" strike="noStrike">
                          <a:solidFill>
                            <a:schemeClr val="bg1"/>
                          </a:solidFill>
                          <a:effectLst/>
                        </a:rPr>
                        <a:t>Sub-</a:t>
                      </a:r>
                    </a:p>
                    <a:p>
                      <a:pPr algn="ctr" fontAlgn="ctr"/>
                      <a:r>
                        <a:rPr lang="en-ID" sz="1800" b="1" u="none" strike="noStrike" err="1">
                          <a:solidFill>
                            <a:schemeClr val="bg1"/>
                          </a:solidFill>
                          <a:effectLst/>
                        </a:rPr>
                        <a:t>klasifikasi</a:t>
                      </a:r>
                      <a:endParaRPr lang="en-ID" sz="1800" b="1" i="0" u="none" strike="noStrike">
                        <a:solidFill>
                          <a:schemeClr val="bg1"/>
                        </a:solidFill>
                        <a:effectLst/>
                        <a:latin typeface="Calibri" panose="020F0502020204030204" pitchFamily="34" charset="0"/>
                      </a:endParaRPr>
                    </a:p>
                  </a:txBody>
                  <a:tcPr marL="7688" marR="7688" marT="7688" marB="0" anchor="ctr">
                    <a:lnL w="28575" cap="flat" cmpd="sng" algn="ctr">
                      <a:solidFill>
                        <a:schemeClr val="bg1"/>
                      </a:solidFill>
                      <a:prstDash val="solid"/>
                      <a:round/>
                      <a:headEnd type="none" w="med" len="med"/>
                      <a:tailEnd type="none" w="med" len="med"/>
                    </a:lnL>
                    <a:solidFill>
                      <a:schemeClr val="tx2">
                        <a:lumMod val="75000"/>
                      </a:schemeClr>
                    </a:solidFill>
                  </a:tcPr>
                </a:tc>
                <a:tc>
                  <a:txBody>
                    <a:bodyPr/>
                    <a:lstStyle/>
                    <a:p>
                      <a:pPr algn="ctr" fontAlgn="ctr"/>
                      <a:r>
                        <a:rPr lang="en-ID" sz="1800" b="1" u="none" strike="noStrike">
                          <a:solidFill>
                            <a:schemeClr val="bg1"/>
                          </a:solidFill>
                          <a:effectLst/>
                        </a:rPr>
                        <a:t>TOTAL</a:t>
                      </a:r>
                      <a:endParaRPr lang="en-ID" sz="1800" b="1" i="0" u="none" strike="noStrike">
                        <a:solidFill>
                          <a:schemeClr val="bg1"/>
                        </a:solidFill>
                        <a:effectLst/>
                        <a:latin typeface="Calibri" panose="020F0502020204030204" pitchFamily="34" charset="0"/>
                      </a:endParaRPr>
                    </a:p>
                  </a:txBody>
                  <a:tcPr marL="7688" marR="7688" marT="7688" marB="0" anchor="ctr">
                    <a:solidFill>
                      <a:schemeClr val="tx2">
                        <a:lumMod val="75000"/>
                      </a:schemeClr>
                    </a:solidFill>
                  </a:tcPr>
                </a:tc>
                <a:extLst>
                  <a:ext uri="{0D108BD9-81ED-4DB2-BD59-A6C34878D82A}">
                    <a16:rowId xmlns:a16="http://schemas.microsoft.com/office/drawing/2014/main" val="904683713"/>
                  </a:ext>
                </a:extLst>
              </a:tr>
              <a:tr h="515088">
                <a:tc rowSpan="2">
                  <a:txBody>
                    <a:bodyPr/>
                    <a:lstStyle/>
                    <a:p>
                      <a:pPr algn="l" fontAlgn="t"/>
                      <a:r>
                        <a:rPr lang="en-ID" sz="1600" u="none" strike="noStrike" err="1">
                          <a:effectLst/>
                        </a:rPr>
                        <a:t>Pekerjaan</a:t>
                      </a:r>
                      <a:r>
                        <a:rPr lang="en-ID" sz="1600" u="none" strike="noStrike">
                          <a:effectLst/>
                        </a:rPr>
                        <a:t> </a:t>
                      </a:r>
                      <a:r>
                        <a:rPr lang="en-ID" sz="1600" u="none" strike="noStrike" err="1">
                          <a:effectLst/>
                        </a:rPr>
                        <a:t>Konstruksi</a:t>
                      </a:r>
                      <a:endParaRPr lang="en-ID" sz="1600" b="0" i="0" u="none" strike="noStrike">
                        <a:solidFill>
                          <a:srgbClr val="000000"/>
                        </a:solidFill>
                        <a:effectLst/>
                        <a:latin typeface="Calibri" panose="020F0502020204030204" pitchFamily="34" charset="0"/>
                      </a:endParaRPr>
                    </a:p>
                  </a:txBody>
                  <a:tcPr marL="72000" marR="72000" marT="36000" marB="360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t"/>
                      <a:r>
                        <a:rPr lang="en-ID" sz="1600" u="none" strike="noStrike" err="1">
                          <a:effectLst/>
                        </a:rPr>
                        <a:t>Bersifat</a:t>
                      </a:r>
                      <a:r>
                        <a:rPr lang="en-ID" sz="1600" u="none" strike="noStrike">
                          <a:effectLst/>
                        </a:rPr>
                        <a:t> </a:t>
                      </a:r>
                      <a:r>
                        <a:rPr lang="en-ID" sz="1600" u="none" strike="noStrike" err="1">
                          <a:effectLst/>
                        </a:rPr>
                        <a:t>Umum</a:t>
                      </a:r>
                      <a:endParaRPr lang="en-ID" sz="1600" b="0" i="0" u="none" strike="noStrike">
                        <a:solidFill>
                          <a:srgbClr val="000000"/>
                        </a:solidFill>
                        <a:effectLst/>
                        <a:latin typeface="Calibri" panose="020F0502020204030204" pitchFamily="34" charset="0"/>
                      </a:endParaRPr>
                    </a:p>
                  </a:txBody>
                  <a:tcPr marL="72000" marR="72000" marT="36000" marB="360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t"/>
                      <a:r>
                        <a:rPr lang="en-ID" sz="1600" u="none" strike="noStrike">
                          <a:effectLst/>
                        </a:rPr>
                        <a:t>1. </a:t>
                      </a:r>
                      <a:r>
                        <a:rPr lang="en-ID" sz="1600" u="none" strike="noStrike" err="1">
                          <a:effectLst/>
                        </a:rPr>
                        <a:t>Bangunan</a:t>
                      </a:r>
                      <a:r>
                        <a:rPr lang="en-ID" sz="1600" u="none" strike="noStrike">
                          <a:effectLst/>
                        </a:rPr>
                        <a:t> Gedung (BG)</a:t>
                      </a:r>
                      <a:br>
                        <a:rPr lang="en-ID" sz="1600" u="none" strike="noStrike">
                          <a:effectLst/>
                        </a:rPr>
                      </a:br>
                      <a:r>
                        <a:rPr lang="en-ID" sz="1600" u="none" strike="noStrike">
                          <a:effectLst/>
                        </a:rPr>
                        <a:t>2. </a:t>
                      </a:r>
                      <a:r>
                        <a:rPr lang="en-ID" sz="1600" u="none" strike="noStrike" err="1">
                          <a:effectLst/>
                        </a:rPr>
                        <a:t>Bangunan</a:t>
                      </a:r>
                      <a:r>
                        <a:rPr lang="en-ID" sz="1600" u="none" strike="noStrike">
                          <a:effectLst/>
                        </a:rPr>
                        <a:t> </a:t>
                      </a:r>
                      <a:r>
                        <a:rPr lang="en-ID" sz="1600" u="none" strike="noStrike" err="1">
                          <a:effectLst/>
                        </a:rPr>
                        <a:t>Sipil</a:t>
                      </a:r>
                      <a:r>
                        <a:rPr lang="en-ID" sz="1600" u="none" strike="noStrike">
                          <a:effectLst/>
                        </a:rPr>
                        <a:t> (BS)</a:t>
                      </a:r>
                      <a:endParaRPr lang="en-ID" sz="1600" b="0" i="0" u="none" strike="noStrike">
                        <a:solidFill>
                          <a:srgbClr val="000000"/>
                        </a:solidFill>
                        <a:effectLst/>
                        <a:latin typeface="Calibri" panose="020F0502020204030204" pitchFamily="34" charset="0"/>
                      </a:endParaRPr>
                    </a:p>
                  </a:txBody>
                  <a:tcPr marL="72000" marR="72000" marT="36000" marB="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rtl="0" fontAlgn="t"/>
                      <a:r>
                        <a:rPr lang="en-ID" sz="1600" b="0" i="0" u="none" strike="noStrike">
                          <a:solidFill>
                            <a:srgbClr val="000000"/>
                          </a:solidFill>
                          <a:effectLst/>
                          <a:latin typeface="Calibri" panose="020F0502020204030204" pitchFamily="34" charset="0"/>
                        </a:rPr>
                        <a:t>9</a:t>
                      </a:r>
                    </a:p>
                    <a:p>
                      <a:pPr algn="ctr" rtl="0" fontAlgn="t"/>
                      <a:r>
                        <a:rPr lang="en-ID" sz="1600" b="0" i="0" u="none" strike="noStrike">
                          <a:solidFill>
                            <a:srgbClr val="000000"/>
                          </a:solidFill>
                          <a:effectLst/>
                          <a:latin typeface="Calibri" panose="020F0502020204030204" pitchFamily="34" charset="0"/>
                        </a:rPr>
                        <a:t>20</a:t>
                      </a:r>
                    </a:p>
                  </a:txBody>
                  <a:tcPr marL="0" marR="0" marT="0" marB="0" anchor="ctr">
                    <a:lnL w="28575" cap="flat" cmpd="sng" algn="ctr">
                      <a:solidFill>
                        <a:schemeClr val="bg1"/>
                      </a:solidFill>
                      <a:prstDash val="solid"/>
                      <a:round/>
                      <a:headEnd type="none" w="med" len="med"/>
                      <a:tailEnd type="none" w="med" len="med"/>
                    </a:lnL>
                  </a:tcPr>
                </a:tc>
                <a:tc>
                  <a:txBody>
                    <a:bodyPr/>
                    <a:lstStyle/>
                    <a:p>
                      <a:pPr algn="ctr" fontAlgn="t"/>
                      <a:r>
                        <a:rPr lang="en-ID" sz="1600" u="none" strike="noStrike">
                          <a:effectLst/>
                        </a:rPr>
                        <a:t>29</a:t>
                      </a:r>
                      <a:endParaRPr lang="en-ID" sz="1600" b="0" i="0" u="none" strike="noStrike">
                        <a:solidFill>
                          <a:srgbClr val="000000"/>
                        </a:solidFill>
                        <a:effectLst/>
                        <a:latin typeface="Calibri" panose="020F0502020204030204" pitchFamily="34" charset="0"/>
                      </a:endParaRPr>
                    </a:p>
                  </a:txBody>
                  <a:tcPr marL="7688" marR="7688" marT="36000" marB="36000" anchor="ctr"/>
                </a:tc>
                <a:extLst>
                  <a:ext uri="{0D108BD9-81ED-4DB2-BD59-A6C34878D82A}">
                    <a16:rowId xmlns:a16="http://schemas.microsoft.com/office/drawing/2014/main" val="2873668285"/>
                  </a:ext>
                </a:extLst>
              </a:tr>
              <a:tr h="1237748">
                <a:tc vMerge="1">
                  <a:txBody>
                    <a:bodyPr/>
                    <a:lstStyle/>
                    <a:p>
                      <a:endParaRPr lang="en-US"/>
                    </a:p>
                  </a:txBody>
                  <a:tcPr/>
                </a:tc>
                <a:tc>
                  <a:txBody>
                    <a:bodyPr/>
                    <a:lstStyle/>
                    <a:p>
                      <a:pPr algn="ctr" fontAlgn="t"/>
                      <a:r>
                        <a:rPr lang="en-ID" sz="1600" u="none" strike="noStrike" err="1">
                          <a:effectLst/>
                        </a:rPr>
                        <a:t>Bersifat</a:t>
                      </a:r>
                      <a:r>
                        <a:rPr lang="en-ID" sz="1600" u="none" strike="noStrike">
                          <a:effectLst/>
                        </a:rPr>
                        <a:t> </a:t>
                      </a:r>
                      <a:r>
                        <a:rPr lang="en-ID" sz="1600" u="none" strike="noStrike" err="1">
                          <a:effectLst/>
                        </a:rPr>
                        <a:t>Spesialis</a:t>
                      </a:r>
                      <a:endParaRPr lang="en-ID" sz="1600" b="0" i="0" u="none" strike="noStrike">
                        <a:solidFill>
                          <a:srgbClr val="000000"/>
                        </a:solidFill>
                        <a:effectLst/>
                        <a:latin typeface="Calibri" panose="020F0502020204030204" pitchFamily="34" charset="0"/>
                      </a:endParaRPr>
                    </a:p>
                  </a:txBody>
                  <a:tcPr marL="72000" marR="72000" marT="36000" marB="360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t"/>
                      <a:r>
                        <a:rPr lang="en-ID" sz="1600" u="none" strike="noStrike">
                          <a:effectLst/>
                        </a:rPr>
                        <a:t>1. </a:t>
                      </a:r>
                      <a:r>
                        <a:rPr lang="en-ID" sz="1600" u="none" strike="noStrike" err="1">
                          <a:effectLst/>
                        </a:rPr>
                        <a:t>Persiapan</a:t>
                      </a:r>
                      <a:r>
                        <a:rPr lang="en-ID" sz="1600" u="none" strike="noStrike">
                          <a:effectLst/>
                        </a:rPr>
                        <a:t> (PL)</a:t>
                      </a:r>
                      <a:br>
                        <a:rPr lang="en-ID" sz="1600" u="none" strike="noStrike">
                          <a:effectLst/>
                        </a:rPr>
                      </a:br>
                      <a:r>
                        <a:rPr lang="en-ID" sz="1600" u="none" strike="noStrike">
                          <a:effectLst/>
                        </a:rPr>
                        <a:t>2. </a:t>
                      </a:r>
                      <a:r>
                        <a:rPr lang="en-ID" sz="1600" u="none" strike="noStrike" err="1">
                          <a:effectLst/>
                        </a:rPr>
                        <a:t>Penyewaan</a:t>
                      </a:r>
                      <a:r>
                        <a:rPr lang="en-ID" sz="1600" u="none" strike="noStrike">
                          <a:effectLst/>
                        </a:rPr>
                        <a:t> </a:t>
                      </a:r>
                      <a:r>
                        <a:rPr lang="en-ID" sz="1600" u="none" strike="noStrike" err="1">
                          <a:effectLst/>
                        </a:rPr>
                        <a:t>Peralatan</a:t>
                      </a:r>
                      <a:r>
                        <a:rPr lang="en-ID" sz="1600" u="none" strike="noStrike">
                          <a:effectLst/>
                        </a:rPr>
                        <a:t> (PA)</a:t>
                      </a:r>
                      <a:br>
                        <a:rPr lang="en-ID" sz="1600" u="none" strike="noStrike">
                          <a:effectLst/>
                        </a:rPr>
                      </a:br>
                      <a:r>
                        <a:rPr lang="en-ID" sz="1600" u="none" strike="noStrike">
                          <a:effectLst/>
                        </a:rPr>
                        <a:t>3. </a:t>
                      </a:r>
                      <a:r>
                        <a:rPr lang="en-ID" sz="1600" u="none" strike="noStrike" err="1">
                          <a:effectLst/>
                        </a:rPr>
                        <a:t>Konstruksi</a:t>
                      </a:r>
                      <a:r>
                        <a:rPr lang="en-ID" sz="1600" u="none" strike="noStrike">
                          <a:effectLst/>
                        </a:rPr>
                        <a:t> </a:t>
                      </a:r>
                      <a:r>
                        <a:rPr lang="en-ID" sz="1600" u="none" strike="noStrike" err="1">
                          <a:effectLst/>
                        </a:rPr>
                        <a:t>Khusus</a:t>
                      </a:r>
                      <a:r>
                        <a:rPr lang="en-ID" sz="1600" u="none" strike="noStrike">
                          <a:effectLst/>
                        </a:rPr>
                        <a:t> (KK)</a:t>
                      </a:r>
                      <a:br>
                        <a:rPr lang="en-ID" sz="1600" u="none" strike="noStrike">
                          <a:effectLst/>
                        </a:rPr>
                      </a:br>
                      <a:r>
                        <a:rPr lang="en-ID" sz="1600" u="none" strike="noStrike">
                          <a:effectLst/>
                        </a:rPr>
                        <a:t>4. </a:t>
                      </a:r>
                      <a:r>
                        <a:rPr lang="en-ID" sz="1600" u="none" strike="noStrike" err="1">
                          <a:effectLst/>
                        </a:rPr>
                        <a:t>Konstruksi</a:t>
                      </a:r>
                      <a:r>
                        <a:rPr lang="en-ID" sz="1600" u="none" strike="noStrike">
                          <a:effectLst/>
                        </a:rPr>
                        <a:t> </a:t>
                      </a:r>
                      <a:r>
                        <a:rPr lang="en-ID" sz="1600" u="none" strike="noStrike" err="1">
                          <a:effectLst/>
                        </a:rPr>
                        <a:t>PraPabrikasi</a:t>
                      </a:r>
                      <a:r>
                        <a:rPr lang="en-ID" sz="1600" u="none" strike="noStrike">
                          <a:effectLst/>
                        </a:rPr>
                        <a:t> (KP)</a:t>
                      </a:r>
                      <a:br>
                        <a:rPr lang="en-ID" sz="1600" u="none" strike="noStrike">
                          <a:effectLst/>
                        </a:rPr>
                      </a:br>
                      <a:r>
                        <a:rPr lang="en-ID" sz="1600" u="none" strike="noStrike">
                          <a:effectLst/>
                        </a:rPr>
                        <a:t>5. </a:t>
                      </a:r>
                      <a:r>
                        <a:rPr lang="en-ID" sz="1600" u="none" strike="noStrike" err="1">
                          <a:effectLst/>
                        </a:rPr>
                        <a:t>Instalasi</a:t>
                      </a:r>
                      <a:r>
                        <a:rPr lang="en-ID" sz="1600" u="none" strike="noStrike">
                          <a:effectLst/>
                        </a:rPr>
                        <a:t> (IN)</a:t>
                      </a:r>
                      <a:br>
                        <a:rPr lang="en-ID" sz="1600" u="none" strike="noStrike">
                          <a:effectLst/>
                        </a:rPr>
                      </a:br>
                      <a:r>
                        <a:rPr lang="en-ID" sz="1600" u="none" strike="noStrike">
                          <a:effectLst/>
                        </a:rPr>
                        <a:t>6. </a:t>
                      </a:r>
                      <a:r>
                        <a:rPr lang="en-ID" sz="1600" u="none" strike="noStrike" err="1">
                          <a:effectLst/>
                        </a:rPr>
                        <a:t>Penyelesaian</a:t>
                      </a:r>
                      <a:r>
                        <a:rPr lang="en-ID" sz="1600" u="none" strike="noStrike">
                          <a:effectLst/>
                        </a:rPr>
                        <a:t> </a:t>
                      </a:r>
                      <a:r>
                        <a:rPr lang="en-ID" sz="1600" u="none" strike="noStrike" err="1">
                          <a:effectLst/>
                        </a:rPr>
                        <a:t>Bangunan</a:t>
                      </a:r>
                      <a:r>
                        <a:rPr lang="en-ID" sz="1600" u="none" strike="noStrike">
                          <a:effectLst/>
                        </a:rPr>
                        <a:t> (PB)</a:t>
                      </a:r>
                      <a:endParaRPr lang="en-ID" sz="1600" b="0" i="0" u="none" strike="noStrike">
                        <a:solidFill>
                          <a:srgbClr val="000000"/>
                        </a:solidFill>
                        <a:effectLst/>
                        <a:latin typeface="Calibri" panose="020F0502020204030204" pitchFamily="34" charset="0"/>
                      </a:endParaRPr>
                    </a:p>
                  </a:txBody>
                  <a:tcPr marL="72000" marR="72000" marT="36000" marB="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rtl="0" fontAlgn="t"/>
                      <a:r>
                        <a:rPr lang="en-ID" sz="1600" b="0" i="0" u="none" strike="noStrike">
                          <a:solidFill>
                            <a:srgbClr val="000000"/>
                          </a:solidFill>
                          <a:effectLst/>
                          <a:latin typeface="Calibri" panose="020F0502020204030204" pitchFamily="34" charset="0"/>
                        </a:rPr>
                        <a:t>8</a:t>
                      </a:r>
                    </a:p>
                    <a:p>
                      <a:pPr algn="ctr" rtl="0" fontAlgn="t"/>
                      <a:r>
                        <a:rPr lang="en-ID" sz="1600" b="0" i="0" u="none" strike="noStrike">
                          <a:solidFill>
                            <a:srgbClr val="000000"/>
                          </a:solidFill>
                          <a:effectLst/>
                          <a:latin typeface="Calibri" panose="020F0502020204030204" pitchFamily="34" charset="0"/>
                        </a:rPr>
                        <a:t>1</a:t>
                      </a:r>
                    </a:p>
                    <a:p>
                      <a:pPr algn="ctr" rtl="0" fontAlgn="t"/>
                      <a:r>
                        <a:rPr lang="en-ID" sz="1600" b="0" i="0" u="none" strike="noStrike">
                          <a:solidFill>
                            <a:srgbClr val="000000"/>
                          </a:solidFill>
                          <a:effectLst/>
                          <a:latin typeface="Calibri" panose="020F0502020204030204" pitchFamily="34" charset="0"/>
                        </a:rPr>
                        <a:t>16</a:t>
                      </a:r>
                    </a:p>
                    <a:p>
                      <a:pPr algn="ctr" rtl="0" fontAlgn="t"/>
                      <a:r>
                        <a:rPr lang="en-ID" sz="1600" b="0" i="0" u="none" strike="noStrike">
                          <a:solidFill>
                            <a:srgbClr val="000000"/>
                          </a:solidFill>
                          <a:effectLst/>
                          <a:latin typeface="Calibri" panose="020F0502020204030204" pitchFamily="34" charset="0"/>
                        </a:rPr>
                        <a:t>2</a:t>
                      </a:r>
                    </a:p>
                    <a:p>
                      <a:pPr algn="ctr" rtl="0" fontAlgn="t"/>
                      <a:r>
                        <a:rPr lang="en-ID" sz="1600" b="0" i="0" u="none" strike="noStrike">
                          <a:solidFill>
                            <a:srgbClr val="000000"/>
                          </a:solidFill>
                          <a:effectLst/>
                          <a:latin typeface="Calibri" panose="020F0502020204030204" pitchFamily="34" charset="0"/>
                        </a:rPr>
                        <a:t>14</a:t>
                      </a:r>
                    </a:p>
                    <a:p>
                      <a:pPr algn="ctr" rtl="0" fontAlgn="t"/>
                      <a:r>
                        <a:rPr lang="en-ID" sz="1600" b="0" i="0" u="none" strike="noStrike">
                          <a:solidFill>
                            <a:srgbClr val="000000"/>
                          </a:solidFill>
                          <a:effectLst/>
                          <a:latin typeface="Calibri" panose="020F0502020204030204" pitchFamily="34" charset="0"/>
                        </a:rPr>
                        <a:t>11</a:t>
                      </a:r>
                    </a:p>
                  </a:txBody>
                  <a:tcPr marL="0" marR="0" marT="0" marB="0" anchor="ctr">
                    <a:lnL w="28575" cap="flat" cmpd="sng" algn="ctr">
                      <a:solidFill>
                        <a:schemeClr val="bg1"/>
                      </a:solidFill>
                      <a:prstDash val="solid"/>
                      <a:round/>
                      <a:headEnd type="none" w="med" len="med"/>
                      <a:tailEnd type="none" w="med" len="med"/>
                    </a:lnL>
                  </a:tcPr>
                </a:tc>
                <a:tc>
                  <a:txBody>
                    <a:bodyPr/>
                    <a:lstStyle/>
                    <a:p>
                      <a:pPr algn="ctr" fontAlgn="t"/>
                      <a:r>
                        <a:rPr lang="en-ID" sz="1600" b="0" i="0" u="none" strike="noStrike">
                          <a:solidFill>
                            <a:srgbClr val="000000"/>
                          </a:solidFill>
                          <a:effectLst/>
                          <a:latin typeface="Calibri" panose="020F0502020204030204" pitchFamily="34" charset="0"/>
                        </a:rPr>
                        <a:t>52</a:t>
                      </a:r>
                    </a:p>
                  </a:txBody>
                  <a:tcPr marL="7688" marR="7688" marT="36000" marB="36000" anchor="ctr"/>
                </a:tc>
                <a:extLst>
                  <a:ext uri="{0D108BD9-81ED-4DB2-BD59-A6C34878D82A}">
                    <a16:rowId xmlns:a16="http://schemas.microsoft.com/office/drawing/2014/main" val="2389456197"/>
                  </a:ext>
                </a:extLst>
              </a:tr>
              <a:tr h="764454">
                <a:tc>
                  <a:txBody>
                    <a:bodyPr/>
                    <a:lstStyle/>
                    <a:p>
                      <a:pPr algn="l" fontAlgn="t"/>
                      <a:r>
                        <a:rPr lang="en-ID" sz="1600" u="none" strike="noStrike" err="1">
                          <a:effectLst/>
                        </a:rPr>
                        <a:t>Pekerjaan</a:t>
                      </a:r>
                      <a:r>
                        <a:rPr lang="en-ID" sz="1600" u="none" strike="noStrike">
                          <a:effectLst/>
                        </a:rPr>
                        <a:t> </a:t>
                      </a:r>
                      <a:r>
                        <a:rPr lang="en-ID" sz="1600" u="none" strike="noStrike" err="1">
                          <a:effectLst/>
                        </a:rPr>
                        <a:t>Konstruksi</a:t>
                      </a:r>
                      <a:r>
                        <a:rPr lang="en-ID" sz="1600" u="none" strike="noStrike">
                          <a:effectLst/>
                        </a:rPr>
                        <a:t> </a:t>
                      </a:r>
                      <a:r>
                        <a:rPr lang="en-ID" sz="1600" u="none" strike="noStrike" err="1">
                          <a:effectLst/>
                        </a:rPr>
                        <a:t>Terintegrasi</a:t>
                      </a:r>
                      <a:endParaRPr lang="en-ID" sz="1600" b="0" i="0" u="none" strike="noStrike">
                        <a:solidFill>
                          <a:srgbClr val="000000"/>
                        </a:solidFill>
                        <a:effectLst/>
                        <a:latin typeface="Calibri" panose="020F0502020204030204" pitchFamily="34" charset="0"/>
                      </a:endParaRPr>
                    </a:p>
                  </a:txBody>
                  <a:tcPr marL="72000" marR="72000" marT="36000" marB="360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b"/>
                      <a:r>
                        <a:rPr lang="en-ID" sz="1600" u="none" strike="noStrike">
                          <a:effectLst/>
                        </a:rPr>
                        <a:t> -</a:t>
                      </a:r>
                      <a:endParaRPr lang="en-ID" sz="1600" b="0" i="0" u="none" strike="noStrike">
                        <a:solidFill>
                          <a:srgbClr val="000000"/>
                        </a:solidFill>
                        <a:effectLst/>
                        <a:latin typeface="Calibri" panose="020F0502020204030204" pitchFamily="34" charset="0"/>
                      </a:endParaRPr>
                    </a:p>
                  </a:txBody>
                  <a:tcPr marL="72000" marR="72000" marT="36000" marB="360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t"/>
                      <a:r>
                        <a:rPr lang="en-ID" sz="1600" u="none" strike="noStrike">
                          <a:effectLst/>
                        </a:rPr>
                        <a:t>1. </a:t>
                      </a:r>
                      <a:r>
                        <a:rPr lang="en-ID" sz="1600" u="none" strike="noStrike" err="1">
                          <a:effectLst/>
                        </a:rPr>
                        <a:t>Bangunan</a:t>
                      </a:r>
                      <a:r>
                        <a:rPr lang="en-ID" sz="1600" u="none" strike="noStrike">
                          <a:effectLst/>
                        </a:rPr>
                        <a:t> Gedung (GT)</a:t>
                      </a:r>
                      <a:br>
                        <a:rPr lang="en-ID" sz="1600" u="none" strike="noStrike">
                          <a:effectLst/>
                        </a:rPr>
                      </a:br>
                      <a:r>
                        <a:rPr lang="en-ID" sz="1600" u="none" strike="noStrike">
                          <a:effectLst/>
                        </a:rPr>
                        <a:t>2. </a:t>
                      </a:r>
                      <a:r>
                        <a:rPr lang="en-ID" sz="1600" u="none" strike="noStrike" err="1">
                          <a:effectLst/>
                        </a:rPr>
                        <a:t>Bangunan</a:t>
                      </a:r>
                      <a:r>
                        <a:rPr lang="en-ID" sz="1600" u="none" strike="noStrike">
                          <a:effectLst/>
                        </a:rPr>
                        <a:t> </a:t>
                      </a:r>
                      <a:r>
                        <a:rPr lang="en-ID" sz="1600" u="none" strike="noStrike" err="1">
                          <a:effectLst/>
                        </a:rPr>
                        <a:t>Sipil</a:t>
                      </a:r>
                      <a:r>
                        <a:rPr lang="en-ID" sz="1600" u="none" strike="noStrike">
                          <a:effectLst/>
                        </a:rPr>
                        <a:t> (ST)</a:t>
                      </a:r>
                      <a:endParaRPr lang="en-ID" sz="1600" b="0" i="0" u="none" strike="noStrike">
                        <a:solidFill>
                          <a:srgbClr val="000000"/>
                        </a:solidFill>
                        <a:effectLst/>
                        <a:latin typeface="Calibri" panose="020F0502020204030204" pitchFamily="34" charset="0"/>
                      </a:endParaRPr>
                    </a:p>
                  </a:txBody>
                  <a:tcPr marL="72000" marR="72000" marT="36000" marB="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rtl="0" fontAlgn="t"/>
                      <a:r>
                        <a:rPr lang="en-ID" sz="1600" b="0" i="0" u="none" strike="noStrike">
                          <a:solidFill>
                            <a:srgbClr val="000000"/>
                          </a:solidFill>
                          <a:effectLst/>
                          <a:latin typeface="Calibri" panose="020F0502020204030204" pitchFamily="34" charset="0"/>
                        </a:rPr>
                        <a:t>8</a:t>
                      </a:r>
                    </a:p>
                    <a:p>
                      <a:pPr algn="ctr" rtl="0" fontAlgn="t"/>
                      <a:r>
                        <a:rPr lang="en-ID" sz="1600" b="0" i="0" u="none" strike="noStrike">
                          <a:solidFill>
                            <a:srgbClr val="000000"/>
                          </a:solidFill>
                          <a:effectLst/>
                          <a:latin typeface="Calibri" panose="020F0502020204030204" pitchFamily="34" charset="0"/>
                        </a:rPr>
                        <a:t>11</a:t>
                      </a:r>
                    </a:p>
                  </a:txBody>
                  <a:tcPr marL="0" marR="0" marT="0" marB="0" anchor="ctr">
                    <a:lnL w="28575" cap="flat" cmpd="sng" algn="ctr">
                      <a:solidFill>
                        <a:schemeClr val="bg1"/>
                      </a:solidFill>
                      <a:prstDash val="solid"/>
                      <a:round/>
                      <a:headEnd type="none" w="med" len="med"/>
                      <a:tailEnd type="none" w="med" len="med"/>
                    </a:lnL>
                  </a:tcPr>
                </a:tc>
                <a:tc>
                  <a:txBody>
                    <a:bodyPr/>
                    <a:lstStyle/>
                    <a:p>
                      <a:pPr algn="ctr" fontAlgn="t"/>
                      <a:r>
                        <a:rPr lang="en-ID" sz="1600" u="none" strike="noStrike">
                          <a:effectLst/>
                        </a:rPr>
                        <a:t>19</a:t>
                      </a:r>
                      <a:endParaRPr lang="en-ID" sz="1600" b="0" i="0" u="none" strike="noStrike">
                        <a:solidFill>
                          <a:srgbClr val="000000"/>
                        </a:solidFill>
                        <a:effectLst/>
                        <a:latin typeface="Calibri" panose="020F0502020204030204" pitchFamily="34" charset="0"/>
                      </a:endParaRPr>
                    </a:p>
                  </a:txBody>
                  <a:tcPr marL="7688" marR="7688" marT="36000" marB="36000" anchor="ctr"/>
                </a:tc>
                <a:extLst>
                  <a:ext uri="{0D108BD9-81ED-4DB2-BD59-A6C34878D82A}">
                    <a16:rowId xmlns:a16="http://schemas.microsoft.com/office/drawing/2014/main" val="1958978374"/>
                  </a:ext>
                </a:extLst>
              </a:tr>
              <a:tr h="1068615">
                <a:tc rowSpan="2">
                  <a:txBody>
                    <a:bodyPr/>
                    <a:lstStyle/>
                    <a:p>
                      <a:pPr algn="l" fontAlgn="t"/>
                      <a:r>
                        <a:rPr lang="en-ID" sz="1600" u="none" strike="noStrike">
                          <a:effectLst/>
                        </a:rPr>
                        <a:t>Jasa </a:t>
                      </a:r>
                      <a:r>
                        <a:rPr lang="en-ID" sz="1600" u="none" strike="noStrike" err="1">
                          <a:effectLst/>
                        </a:rPr>
                        <a:t>Konsultansi</a:t>
                      </a:r>
                      <a:r>
                        <a:rPr lang="en-ID" sz="1600" u="none" strike="noStrike">
                          <a:effectLst/>
                        </a:rPr>
                        <a:t> </a:t>
                      </a:r>
                      <a:r>
                        <a:rPr lang="en-ID" sz="1600" u="none" strike="noStrike" err="1">
                          <a:effectLst/>
                        </a:rPr>
                        <a:t>Konstruksi</a:t>
                      </a:r>
                      <a:endParaRPr lang="en-ID" sz="1600" b="0" i="0" u="none" strike="noStrike">
                        <a:solidFill>
                          <a:srgbClr val="000000"/>
                        </a:solidFill>
                        <a:effectLst/>
                        <a:latin typeface="Calibri" panose="020F0502020204030204" pitchFamily="34" charset="0"/>
                      </a:endParaRPr>
                    </a:p>
                  </a:txBody>
                  <a:tcPr marL="72000" marR="72000" marT="36000" marB="360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t"/>
                      <a:r>
                        <a:rPr lang="en-ID" sz="1600" u="none" strike="noStrike" err="1">
                          <a:effectLst/>
                        </a:rPr>
                        <a:t>Bersifat</a:t>
                      </a:r>
                      <a:r>
                        <a:rPr lang="en-ID" sz="1600" u="none" strike="noStrike">
                          <a:effectLst/>
                        </a:rPr>
                        <a:t> </a:t>
                      </a:r>
                      <a:r>
                        <a:rPr lang="en-ID" sz="1600" u="none" strike="noStrike" err="1">
                          <a:effectLst/>
                        </a:rPr>
                        <a:t>Umum</a:t>
                      </a:r>
                      <a:endParaRPr lang="en-ID" sz="1600" b="0" i="0" u="none" strike="noStrike">
                        <a:solidFill>
                          <a:srgbClr val="000000"/>
                        </a:solidFill>
                        <a:effectLst/>
                        <a:latin typeface="Calibri" panose="020F0502020204030204" pitchFamily="34" charset="0"/>
                      </a:endParaRPr>
                    </a:p>
                  </a:txBody>
                  <a:tcPr marL="72000" marR="72000" marT="36000" marB="360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t"/>
                      <a:r>
                        <a:rPr lang="en-ID" sz="1600" u="none" strike="noStrike">
                          <a:effectLst/>
                        </a:rPr>
                        <a:t>1. </a:t>
                      </a:r>
                      <a:r>
                        <a:rPr lang="en-ID" sz="1600" u="none" strike="noStrike" err="1">
                          <a:effectLst/>
                        </a:rPr>
                        <a:t>Arsitektur</a:t>
                      </a:r>
                      <a:r>
                        <a:rPr lang="en-ID" sz="1600" u="none" strike="noStrike">
                          <a:effectLst/>
                        </a:rPr>
                        <a:t> (AR)</a:t>
                      </a:r>
                      <a:br>
                        <a:rPr lang="en-ID" sz="1600" u="none" strike="noStrike">
                          <a:effectLst/>
                        </a:rPr>
                      </a:br>
                      <a:r>
                        <a:rPr lang="en-ID" sz="1600" u="none" strike="noStrike">
                          <a:effectLst/>
                        </a:rPr>
                        <a:t>2. </a:t>
                      </a:r>
                      <a:r>
                        <a:rPr lang="en-ID" sz="1600" u="none" strike="noStrike" err="1">
                          <a:effectLst/>
                        </a:rPr>
                        <a:t>Rekayasa</a:t>
                      </a:r>
                      <a:r>
                        <a:rPr lang="en-ID" sz="1600" u="none" strike="noStrike">
                          <a:effectLst/>
                        </a:rPr>
                        <a:t> (RK)</a:t>
                      </a:r>
                      <a:br>
                        <a:rPr lang="en-ID" sz="1600" u="none" strike="noStrike">
                          <a:effectLst/>
                        </a:rPr>
                      </a:br>
                      <a:r>
                        <a:rPr lang="en-ID" sz="1600" u="none" strike="noStrike">
                          <a:effectLst/>
                        </a:rPr>
                        <a:t>3. </a:t>
                      </a:r>
                      <a:r>
                        <a:rPr lang="en-ID" sz="1600" u="none" strike="noStrike" err="1">
                          <a:effectLst/>
                        </a:rPr>
                        <a:t>Rekayasa</a:t>
                      </a:r>
                      <a:r>
                        <a:rPr lang="en-ID" sz="1600" u="none" strike="noStrike">
                          <a:effectLst/>
                        </a:rPr>
                        <a:t> </a:t>
                      </a:r>
                      <a:r>
                        <a:rPr lang="en-ID" sz="1600" u="none" strike="noStrike" err="1">
                          <a:effectLst/>
                        </a:rPr>
                        <a:t>Terpadu</a:t>
                      </a:r>
                      <a:r>
                        <a:rPr lang="en-ID" sz="1600" u="none" strike="noStrike">
                          <a:effectLst/>
                        </a:rPr>
                        <a:t> (RT)</a:t>
                      </a:r>
                      <a:br>
                        <a:rPr lang="en-ID" sz="1600" u="none" strike="noStrike">
                          <a:effectLst/>
                        </a:rPr>
                      </a:br>
                      <a:r>
                        <a:rPr lang="en-ID" sz="1600" u="none" strike="noStrike">
                          <a:effectLst/>
                        </a:rPr>
                        <a:t>4. </a:t>
                      </a:r>
                      <a:r>
                        <a:rPr lang="en-ID" sz="1600" u="none" strike="noStrike" err="1">
                          <a:effectLst/>
                        </a:rPr>
                        <a:t>Arsitektur</a:t>
                      </a:r>
                      <a:r>
                        <a:rPr lang="en-ID" sz="1600" u="none" strike="noStrike">
                          <a:effectLst/>
                        </a:rPr>
                        <a:t> </a:t>
                      </a:r>
                      <a:r>
                        <a:rPr lang="en-ID" sz="1600" u="none" strike="noStrike" err="1">
                          <a:effectLst/>
                        </a:rPr>
                        <a:t>Lansekap</a:t>
                      </a:r>
                      <a:r>
                        <a:rPr lang="en-ID" sz="1600" u="none" strike="noStrike">
                          <a:effectLst/>
                        </a:rPr>
                        <a:t> dan </a:t>
                      </a:r>
                      <a:r>
                        <a:rPr lang="en-ID" sz="1600" u="none" strike="noStrike" err="1">
                          <a:effectLst/>
                        </a:rPr>
                        <a:t>Perencanaan</a:t>
                      </a:r>
                      <a:r>
                        <a:rPr lang="en-ID" sz="1600" u="none" strike="noStrike">
                          <a:effectLst/>
                        </a:rPr>
                        <a:t> Wilayah (AL)</a:t>
                      </a:r>
                      <a:endParaRPr lang="en-ID" sz="1600" b="0" i="0" u="none" strike="noStrike">
                        <a:solidFill>
                          <a:srgbClr val="000000"/>
                        </a:solidFill>
                        <a:effectLst/>
                        <a:latin typeface="Calibri" panose="020F0502020204030204" pitchFamily="34" charset="0"/>
                      </a:endParaRPr>
                    </a:p>
                  </a:txBody>
                  <a:tcPr marL="72000" marR="72000" marT="36000" marB="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rtl="0" fontAlgn="t"/>
                      <a:r>
                        <a:rPr lang="en-ID" sz="1600" b="0" i="0" u="none" strike="noStrike">
                          <a:solidFill>
                            <a:srgbClr val="000000"/>
                          </a:solidFill>
                          <a:effectLst/>
                          <a:latin typeface="Calibri" panose="020F0502020204030204" pitchFamily="34" charset="0"/>
                        </a:rPr>
                        <a:t>3</a:t>
                      </a:r>
                    </a:p>
                    <a:p>
                      <a:pPr algn="ctr" rtl="0" fontAlgn="t"/>
                      <a:r>
                        <a:rPr lang="en-ID" sz="1600" b="0" i="0" u="none" strike="noStrike">
                          <a:solidFill>
                            <a:srgbClr val="000000"/>
                          </a:solidFill>
                          <a:effectLst/>
                          <a:latin typeface="Calibri" panose="020F0502020204030204" pitchFamily="34" charset="0"/>
                        </a:rPr>
                        <a:t>5</a:t>
                      </a:r>
                    </a:p>
                    <a:p>
                      <a:pPr algn="ctr" rtl="0" fontAlgn="t"/>
                      <a:r>
                        <a:rPr lang="en-ID" sz="1600" b="0" i="0" u="none" strike="noStrike">
                          <a:solidFill>
                            <a:srgbClr val="000000"/>
                          </a:solidFill>
                          <a:effectLst/>
                          <a:latin typeface="Calibri" panose="020F0502020204030204" pitchFamily="34" charset="0"/>
                        </a:rPr>
                        <a:t>3</a:t>
                      </a:r>
                    </a:p>
                    <a:p>
                      <a:pPr algn="ctr" rtl="0" fontAlgn="t"/>
                      <a:r>
                        <a:rPr lang="en-ID" sz="1600" b="0" i="0" u="none" strike="noStrike">
                          <a:solidFill>
                            <a:srgbClr val="000000"/>
                          </a:solidFill>
                          <a:effectLst/>
                          <a:latin typeface="Calibri" panose="020F0502020204030204" pitchFamily="34" charset="0"/>
                        </a:rPr>
                        <a:t>4</a:t>
                      </a:r>
                    </a:p>
                  </a:txBody>
                  <a:tcPr marL="0" marR="0" marT="0" marB="0" anchor="ctr">
                    <a:lnL w="28575" cap="flat" cmpd="sng" algn="ctr">
                      <a:solidFill>
                        <a:schemeClr val="bg1"/>
                      </a:solidFill>
                      <a:prstDash val="solid"/>
                      <a:round/>
                      <a:headEnd type="none" w="med" len="med"/>
                      <a:tailEnd type="none" w="med" len="med"/>
                    </a:lnL>
                  </a:tcPr>
                </a:tc>
                <a:tc>
                  <a:txBody>
                    <a:bodyPr/>
                    <a:lstStyle/>
                    <a:p>
                      <a:pPr algn="ctr" fontAlgn="t"/>
                      <a:r>
                        <a:rPr lang="en-ID" sz="1600" u="none" strike="noStrike">
                          <a:effectLst/>
                        </a:rPr>
                        <a:t>15</a:t>
                      </a:r>
                      <a:endParaRPr lang="en-ID" sz="1600" b="0" i="0" u="none" strike="noStrike">
                        <a:solidFill>
                          <a:srgbClr val="000000"/>
                        </a:solidFill>
                        <a:effectLst/>
                        <a:latin typeface="Calibri" panose="020F0502020204030204" pitchFamily="34" charset="0"/>
                      </a:endParaRPr>
                    </a:p>
                  </a:txBody>
                  <a:tcPr marL="7688" marR="7688" marT="36000" marB="36000" anchor="ctr"/>
                </a:tc>
                <a:extLst>
                  <a:ext uri="{0D108BD9-81ED-4DB2-BD59-A6C34878D82A}">
                    <a16:rowId xmlns:a16="http://schemas.microsoft.com/office/drawing/2014/main" val="2061438081"/>
                  </a:ext>
                </a:extLst>
              </a:tr>
              <a:tr h="468960">
                <a:tc vMerge="1">
                  <a:txBody>
                    <a:bodyPr/>
                    <a:lstStyle/>
                    <a:p>
                      <a:endParaRPr lang="en-US"/>
                    </a:p>
                  </a:txBody>
                  <a:tcPr/>
                </a:tc>
                <a:tc>
                  <a:txBody>
                    <a:bodyPr/>
                    <a:lstStyle/>
                    <a:p>
                      <a:pPr algn="ctr" fontAlgn="t"/>
                      <a:r>
                        <a:rPr lang="en-ID" sz="1600" u="none" strike="noStrike" err="1">
                          <a:effectLst/>
                        </a:rPr>
                        <a:t>Bersifat</a:t>
                      </a:r>
                      <a:r>
                        <a:rPr lang="en-ID" sz="1600" u="none" strike="noStrike">
                          <a:effectLst/>
                        </a:rPr>
                        <a:t> </a:t>
                      </a:r>
                      <a:r>
                        <a:rPr lang="en-ID" sz="1600" u="none" strike="noStrike" err="1">
                          <a:effectLst/>
                        </a:rPr>
                        <a:t>Spesialis</a:t>
                      </a:r>
                      <a:endParaRPr lang="en-ID" sz="1600" b="0" i="0" u="none" strike="noStrike">
                        <a:solidFill>
                          <a:srgbClr val="000000"/>
                        </a:solidFill>
                        <a:effectLst/>
                        <a:latin typeface="Calibri" panose="020F0502020204030204" pitchFamily="34" charset="0"/>
                      </a:endParaRPr>
                    </a:p>
                  </a:txBody>
                  <a:tcPr marL="72000" marR="72000" marT="36000" marB="360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t"/>
                      <a:r>
                        <a:rPr lang="en-ID" sz="1600" u="none" strike="noStrike">
                          <a:effectLst/>
                        </a:rPr>
                        <a:t>1. </a:t>
                      </a:r>
                      <a:r>
                        <a:rPr lang="en-ID" sz="1600" u="none" strike="noStrike" err="1">
                          <a:effectLst/>
                        </a:rPr>
                        <a:t>Konsultansi</a:t>
                      </a:r>
                      <a:r>
                        <a:rPr lang="en-ID" sz="1600" u="none" strike="noStrike">
                          <a:effectLst/>
                        </a:rPr>
                        <a:t> </a:t>
                      </a:r>
                      <a:r>
                        <a:rPr lang="en-ID" sz="1600" u="none" strike="noStrike" err="1">
                          <a:effectLst/>
                        </a:rPr>
                        <a:t>Ilmiah</a:t>
                      </a:r>
                      <a:r>
                        <a:rPr lang="en-ID" sz="1600" u="none" strike="noStrike">
                          <a:effectLst/>
                        </a:rPr>
                        <a:t> dan Teknis (IT)</a:t>
                      </a:r>
                      <a:br>
                        <a:rPr lang="en-ID" sz="1600" u="none" strike="noStrike">
                          <a:effectLst/>
                        </a:rPr>
                      </a:br>
                      <a:r>
                        <a:rPr lang="en-ID" sz="1600" u="none" strike="noStrike">
                          <a:effectLst/>
                        </a:rPr>
                        <a:t>2. </a:t>
                      </a:r>
                      <a:r>
                        <a:rPr lang="en-ID" sz="1600" u="none" strike="noStrike" err="1">
                          <a:effectLst/>
                        </a:rPr>
                        <a:t>Pengujian</a:t>
                      </a:r>
                      <a:r>
                        <a:rPr lang="en-ID" sz="1600" u="none" strike="noStrike">
                          <a:effectLst/>
                        </a:rPr>
                        <a:t> dan </a:t>
                      </a:r>
                      <a:r>
                        <a:rPr lang="en-ID" sz="1600" u="none" strike="noStrike" err="1">
                          <a:effectLst/>
                        </a:rPr>
                        <a:t>Analisis</a:t>
                      </a:r>
                      <a:r>
                        <a:rPr lang="en-ID" sz="1600" u="none" strike="noStrike">
                          <a:effectLst/>
                        </a:rPr>
                        <a:t> Teknis (AT)</a:t>
                      </a:r>
                      <a:endParaRPr lang="en-ID" sz="1600" b="0" i="0" u="none" strike="noStrike">
                        <a:solidFill>
                          <a:srgbClr val="000000"/>
                        </a:solidFill>
                        <a:effectLst/>
                        <a:latin typeface="Calibri" panose="020F0502020204030204" pitchFamily="34" charset="0"/>
                      </a:endParaRPr>
                    </a:p>
                  </a:txBody>
                  <a:tcPr marL="72000" marR="72000" marT="36000" marB="36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rtl="0" fontAlgn="t"/>
                      <a:r>
                        <a:rPr lang="en-ID" sz="1600" b="0" i="0" u="none" strike="noStrike">
                          <a:solidFill>
                            <a:srgbClr val="000000"/>
                          </a:solidFill>
                          <a:effectLst/>
                          <a:latin typeface="Calibri" panose="020F0502020204030204" pitchFamily="34" charset="0"/>
                        </a:rPr>
                        <a:t>8</a:t>
                      </a:r>
                    </a:p>
                    <a:p>
                      <a:pPr algn="ctr" rtl="0" fontAlgn="t"/>
                      <a:r>
                        <a:rPr lang="en-ID" sz="1600" b="0" i="0" u="none" strike="noStrike">
                          <a:solidFill>
                            <a:srgbClr val="000000"/>
                          </a:solidFill>
                          <a:effectLst/>
                          <a:latin typeface="Calibri" panose="020F0502020204030204" pitchFamily="34" charset="0"/>
                        </a:rPr>
                        <a:t>7</a:t>
                      </a:r>
                    </a:p>
                  </a:txBody>
                  <a:tcPr marL="0" marR="0" marT="0" marB="0" anchor="ctr">
                    <a:lnL w="28575" cap="flat" cmpd="sng" algn="ctr">
                      <a:solidFill>
                        <a:schemeClr val="bg1"/>
                      </a:solidFill>
                      <a:prstDash val="solid"/>
                      <a:round/>
                      <a:headEnd type="none" w="med" len="med"/>
                      <a:tailEnd type="none" w="med" len="med"/>
                    </a:lnL>
                  </a:tcPr>
                </a:tc>
                <a:tc>
                  <a:txBody>
                    <a:bodyPr/>
                    <a:lstStyle/>
                    <a:p>
                      <a:pPr algn="ctr" fontAlgn="t"/>
                      <a:r>
                        <a:rPr lang="en-ID" sz="1600" u="none" strike="noStrike">
                          <a:effectLst/>
                        </a:rPr>
                        <a:t>15</a:t>
                      </a:r>
                      <a:endParaRPr lang="en-ID" sz="1600" b="0" i="0" u="none" strike="noStrike">
                        <a:solidFill>
                          <a:srgbClr val="000000"/>
                        </a:solidFill>
                        <a:effectLst/>
                        <a:latin typeface="Calibri" panose="020F0502020204030204" pitchFamily="34" charset="0"/>
                      </a:endParaRPr>
                    </a:p>
                  </a:txBody>
                  <a:tcPr marL="7688" marR="7688" marT="36000" marB="36000" anchor="ctr"/>
                </a:tc>
                <a:extLst>
                  <a:ext uri="{0D108BD9-81ED-4DB2-BD59-A6C34878D82A}">
                    <a16:rowId xmlns:a16="http://schemas.microsoft.com/office/drawing/2014/main" val="1625010398"/>
                  </a:ext>
                </a:extLst>
              </a:tr>
              <a:tr h="246012">
                <a:tc>
                  <a:txBody>
                    <a:bodyPr/>
                    <a:lstStyle/>
                    <a:p>
                      <a:pPr algn="l" fontAlgn="b"/>
                      <a:r>
                        <a:rPr lang="en-ID" sz="1600" b="0" i="0" u="none" strike="noStrike">
                          <a:solidFill>
                            <a:srgbClr val="000000"/>
                          </a:solidFill>
                          <a:effectLst/>
                          <a:latin typeface="Calibri" panose="020F0502020204030204" pitchFamily="34" charset="0"/>
                        </a:rPr>
                        <a:t>Usaha Orang </a:t>
                      </a:r>
                      <a:r>
                        <a:rPr lang="en-ID" sz="1600" b="0" i="0" u="none" strike="noStrike" err="1">
                          <a:solidFill>
                            <a:srgbClr val="000000"/>
                          </a:solidFill>
                          <a:effectLst/>
                          <a:latin typeface="Calibri" panose="020F0502020204030204" pitchFamily="34" charset="0"/>
                        </a:rPr>
                        <a:t>Perseorangan</a:t>
                      </a:r>
                      <a:endParaRPr lang="en-ID" sz="1600" b="0" i="0" u="none" strike="noStrike">
                        <a:solidFill>
                          <a:srgbClr val="000000"/>
                        </a:solidFill>
                        <a:effectLst/>
                        <a:latin typeface="Calibri" panose="020F0502020204030204" pitchFamily="34" charset="0"/>
                      </a:endParaRPr>
                    </a:p>
                  </a:txBody>
                  <a:tcPr marL="72000" marR="72000" marT="36000" marB="360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t"/>
                      <a:r>
                        <a:rPr lang="en-ID" sz="1600" b="0" i="0" u="none" strike="noStrike">
                          <a:solidFill>
                            <a:srgbClr val="000000"/>
                          </a:solidFill>
                          <a:effectLst/>
                          <a:latin typeface="Calibri" panose="020F0502020204030204" pitchFamily="34" charset="0"/>
                        </a:rPr>
                        <a:t>-</a:t>
                      </a:r>
                    </a:p>
                  </a:txBody>
                  <a:tcPr marL="72000" marR="72000" marT="36000" marB="360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t"/>
                      <a:r>
                        <a:rPr lang="en-ID" sz="1600" b="1" i="0" u="none" strike="noStrike">
                          <a:solidFill>
                            <a:srgbClr val="000000"/>
                          </a:solidFill>
                          <a:effectLst/>
                          <a:latin typeface="Calibri" panose="020F0502020204030204" pitchFamily="34" charset="0"/>
                        </a:rPr>
                        <a:t>-</a:t>
                      </a:r>
                    </a:p>
                  </a:txBody>
                  <a:tcPr marL="72000" marR="72000" marT="36000" marB="360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rtl="0" fontAlgn="t"/>
                      <a:r>
                        <a:rPr lang="en-ID" sz="1600" b="0" i="0" u="none" strike="noStrike">
                          <a:solidFill>
                            <a:srgbClr val="000000"/>
                          </a:solidFill>
                          <a:effectLst/>
                          <a:latin typeface="Calibri" panose="020F0502020204030204" pitchFamily="34" charset="0"/>
                        </a:rPr>
                        <a:t>6</a:t>
                      </a:r>
                    </a:p>
                  </a:txBody>
                  <a:tcPr marL="0" marR="0" marT="0" marB="0" anchor="ctr">
                    <a:lnL w="28575" cap="flat" cmpd="sng" algn="ctr">
                      <a:solidFill>
                        <a:schemeClr val="bg1"/>
                      </a:solidFill>
                      <a:prstDash val="solid"/>
                      <a:round/>
                      <a:headEnd type="none" w="med" len="med"/>
                      <a:tailEnd type="none" w="med" len="med"/>
                    </a:lnL>
                  </a:tcPr>
                </a:tc>
                <a:tc>
                  <a:txBody>
                    <a:bodyPr/>
                    <a:lstStyle/>
                    <a:p>
                      <a:pPr algn="ctr" fontAlgn="t"/>
                      <a:endParaRPr lang="en-ID" sz="1600" b="0" i="0" u="none" strike="noStrike">
                        <a:solidFill>
                          <a:srgbClr val="000000"/>
                        </a:solidFill>
                        <a:effectLst/>
                        <a:latin typeface="Calibri" panose="020F0502020204030204" pitchFamily="34" charset="0"/>
                      </a:endParaRPr>
                    </a:p>
                  </a:txBody>
                  <a:tcPr marL="7688" marR="7688" marT="36000" marB="36000" anchor="ctr"/>
                </a:tc>
                <a:extLst>
                  <a:ext uri="{0D108BD9-81ED-4DB2-BD59-A6C34878D82A}">
                    <a16:rowId xmlns:a16="http://schemas.microsoft.com/office/drawing/2014/main" val="888148034"/>
                  </a:ext>
                </a:extLst>
              </a:tr>
              <a:tr h="246012">
                <a:tc>
                  <a:txBody>
                    <a:bodyPr/>
                    <a:lstStyle/>
                    <a:p>
                      <a:pPr algn="l" fontAlgn="b"/>
                      <a:r>
                        <a:rPr lang="en-ID" sz="1100" u="none" strike="noStrike">
                          <a:effectLst/>
                        </a:rPr>
                        <a:t> </a:t>
                      </a:r>
                      <a:endParaRPr lang="en-ID" sz="1100" b="0" i="0" u="none" strike="noStrike">
                        <a:solidFill>
                          <a:srgbClr val="000000"/>
                        </a:solidFill>
                        <a:effectLst/>
                        <a:latin typeface="Calibri" panose="020F0502020204030204" pitchFamily="34" charset="0"/>
                      </a:endParaRPr>
                    </a:p>
                  </a:txBody>
                  <a:tcPr marL="72000" marR="72000" marT="36000" marB="360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t"/>
                      <a:r>
                        <a:rPr lang="en-ID" sz="1600" u="none" strike="noStrike">
                          <a:effectLst/>
                        </a:rPr>
                        <a:t> </a:t>
                      </a:r>
                      <a:endParaRPr lang="en-ID" sz="1600" b="0" i="0" u="none" strike="noStrike">
                        <a:solidFill>
                          <a:srgbClr val="000000"/>
                        </a:solidFill>
                        <a:effectLst/>
                        <a:latin typeface="Calibri" panose="020F0502020204030204" pitchFamily="34" charset="0"/>
                      </a:endParaRPr>
                    </a:p>
                  </a:txBody>
                  <a:tcPr marL="72000" marR="72000" marT="36000" marB="360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t"/>
                      <a:r>
                        <a:rPr lang="en-ID" sz="1600" b="1" u="none" strike="noStrike">
                          <a:effectLst/>
                        </a:rPr>
                        <a:t>TOTAL KESELURUHAN</a:t>
                      </a:r>
                      <a:endParaRPr lang="en-ID" sz="1600" b="1" i="0" u="none" strike="noStrike">
                        <a:solidFill>
                          <a:srgbClr val="000000"/>
                        </a:solidFill>
                        <a:effectLst/>
                        <a:latin typeface="Calibri" panose="020F0502020204030204" pitchFamily="34" charset="0"/>
                      </a:endParaRPr>
                    </a:p>
                  </a:txBody>
                  <a:tcPr marL="72000" marR="72000" marT="36000" marB="360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l" fontAlgn="t"/>
                      <a:r>
                        <a:rPr lang="en-ID" sz="1100" b="1" u="none" strike="noStrike">
                          <a:effectLst/>
                        </a:rPr>
                        <a:t> </a:t>
                      </a:r>
                      <a:endParaRPr lang="en-ID" sz="1100" b="1" i="0" u="none" strike="noStrike">
                        <a:solidFill>
                          <a:srgbClr val="000000"/>
                        </a:solidFill>
                        <a:effectLst/>
                        <a:latin typeface="Calibri" panose="020F0502020204030204" pitchFamily="34" charset="0"/>
                      </a:endParaRPr>
                    </a:p>
                  </a:txBody>
                  <a:tcPr marL="7688" marR="7688" marT="36000" marB="36000" anchor="ctr">
                    <a:lnL w="28575" cap="flat" cmpd="sng" algn="ctr">
                      <a:solidFill>
                        <a:schemeClr val="bg1"/>
                      </a:solidFill>
                      <a:prstDash val="solid"/>
                      <a:round/>
                      <a:headEnd type="none" w="med" len="med"/>
                      <a:tailEnd type="none" w="med" len="med"/>
                    </a:lnL>
                  </a:tcPr>
                </a:tc>
                <a:tc>
                  <a:txBody>
                    <a:bodyPr/>
                    <a:lstStyle/>
                    <a:p>
                      <a:pPr algn="ctr" fontAlgn="t"/>
                      <a:r>
                        <a:rPr lang="en-ID" sz="1600" b="1" u="none" strike="noStrike">
                          <a:effectLst/>
                        </a:rPr>
                        <a:t>130</a:t>
                      </a:r>
                      <a:endParaRPr lang="en-ID" sz="1600" b="1" i="0" u="none" strike="noStrike">
                        <a:solidFill>
                          <a:srgbClr val="000000"/>
                        </a:solidFill>
                        <a:effectLst/>
                        <a:latin typeface="Calibri" panose="020F0502020204030204" pitchFamily="34" charset="0"/>
                      </a:endParaRPr>
                    </a:p>
                  </a:txBody>
                  <a:tcPr marL="7688" marR="7688" marT="36000" marB="36000" anchor="ctr"/>
                </a:tc>
                <a:extLst>
                  <a:ext uri="{0D108BD9-81ED-4DB2-BD59-A6C34878D82A}">
                    <a16:rowId xmlns:a16="http://schemas.microsoft.com/office/drawing/2014/main" val="1992466415"/>
                  </a:ext>
                </a:extLst>
              </a:tr>
            </a:tbl>
          </a:graphicData>
        </a:graphic>
      </p:graphicFrame>
    </p:spTree>
    <p:extLst>
      <p:ext uri="{BB962C8B-B14F-4D97-AF65-F5344CB8AC3E}">
        <p14:creationId xmlns:p14="http://schemas.microsoft.com/office/powerpoint/2010/main" val="2773801869"/>
      </p:ext>
    </p:extLst>
  </p:cSld>
  <p:clrMapOvr>
    <a:masterClrMapping/>
  </p:clrMapOvr>
  <mc:AlternateContent xmlns:mc="http://schemas.openxmlformats.org/markup-compatibility/2006" xmlns:p14="http://schemas.microsoft.com/office/powerpoint/2010/main">
    <mc:Choice Requires="p14">
      <p:transition spd="slow">
        <p14:pan dir="u"/>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ject 24">
            <a:extLst>
              <a:ext uri="{FF2B5EF4-FFF2-40B4-BE49-F238E27FC236}">
                <a16:creationId xmlns:a16="http://schemas.microsoft.com/office/drawing/2014/main" id="{BEB5EEAE-4C31-F6B9-4F6A-F35C53681AE1}"/>
              </a:ext>
            </a:extLst>
          </p:cNvPr>
          <p:cNvPicPr/>
          <p:nvPr/>
        </p:nvPicPr>
        <p:blipFill>
          <a:blip r:embed="rId3" cstate="print"/>
          <a:stretch>
            <a:fillRect/>
          </a:stretch>
        </p:blipFill>
        <p:spPr>
          <a:xfrm>
            <a:off x="10015728" y="137160"/>
            <a:ext cx="2020824" cy="737616"/>
          </a:xfrm>
          <a:prstGeom prst="rect">
            <a:avLst/>
          </a:prstGeom>
        </p:spPr>
      </p:pic>
      <p:sp>
        <p:nvSpPr>
          <p:cNvPr id="5" name="TextBox 4">
            <a:extLst>
              <a:ext uri="{FF2B5EF4-FFF2-40B4-BE49-F238E27FC236}">
                <a16:creationId xmlns:a16="http://schemas.microsoft.com/office/drawing/2014/main" id="{EDE8F7A7-6435-E1A8-CAF4-F877A3F5B8F2}"/>
              </a:ext>
            </a:extLst>
          </p:cNvPr>
          <p:cNvSpPr txBox="1"/>
          <p:nvPr/>
        </p:nvSpPr>
        <p:spPr>
          <a:xfrm>
            <a:off x="200722" y="137160"/>
            <a:ext cx="964580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2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ERUBAHAN DAN PENAMBAHAN KBLI 2020 SEKTOR PUPR</a:t>
            </a:r>
          </a:p>
        </p:txBody>
      </p:sp>
      <p:sp>
        <p:nvSpPr>
          <p:cNvPr id="26" name="Rectangle 25">
            <a:extLst>
              <a:ext uri="{FF2B5EF4-FFF2-40B4-BE49-F238E27FC236}">
                <a16:creationId xmlns:a16="http://schemas.microsoft.com/office/drawing/2014/main" id="{59051E13-A6E6-9BD6-760B-565CC144BC45}"/>
              </a:ext>
            </a:extLst>
          </p:cNvPr>
          <p:cNvSpPr/>
          <p:nvPr/>
        </p:nvSpPr>
        <p:spPr>
          <a:xfrm>
            <a:off x="255311" y="1609875"/>
            <a:ext cx="5718571" cy="252549"/>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C9A3E3BF-B8A6-9126-CE27-A5CBD8A5DB97}"/>
              </a:ext>
            </a:extLst>
          </p:cNvPr>
          <p:cNvSpPr txBox="1"/>
          <p:nvPr/>
        </p:nvSpPr>
        <p:spPr>
          <a:xfrm>
            <a:off x="220867" y="1163951"/>
            <a:ext cx="544946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Calibri" panose="020F0502020204030204" pitchFamily="34" charset="0"/>
              </a:rPr>
              <a:t>KBLI DAN SUBKLASIFIKASI PUPR (PP 5/2021)</a:t>
            </a:r>
          </a:p>
        </p:txBody>
      </p:sp>
      <p:sp>
        <p:nvSpPr>
          <p:cNvPr id="29" name="TextBox 28">
            <a:extLst>
              <a:ext uri="{FF2B5EF4-FFF2-40B4-BE49-F238E27FC236}">
                <a16:creationId xmlns:a16="http://schemas.microsoft.com/office/drawing/2014/main" id="{445ADCDC-9CE4-1E06-C73D-67D2FAAE05F9}"/>
              </a:ext>
            </a:extLst>
          </p:cNvPr>
          <p:cNvSpPr txBox="1"/>
          <p:nvPr/>
        </p:nvSpPr>
        <p:spPr>
          <a:xfrm>
            <a:off x="200722" y="1862424"/>
            <a:ext cx="5551381" cy="1323439"/>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1">
                <a:ln>
                  <a:noFill/>
                </a:ln>
                <a:solidFill>
                  <a:prstClr val="black"/>
                </a:solidFill>
                <a:effectLst/>
                <a:uLnTx/>
                <a:uFillTx/>
                <a:latin typeface="Century Gothic" panose="020B0502020202020204" pitchFamily="34" charset="0"/>
                <a:ea typeface="Apple LiGothic Medium" pitchFamily="2" charset="-120"/>
                <a:cs typeface="+mn-cs"/>
              </a:rPr>
              <a:t>Terdapat 1790 klasifikasi usaha pada KBLI 2020, di dalam PP 5/2021 terdapat </a:t>
            </a:r>
            <a:r>
              <a:rPr kumimoji="0" lang="en-US" sz="1600" b="0" i="0" u="none" strike="noStrike" kern="1200" cap="none" spc="0" normalizeH="0" baseline="0" noProof="1">
                <a:ln>
                  <a:noFill/>
                </a:ln>
                <a:solidFill>
                  <a:srgbClr val="FF0000"/>
                </a:solidFill>
                <a:effectLst/>
                <a:uLnTx/>
                <a:uFillTx/>
                <a:latin typeface="Century Gothic" panose="020B0502020202020204" pitchFamily="34" charset="0"/>
                <a:ea typeface="Apple LiGothic Medium" pitchFamily="2" charset="-120"/>
                <a:cs typeface="+mn-cs"/>
              </a:rPr>
              <a:t>68 + 2 KBLI </a:t>
            </a:r>
            <a:r>
              <a:rPr kumimoji="0" lang="en-US" sz="1600" b="0" i="0" u="none" strike="noStrike" kern="1200" cap="none" spc="0" normalizeH="0" baseline="0" noProof="1">
                <a:ln>
                  <a:noFill/>
                </a:ln>
                <a:solidFill>
                  <a:prstClr val="black"/>
                </a:solidFill>
                <a:effectLst/>
                <a:uLnTx/>
                <a:uFillTx/>
                <a:latin typeface="Century Gothic" panose="020B0502020202020204" pitchFamily="34" charset="0"/>
                <a:ea typeface="Apple LiGothic Medium" pitchFamily="2" charset="-120"/>
                <a:cs typeface="+mn-cs"/>
              </a:rPr>
              <a:t>yang diampu oleh Kementerian </a:t>
            </a:r>
            <a:r>
              <a:rPr kumimoji="0" lang="en-US" sz="1600" b="0" i="0" u="none" strike="noStrike" kern="1200" cap="none" spc="0" normalizeH="0" baseline="0" noProof="1">
                <a:ln>
                  <a:noFill/>
                </a:ln>
                <a:solidFill>
                  <a:srgbClr val="70AD47">
                    <a:lumMod val="50000"/>
                  </a:srgbClr>
                </a:solidFill>
                <a:effectLst/>
                <a:uLnTx/>
                <a:uFillTx/>
                <a:latin typeface="Century Gothic" panose="020B0502020202020204" pitchFamily="34" charset="0"/>
                <a:ea typeface="Apple LiGothic Medium" pitchFamily="2" charset="-120"/>
                <a:cs typeface="+mn-cs"/>
              </a:rPr>
              <a:t>Pekerjaan Umum dan Perumahan Rakyat. </a:t>
            </a:r>
            <a:r>
              <a:rPr kumimoji="0" lang="en-US" sz="1600" b="0" i="0" u="none" strike="noStrike" kern="1200" cap="none" spc="0" normalizeH="0" baseline="0" noProof="1">
                <a:ln>
                  <a:noFill/>
                </a:ln>
                <a:solidFill>
                  <a:prstClr val="black"/>
                </a:solidFill>
                <a:effectLst/>
                <a:uLnTx/>
                <a:uFillTx/>
                <a:latin typeface="Century Gothic" panose="020B0502020202020204" pitchFamily="34" charset="0"/>
                <a:ea typeface="Apple LiGothic Medium" pitchFamily="2" charset="-120"/>
                <a:cs typeface="+mn-cs"/>
              </a:rPr>
              <a:t>Dari </a:t>
            </a:r>
            <a:r>
              <a:rPr kumimoji="0" lang="en-US" sz="1600" b="1" i="0" u="none" strike="noStrike" kern="1200" cap="none" spc="0" normalizeH="0" baseline="0" noProof="1">
                <a:ln>
                  <a:noFill/>
                </a:ln>
                <a:solidFill>
                  <a:prstClr val="black"/>
                </a:solidFill>
                <a:effectLst/>
                <a:uLnTx/>
                <a:uFillTx/>
                <a:latin typeface="Century Gothic" panose="020B0502020202020204" pitchFamily="34" charset="0"/>
                <a:ea typeface="Apple LiGothic Medium" pitchFamily="2" charset="-120"/>
                <a:cs typeface="+mn-cs"/>
              </a:rPr>
              <a:t>70 KBLI </a:t>
            </a:r>
            <a:r>
              <a:rPr kumimoji="0" lang="en-US" sz="1600" b="0" i="0" u="none" strike="noStrike" kern="1200" cap="none" spc="0" normalizeH="0" baseline="0" noProof="1">
                <a:ln>
                  <a:noFill/>
                </a:ln>
                <a:solidFill>
                  <a:prstClr val="black"/>
                </a:solidFill>
                <a:effectLst/>
                <a:uLnTx/>
                <a:uFillTx/>
                <a:latin typeface="Century Gothic" panose="020B0502020202020204" pitchFamily="34" charset="0"/>
                <a:ea typeface="Apple LiGothic Medium" pitchFamily="2" charset="-120"/>
                <a:cs typeface="+mn-cs"/>
              </a:rPr>
              <a:t>tersebut</a:t>
            </a:r>
            <a:r>
              <a:rPr kumimoji="0" lang="en-US" sz="1600" b="1" i="0" u="none" strike="noStrike" kern="1200" cap="none" spc="0" normalizeH="0" baseline="0" noProof="1">
                <a:ln>
                  <a:noFill/>
                </a:ln>
                <a:solidFill>
                  <a:prstClr val="black"/>
                </a:solidFill>
                <a:effectLst/>
                <a:uLnTx/>
                <a:uFillTx/>
                <a:latin typeface="Century Gothic" panose="020B0502020202020204" pitchFamily="34" charset="0"/>
                <a:ea typeface="Apple LiGothic Medium" pitchFamily="2" charset="-120"/>
                <a:cs typeface="+mn-cs"/>
              </a:rPr>
              <a:t> </a:t>
            </a:r>
            <a:r>
              <a:rPr kumimoji="0" lang="en-US" sz="1600" b="0" i="0" u="none" strike="noStrike" kern="1200" cap="none" spc="0" normalizeH="0" baseline="0" noProof="1">
                <a:ln>
                  <a:noFill/>
                </a:ln>
                <a:solidFill>
                  <a:prstClr val="black"/>
                </a:solidFill>
                <a:effectLst/>
                <a:uLnTx/>
                <a:uFillTx/>
                <a:latin typeface="Century Gothic" panose="020B0502020202020204" pitchFamily="34" charset="0"/>
                <a:ea typeface="Apple LiGothic Medium" pitchFamily="2" charset="-120"/>
                <a:cs typeface="+mn-cs"/>
              </a:rPr>
              <a:t>terdapat </a:t>
            </a:r>
            <a:r>
              <a:rPr kumimoji="0" lang="en-US" sz="1600" b="0" i="0" u="none" strike="noStrike" kern="1200" cap="none" spc="0" normalizeH="0" baseline="0" noProof="1">
                <a:ln>
                  <a:noFill/>
                </a:ln>
                <a:solidFill>
                  <a:srgbClr val="FF0000"/>
                </a:solidFill>
                <a:effectLst/>
                <a:uLnTx/>
                <a:uFillTx/>
                <a:latin typeface="Century Gothic" panose="020B0502020202020204" pitchFamily="34" charset="0"/>
                <a:ea typeface="Apple LiGothic Medium" pitchFamily="2" charset="-120"/>
                <a:cs typeface="+mn-cs"/>
              </a:rPr>
              <a:t>130 + 2 Subklasifikasi </a:t>
            </a:r>
            <a:r>
              <a:rPr kumimoji="0" lang="en-US" sz="1600" b="0" i="0" u="none" strike="noStrike" kern="1200" cap="none" spc="0" normalizeH="0" baseline="0" noProof="1">
                <a:ln>
                  <a:noFill/>
                </a:ln>
                <a:solidFill>
                  <a:prstClr val="black"/>
                </a:solidFill>
                <a:effectLst/>
                <a:uLnTx/>
                <a:uFillTx/>
                <a:latin typeface="Century Gothic" panose="020B0502020202020204" pitchFamily="34" charset="0"/>
                <a:ea typeface="Apple LiGothic Medium" pitchFamily="2" charset="-120"/>
                <a:cs typeface="+mn-cs"/>
              </a:rPr>
              <a:t>Usaha Jasa Konstruksi.</a:t>
            </a:r>
          </a:p>
        </p:txBody>
      </p:sp>
      <p:sp>
        <p:nvSpPr>
          <p:cNvPr id="30" name="Rectangle 29">
            <a:extLst>
              <a:ext uri="{FF2B5EF4-FFF2-40B4-BE49-F238E27FC236}">
                <a16:creationId xmlns:a16="http://schemas.microsoft.com/office/drawing/2014/main" id="{9763E1DD-D602-2899-5A02-7A0BA6E41DC3}"/>
              </a:ext>
            </a:extLst>
          </p:cNvPr>
          <p:cNvSpPr/>
          <p:nvPr/>
        </p:nvSpPr>
        <p:spPr>
          <a:xfrm>
            <a:off x="255311" y="4037389"/>
            <a:ext cx="5718571" cy="252549"/>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C4CA1F99-FCB9-BC0D-FB5C-82E23EAD7058}"/>
              </a:ext>
            </a:extLst>
          </p:cNvPr>
          <p:cNvSpPr txBox="1"/>
          <p:nvPr/>
        </p:nvSpPr>
        <p:spPr>
          <a:xfrm>
            <a:off x="220867" y="3591465"/>
            <a:ext cx="544946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Calibri" panose="020F0502020204030204" pitchFamily="34" charset="0"/>
              </a:rPr>
              <a:t>HASIL SINKRONISASI DAN REVIU KBLI </a:t>
            </a:r>
          </a:p>
        </p:txBody>
      </p:sp>
      <p:sp>
        <p:nvSpPr>
          <p:cNvPr id="32" name="TextBox 31">
            <a:extLst>
              <a:ext uri="{FF2B5EF4-FFF2-40B4-BE49-F238E27FC236}">
                <a16:creationId xmlns:a16="http://schemas.microsoft.com/office/drawing/2014/main" id="{A123A6DA-1BFD-92BA-AAE0-1034511AD14E}"/>
              </a:ext>
            </a:extLst>
          </p:cNvPr>
          <p:cNvSpPr txBox="1"/>
          <p:nvPr/>
        </p:nvSpPr>
        <p:spPr>
          <a:xfrm>
            <a:off x="200722" y="4289938"/>
            <a:ext cx="5551381" cy="2062103"/>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1">
                <a:ln>
                  <a:noFill/>
                </a:ln>
                <a:solidFill>
                  <a:prstClr val="black"/>
                </a:solidFill>
                <a:effectLst/>
                <a:uLnTx/>
                <a:uFillTx/>
                <a:latin typeface="Century Gothic" panose="020B0502020202020204" pitchFamily="34" charset="0"/>
                <a:ea typeface="Apple LiGothic Medium" pitchFamily="2" charset="-120"/>
                <a:cs typeface="+mn-cs"/>
              </a:rPr>
              <a:t>Terdapat beberapa KBLI tanpa pengampu dan KBLI beririsan dengan kementerian lain yang teridentifikasi merupakan KBLI bidang PUPR, sehingga dilakukan pembahasan bersama dengan Kemenko Perekonomian, Setkab dan Kementerian terkait untuk menetapkan pengampu dari KBLI tersebut. Terdapat tambahan 5 KBLI yang diampu oleh Kementerian PUPR (</a:t>
            </a:r>
            <a:r>
              <a:rPr kumimoji="0" lang="en-US" sz="1600" b="1" i="0" u="none" strike="noStrike" kern="1200" cap="none" spc="0" normalizeH="0" baseline="0" noProof="1">
                <a:ln>
                  <a:noFill/>
                </a:ln>
                <a:solidFill>
                  <a:prstClr val="black"/>
                </a:solidFill>
                <a:effectLst/>
                <a:uLnTx/>
                <a:uFillTx/>
                <a:latin typeface="Century Gothic" panose="020B0502020202020204" pitchFamily="34" charset="0"/>
                <a:ea typeface="Apple LiGothic Medium" pitchFamily="2" charset="-120"/>
                <a:cs typeface="+mn-cs"/>
              </a:rPr>
              <a:t>Total 75 KBLI</a:t>
            </a:r>
            <a:r>
              <a:rPr kumimoji="0" lang="en-US" sz="1600" b="0" i="0" u="none" strike="noStrike" kern="1200" cap="none" spc="0" normalizeH="0" baseline="0" noProof="1">
                <a:ln>
                  <a:noFill/>
                </a:ln>
                <a:solidFill>
                  <a:prstClr val="black"/>
                </a:solidFill>
                <a:effectLst/>
                <a:uLnTx/>
                <a:uFillTx/>
                <a:latin typeface="Century Gothic" panose="020B0502020202020204" pitchFamily="34" charset="0"/>
                <a:ea typeface="Apple LiGothic Medium" pitchFamily="2" charset="-120"/>
                <a:cs typeface="+mn-cs"/>
              </a:rPr>
              <a:t>)</a:t>
            </a:r>
          </a:p>
        </p:txBody>
      </p:sp>
      <p:graphicFrame>
        <p:nvGraphicFramePr>
          <p:cNvPr id="2" name="Table 1">
            <a:extLst>
              <a:ext uri="{FF2B5EF4-FFF2-40B4-BE49-F238E27FC236}">
                <a16:creationId xmlns:a16="http://schemas.microsoft.com/office/drawing/2014/main" id="{DAF484A5-D31E-FF87-8BDE-31900E9BB443}"/>
              </a:ext>
            </a:extLst>
          </p:cNvPr>
          <p:cNvGraphicFramePr>
            <a:graphicFrameLocks noGrp="1"/>
          </p:cNvGraphicFramePr>
          <p:nvPr/>
        </p:nvGraphicFramePr>
        <p:xfrm>
          <a:off x="6317981" y="874776"/>
          <a:ext cx="5718571" cy="5651967"/>
        </p:xfrm>
        <a:graphic>
          <a:graphicData uri="http://schemas.openxmlformats.org/drawingml/2006/table">
            <a:tbl>
              <a:tblPr firstRow="1" firstCol="1" bandRow="1">
                <a:tableStyleId>{5C22544A-7EE6-4342-B048-85BDC9FD1C3A}</a:tableStyleId>
              </a:tblPr>
              <a:tblGrid>
                <a:gridCol w="627209">
                  <a:extLst>
                    <a:ext uri="{9D8B030D-6E8A-4147-A177-3AD203B41FA5}">
                      <a16:colId xmlns:a16="http://schemas.microsoft.com/office/drawing/2014/main" val="440031522"/>
                    </a:ext>
                  </a:extLst>
                </a:gridCol>
                <a:gridCol w="1569171">
                  <a:extLst>
                    <a:ext uri="{9D8B030D-6E8A-4147-A177-3AD203B41FA5}">
                      <a16:colId xmlns:a16="http://schemas.microsoft.com/office/drawing/2014/main" val="3439234933"/>
                    </a:ext>
                  </a:extLst>
                </a:gridCol>
                <a:gridCol w="1121228">
                  <a:extLst>
                    <a:ext uri="{9D8B030D-6E8A-4147-A177-3AD203B41FA5}">
                      <a16:colId xmlns:a16="http://schemas.microsoft.com/office/drawing/2014/main" val="1113174128"/>
                    </a:ext>
                  </a:extLst>
                </a:gridCol>
                <a:gridCol w="1135423">
                  <a:extLst>
                    <a:ext uri="{9D8B030D-6E8A-4147-A177-3AD203B41FA5}">
                      <a16:colId xmlns:a16="http://schemas.microsoft.com/office/drawing/2014/main" val="1777270011"/>
                    </a:ext>
                  </a:extLst>
                </a:gridCol>
                <a:gridCol w="1265540">
                  <a:extLst>
                    <a:ext uri="{9D8B030D-6E8A-4147-A177-3AD203B41FA5}">
                      <a16:colId xmlns:a16="http://schemas.microsoft.com/office/drawing/2014/main" val="1631521121"/>
                    </a:ext>
                  </a:extLst>
                </a:gridCol>
              </a:tblGrid>
              <a:tr h="594517">
                <a:tc>
                  <a:txBody>
                    <a:bodyPr/>
                    <a:lstStyle/>
                    <a:p>
                      <a:pPr algn="ctr">
                        <a:lnSpc>
                          <a:spcPct val="115000"/>
                        </a:lnSpc>
                        <a:spcAft>
                          <a:spcPts val="600"/>
                        </a:spcAft>
                      </a:pPr>
                      <a:r>
                        <a:rPr lang="en-US" sz="1200" dirty="0">
                          <a:effectLst/>
                          <a:latin typeface="Century Gothic" panose="020B0502020202020204" pitchFamily="34" charset="0"/>
                        </a:rPr>
                        <a:t>KBLI</a:t>
                      </a:r>
                      <a:endParaRPr lang="en-ID" sz="12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nchor="ctr">
                    <a:solidFill>
                      <a:schemeClr val="accent1">
                        <a:lumMod val="50000"/>
                      </a:schemeClr>
                    </a:solidFill>
                  </a:tcPr>
                </a:tc>
                <a:tc>
                  <a:txBody>
                    <a:bodyPr/>
                    <a:lstStyle/>
                    <a:p>
                      <a:pPr algn="ctr">
                        <a:lnSpc>
                          <a:spcPct val="115000"/>
                        </a:lnSpc>
                        <a:spcAft>
                          <a:spcPts val="600"/>
                        </a:spcAft>
                      </a:pPr>
                      <a:r>
                        <a:rPr lang="en-US" sz="1200" dirty="0" err="1">
                          <a:effectLst/>
                          <a:latin typeface="Century Gothic" panose="020B0502020202020204" pitchFamily="34" charset="0"/>
                        </a:rPr>
                        <a:t>Judul</a:t>
                      </a:r>
                      <a:r>
                        <a:rPr lang="en-US" sz="1200" dirty="0">
                          <a:effectLst/>
                          <a:latin typeface="Century Gothic" panose="020B0502020202020204" pitchFamily="34" charset="0"/>
                        </a:rPr>
                        <a:t> KBLI</a:t>
                      </a:r>
                      <a:endParaRPr lang="en-ID" sz="12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nchor="ctr">
                    <a:solidFill>
                      <a:schemeClr val="accent1">
                        <a:lumMod val="50000"/>
                      </a:schemeClr>
                    </a:solidFill>
                  </a:tcPr>
                </a:tc>
                <a:tc>
                  <a:txBody>
                    <a:bodyPr/>
                    <a:lstStyle/>
                    <a:p>
                      <a:pPr algn="ctr">
                        <a:lnSpc>
                          <a:spcPct val="115000"/>
                        </a:lnSpc>
                        <a:spcAft>
                          <a:spcPts val="600"/>
                        </a:spcAft>
                      </a:pPr>
                      <a:r>
                        <a:rPr lang="en-US" sz="1200" dirty="0">
                          <a:effectLst/>
                          <a:latin typeface="Century Gothic" panose="020B0502020202020204" pitchFamily="34" charset="0"/>
                        </a:rPr>
                        <a:t>Tingkat </a:t>
                      </a:r>
                      <a:r>
                        <a:rPr lang="en-US" sz="1200" dirty="0" err="1">
                          <a:effectLst/>
                          <a:latin typeface="Century Gothic" panose="020B0502020202020204" pitchFamily="34" charset="0"/>
                        </a:rPr>
                        <a:t>Risiko</a:t>
                      </a:r>
                      <a:r>
                        <a:rPr lang="en-US" sz="1200" dirty="0">
                          <a:effectLst/>
                          <a:latin typeface="Century Gothic" panose="020B0502020202020204" pitchFamily="34" charset="0"/>
                        </a:rPr>
                        <a:t> </a:t>
                      </a:r>
                      <a:endParaRPr lang="en-ID" sz="12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nchor="ctr">
                    <a:solidFill>
                      <a:schemeClr val="accent1">
                        <a:lumMod val="50000"/>
                      </a:schemeClr>
                    </a:solidFill>
                  </a:tcPr>
                </a:tc>
                <a:tc>
                  <a:txBody>
                    <a:bodyPr/>
                    <a:lstStyle/>
                    <a:p>
                      <a:pPr algn="ctr">
                        <a:lnSpc>
                          <a:spcPct val="115000"/>
                        </a:lnSpc>
                        <a:spcAft>
                          <a:spcPts val="600"/>
                        </a:spcAft>
                      </a:pPr>
                      <a:r>
                        <a:rPr lang="en-US" sz="1200" dirty="0" err="1">
                          <a:effectLst/>
                          <a:latin typeface="Century Gothic" panose="020B0502020202020204" pitchFamily="34" charset="0"/>
                        </a:rPr>
                        <a:t>Kewenangan</a:t>
                      </a:r>
                      <a:endParaRPr lang="en-ID" sz="12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nchor="ctr">
                    <a:solidFill>
                      <a:schemeClr val="accent1">
                        <a:lumMod val="50000"/>
                      </a:schemeClr>
                    </a:solidFill>
                  </a:tcPr>
                </a:tc>
                <a:tc>
                  <a:txBody>
                    <a:bodyPr/>
                    <a:lstStyle/>
                    <a:p>
                      <a:pPr algn="ctr">
                        <a:lnSpc>
                          <a:spcPct val="115000"/>
                        </a:lnSpc>
                        <a:spcAft>
                          <a:spcPts val="600"/>
                        </a:spcAft>
                      </a:pPr>
                      <a:r>
                        <a:rPr lang="en-US" sz="1200" dirty="0" err="1">
                          <a:effectLst/>
                          <a:latin typeface="Century Gothic" panose="020B0502020202020204" pitchFamily="34" charset="0"/>
                        </a:rPr>
                        <a:t>Keterangan</a:t>
                      </a:r>
                      <a:r>
                        <a:rPr lang="en-US" sz="1200" dirty="0">
                          <a:effectLst/>
                          <a:latin typeface="Century Gothic" panose="020B0502020202020204" pitchFamily="34" charset="0"/>
                        </a:rPr>
                        <a:t> / </a:t>
                      </a:r>
                      <a:r>
                        <a:rPr lang="en-US" sz="1200" dirty="0" err="1">
                          <a:effectLst/>
                          <a:latin typeface="Century Gothic" panose="020B0502020202020204" pitchFamily="34" charset="0"/>
                        </a:rPr>
                        <a:t>Tindaklanjut</a:t>
                      </a:r>
                      <a:endParaRPr lang="en-ID" sz="12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nchor="ctr">
                    <a:solidFill>
                      <a:schemeClr val="accent1">
                        <a:lumMod val="50000"/>
                      </a:schemeClr>
                    </a:solidFill>
                  </a:tcPr>
                </a:tc>
                <a:extLst>
                  <a:ext uri="{0D108BD9-81ED-4DB2-BD59-A6C34878D82A}">
                    <a16:rowId xmlns:a16="http://schemas.microsoft.com/office/drawing/2014/main" val="3623439524"/>
                  </a:ext>
                </a:extLst>
              </a:tr>
              <a:tr h="626137">
                <a:tc>
                  <a:txBody>
                    <a:bodyPr/>
                    <a:lstStyle/>
                    <a:p>
                      <a:pPr algn="ctr">
                        <a:lnSpc>
                          <a:spcPct val="115000"/>
                        </a:lnSpc>
                        <a:spcAft>
                          <a:spcPts val="600"/>
                        </a:spcAft>
                      </a:pPr>
                      <a:r>
                        <a:rPr lang="en-US" sz="1200" dirty="0">
                          <a:effectLst/>
                          <a:latin typeface="Century Gothic" panose="020B0502020202020204" pitchFamily="34" charset="0"/>
                        </a:rPr>
                        <a:t>68111</a:t>
                      </a:r>
                      <a:endParaRPr lang="en-ID" sz="12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solidFill>
                      <a:schemeClr val="accent1">
                        <a:lumMod val="50000"/>
                      </a:schemeClr>
                    </a:solidFill>
                  </a:tcPr>
                </a:tc>
                <a:tc>
                  <a:txBody>
                    <a:bodyPr/>
                    <a:lstStyle/>
                    <a:p>
                      <a:pPr algn="l">
                        <a:lnSpc>
                          <a:spcPct val="115000"/>
                        </a:lnSpc>
                        <a:spcAft>
                          <a:spcPts val="600"/>
                        </a:spcAft>
                      </a:pPr>
                      <a:r>
                        <a:rPr lang="en-US" sz="1200" b="1" dirty="0">
                          <a:effectLst/>
                          <a:latin typeface="Century Gothic" panose="020B0502020202020204" pitchFamily="34" charset="0"/>
                        </a:rPr>
                        <a:t>Real </a:t>
                      </a:r>
                      <a:r>
                        <a:rPr lang="en-US" sz="1200" b="1" dirty="0" err="1">
                          <a:effectLst/>
                          <a:latin typeface="Century Gothic" panose="020B0502020202020204" pitchFamily="34" charset="0"/>
                        </a:rPr>
                        <a:t>Estat</a:t>
                      </a:r>
                      <a:r>
                        <a:rPr lang="en-US" sz="1200" b="1" dirty="0">
                          <a:effectLst/>
                          <a:latin typeface="Century Gothic" panose="020B0502020202020204" pitchFamily="34" charset="0"/>
                        </a:rPr>
                        <a:t> yang </a:t>
                      </a:r>
                      <a:r>
                        <a:rPr lang="en-US" sz="1200" b="1" dirty="0" err="1">
                          <a:effectLst/>
                          <a:latin typeface="Century Gothic" panose="020B0502020202020204" pitchFamily="34" charset="0"/>
                        </a:rPr>
                        <a:t>Dimiliki</a:t>
                      </a:r>
                      <a:r>
                        <a:rPr lang="en-US" sz="1200" b="1" dirty="0">
                          <a:effectLst/>
                          <a:latin typeface="Century Gothic" panose="020B0502020202020204" pitchFamily="34" charset="0"/>
                        </a:rPr>
                        <a:t> </a:t>
                      </a:r>
                      <a:r>
                        <a:rPr lang="en-US" sz="1200" b="1" dirty="0" err="1">
                          <a:effectLst/>
                          <a:latin typeface="Century Gothic" panose="020B0502020202020204" pitchFamily="34" charset="0"/>
                        </a:rPr>
                        <a:t>Sendiri</a:t>
                      </a:r>
                      <a:r>
                        <a:rPr lang="en-US" sz="1200" b="1" dirty="0">
                          <a:effectLst/>
                          <a:latin typeface="Century Gothic" panose="020B0502020202020204" pitchFamily="34" charset="0"/>
                        </a:rPr>
                        <a:t> </a:t>
                      </a:r>
                      <a:r>
                        <a:rPr lang="en-US" sz="1200" b="1" dirty="0" err="1">
                          <a:effectLst/>
                          <a:latin typeface="Century Gothic" panose="020B0502020202020204" pitchFamily="34" charset="0"/>
                        </a:rPr>
                        <a:t>atau</a:t>
                      </a:r>
                      <a:r>
                        <a:rPr lang="en-US" sz="1200" b="1" dirty="0">
                          <a:effectLst/>
                          <a:latin typeface="Century Gothic" panose="020B0502020202020204" pitchFamily="34" charset="0"/>
                        </a:rPr>
                        <a:t> </a:t>
                      </a:r>
                      <a:r>
                        <a:rPr lang="en-US" sz="1200" b="1" dirty="0" err="1">
                          <a:effectLst/>
                          <a:latin typeface="Century Gothic" panose="020B0502020202020204" pitchFamily="34" charset="0"/>
                        </a:rPr>
                        <a:t>Disewa</a:t>
                      </a:r>
                      <a:endParaRPr lang="en-US" sz="1200" b="1" dirty="0">
                        <a:effectLst/>
                        <a:latin typeface="Century Gothic" panose="020B0502020202020204" pitchFamily="34" charset="0"/>
                      </a:endParaRPr>
                    </a:p>
                    <a:p>
                      <a:pPr algn="l">
                        <a:lnSpc>
                          <a:spcPct val="115000"/>
                        </a:lnSpc>
                        <a:spcAft>
                          <a:spcPts val="600"/>
                        </a:spcAft>
                      </a:pPr>
                      <a:endParaRPr lang="en-ID" sz="12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tc>
                <a:tc>
                  <a:txBody>
                    <a:bodyPr/>
                    <a:lstStyle/>
                    <a:p>
                      <a:pPr algn="just">
                        <a:lnSpc>
                          <a:spcPct val="115000"/>
                        </a:lnSpc>
                        <a:spcAft>
                          <a:spcPts val="600"/>
                        </a:spcAft>
                      </a:pPr>
                      <a:r>
                        <a:rPr lang="en-US" sz="1200">
                          <a:effectLst/>
                          <a:latin typeface="Century Gothic" panose="020B0502020202020204" pitchFamily="34" charset="0"/>
                        </a:rPr>
                        <a:t>Menengah Rendah</a:t>
                      </a:r>
                      <a:endParaRPr lang="en-ID" sz="120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tc>
                <a:tc>
                  <a:txBody>
                    <a:bodyPr/>
                    <a:lstStyle/>
                    <a:p>
                      <a:pPr algn="l">
                        <a:lnSpc>
                          <a:spcPct val="115000"/>
                        </a:lnSpc>
                        <a:spcAft>
                          <a:spcPts val="600"/>
                        </a:spcAft>
                      </a:pPr>
                      <a:r>
                        <a:rPr lang="en-US" sz="1200" b="1">
                          <a:effectLst/>
                          <a:latin typeface="Century Gothic" panose="020B0502020202020204" pitchFamily="34" charset="0"/>
                        </a:rPr>
                        <a:t>Kementerian PUPR</a:t>
                      </a:r>
                      <a:endParaRPr lang="en-ID" sz="1200" b="1">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tc>
                <a:tc>
                  <a:txBody>
                    <a:bodyPr/>
                    <a:lstStyle/>
                    <a:p>
                      <a:pPr algn="l">
                        <a:lnSpc>
                          <a:spcPct val="115000"/>
                        </a:lnSpc>
                        <a:spcAft>
                          <a:spcPts val="600"/>
                        </a:spcAft>
                      </a:pPr>
                      <a:r>
                        <a:rPr lang="en-US" sz="1200" dirty="0">
                          <a:effectLst/>
                          <a:latin typeface="Century Gothic" panose="020B0502020202020204" pitchFamily="34" charset="0"/>
                        </a:rPr>
                        <a:t>Sedang </a:t>
                      </a:r>
                      <a:r>
                        <a:rPr lang="en-US" sz="1200" dirty="0" err="1">
                          <a:effectLst/>
                          <a:latin typeface="Century Gothic" panose="020B0502020202020204" pitchFamily="34" charset="0"/>
                        </a:rPr>
                        <a:t>disusun</a:t>
                      </a:r>
                      <a:r>
                        <a:rPr lang="en-US" sz="1200" dirty="0">
                          <a:effectLst/>
                          <a:latin typeface="Century Gothic" panose="020B0502020202020204" pitchFamily="34" charset="0"/>
                        </a:rPr>
                        <a:t> </a:t>
                      </a:r>
                      <a:r>
                        <a:rPr lang="en-US" sz="1200" dirty="0" err="1">
                          <a:effectLst/>
                          <a:latin typeface="Century Gothic" panose="020B0502020202020204" pitchFamily="34" charset="0"/>
                        </a:rPr>
                        <a:t>analisis</a:t>
                      </a:r>
                      <a:r>
                        <a:rPr lang="en-US" sz="1200" dirty="0">
                          <a:effectLst/>
                          <a:latin typeface="Century Gothic" panose="020B0502020202020204" pitchFamily="34" charset="0"/>
                        </a:rPr>
                        <a:t> </a:t>
                      </a:r>
                      <a:r>
                        <a:rPr lang="en-US" sz="1200" dirty="0" err="1">
                          <a:effectLst/>
                          <a:latin typeface="Century Gothic" panose="020B0502020202020204" pitchFamily="34" charset="0"/>
                        </a:rPr>
                        <a:t>tingkat</a:t>
                      </a:r>
                      <a:r>
                        <a:rPr lang="en-US" sz="1200" dirty="0">
                          <a:effectLst/>
                          <a:latin typeface="Century Gothic" panose="020B0502020202020204" pitchFamily="34" charset="0"/>
                        </a:rPr>
                        <a:t> </a:t>
                      </a:r>
                      <a:r>
                        <a:rPr lang="en-US" sz="1200" dirty="0" err="1">
                          <a:effectLst/>
                          <a:latin typeface="Century Gothic" panose="020B0502020202020204" pitchFamily="34" charset="0"/>
                        </a:rPr>
                        <a:t>risiko</a:t>
                      </a:r>
                      <a:endParaRPr lang="en-ID" sz="12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tc>
                <a:extLst>
                  <a:ext uri="{0D108BD9-81ED-4DB2-BD59-A6C34878D82A}">
                    <a16:rowId xmlns:a16="http://schemas.microsoft.com/office/drawing/2014/main" val="3707400884"/>
                  </a:ext>
                </a:extLst>
              </a:tr>
              <a:tr h="626137">
                <a:tc>
                  <a:txBody>
                    <a:bodyPr/>
                    <a:lstStyle/>
                    <a:p>
                      <a:pPr algn="ctr">
                        <a:lnSpc>
                          <a:spcPct val="115000"/>
                        </a:lnSpc>
                        <a:spcAft>
                          <a:spcPts val="600"/>
                        </a:spcAft>
                      </a:pPr>
                      <a:r>
                        <a:rPr lang="en-US" sz="1200" dirty="0">
                          <a:effectLst/>
                          <a:latin typeface="Century Gothic" panose="020B0502020202020204" pitchFamily="34" charset="0"/>
                        </a:rPr>
                        <a:t>52213</a:t>
                      </a:r>
                      <a:endParaRPr lang="en-ID" sz="12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solidFill>
                      <a:schemeClr val="accent1">
                        <a:lumMod val="50000"/>
                      </a:schemeClr>
                    </a:solidFill>
                  </a:tcPr>
                </a:tc>
                <a:tc>
                  <a:txBody>
                    <a:bodyPr/>
                    <a:lstStyle/>
                    <a:p>
                      <a:pPr algn="l">
                        <a:lnSpc>
                          <a:spcPct val="115000"/>
                        </a:lnSpc>
                        <a:spcAft>
                          <a:spcPts val="600"/>
                        </a:spcAft>
                      </a:pPr>
                      <a:r>
                        <a:rPr lang="en-US" sz="1200" b="1" dirty="0" err="1">
                          <a:effectLst/>
                          <a:latin typeface="Century Gothic" panose="020B0502020202020204" pitchFamily="34" charset="0"/>
                        </a:rPr>
                        <a:t>Aktivitas</a:t>
                      </a:r>
                      <a:r>
                        <a:rPr lang="en-US" sz="1200" b="1" dirty="0">
                          <a:effectLst/>
                          <a:latin typeface="Century Gothic" panose="020B0502020202020204" pitchFamily="34" charset="0"/>
                        </a:rPr>
                        <a:t> Jalan Tol</a:t>
                      </a:r>
                      <a:endParaRPr lang="en-ID" sz="12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tc>
                <a:tc>
                  <a:txBody>
                    <a:bodyPr/>
                    <a:lstStyle/>
                    <a:p>
                      <a:pPr algn="l">
                        <a:lnSpc>
                          <a:spcPct val="115000"/>
                        </a:lnSpc>
                        <a:spcAft>
                          <a:spcPts val="600"/>
                        </a:spcAft>
                      </a:pPr>
                      <a:r>
                        <a:rPr lang="en-US" sz="1200">
                          <a:effectLst/>
                          <a:latin typeface="Century Gothic" panose="020B0502020202020204" pitchFamily="34" charset="0"/>
                          <a:ea typeface="Calibri" panose="020F0502020204030204" pitchFamily="34" charset="0"/>
                          <a:cs typeface="Times New Roman" panose="02020603050405020304" pitchFamily="18" charset="0"/>
                        </a:rPr>
                        <a:t>Menengah Tinggi</a:t>
                      </a:r>
                      <a:endParaRPr lang="en-ID" sz="12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15000"/>
                        </a:lnSpc>
                        <a:spcAft>
                          <a:spcPts val="600"/>
                        </a:spcAft>
                      </a:pPr>
                      <a:r>
                        <a:rPr lang="en-US" sz="1200" b="1" dirty="0">
                          <a:effectLst/>
                          <a:latin typeface="Century Gothic" panose="020B0502020202020204" pitchFamily="34" charset="0"/>
                        </a:rPr>
                        <a:t>Kementerian PUPR</a:t>
                      </a:r>
                      <a:endParaRPr lang="en-ID" sz="12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tc>
                <a:tc>
                  <a:txBody>
                    <a:bodyPr/>
                    <a:lstStyle/>
                    <a:p>
                      <a:pPr algn="l">
                        <a:lnSpc>
                          <a:spcPct val="115000"/>
                        </a:lnSpc>
                        <a:spcAft>
                          <a:spcPts val="600"/>
                        </a:spcAft>
                      </a:pPr>
                      <a:r>
                        <a:rPr lang="en-US" sz="1200" dirty="0">
                          <a:effectLst/>
                          <a:latin typeface="Century Gothic" panose="020B0502020202020204" pitchFamily="34" charset="0"/>
                        </a:rPr>
                        <a:t>Sedang </a:t>
                      </a:r>
                      <a:r>
                        <a:rPr lang="en-US" sz="1200" dirty="0" err="1">
                          <a:effectLst/>
                          <a:latin typeface="Century Gothic" panose="020B0502020202020204" pitchFamily="34" charset="0"/>
                        </a:rPr>
                        <a:t>disusun</a:t>
                      </a:r>
                      <a:r>
                        <a:rPr lang="en-US" sz="1200" dirty="0">
                          <a:effectLst/>
                          <a:latin typeface="Century Gothic" panose="020B0502020202020204" pitchFamily="34" charset="0"/>
                        </a:rPr>
                        <a:t> </a:t>
                      </a:r>
                      <a:r>
                        <a:rPr lang="en-US" sz="1200" dirty="0" err="1">
                          <a:effectLst/>
                          <a:latin typeface="Century Gothic" panose="020B0502020202020204" pitchFamily="34" charset="0"/>
                        </a:rPr>
                        <a:t>analisis</a:t>
                      </a:r>
                      <a:r>
                        <a:rPr lang="en-US" sz="1200" dirty="0">
                          <a:effectLst/>
                          <a:latin typeface="Century Gothic" panose="020B0502020202020204" pitchFamily="34" charset="0"/>
                        </a:rPr>
                        <a:t> </a:t>
                      </a:r>
                      <a:r>
                        <a:rPr lang="en-US" sz="1200" dirty="0" err="1">
                          <a:effectLst/>
                          <a:latin typeface="Century Gothic" panose="020B0502020202020204" pitchFamily="34" charset="0"/>
                        </a:rPr>
                        <a:t>tingkat</a:t>
                      </a:r>
                      <a:r>
                        <a:rPr lang="en-US" sz="1200" dirty="0">
                          <a:effectLst/>
                          <a:latin typeface="Century Gothic" panose="020B0502020202020204" pitchFamily="34" charset="0"/>
                        </a:rPr>
                        <a:t> </a:t>
                      </a:r>
                      <a:r>
                        <a:rPr lang="en-US" sz="1200" dirty="0" err="1">
                          <a:effectLst/>
                          <a:latin typeface="Century Gothic" panose="020B0502020202020204" pitchFamily="34" charset="0"/>
                        </a:rPr>
                        <a:t>risiko</a:t>
                      </a:r>
                      <a:endParaRPr lang="en-ID" sz="12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tc>
                <a:extLst>
                  <a:ext uri="{0D108BD9-81ED-4DB2-BD59-A6C34878D82A}">
                    <a16:rowId xmlns:a16="http://schemas.microsoft.com/office/drawing/2014/main" val="2773027851"/>
                  </a:ext>
                </a:extLst>
              </a:tr>
              <a:tr h="626137">
                <a:tc>
                  <a:txBody>
                    <a:bodyPr/>
                    <a:lstStyle/>
                    <a:p>
                      <a:pPr algn="ctr">
                        <a:lnSpc>
                          <a:spcPct val="115000"/>
                        </a:lnSpc>
                        <a:spcAft>
                          <a:spcPts val="600"/>
                        </a:spcAft>
                      </a:pPr>
                      <a:r>
                        <a:rPr lang="en-US" sz="1200" dirty="0">
                          <a:effectLst/>
                          <a:latin typeface="Century Gothic" panose="020B0502020202020204" pitchFamily="34" charset="0"/>
                        </a:rPr>
                        <a:t>96910</a:t>
                      </a:r>
                      <a:endParaRPr lang="en-ID" sz="12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solidFill>
                      <a:schemeClr val="accent1">
                        <a:lumMod val="50000"/>
                      </a:schemeClr>
                    </a:solidFill>
                  </a:tcPr>
                </a:tc>
                <a:tc>
                  <a:txBody>
                    <a:bodyPr/>
                    <a:lstStyle/>
                    <a:p>
                      <a:pPr algn="l">
                        <a:lnSpc>
                          <a:spcPct val="115000"/>
                        </a:lnSpc>
                        <a:spcAft>
                          <a:spcPts val="600"/>
                        </a:spcAft>
                      </a:pPr>
                      <a:r>
                        <a:rPr lang="en-US" sz="1200" b="1" dirty="0" err="1">
                          <a:effectLst/>
                          <a:latin typeface="Century Gothic" panose="020B0502020202020204" pitchFamily="34" charset="0"/>
                        </a:rPr>
                        <a:t>Aktivitas</a:t>
                      </a:r>
                      <a:r>
                        <a:rPr lang="en-US" sz="1200" b="1" dirty="0">
                          <a:effectLst/>
                          <a:latin typeface="Century Gothic" panose="020B0502020202020204" pitchFamily="34" charset="0"/>
                        </a:rPr>
                        <a:t> </a:t>
                      </a:r>
                      <a:r>
                        <a:rPr lang="en-US" sz="1200" b="1" dirty="0" err="1">
                          <a:effectLst/>
                          <a:latin typeface="Century Gothic" panose="020B0502020202020204" pitchFamily="34" charset="0"/>
                        </a:rPr>
                        <a:t>Pemakaman</a:t>
                      </a:r>
                      <a:r>
                        <a:rPr lang="en-US" sz="1200" b="1" dirty="0">
                          <a:effectLst/>
                          <a:latin typeface="Century Gothic" panose="020B0502020202020204" pitchFamily="34" charset="0"/>
                        </a:rPr>
                        <a:t> dan </a:t>
                      </a:r>
                      <a:r>
                        <a:rPr lang="en-US" sz="1200" b="1" dirty="0" err="1">
                          <a:effectLst/>
                          <a:latin typeface="Century Gothic" panose="020B0502020202020204" pitchFamily="34" charset="0"/>
                        </a:rPr>
                        <a:t>Kegiatan</a:t>
                      </a:r>
                      <a:r>
                        <a:rPr lang="en-US" sz="1200" b="1" dirty="0">
                          <a:effectLst/>
                          <a:latin typeface="Century Gothic" panose="020B0502020202020204" pitchFamily="34" charset="0"/>
                        </a:rPr>
                        <a:t> </a:t>
                      </a:r>
                      <a:r>
                        <a:rPr lang="en-US" sz="1200" b="1" dirty="0" err="1">
                          <a:effectLst/>
                          <a:latin typeface="Century Gothic" panose="020B0502020202020204" pitchFamily="34" charset="0"/>
                        </a:rPr>
                        <a:t>Ybdi</a:t>
                      </a:r>
                      <a:endParaRPr lang="en-US" sz="1200" b="1" dirty="0">
                        <a:effectLst/>
                        <a:latin typeface="Century Gothic" panose="020B0502020202020204" pitchFamily="34" charset="0"/>
                      </a:endParaRPr>
                    </a:p>
                    <a:p>
                      <a:pPr algn="l">
                        <a:lnSpc>
                          <a:spcPct val="115000"/>
                        </a:lnSpc>
                        <a:spcAft>
                          <a:spcPts val="600"/>
                        </a:spcAft>
                      </a:pPr>
                      <a:endParaRPr lang="en-ID" sz="12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tc>
                <a:tc>
                  <a:txBody>
                    <a:bodyPr/>
                    <a:lstStyle/>
                    <a:p>
                      <a:pPr algn="l">
                        <a:lnSpc>
                          <a:spcPct val="115000"/>
                        </a:lnSpc>
                        <a:spcAft>
                          <a:spcPts val="600"/>
                        </a:spcAft>
                      </a:pPr>
                      <a:r>
                        <a:rPr lang="en-US" sz="1200" dirty="0">
                          <a:effectLst/>
                          <a:latin typeface="Century Gothic" panose="020B0502020202020204" pitchFamily="34" charset="0"/>
                          <a:ea typeface="Calibri" panose="020F0502020204030204" pitchFamily="34" charset="0"/>
                          <a:cs typeface="Times New Roman" panose="02020603050405020304" pitchFamily="18" charset="0"/>
                        </a:rPr>
                        <a:t>-</a:t>
                      </a:r>
                      <a:endParaRPr lang="en-ID" sz="12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15000"/>
                        </a:lnSpc>
                        <a:spcAft>
                          <a:spcPts val="600"/>
                        </a:spcAft>
                      </a:pPr>
                      <a:r>
                        <a:rPr lang="en-US" sz="1200">
                          <a:effectLst/>
                          <a:latin typeface="Century Gothic" panose="020B0502020202020204" pitchFamily="34" charset="0"/>
                        </a:rPr>
                        <a:t>Kementerian Dalam Negeri</a:t>
                      </a:r>
                      <a:endParaRPr lang="en-ID" sz="120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tc>
                <a:tc>
                  <a:txBody>
                    <a:bodyPr/>
                    <a:lstStyle/>
                    <a:p>
                      <a:pPr algn="l">
                        <a:lnSpc>
                          <a:spcPct val="115000"/>
                        </a:lnSpc>
                        <a:spcAft>
                          <a:spcPts val="600"/>
                        </a:spcAft>
                      </a:pPr>
                      <a:r>
                        <a:rPr lang="en-US" sz="1200">
                          <a:effectLst/>
                          <a:latin typeface="Century Gothic" panose="020B0502020202020204" pitchFamily="34" charset="0"/>
                        </a:rPr>
                        <a:t>-</a:t>
                      </a:r>
                      <a:endParaRPr lang="en-ID" sz="120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tc>
                <a:extLst>
                  <a:ext uri="{0D108BD9-81ED-4DB2-BD59-A6C34878D82A}">
                    <a16:rowId xmlns:a16="http://schemas.microsoft.com/office/drawing/2014/main" val="4075448664"/>
                  </a:ext>
                </a:extLst>
              </a:tr>
              <a:tr h="626137">
                <a:tc>
                  <a:txBody>
                    <a:bodyPr/>
                    <a:lstStyle/>
                    <a:p>
                      <a:pPr algn="ctr">
                        <a:lnSpc>
                          <a:spcPct val="115000"/>
                        </a:lnSpc>
                        <a:spcAft>
                          <a:spcPts val="600"/>
                        </a:spcAft>
                      </a:pPr>
                      <a:r>
                        <a:rPr lang="en-US" sz="1200" dirty="0">
                          <a:effectLst/>
                          <a:latin typeface="Century Gothic" panose="020B0502020202020204" pitchFamily="34" charset="0"/>
                        </a:rPr>
                        <a:t>36001</a:t>
                      </a:r>
                      <a:endParaRPr lang="en-ID" sz="12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solidFill>
                      <a:schemeClr val="accent1">
                        <a:lumMod val="50000"/>
                      </a:schemeClr>
                    </a:solidFill>
                  </a:tcPr>
                </a:tc>
                <a:tc>
                  <a:txBody>
                    <a:bodyPr/>
                    <a:lstStyle/>
                    <a:p>
                      <a:pPr algn="l">
                        <a:lnSpc>
                          <a:spcPct val="115000"/>
                        </a:lnSpc>
                        <a:spcAft>
                          <a:spcPts val="600"/>
                        </a:spcAft>
                      </a:pPr>
                      <a:r>
                        <a:rPr lang="en-US" sz="1200" b="1" dirty="0" err="1">
                          <a:effectLst/>
                          <a:latin typeface="Century Gothic" panose="020B0502020202020204" pitchFamily="34" charset="0"/>
                        </a:rPr>
                        <a:t>Penampungan</a:t>
                      </a:r>
                      <a:r>
                        <a:rPr lang="en-US" sz="1200" b="1" dirty="0">
                          <a:effectLst/>
                          <a:latin typeface="Century Gothic" panose="020B0502020202020204" pitchFamily="34" charset="0"/>
                        </a:rPr>
                        <a:t>, </a:t>
                      </a:r>
                      <a:r>
                        <a:rPr lang="en-US" sz="1200" b="1" dirty="0" err="1">
                          <a:effectLst/>
                          <a:latin typeface="Century Gothic" panose="020B0502020202020204" pitchFamily="34" charset="0"/>
                        </a:rPr>
                        <a:t>Penjernihan</a:t>
                      </a:r>
                      <a:r>
                        <a:rPr lang="en-US" sz="1200" b="1" dirty="0">
                          <a:effectLst/>
                          <a:latin typeface="Century Gothic" panose="020B0502020202020204" pitchFamily="34" charset="0"/>
                        </a:rPr>
                        <a:t> dan </a:t>
                      </a:r>
                      <a:r>
                        <a:rPr lang="en-US" sz="1200" b="1" dirty="0" err="1">
                          <a:effectLst/>
                          <a:latin typeface="Century Gothic" panose="020B0502020202020204" pitchFamily="34" charset="0"/>
                        </a:rPr>
                        <a:t>Penyaluran</a:t>
                      </a:r>
                      <a:r>
                        <a:rPr lang="en-US" sz="1200" b="1" dirty="0">
                          <a:effectLst/>
                          <a:latin typeface="Century Gothic" panose="020B0502020202020204" pitchFamily="34" charset="0"/>
                        </a:rPr>
                        <a:t> Air </a:t>
                      </a:r>
                      <a:r>
                        <a:rPr lang="en-US" sz="1200" b="1" dirty="0" err="1">
                          <a:effectLst/>
                          <a:latin typeface="Century Gothic" panose="020B0502020202020204" pitchFamily="34" charset="0"/>
                        </a:rPr>
                        <a:t>Minum</a:t>
                      </a:r>
                      <a:endParaRPr lang="en-US" sz="1200" b="1" dirty="0">
                        <a:effectLst/>
                        <a:latin typeface="Century Gothic" panose="020B0502020202020204" pitchFamily="34" charset="0"/>
                      </a:endParaRPr>
                    </a:p>
                    <a:p>
                      <a:pPr algn="l">
                        <a:lnSpc>
                          <a:spcPct val="115000"/>
                        </a:lnSpc>
                        <a:spcAft>
                          <a:spcPts val="600"/>
                        </a:spcAft>
                      </a:pPr>
                      <a:endParaRPr lang="en-ID" sz="12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tc>
                <a:tc>
                  <a:txBody>
                    <a:bodyPr/>
                    <a:lstStyle/>
                    <a:p>
                      <a:pPr algn="l">
                        <a:lnSpc>
                          <a:spcPct val="115000"/>
                        </a:lnSpc>
                        <a:spcAft>
                          <a:spcPts val="600"/>
                        </a:spcAft>
                      </a:pPr>
                      <a:r>
                        <a:rPr lang="en-US" sz="1200">
                          <a:effectLst/>
                          <a:latin typeface="Century Gothic" panose="020B0502020202020204" pitchFamily="34" charset="0"/>
                          <a:ea typeface="Calibri" panose="020F0502020204030204" pitchFamily="34" charset="0"/>
                          <a:cs typeface="Times New Roman" panose="02020603050405020304" pitchFamily="18" charset="0"/>
                        </a:rPr>
                        <a:t>Menengah Rendah</a:t>
                      </a:r>
                      <a:endParaRPr lang="en-ID" sz="12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15000"/>
                        </a:lnSpc>
                        <a:spcAft>
                          <a:spcPts val="600"/>
                        </a:spcAft>
                      </a:pPr>
                      <a:r>
                        <a:rPr lang="en-US" sz="1200" b="1" dirty="0">
                          <a:effectLst/>
                          <a:latin typeface="Century Gothic" panose="020B0502020202020204" pitchFamily="34" charset="0"/>
                        </a:rPr>
                        <a:t>Kementerian PUPR</a:t>
                      </a:r>
                      <a:endParaRPr lang="en-ID" sz="12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tc>
                <a:tc>
                  <a:txBody>
                    <a:bodyPr/>
                    <a:lstStyle/>
                    <a:p>
                      <a:pPr algn="l">
                        <a:lnSpc>
                          <a:spcPct val="115000"/>
                        </a:lnSpc>
                        <a:spcAft>
                          <a:spcPts val="600"/>
                        </a:spcAft>
                      </a:pPr>
                      <a:r>
                        <a:rPr lang="en-US" sz="1200" dirty="0">
                          <a:effectLst/>
                          <a:latin typeface="Century Gothic" panose="020B0502020202020204" pitchFamily="34" charset="0"/>
                        </a:rPr>
                        <a:t>Sedang </a:t>
                      </a:r>
                      <a:r>
                        <a:rPr lang="en-US" sz="1200" dirty="0" err="1">
                          <a:effectLst/>
                          <a:latin typeface="Century Gothic" panose="020B0502020202020204" pitchFamily="34" charset="0"/>
                        </a:rPr>
                        <a:t>disusun</a:t>
                      </a:r>
                      <a:r>
                        <a:rPr lang="en-US" sz="1200" dirty="0">
                          <a:effectLst/>
                          <a:latin typeface="Century Gothic" panose="020B0502020202020204" pitchFamily="34" charset="0"/>
                        </a:rPr>
                        <a:t> </a:t>
                      </a:r>
                      <a:r>
                        <a:rPr lang="en-US" sz="1200" dirty="0" err="1">
                          <a:effectLst/>
                          <a:latin typeface="Century Gothic" panose="020B0502020202020204" pitchFamily="34" charset="0"/>
                        </a:rPr>
                        <a:t>analisis</a:t>
                      </a:r>
                      <a:r>
                        <a:rPr lang="en-US" sz="1200" dirty="0">
                          <a:effectLst/>
                          <a:latin typeface="Century Gothic" panose="020B0502020202020204" pitchFamily="34" charset="0"/>
                        </a:rPr>
                        <a:t> </a:t>
                      </a:r>
                      <a:r>
                        <a:rPr lang="en-US" sz="1200" dirty="0" err="1">
                          <a:effectLst/>
                          <a:latin typeface="Century Gothic" panose="020B0502020202020204" pitchFamily="34" charset="0"/>
                        </a:rPr>
                        <a:t>tingkat</a:t>
                      </a:r>
                      <a:r>
                        <a:rPr lang="en-US" sz="1200" dirty="0">
                          <a:effectLst/>
                          <a:latin typeface="Century Gothic" panose="020B0502020202020204" pitchFamily="34" charset="0"/>
                        </a:rPr>
                        <a:t> </a:t>
                      </a:r>
                      <a:r>
                        <a:rPr lang="en-US" sz="1200" dirty="0" err="1">
                          <a:effectLst/>
                          <a:latin typeface="Century Gothic" panose="020B0502020202020204" pitchFamily="34" charset="0"/>
                        </a:rPr>
                        <a:t>risiko</a:t>
                      </a:r>
                      <a:endParaRPr lang="en-ID" sz="12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tc>
                <a:extLst>
                  <a:ext uri="{0D108BD9-81ED-4DB2-BD59-A6C34878D82A}">
                    <a16:rowId xmlns:a16="http://schemas.microsoft.com/office/drawing/2014/main" val="2004372806"/>
                  </a:ext>
                </a:extLst>
              </a:tr>
              <a:tr h="626137">
                <a:tc>
                  <a:txBody>
                    <a:bodyPr/>
                    <a:lstStyle/>
                    <a:p>
                      <a:pPr algn="ctr">
                        <a:lnSpc>
                          <a:spcPct val="115000"/>
                        </a:lnSpc>
                        <a:spcAft>
                          <a:spcPts val="600"/>
                        </a:spcAft>
                      </a:pPr>
                      <a:r>
                        <a:rPr lang="en-US" sz="1200" dirty="0">
                          <a:effectLst/>
                          <a:latin typeface="Century Gothic" panose="020B0502020202020204" pitchFamily="34" charset="0"/>
                        </a:rPr>
                        <a:t>36002</a:t>
                      </a:r>
                      <a:endParaRPr lang="en-ID" sz="12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solidFill>
                      <a:schemeClr val="accent1">
                        <a:lumMod val="50000"/>
                      </a:schemeClr>
                    </a:solidFill>
                  </a:tcPr>
                </a:tc>
                <a:tc>
                  <a:txBody>
                    <a:bodyPr/>
                    <a:lstStyle/>
                    <a:p>
                      <a:pPr algn="l">
                        <a:lnSpc>
                          <a:spcPct val="115000"/>
                        </a:lnSpc>
                        <a:spcAft>
                          <a:spcPts val="600"/>
                        </a:spcAft>
                      </a:pPr>
                      <a:r>
                        <a:rPr lang="en-US" sz="1200" b="1" dirty="0" err="1">
                          <a:effectLst/>
                          <a:latin typeface="Century Gothic" panose="020B0502020202020204" pitchFamily="34" charset="0"/>
                        </a:rPr>
                        <a:t>Penampungan</a:t>
                      </a:r>
                      <a:r>
                        <a:rPr lang="en-US" sz="1200" b="1" dirty="0">
                          <a:effectLst/>
                          <a:latin typeface="Century Gothic" panose="020B0502020202020204" pitchFamily="34" charset="0"/>
                        </a:rPr>
                        <a:t> dan </a:t>
                      </a:r>
                      <a:r>
                        <a:rPr lang="en-US" sz="1200" b="1" dirty="0" err="1">
                          <a:effectLst/>
                          <a:latin typeface="Century Gothic" panose="020B0502020202020204" pitchFamily="34" charset="0"/>
                        </a:rPr>
                        <a:t>Penyaluran</a:t>
                      </a:r>
                      <a:r>
                        <a:rPr lang="en-US" sz="1200" b="1" dirty="0">
                          <a:effectLst/>
                          <a:latin typeface="Century Gothic" panose="020B0502020202020204" pitchFamily="34" charset="0"/>
                        </a:rPr>
                        <a:t> Air Baku</a:t>
                      </a:r>
                    </a:p>
                    <a:p>
                      <a:pPr algn="l">
                        <a:lnSpc>
                          <a:spcPct val="115000"/>
                        </a:lnSpc>
                        <a:spcAft>
                          <a:spcPts val="600"/>
                        </a:spcAft>
                      </a:pPr>
                      <a:endParaRPr lang="en-ID" sz="12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tc>
                <a:tc>
                  <a:txBody>
                    <a:bodyPr/>
                    <a:lstStyle/>
                    <a:p>
                      <a:pPr algn="l">
                        <a:lnSpc>
                          <a:spcPct val="115000"/>
                        </a:lnSpc>
                        <a:spcAft>
                          <a:spcPts val="600"/>
                        </a:spcAft>
                      </a:pPr>
                      <a:r>
                        <a:rPr lang="en-US" sz="1200">
                          <a:effectLst/>
                          <a:latin typeface="Century Gothic" panose="020B0502020202020204" pitchFamily="34" charset="0"/>
                          <a:ea typeface="Calibri" panose="020F0502020204030204" pitchFamily="34" charset="0"/>
                          <a:cs typeface="Times New Roman" panose="02020603050405020304" pitchFamily="18" charset="0"/>
                        </a:rPr>
                        <a:t>Menengah Tinggi</a:t>
                      </a:r>
                      <a:endParaRPr lang="en-ID" sz="12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15000"/>
                        </a:lnSpc>
                        <a:spcAft>
                          <a:spcPts val="600"/>
                        </a:spcAft>
                      </a:pPr>
                      <a:r>
                        <a:rPr lang="en-US" sz="1200" b="1" dirty="0">
                          <a:effectLst/>
                          <a:latin typeface="Century Gothic" panose="020B0502020202020204" pitchFamily="34" charset="0"/>
                        </a:rPr>
                        <a:t>Kementerian PUPR</a:t>
                      </a:r>
                      <a:endParaRPr lang="en-ID" sz="12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tc>
                <a:tc>
                  <a:txBody>
                    <a:bodyPr/>
                    <a:lstStyle/>
                    <a:p>
                      <a:pPr algn="l">
                        <a:lnSpc>
                          <a:spcPct val="115000"/>
                        </a:lnSpc>
                        <a:spcAft>
                          <a:spcPts val="600"/>
                        </a:spcAft>
                      </a:pPr>
                      <a:r>
                        <a:rPr lang="en-US" sz="1200" dirty="0">
                          <a:effectLst/>
                          <a:latin typeface="Century Gothic" panose="020B0502020202020204" pitchFamily="34" charset="0"/>
                        </a:rPr>
                        <a:t>Sedang </a:t>
                      </a:r>
                      <a:r>
                        <a:rPr lang="en-US" sz="1200" dirty="0" err="1">
                          <a:effectLst/>
                          <a:latin typeface="Century Gothic" panose="020B0502020202020204" pitchFamily="34" charset="0"/>
                        </a:rPr>
                        <a:t>disusun</a:t>
                      </a:r>
                      <a:r>
                        <a:rPr lang="en-US" sz="1200" dirty="0">
                          <a:effectLst/>
                          <a:latin typeface="Century Gothic" panose="020B0502020202020204" pitchFamily="34" charset="0"/>
                        </a:rPr>
                        <a:t> </a:t>
                      </a:r>
                      <a:r>
                        <a:rPr lang="en-US" sz="1200" dirty="0" err="1">
                          <a:effectLst/>
                          <a:latin typeface="Century Gothic" panose="020B0502020202020204" pitchFamily="34" charset="0"/>
                        </a:rPr>
                        <a:t>analisis</a:t>
                      </a:r>
                      <a:r>
                        <a:rPr lang="en-US" sz="1200" dirty="0">
                          <a:effectLst/>
                          <a:latin typeface="Century Gothic" panose="020B0502020202020204" pitchFamily="34" charset="0"/>
                        </a:rPr>
                        <a:t> </a:t>
                      </a:r>
                      <a:r>
                        <a:rPr lang="en-US" sz="1200" dirty="0" err="1">
                          <a:effectLst/>
                          <a:latin typeface="Century Gothic" panose="020B0502020202020204" pitchFamily="34" charset="0"/>
                        </a:rPr>
                        <a:t>tingkat</a:t>
                      </a:r>
                      <a:r>
                        <a:rPr lang="en-US" sz="1200" dirty="0">
                          <a:effectLst/>
                          <a:latin typeface="Century Gothic" panose="020B0502020202020204" pitchFamily="34" charset="0"/>
                        </a:rPr>
                        <a:t> </a:t>
                      </a:r>
                      <a:r>
                        <a:rPr lang="en-US" sz="1200" dirty="0" err="1">
                          <a:effectLst/>
                          <a:latin typeface="Century Gothic" panose="020B0502020202020204" pitchFamily="34" charset="0"/>
                        </a:rPr>
                        <a:t>risiko</a:t>
                      </a:r>
                      <a:endParaRPr lang="en-ID" sz="12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tc>
                <a:extLst>
                  <a:ext uri="{0D108BD9-81ED-4DB2-BD59-A6C34878D82A}">
                    <a16:rowId xmlns:a16="http://schemas.microsoft.com/office/drawing/2014/main" val="294322654"/>
                  </a:ext>
                </a:extLst>
              </a:tr>
              <a:tr h="626137">
                <a:tc>
                  <a:txBody>
                    <a:bodyPr/>
                    <a:lstStyle/>
                    <a:p>
                      <a:pPr algn="ctr">
                        <a:lnSpc>
                          <a:spcPct val="115000"/>
                        </a:lnSpc>
                        <a:spcAft>
                          <a:spcPts val="600"/>
                        </a:spcAft>
                      </a:pPr>
                      <a:r>
                        <a:rPr lang="en-US" sz="1200" dirty="0">
                          <a:effectLst/>
                          <a:latin typeface="Century Gothic" panose="020B0502020202020204" pitchFamily="34" charset="0"/>
                        </a:rPr>
                        <a:t>36003</a:t>
                      </a:r>
                      <a:endParaRPr lang="en-ID" sz="12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solidFill>
                      <a:schemeClr val="accent1">
                        <a:lumMod val="50000"/>
                      </a:schemeClr>
                    </a:solidFill>
                  </a:tcPr>
                </a:tc>
                <a:tc>
                  <a:txBody>
                    <a:bodyPr/>
                    <a:lstStyle/>
                    <a:p>
                      <a:pPr algn="l">
                        <a:lnSpc>
                          <a:spcPct val="115000"/>
                        </a:lnSpc>
                        <a:spcAft>
                          <a:spcPts val="600"/>
                        </a:spcAft>
                      </a:pPr>
                      <a:r>
                        <a:rPr lang="en-US" sz="1200" b="1" dirty="0" err="1">
                          <a:effectLst/>
                          <a:latin typeface="Century Gothic" panose="020B0502020202020204" pitchFamily="34" charset="0"/>
                        </a:rPr>
                        <a:t>Aktivitas</a:t>
                      </a:r>
                      <a:r>
                        <a:rPr lang="en-US" sz="1200" b="1" dirty="0">
                          <a:effectLst/>
                          <a:latin typeface="Century Gothic" panose="020B0502020202020204" pitchFamily="34" charset="0"/>
                        </a:rPr>
                        <a:t> </a:t>
                      </a:r>
                      <a:r>
                        <a:rPr lang="en-US" sz="1200" b="1" dirty="0" err="1">
                          <a:effectLst/>
                          <a:latin typeface="Century Gothic" panose="020B0502020202020204" pitchFamily="34" charset="0"/>
                        </a:rPr>
                        <a:t>Penunjang</a:t>
                      </a:r>
                      <a:r>
                        <a:rPr lang="en-US" sz="1200" b="1" dirty="0">
                          <a:effectLst/>
                          <a:latin typeface="Century Gothic" panose="020B0502020202020204" pitchFamily="34" charset="0"/>
                        </a:rPr>
                        <a:t> Treatment Air</a:t>
                      </a:r>
                      <a:endParaRPr lang="en-ID" sz="1200" b="1" dirty="0">
                        <a:effectLst/>
                        <a:latin typeface="Century Gothic" panose="020B0502020202020204" pitchFamily="34" charset="0"/>
                        <a:cs typeface="Times New Roman" panose="02020603050405020304" pitchFamily="18" charset="0"/>
                      </a:endParaRPr>
                    </a:p>
                  </a:txBody>
                  <a:tcPr marL="59287" marR="59287" marT="0" marB="0"/>
                </a:tc>
                <a:tc>
                  <a:txBody>
                    <a:bodyPr/>
                    <a:lstStyle/>
                    <a:p>
                      <a:pPr algn="l">
                        <a:lnSpc>
                          <a:spcPct val="115000"/>
                        </a:lnSpc>
                        <a:spcAft>
                          <a:spcPts val="600"/>
                        </a:spcAft>
                      </a:pPr>
                      <a:r>
                        <a:rPr lang="en-US" sz="1200" dirty="0" err="1">
                          <a:effectLst/>
                          <a:latin typeface="Century Gothic" panose="020B0502020202020204" pitchFamily="34" charset="0"/>
                          <a:ea typeface="Calibri" panose="020F0502020204030204" pitchFamily="34" charset="0"/>
                          <a:cs typeface="Times New Roman" panose="02020603050405020304" pitchFamily="18" charset="0"/>
                        </a:rPr>
                        <a:t>Rendah</a:t>
                      </a:r>
                      <a:endParaRPr lang="en-ID" sz="12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15000"/>
                        </a:lnSpc>
                        <a:spcAft>
                          <a:spcPts val="600"/>
                        </a:spcAft>
                      </a:pPr>
                      <a:r>
                        <a:rPr lang="en-US" sz="1200" b="1" dirty="0">
                          <a:effectLst/>
                          <a:latin typeface="Century Gothic" panose="020B0502020202020204" pitchFamily="34" charset="0"/>
                        </a:rPr>
                        <a:t>Kementerian PUPR</a:t>
                      </a:r>
                      <a:endParaRPr lang="en-ID" sz="12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tc>
                <a:tc>
                  <a:txBody>
                    <a:bodyPr/>
                    <a:lstStyle/>
                    <a:p>
                      <a:pPr algn="l">
                        <a:lnSpc>
                          <a:spcPct val="115000"/>
                        </a:lnSpc>
                        <a:spcAft>
                          <a:spcPts val="600"/>
                        </a:spcAft>
                      </a:pPr>
                      <a:r>
                        <a:rPr lang="en-US" sz="1200" dirty="0">
                          <a:effectLst/>
                          <a:latin typeface="Century Gothic" panose="020B0502020202020204" pitchFamily="34" charset="0"/>
                        </a:rPr>
                        <a:t>Sedang </a:t>
                      </a:r>
                      <a:r>
                        <a:rPr lang="en-US" sz="1200" dirty="0" err="1">
                          <a:effectLst/>
                          <a:latin typeface="Century Gothic" panose="020B0502020202020204" pitchFamily="34" charset="0"/>
                        </a:rPr>
                        <a:t>disusun</a:t>
                      </a:r>
                      <a:r>
                        <a:rPr lang="en-US" sz="1200" dirty="0">
                          <a:effectLst/>
                          <a:latin typeface="Century Gothic" panose="020B0502020202020204" pitchFamily="34" charset="0"/>
                        </a:rPr>
                        <a:t> </a:t>
                      </a:r>
                      <a:r>
                        <a:rPr lang="en-US" sz="1200" dirty="0" err="1">
                          <a:effectLst/>
                          <a:latin typeface="Century Gothic" panose="020B0502020202020204" pitchFamily="34" charset="0"/>
                        </a:rPr>
                        <a:t>analisis</a:t>
                      </a:r>
                      <a:r>
                        <a:rPr lang="en-US" sz="1200" dirty="0">
                          <a:effectLst/>
                          <a:latin typeface="Century Gothic" panose="020B0502020202020204" pitchFamily="34" charset="0"/>
                        </a:rPr>
                        <a:t> </a:t>
                      </a:r>
                      <a:r>
                        <a:rPr lang="en-US" sz="1200" dirty="0" err="1">
                          <a:effectLst/>
                          <a:latin typeface="Century Gothic" panose="020B0502020202020204" pitchFamily="34" charset="0"/>
                        </a:rPr>
                        <a:t>tingkat</a:t>
                      </a:r>
                      <a:r>
                        <a:rPr lang="en-US" sz="1200" dirty="0">
                          <a:effectLst/>
                          <a:latin typeface="Century Gothic" panose="020B0502020202020204" pitchFamily="34" charset="0"/>
                        </a:rPr>
                        <a:t> </a:t>
                      </a:r>
                      <a:r>
                        <a:rPr lang="en-US" sz="1200" dirty="0" err="1">
                          <a:effectLst/>
                          <a:latin typeface="Century Gothic" panose="020B0502020202020204" pitchFamily="34" charset="0"/>
                        </a:rPr>
                        <a:t>risiko</a:t>
                      </a:r>
                      <a:endParaRPr lang="en-ID" sz="12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9287" marR="59287" marT="0" marB="0"/>
                </a:tc>
                <a:extLst>
                  <a:ext uri="{0D108BD9-81ED-4DB2-BD59-A6C34878D82A}">
                    <a16:rowId xmlns:a16="http://schemas.microsoft.com/office/drawing/2014/main" val="1492160648"/>
                  </a:ext>
                </a:extLst>
              </a:tr>
            </a:tbl>
          </a:graphicData>
        </a:graphic>
      </p:graphicFrame>
    </p:spTree>
    <p:extLst>
      <p:ext uri="{BB962C8B-B14F-4D97-AF65-F5344CB8AC3E}">
        <p14:creationId xmlns:p14="http://schemas.microsoft.com/office/powerpoint/2010/main" val="18034203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ounded Rectangle 113">
            <a:extLst>
              <a:ext uri="{FF2B5EF4-FFF2-40B4-BE49-F238E27FC236}">
                <a16:creationId xmlns:a16="http://schemas.microsoft.com/office/drawing/2014/main" id="{DBAF98AF-9FC6-D248-A7E9-90649194E5F0}"/>
              </a:ext>
            </a:extLst>
          </p:cNvPr>
          <p:cNvSpPr/>
          <p:nvPr/>
        </p:nvSpPr>
        <p:spPr>
          <a:xfrm>
            <a:off x="1461176" y="2212581"/>
            <a:ext cx="9860152" cy="4348108"/>
          </a:xfrm>
          <a:prstGeom prst="roundRect">
            <a:avLst>
              <a:gd name="adj" fmla="val 5250"/>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1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39" name="TextBox 38">
            <a:extLst>
              <a:ext uri="{FF2B5EF4-FFF2-40B4-BE49-F238E27FC236}">
                <a16:creationId xmlns:a16="http://schemas.microsoft.com/office/drawing/2014/main" id="{6CE5D6FF-2EB6-084A-943E-D5FF592B46AE}"/>
              </a:ext>
            </a:extLst>
          </p:cNvPr>
          <p:cNvSpPr txBox="1"/>
          <p:nvPr/>
        </p:nvSpPr>
        <p:spPr>
          <a:xfrm>
            <a:off x="4133799" y="169968"/>
            <a:ext cx="3924408" cy="39780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985"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ENGAJUAN PERIZINAN BERUSAHA</a:t>
            </a:r>
          </a:p>
        </p:txBody>
      </p:sp>
      <p:sp>
        <p:nvSpPr>
          <p:cNvPr id="40" name="Shape 204">
            <a:extLst>
              <a:ext uri="{FF2B5EF4-FFF2-40B4-BE49-F238E27FC236}">
                <a16:creationId xmlns:a16="http://schemas.microsoft.com/office/drawing/2014/main" id="{06DD93BE-8CAC-CE4A-90F4-4FCC01F50E71}"/>
              </a:ext>
            </a:extLst>
          </p:cNvPr>
          <p:cNvSpPr/>
          <p:nvPr/>
        </p:nvSpPr>
        <p:spPr>
          <a:xfrm>
            <a:off x="2559113" y="3286244"/>
            <a:ext cx="1378559" cy="631045"/>
          </a:xfrm>
          <a:prstGeom prst="roundRect">
            <a:avLst>
              <a:gd name="adj" fmla="val 16667"/>
            </a:avLst>
          </a:prstGeom>
          <a:solidFill>
            <a:srgbClr val="00479B"/>
          </a:solidFill>
          <a:ln>
            <a:noFill/>
          </a:ln>
        </p:spPr>
        <p:txBody>
          <a:bodyPr lIns="100086" tIns="100086" rIns="100086" bIns="100086"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77"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PERMOHONAN PERIZINAN BERUSAHA</a:t>
            </a:r>
          </a:p>
        </p:txBody>
      </p:sp>
      <p:grpSp>
        <p:nvGrpSpPr>
          <p:cNvPr id="41" name="Group 40">
            <a:extLst>
              <a:ext uri="{FF2B5EF4-FFF2-40B4-BE49-F238E27FC236}">
                <a16:creationId xmlns:a16="http://schemas.microsoft.com/office/drawing/2014/main" id="{7B106B90-E7C3-004F-9470-673197593A97}"/>
              </a:ext>
            </a:extLst>
          </p:cNvPr>
          <p:cNvGrpSpPr/>
          <p:nvPr/>
        </p:nvGrpSpPr>
        <p:grpSpPr>
          <a:xfrm>
            <a:off x="312145" y="3223295"/>
            <a:ext cx="577076" cy="679841"/>
            <a:chOff x="3070225" y="3854450"/>
            <a:chExt cx="927100" cy="1092200"/>
          </a:xfrm>
          <a:solidFill>
            <a:srgbClr val="9B1F15"/>
          </a:solidFill>
        </p:grpSpPr>
        <p:sp>
          <p:nvSpPr>
            <p:cNvPr id="42" name="Freeform 286">
              <a:extLst>
                <a:ext uri="{FF2B5EF4-FFF2-40B4-BE49-F238E27FC236}">
                  <a16:creationId xmlns:a16="http://schemas.microsoft.com/office/drawing/2014/main" id="{C19D1ED7-A30D-874A-8A9D-BCC31847824B}"/>
                </a:ext>
              </a:extLst>
            </p:cNvPr>
            <p:cNvSpPr>
              <a:spLocks/>
            </p:cNvSpPr>
            <p:nvPr/>
          </p:nvSpPr>
          <p:spPr bwMode="auto">
            <a:xfrm>
              <a:off x="3730625" y="4164013"/>
              <a:ext cx="266700" cy="706437"/>
            </a:xfrm>
            <a:custGeom>
              <a:avLst/>
              <a:gdLst>
                <a:gd name="T0" fmla="*/ 50 w 239"/>
                <a:gd name="T1" fmla="*/ 0 h 632"/>
                <a:gd name="T2" fmla="*/ 33 w 239"/>
                <a:gd name="T3" fmla="*/ 10 h 632"/>
                <a:gd name="T4" fmla="*/ 54 w 239"/>
                <a:gd name="T5" fmla="*/ 73 h 632"/>
                <a:gd name="T6" fmla="*/ 54 w 239"/>
                <a:gd name="T7" fmla="*/ 347 h 632"/>
                <a:gd name="T8" fmla="*/ 0 w 239"/>
                <a:gd name="T9" fmla="*/ 418 h 632"/>
                <a:gd name="T10" fmla="*/ 0 w 239"/>
                <a:gd name="T11" fmla="*/ 631 h 632"/>
                <a:gd name="T12" fmla="*/ 6 w 239"/>
                <a:gd name="T13" fmla="*/ 632 h 632"/>
                <a:gd name="T14" fmla="*/ 64 w 239"/>
                <a:gd name="T15" fmla="*/ 632 h 632"/>
                <a:gd name="T16" fmla="*/ 124 w 239"/>
                <a:gd name="T17" fmla="*/ 632 h 632"/>
                <a:gd name="T18" fmla="*/ 175 w 239"/>
                <a:gd name="T19" fmla="*/ 632 h 632"/>
                <a:gd name="T20" fmla="*/ 192 w 239"/>
                <a:gd name="T21" fmla="*/ 615 h 632"/>
                <a:gd name="T22" fmla="*/ 192 w 239"/>
                <a:gd name="T23" fmla="*/ 335 h 632"/>
                <a:gd name="T24" fmla="*/ 228 w 239"/>
                <a:gd name="T25" fmla="*/ 335 h 632"/>
                <a:gd name="T26" fmla="*/ 239 w 239"/>
                <a:gd name="T27" fmla="*/ 323 h 632"/>
                <a:gd name="T28" fmla="*/ 239 w 239"/>
                <a:gd name="T29" fmla="*/ 84 h 632"/>
                <a:gd name="T30" fmla="*/ 218 w 239"/>
                <a:gd name="T31" fmla="*/ 49 h 632"/>
                <a:gd name="T32" fmla="*/ 131 w 239"/>
                <a:gd name="T33" fmla="*/ 0 h 632"/>
                <a:gd name="T34" fmla="*/ 50 w 239"/>
                <a:gd name="T35"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9" h="632">
                  <a:moveTo>
                    <a:pt x="50" y="0"/>
                  </a:moveTo>
                  <a:cubicBezTo>
                    <a:pt x="33" y="10"/>
                    <a:pt x="33" y="10"/>
                    <a:pt x="33" y="10"/>
                  </a:cubicBezTo>
                  <a:cubicBezTo>
                    <a:pt x="46" y="28"/>
                    <a:pt x="54" y="50"/>
                    <a:pt x="54" y="73"/>
                  </a:cubicBezTo>
                  <a:cubicBezTo>
                    <a:pt x="54" y="347"/>
                    <a:pt x="54" y="347"/>
                    <a:pt x="54" y="347"/>
                  </a:cubicBezTo>
                  <a:cubicBezTo>
                    <a:pt x="54" y="381"/>
                    <a:pt x="31" y="409"/>
                    <a:pt x="0" y="418"/>
                  </a:cubicBezTo>
                  <a:cubicBezTo>
                    <a:pt x="0" y="631"/>
                    <a:pt x="0" y="631"/>
                    <a:pt x="0" y="631"/>
                  </a:cubicBezTo>
                  <a:cubicBezTo>
                    <a:pt x="2" y="632"/>
                    <a:pt x="4" y="632"/>
                    <a:pt x="6" y="632"/>
                  </a:cubicBezTo>
                  <a:cubicBezTo>
                    <a:pt x="64" y="632"/>
                    <a:pt x="64" y="632"/>
                    <a:pt x="64" y="632"/>
                  </a:cubicBezTo>
                  <a:cubicBezTo>
                    <a:pt x="124" y="632"/>
                    <a:pt x="124" y="632"/>
                    <a:pt x="124" y="632"/>
                  </a:cubicBezTo>
                  <a:cubicBezTo>
                    <a:pt x="175" y="632"/>
                    <a:pt x="175" y="632"/>
                    <a:pt x="175" y="632"/>
                  </a:cubicBezTo>
                  <a:cubicBezTo>
                    <a:pt x="184" y="632"/>
                    <a:pt x="192" y="624"/>
                    <a:pt x="192" y="615"/>
                  </a:cubicBezTo>
                  <a:cubicBezTo>
                    <a:pt x="192" y="335"/>
                    <a:pt x="192" y="335"/>
                    <a:pt x="192" y="335"/>
                  </a:cubicBezTo>
                  <a:cubicBezTo>
                    <a:pt x="228" y="335"/>
                    <a:pt x="228" y="335"/>
                    <a:pt x="228" y="335"/>
                  </a:cubicBezTo>
                  <a:cubicBezTo>
                    <a:pt x="234" y="335"/>
                    <a:pt x="239" y="330"/>
                    <a:pt x="239" y="323"/>
                  </a:cubicBezTo>
                  <a:cubicBezTo>
                    <a:pt x="239" y="84"/>
                    <a:pt x="239" y="84"/>
                    <a:pt x="239" y="84"/>
                  </a:cubicBezTo>
                  <a:cubicBezTo>
                    <a:pt x="239" y="69"/>
                    <a:pt x="231" y="55"/>
                    <a:pt x="218" y="49"/>
                  </a:cubicBezTo>
                  <a:cubicBezTo>
                    <a:pt x="131" y="0"/>
                    <a:pt x="131" y="0"/>
                    <a:pt x="131" y="0"/>
                  </a:cubicBez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3" name="Oval 42">
              <a:extLst>
                <a:ext uri="{FF2B5EF4-FFF2-40B4-BE49-F238E27FC236}">
                  <a16:creationId xmlns:a16="http://schemas.microsoft.com/office/drawing/2014/main" id="{86293629-1D83-A740-A97E-6C0DF0413F36}"/>
                </a:ext>
              </a:extLst>
            </p:cNvPr>
            <p:cNvSpPr>
              <a:spLocks noChangeArrowheads="1"/>
            </p:cNvSpPr>
            <p:nvPr/>
          </p:nvSpPr>
          <p:spPr bwMode="auto">
            <a:xfrm>
              <a:off x="3735388" y="3913188"/>
              <a:ext cx="193675" cy="193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7" name="Freeform 288">
              <a:extLst>
                <a:ext uri="{FF2B5EF4-FFF2-40B4-BE49-F238E27FC236}">
                  <a16:creationId xmlns:a16="http://schemas.microsoft.com/office/drawing/2014/main" id="{C974E3FC-A3A2-CC48-9226-0804DF504905}"/>
                </a:ext>
              </a:extLst>
            </p:cNvPr>
            <p:cNvSpPr>
              <a:spLocks/>
            </p:cNvSpPr>
            <p:nvPr/>
          </p:nvSpPr>
          <p:spPr bwMode="auto">
            <a:xfrm>
              <a:off x="3070225" y="4164013"/>
              <a:ext cx="266700" cy="706437"/>
            </a:xfrm>
            <a:custGeom>
              <a:avLst/>
              <a:gdLst>
                <a:gd name="T0" fmla="*/ 11 w 239"/>
                <a:gd name="T1" fmla="*/ 335 h 632"/>
                <a:gd name="T2" fmla="*/ 47 w 239"/>
                <a:gd name="T3" fmla="*/ 335 h 632"/>
                <a:gd name="T4" fmla="*/ 47 w 239"/>
                <a:gd name="T5" fmla="*/ 615 h 632"/>
                <a:gd name="T6" fmla="*/ 65 w 239"/>
                <a:gd name="T7" fmla="*/ 632 h 632"/>
                <a:gd name="T8" fmla="*/ 115 w 239"/>
                <a:gd name="T9" fmla="*/ 632 h 632"/>
                <a:gd name="T10" fmla="*/ 175 w 239"/>
                <a:gd name="T11" fmla="*/ 632 h 632"/>
                <a:gd name="T12" fmla="*/ 233 w 239"/>
                <a:gd name="T13" fmla="*/ 632 h 632"/>
                <a:gd name="T14" fmla="*/ 239 w 239"/>
                <a:gd name="T15" fmla="*/ 631 h 632"/>
                <a:gd name="T16" fmla="*/ 239 w 239"/>
                <a:gd name="T17" fmla="*/ 418 h 632"/>
                <a:gd name="T18" fmla="*/ 186 w 239"/>
                <a:gd name="T19" fmla="*/ 347 h 632"/>
                <a:gd name="T20" fmla="*/ 186 w 239"/>
                <a:gd name="T21" fmla="*/ 73 h 632"/>
                <a:gd name="T22" fmla="*/ 207 w 239"/>
                <a:gd name="T23" fmla="*/ 10 h 632"/>
                <a:gd name="T24" fmla="*/ 189 w 239"/>
                <a:gd name="T25" fmla="*/ 0 h 632"/>
                <a:gd name="T26" fmla="*/ 108 w 239"/>
                <a:gd name="T27" fmla="*/ 0 h 632"/>
                <a:gd name="T28" fmla="*/ 22 w 239"/>
                <a:gd name="T29" fmla="*/ 49 h 632"/>
                <a:gd name="T30" fmla="*/ 0 w 239"/>
                <a:gd name="T31" fmla="*/ 84 h 632"/>
                <a:gd name="T32" fmla="*/ 0 w 239"/>
                <a:gd name="T33" fmla="*/ 323 h 632"/>
                <a:gd name="T34" fmla="*/ 11 w 239"/>
                <a:gd name="T35" fmla="*/ 335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9" h="632">
                  <a:moveTo>
                    <a:pt x="11" y="335"/>
                  </a:moveTo>
                  <a:cubicBezTo>
                    <a:pt x="47" y="335"/>
                    <a:pt x="47" y="335"/>
                    <a:pt x="47" y="335"/>
                  </a:cubicBezTo>
                  <a:cubicBezTo>
                    <a:pt x="47" y="615"/>
                    <a:pt x="47" y="615"/>
                    <a:pt x="47" y="615"/>
                  </a:cubicBezTo>
                  <a:cubicBezTo>
                    <a:pt x="47" y="624"/>
                    <a:pt x="55" y="632"/>
                    <a:pt x="65" y="632"/>
                  </a:cubicBezTo>
                  <a:cubicBezTo>
                    <a:pt x="115" y="632"/>
                    <a:pt x="115" y="632"/>
                    <a:pt x="115" y="632"/>
                  </a:cubicBezTo>
                  <a:cubicBezTo>
                    <a:pt x="175" y="632"/>
                    <a:pt x="175" y="632"/>
                    <a:pt x="175" y="632"/>
                  </a:cubicBezTo>
                  <a:cubicBezTo>
                    <a:pt x="233" y="632"/>
                    <a:pt x="233" y="632"/>
                    <a:pt x="233" y="632"/>
                  </a:cubicBezTo>
                  <a:cubicBezTo>
                    <a:pt x="235" y="632"/>
                    <a:pt x="237" y="632"/>
                    <a:pt x="239" y="631"/>
                  </a:cubicBezTo>
                  <a:cubicBezTo>
                    <a:pt x="239" y="418"/>
                    <a:pt x="239" y="418"/>
                    <a:pt x="239" y="418"/>
                  </a:cubicBezTo>
                  <a:cubicBezTo>
                    <a:pt x="208" y="409"/>
                    <a:pt x="186" y="381"/>
                    <a:pt x="186" y="347"/>
                  </a:cubicBezTo>
                  <a:cubicBezTo>
                    <a:pt x="186" y="73"/>
                    <a:pt x="186" y="73"/>
                    <a:pt x="186" y="73"/>
                  </a:cubicBezTo>
                  <a:cubicBezTo>
                    <a:pt x="186" y="50"/>
                    <a:pt x="193" y="28"/>
                    <a:pt x="207" y="10"/>
                  </a:cubicBezTo>
                  <a:cubicBezTo>
                    <a:pt x="189" y="0"/>
                    <a:pt x="189" y="0"/>
                    <a:pt x="189" y="0"/>
                  </a:cubicBezTo>
                  <a:cubicBezTo>
                    <a:pt x="108" y="0"/>
                    <a:pt x="108" y="0"/>
                    <a:pt x="108" y="0"/>
                  </a:cubicBezTo>
                  <a:cubicBezTo>
                    <a:pt x="22" y="49"/>
                    <a:pt x="22" y="49"/>
                    <a:pt x="22" y="49"/>
                  </a:cubicBezTo>
                  <a:cubicBezTo>
                    <a:pt x="8" y="55"/>
                    <a:pt x="0" y="69"/>
                    <a:pt x="0" y="84"/>
                  </a:cubicBezTo>
                  <a:cubicBezTo>
                    <a:pt x="0" y="323"/>
                    <a:pt x="0" y="323"/>
                    <a:pt x="0" y="323"/>
                  </a:cubicBezTo>
                  <a:cubicBezTo>
                    <a:pt x="0" y="330"/>
                    <a:pt x="5" y="335"/>
                    <a:pt x="11" y="3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8" name="Oval 23">
              <a:extLst>
                <a:ext uri="{FF2B5EF4-FFF2-40B4-BE49-F238E27FC236}">
                  <a16:creationId xmlns:a16="http://schemas.microsoft.com/office/drawing/2014/main" id="{9D3F5677-868D-0540-B1ED-3C30C8F8DCD0}"/>
                </a:ext>
              </a:extLst>
            </p:cNvPr>
            <p:cNvSpPr>
              <a:spLocks noChangeArrowheads="1"/>
            </p:cNvSpPr>
            <p:nvPr/>
          </p:nvSpPr>
          <p:spPr bwMode="auto">
            <a:xfrm>
              <a:off x="3138488" y="3913188"/>
              <a:ext cx="193675" cy="193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9" name="Freeform 24">
              <a:extLst>
                <a:ext uri="{FF2B5EF4-FFF2-40B4-BE49-F238E27FC236}">
                  <a16:creationId xmlns:a16="http://schemas.microsoft.com/office/drawing/2014/main" id="{A838ECCE-74A7-4F4F-BE51-25718FC47355}"/>
                </a:ext>
              </a:extLst>
            </p:cNvPr>
            <p:cNvSpPr>
              <a:spLocks/>
            </p:cNvSpPr>
            <p:nvPr/>
          </p:nvSpPr>
          <p:spPr bwMode="auto">
            <a:xfrm>
              <a:off x="3344863" y="4138613"/>
              <a:ext cx="379413" cy="808037"/>
            </a:xfrm>
            <a:custGeom>
              <a:avLst/>
              <a:gdLst>
                <a:gd name="T0" fmla="*/ 74 w 341"/>
                <a:gd name="T1" fmla="*/ 724 h 724"/>
                <a:gd name="T2" fmla="*/ 140 w 341"/>
                <a:gd name="T3" fmla="*/ 724 h 724"/>
                <a:gd name="T4" fmla="*/ 209 w 341"/>
                <a:gd name="T5" fmla="*/ 724 h 724"/>
                <a:gd name="T6" fmla="*/ 267 w 341"/>
                <a:gd name="T7" fmla="*/ 724 h 724"/>
                <a:gd name="T8" fmla="*/ 287 w 341"/>
                <a:gd name="T9" fmla="*/ 704 h 724"/>
                <a:gd name="T10" fmla="*/ 287 w 341"/>
                <a:gd name="T11" fmla="*/ 383 h 724"/>
                <a:gd name="T12" fmla="*/ 328 w 341"/>
                <a:gd name="T13" fmla="*/ 383 h 724"/>
                <a:gd name="T14" fmla="*/ 336 w 341"/>
                <a:gd name="T15" fmla="*/ 381 h 724"/>
                <a:gd name="T16" fmla="*/ 341 w 341"/>
                <a:gd name="T17" fmla="*/ 370 h 724"/>
                <a:gd name="T18" fmla="*/ 341 w 341"/>
                <a:gd name="T19" fmla="*/ 96 h 724"/>
                <a:gd name="T20" fmla="*/ 326 w 341"/>
                <a:gd name="T21" fmla="*/ 63 h 724"/>
                <a:gd name="T22" fmla="*/ 316 w 341"/>
                <a:gd name="T23" fmla="*/ 56 h 724"/>
                <a:gd name="T24" fmla="*/ 217 w 341"/>
                <a:gd name="T25" fmla="*/ 0 h 724"/>
                <a:gd name="T26" fmla="*/ 124 w 341"/>
                <a:gd name="T27" fmla="*/ 0 h 724"/>
                <a:gd name="T28" fmla="*/ 24 w 341"/>
                <a:gd name="T29" fmla="*/ 56 h 724"/>
                <a:gd name="T30" fmla="*/ 14 w 341"/>
                <a:gd name="T31" fmla="*/ 63 h 724"/>
                <a:gd name="T32" fmla="*/ 0 w 341"/>
                <a:gd name="T33" fmla="*/ 96 h 724"/>
                <a:gd name="T34" fmla="*/ 0 w 341"/>
                <a:gd name="T35" fmla="*/ 370 h 724"/>
                <a:gd name="T36" fmla="*/ 5 w 341"/>
                <a:gd name="T37" fmla="*/ 381 h 724"/>
                <a:gd name="T38" fmla="*/ 12 w 341"/>
                <a:gd name="T39" fmla="*/ 383 h 724"/>
                <a:gd name="T40" fmla="*/ 53 w 341"/>
                <a:gd name="T41" fmla="*/ 383 h 724"/>
                <a:gd name="T42" fmla="*/ 53 w 341"/>
                <a:gd name="T43" fmla="*/ 704 h 724"/>
                <a:gd name="T44" fmla="*/ 74 w 341"/>
                <a:gd name="T45" fmla="*/ 724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1" h="724">
                  <a:moveTo>
                    <a:pt x="74" y="724"/>
                  </a:moveTo>
                  <a:cubicBezTo>
                    <a:pt x="140" y="724"/>
                    <a:pt x="140" y="724"/>
                    <a:pt x="140" y="724"/>
                  </a:cubicBezTo>
                  <a:cubicBezTo>
                    <a:pt x="209" y="724"/>
                    <a:pt x="209" y="724"/>
                    <a:pt x="209" y="724"/>
                  </a:cubicBezTo>
                  <a:cubicBezTo>
                    <a:pt x="267" y="724"/>
                    <a:pt x="267" y="724"/>
                    <a:pt x="267" y="724"/>
                  </a:cubicBezTo>
                  <a:cubicBezTo>
                    <a:pt x="278" y="724"/>
                    <a:pt x="287" y="715"/>
                    <a:pt x="287" y="704"/>
                  </a:cubicBezTo>
                  <a:cubicBezTo>
                    <a:pt x="287" y="383"/>
                    <a:pt x="287" y="383"/>
                    <a:pt x="287" y="383"/>
                  </a:cubicBezTo>
                  <a:cubicBezTo>
                    <a:pt x="328" y="383"/>
                    <a:pt x="328" y="383"/>
                    <a:pt x="328" y="383"/>
                  </a:cubicBezTo>
                  <a:cubicBezTo>
                    <a:pt x="331" y="383"/>
                    <a:pt x="333" y="382"/>
                    <a:pt x="336" y="381"/>
                  </a:cubicBezTo>
                  <a:cubicBezTo>
                    <a:pt x="339" y="378"/>
                    <a:pt x="341" y="375"/>
                    <a:pt x="341" y="370"/>
                  </a:cubicBezTo>
                  <a:cubicBezTo>
                    <a:pt x="341" y="96"/>
                    <a:pt x="341" y="96"/>
                    <a:pt x="341" y="96"/>
                  </a:cubicBezTo>
                  <a:cubicBezTo>
                    <a:pt x="341" y="83"/>
                    <a:pt x="335" y="71"/>
                    <a:pt x="326" y="63"/>
                  </a:cubicBezTo>
                  <a:cubicBezTo>
                    <a:pt x="323" y="60"/>
                    <a:pt x="320" y="58"/>
                    <a:pt x="316" y="56"/>
                  </a:cubicBezTo>
                  <a:cubicBezTo>
                    <a:pt x="217" y="0"/>
                    <a:pt x="217" y="0"/>
                    <a:pt x="217" y="0"/>
                  </a:cubicBezTo>
                  <a:cubicBezTo>
                    <a:pt x="124" y="0"/>
                    <a:pt x="124" y="0"/>
                    <a:pt x="124" y="0"/>
                  </a:cubicBezTo>
                  <a:cubicBezTo>
                    <a:pt x="24" y="56"/>
                    <a:pt x="24" y="56"/>
                    <a:pt x="24" y="56"/>
                  </a:cubicBezTo>
                  <a:cubicBezTo>
                    <a:pt x="21" y="58"/>
                    <a:pt x="17" y="60"/>
                    <a:pt x="14" y="63"/>
                  </a:cubicBezTo>
                  <a:cubicBezTo>
                    <a:pt x="5" y="71"/>
                    <a:pt x="0" y="83"/>
                    <a:pt x="0" y="96"/>
                  </a:cubicBezTo>
                  <a:cubicBezTo>
                    <a:pt x="0" y="370"/>
                    <a:pt x="0" y="370"/>
                    <a:pt x="0" y="370"/>
                  </a:cubicBezTo>
                  <a:cubicBezTo>
                    <a:pt x="0" y="375"/>
                    <a:pt x="2" y="378"/>
                    <a:pt x="5" y="381"/>
                  </a:cubicBezTo>
                  <a:cubicBezTo>
                    <a:pt x="7" y="382"/>
                    <a:pt x="9" y="383"/>
                    <a:pt x="12" y="383"/>
                  </a:cubicBezTo>
                  <a:cubicBezTo>
                    <a:pt x="53" y="383"/>
                    <a:pt x="53" y="383"/>
                    <a:pt x="53" y="383"/>
                  </a:cubicBezTo>
                  <a:cubicBezTo>
                    <a:pt x="53" y="704"/>
                    <a:pt x="53" y="704"/>
                    <a:pt x="53" y="704"/>
                  </a:cubicBezTo>
                  <a:cubicBezTo>
                    <a:pt x="53" y="715"/>
                    <a:pt x="63" y="724"/>
                    <a:pt x="74" y="7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3" name="Freeform 25">
              <a:extLst>
                <a:ext uri="{FF2B5EF4-FFF2-40B4-BE49-F238E27FC236}">
                  <a16:creationId xmlns:a16="http://schemas.microsoft.com/office/drawing/2014/main" id="{E81C7273-16C5-2840-9B74-D9F561588475}"/>
                </a:ext>
              </a:extLst>
            </p:cNvPr>
            <p:cNvSpPr>
              <a:spLocks/>
            </p:cNvSpPr>
            <p:nvPr/>
          </p:nvSpPr>
          <p:spPr bwMode="auto">
            <a:xfrm>
              <a:off x="3422650" y="3854450"/>
              <a:ext cx="222250" cy="222250"/>
            </a:xfrm>
            <a:custGeom>
              <a:avLst/>
              <a:gdLst>
                <a:gd name="T0" fmla="*/ 99 w 199"/>
                <a:gd name="T1" fmla="*/ 198 h 198"/>
                <a:gd name="T2" fmla="*/ 128 w 199"/>
                <a:gd name="T3" fmla="*/ 194 h 198"/>
                <a:gd name="T4" fmla="*/ 199 w 199"/>
                <a:gd name="T5" fmla="*/ 99 h 198"/>
                <a:gd name="T6" fmla="*/ 99 w 199"/>
                <a:gd name="T7" fmla="*/ 0 h 198"/>
                <a:gd name="T8" fmla="*/ 0 w 199"/>
                <a:gd name="T9" fmla="*/ 99 h 198"/>
                <a:gd name="T10" fmla="*/ 70 w 199"/>
                <a:gd name="T11" fmla="*/ 194 h 198"/>
                <a:gd name="T12" fmla="*/ 99 w 199"/>
                <a:gd name="T13" fmla="*/ 198 h 198"/>
              </a:gdLst>
              <a:ahLst/>
              <a:cxnLst>
                <a:cxn ang="0">
                  <a:pos x="T0" y="T1"/>
                </a:cxn>
                <a:cxn ang="0">
                  <a:pos x="T2" y="T3"/>
                </a:cxn>
                <a:cxn ang="0">
                  <a:pos x="T4" y="T5"/>
                </a:cxn>
                <a:cxn ang="0">
                  <a:pos x="T6" y="T7"/>
                </a:cxn>
                <a:cxn ang="0">
                  <a:pos x="T8" y="T9"/>
                </a:cxn>
                <a:cxn ang="0">
                  <a:pos x="T10" y="T11"/>
                </a:cxn>
                <a:cxn ang="0">
                  <a:pos x="T12" y="T13"/>
                </a:cxn>
              </a:cxnLst>
              <a:rect l="0" t="0" r="r" b="b"/>
              <a:pathLst>
                <a:path w="199" h="198">
                  <a:moveTo>
                    <a:pt x="99" y="198"/>
                  </a:moveTo>
                  <a:cubicBezTo>
                    <a:pt x="109" y="198"/>
                    <a:pt x="119" y="197"/>
                    <a:pt x="128" y="194"/>
                  </a:cubicBezTo>
                  <a:cubicBezTo>
                    <a:pt x="169" y="182"/>
                    <a:pt x="199" y="144"/>
                    <a:pt x="199" y="99"/>
                  </a:cubicBezTo>
                  <a:cubicBezTo>
                    <a:pt x="199" y="44"/>
                    <a:pt x="154" y="0"/>
                    <a:pt x="99" y="0"/>
                  </a:cubicBezTo>
                  <a:cubicBezTo>
                    <a:pt x="44" y="0"/>
                    <a:pt x="0" y="44"/>
                    <a:pt x="0" y="99"/>
                  </a:cubicBezTo>
                  <a:cubicBezTo>
                    <a:pt x="0" y="144"/>
                    <a:pt x="29" y="182"/>
                    <a:pt x="70" y="194"/>
                  </a:cubicBezTo>
                  <a:cubicBezTo>
                    <a:pt x="79" y="197"/>
                    <a:pt x="89" y="198"/>
                    <a:pt x="99"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54" name="Shape 226">
            <a:extLst>
              <a:ext uri="{FF2B5EF4-FFF2-40B4-BE49-F238E27FC236}">
                <a16:creationId xmlns:a16="http://schemas.microsoft.com/office/drawing/2014/main" id="{9FFC09C1-23EE-1B4F-93B4-9BA45EB9B157}"/>
              </a:ext>
            </a:extLst>
          </p:cNvPr>
          <p:cNvSpPr txBox="1"/>
          <p:nvPr/>
        </p:nvSpPr>
        <p:spPr>
          <a:xfrm>
            <a:off x="129593" y="2636578"/>
            <a:ext cx="1012533" cy="417088"/>
          </a:xfrm>
          <a:prstGeom prst="rect">
            <a:avLst/>
          </a:prstGeom>
          <a:noFill/>
          <a:ln>
            <a:noFill/>
          </a:ln>
        </p:spPr>
        <p:txBody>
          <a:bodyPr lIns="100086" tIns="100086" rIns="100086" bIns="100086"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59" b="1" i="0" u="none" strike="noStrike" kern="1200" cap="none" spc="0" normalizeH="0" baseline="0" noProof="0" err="1">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rPr>
              <a:t>Pelaku</a:t>
            </a:r>
            <a:r>
              <a:rPr kumimoji="0" lang="en-US" sz="1459" b="1" i="0" u="none" strike="noStrike" kern="1200" cap="none" spc="0" normalizeH="0" baseline="0" noProof="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rPr>
              <a:t> Usaha</a:t>
            </a:r>
            <a:endParaRPr kumimoji="0" lang="en-US" sz="1277" b="1" i="0" u="none" strike="noStrike" kern="1200" cap="none" spc="0" normalizeH="0" baseline="0" noProof="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endParaRPr>
          </a:p>
        </p:txBody>
      </p:sp>
      <p:sp>
        <p:nvSpPr>
          <p:cNvPr id="55" name="Shape 204">
            <a:extLst>
              <a:ext uri="{FF2B5EF4-FFF2-40B4-BE49-F238E27FC236}">
                <a16:creationId xmlns:a16="http://schemas.microsoft.com/office/drawing/2014/main" id="{25E4F622-F0DF-BC44-A1AA-906CFB9B0869}"/>
              </a:ext>
            </a:extLst>
          </p:cNvPr>
          <p:cNvSpPr/>
          <p:nvPr/>
        </p:nvSpPr>
        <p:spPr>
          <a:xfrm>
            <a:off x="2559111" y="4565037"/>
            <a:ext cx="1378559" cy="631045"/>
          </a:xfrm>
          <a:prstGeom prst="roundRect">
            <a:avLst>
              <a:gd name="adj" fmla="val 16667"/>
            </a:avLst>
          </a:prstGeom>
          <a:solidFill>
            <a:schemeClr val="accent2">
              <a:lumMod val="60000"/>
              <a:lumOff val="40000"/>
            </a:schemeClr>
          </a:solidFill>
          <a:ln>
            <a:noFill/>
          </a:ln>
        </p:spPr>
        <p:txBody>
          <a:bodyPr lIns="100086" tIns="100086" rIns="100086" bIns="100086"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77"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ENGAJUA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77"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B-UMKU</a:t>
            </a:r>
          </a:p>
        </p:txBody>
      </p:sp>
      <p:sp>
        <p:nvSpPr>
          <p:cNvPr id="56" name="Shape 204">
            <a:extLst>
              <a:ext uri="{FF2B5EF4-FFF2-40B4-BE49-F238E27FC236}">
                <a16:creationId xmlns:a16="http://schemas.microsoft.com/office/drawing/2014/main" id="{6D56F0D0-8371-1145-B4D2-1AB78819C031}"/>
              </a:ext>
            </a:extLst>
          </p:cNvPr>
          <p:cNvSpPr/>
          <p:nvPr/>
        </p:nvSpPr>
        <p:spPr>
          <a:xfrm>
            <a:off x="4360775" y="3286244"/>
            <a:ext cx="1378559" cy="631045"/>
          </a:xfrm>
          <a:prstGeom prst="roundRect">
            <a:avLst>
              <a:gd name="adj" fmla="val 16667"/>
            </a:avLst>
          </a:prstGeom>
          <a:solidFill>
            <a:srgbClr val="00479B"/>
          </a:solidFill>
          <a:ln>
            <a:noFill/>
          </a:ln>
        </p:spPr>
        <p:txBody>
          <a:bodyPr lIns="100086" tIns="100086" rIns="100086" bIns="100086"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77"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PENGISIAN DATA DAN DOK</a:t>
            </a:r>
          </a:p>
        </p:txBody>
      </p:sp>
      <p:sp>
        <p:nvSpPr>
          <p:cNvPr id="58" name="Shape 204">
            <a:extLst>
              <a:ext uri="{FF2B5EF4-FFF2-40B4-BE49-F238E27FC236}">
                <a16:creationId xmlns:a16="http://schemas.microsoft.com/office/drawing/2014/main" id="{90EB6654-5024-6F48-B71F-8552F3964D80}"/>
              </a:ext>
            </a:extLst>
          </p:cNvPr>
          <p:cNvSpPr/>
          <p:nvPr/>
        </p:nvSpPr>
        <p:spPr>
          <a:xfrm>
            <a:off x="6013022" y="3286244"/>
            <a:ext cx="1493981" cy="631045"/>
          </a:xfrm>
          <a:prstGeom prst="roundRect">
            <a:avLst>
              <a:gd name="adj" fmla="val 16667"/>
            </a:avLst>
          </a:prstGeom>
          <a:solidFill>
            <a:srgbClr val="00479B"/>
          </a:solidFill>
          <a:ln>
            <a:noFill/>
          </a:ln>
        </p:spPr>
        <p:txBody>
          <a:bodyPr lIns="100086" tIns="100086" rIns="100086" bIns="100086"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UPLOAD</a:t>
            </a:r>
            <a:r>
              <a:rPr kumimoji="0" lang="en-US" sz="11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en-US" sz="11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PERSYARATAN</a:t>
            </a:r>
            <a:r>
              <a:rPr kumimoji="0" lang="en-US" sz="11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en-US" sz="1100" b="0"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STANDAR</a:t>
            </a:r>
            <a:r>
              <a:rPr kumimoji="0" lang="en-US" sz="11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AJUKAN PB- UMKU</a:t>
            </a:r>
          </a:p>
        </p:txBody>
      </p:sp>
      <p:cxnSp>
        <p:nvCxnSpPr>
          <p:cNvPr id="15" name="Straight Connector 14">
            <a:extLst>
              <a:ext uri="{FF2B5EF4-FFF2-40B4-BE49-F238E27FC236}">
                <a16:creationId xmlns:a16="http://schemas.microsoft.com/office/drawing/2014/main" id="{D4E341C2-A969-684B-8B56-93A972A4CB6F}"/>
              </a:ext>
            </a:extLst>
          </p:cNvPr>
          <p:cNvCxnSpPr/>
          <p:nvPr/>
        </p:nvCxnSpPr>
        <p:spPr>
          <a:xfrm>
            <a:off x="490440" y="1962454"/>
            <a:ext cx="11059991"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B3BF1ED8-839C-6340-9DA8-5243972E6744}"/>
              </a:ext>
            </a:extLst>
          </p:cNvPr>
          <p:cNvGrpSpPr/>
          <p:nvPr/>
        </p:nvGrpSpPr>
        <p:grpSpPr>
          <a:xfrm>
            <a:off x="9344371" y="3154283"/>
            <a:ext cx="703942" cy="894966"/>
            <a:chOff x="3333751" y="3948113"/>
            <a:chExt cx="631825" cy="803275"/>
          </a:xfrm>
          <a:solidFill>
            <a:schemeClr val="accent6">
              <a:lumMod val="50000"/>
            </a:schemeClr>
          </a:solidFill>
        </p:grpSpPr>
        <p:sp>
          <p:nvSpPr>
            <p:cNvPr id="69" name="Freeform 7">
              <a:extLst>
                <a:ext uri="{FF2B5EF4-FFF2-40B4-BE49-F238E27FC236}">
                  <a16:creationId xmlns:a16="http://schemas.microsoft.com/office/drawing/2014/main" id="{5002D962-A661-0045-A5B2-ABFC2149962A}"/>
                </a:ext>
              </a:extLst>
            </p:cNvPr>
            <p:cNvSpPr>
              <a:spLocks/>
            </p:cNvSpPr>
            <p:nvPr/>
          </p:nvSpPr>
          <p:spPr bwMode="auto">
            <a:xfrm>
              <a:off x="3343276" y="3954463"/>
              <a:ext cx="160338" cy="160337"/>
            </a:xfrm>
            <a:custGeom>
              <a:avLst/>
              <a:gdLst>
                <a:gd name="T0" fmla="*/ 101 w 101"/>
                <a:gd name="T1" fmla="*/ 0 h 101"/>
                <a:gd name="T2" fmla="*/ 101 w 101"/>
                <a:gd name="T3" fmla="*/ 101 h 101"/>
                <a:gd name="T4" fmla="*/ 0 w 101"/>
                <a:gd name="T5" fmla="*/ 101 h 101"/>
                <a:gd name="T6" fmla="*/ 101 w 101"/>
                <a:gd name="T7" fmla="*/ 0 h 101"/>
              </a:gdLst>
              <a:ahLst/>
              <a:cxnLst>
                <a:cxn ang="0">
                  <a:pos x="T0" y="T1"/>
                </a:cxn>
                <a:cxn ang="0">
                  <a:pos x="T2" y="T3"/>
                </a:cxn>
                <a:cxn ang="0">
                  <a:pos x="T4" y="T5"/>
                </a:cxn>
                <a:cxn ang="0">
                  <a:pos x="T6" y="T7"/>
                </a:cxn>
              </a:cxnLst>
              <a:rect l="0" t="0" r="r" b="b"/>
              <a:pathLst>
                <a:path w="101" h="101">
                  <a:moveTo>
                    <a:pt x="101" y="0"/>
                  </a:moveTo>
                  <a:lnTo>
                    <a:pt x="101" y="101"/>
                  </a:lnTo>
                  <a:lnTo>
                    <a:pt x="0" y="101"/>
                  </a:lnTo>
                  <a:lnTo>
                    <a:pt x="1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0" name="Freeform 8">
              <a:extLst>
                <a:ext uri="{FF2B5EF4-FFF2-40B4-BE49-F238E27FC236}">
                  <a16:creationId xmlns:a16="http://schemas.microsoft.com/office/drawing/2014/main" id="{EA774A88-43AF-024A-B8D0-44AB86A4898C}"/>
                </a:ext>
              </a:extLst>
            </p:cNvPr>
            <p:cNvSpPr>
              <a:spLocks/>
            </p:cNvSpPr>
            <p:nvPr/>
          </p:nvSpPr>
          <p:spPr bwMode="auto">
            <a:xfrm>
              <a:off x="3333751" y="4167188"/>
              <a:ext cx="250825" cy="468312"/>
            </a:xfrm>
            <a:custGeom>
              <a:avLst/>
              <a:gdLst>
                <a:gd name="T0" fmla="*/ 38 w 83"/>
                <a:gd name="T1" fmla="*/ 136 h 155"/>
                <a:gd name="T2" fmla="*/ 19 w 83"/>
                <a:gd name="T3" fmla="*/ 117 h 155"/>
                <a:gd name="T4" fmla="*/ 19 w 83"/>
                <a:gd name="T5" fmla="*/ 60 h 155"/>
                <a:gd name="T6" fmla="*/ 19 w 83"/>
                <a:gd name="T7" fmla="*/ 13 h 155"/>
                <a:gd name="T8" fmla="*/ 19 w 83"/>
                <a:gd name="T9" fmla="*/ 0 h 155"/>
                <a:gd name="T10" fmla="*/ 0 w 83"/>
                <a:gd name="T11" fmla="*/ 0 h 155"/>
                <a:gd name="T12" fmla="*/ 0 w 83"/>
                <a:gd name="T13" fmla="*/ 117 h 155"/>
                <a:gd name="T14" fmla="*/ 38 w 83"/>
                <a:gd name="T15" fmla="*/ 155 h 155"/>
                <a:gd name="T16" fmla="*/ 83 w 83"/>
                <a:gd name="T17" fmla="*/ 155 h 155"/>
                <a:gd name="T18" fmla="*/ 80 w 83"/>
                <a:gd name="T19" fmla="*/ 136 h 155"/>
                <a:gd name="T20" fmla="*/ 38 w 83"/>
                <a:gd name="T21" fmla="*/ 13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155">
                  <a:moveTo>
                    <a:pt x="38" y="136"/>
                  </a:moveTo>
                  <a:cubicBezTo>
                    <a:pt x="28" y="136"/>
                    <a:pt x="19" y="128"/>
                    <a:pt x="19" y="117"/>
                  </a:cubicBezTo>
                  <a:cubicBezTo>
                    <a:pt x="19" y="60"/>
                    <a:pt x="19" y="60"/>
                    <a:pt x="19" y="60"/>
                  </a:cubicBezTo>
                  <a:cubicBezTo>
                    <a:pt x="19" y="13"/>
                    <a:pt x="19" y="13"/>
                    <a:pt x="19" y="13"/>
                  </a:cubicBezTo>
                  <a:cubicBezTo>
                    <a:pt x="19" y="0"/>
                    <a:pt x="19" y="0"/>
                    <a:pt x="19" y="0"/>
                  </a:cubicBezTo>
                  <a:cubicBezTo>
                    <a:pt x="0" y="0"/>
                    <a:pt x="0" y="0"/>
                    <a:pt x="0" y="0"/>
                  </a:cubicBezTo>
                  <a:cubicBezTo>
                    <a:pt x="0" y="117"/>
                    <a:pt x="0" y="117"/>
                    <a:pt x="0" y="117"/>
                  </a:cubicBezTo>
                  <a:cubicBezTo>
                    <a:pt x="0" y="138"/>
                    <a:pt x="17" y="155"/>
                    <a:pt x="38" y="155"/>
                  </a:cubicBezTo>
                  <a:cubicBezTo>
                    <a:pt x="83" y="155"/>
                    <a:pt x="83" y="155"/>
                    <a:pt x="83" y="155"/>
                  </a:cubicBezTo>
                  <a:cubicBezTo>
                    <a:pt x="81" y="149"/>
                    <a:pt x="80" y="143"/>
                    <a:pt x="80" y="136"/>
                  </a:cubicBezTo>
                  <a:lnTo>
                    <a:pt x="38"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4" name="Freeform 9">
              <a:extLst>
                <a:ext uri="{FF2B5EF4-FFF2-40B4-BE49-F238E27FC236}">
                  <a16:creationId xmlns:a16="http://schemas.microsoft.com/office/drawing/2014/main" id="{B68B1FC4-4A6E-6141-BACF-A9A09AA2A852}"/>
                </a:ext>
              </a:extLst>
            </p:cNvPr>
            <p:cNvSpPr>
              <a:spLocks/>
            </p:cNvSpPr>
            <p:nvPr/>
          </p:nvSpPr>
          <p:spPr bwMode="auto">
            <a:xfrm>
              <a:off x="3551238" y="3948113"/>
              <a:ext cx="327025" cy="430212"/>
            </a:xfrm>
            <a:custGeom>
              <a:avLst/>
              <a:gdLst>
                <a:gd name="T0" fmla="*/ 108 w 108"/>
                <a:gd name="T1" fmla="*/ 37 h 142"/>
                <a:gd name="T2" fmla="*/ 71 w 108"/>
                <a:gd name="T3" fmla="*/ 0 h 142"/>
                <a:gd name="T4" fmla="*/ 0 w 108"/>
                <a:gd name="T5" fmla="*/ 0 h 142"/>
                <a:gd name="T6" fmla="*/ 0 w 108"/>
                <a:gd name="T7" fmla="*/ 19 h 142"/>
                <a:gd name="T8" fmla="*/ 23 w 108"/>
                <a:gd name="T9" fmla="*/ 19 h 142"/>
                <a:gd name="T10" fmla="*/ 71 w 108"/>
                <a:gd name="T11" fmla="*/ 19 h 142"/>
                <a:gd name="T12" fmla="*/ 89 w 108"/>
                <a:gd name="T13" fmla="*/ 37 h 142"/>
                <a:gd name="T14" fmla="*/ 89 w 108"/>
                <a:gd name="T15" fmla="*/ 137 h 142"/>
                <a:gd name="T16" fmla="*/ 108 w 108"/>
                <a:gd name="T17" fmla="*/ 142 h 142"/>
                <a:gd name="T18" fmla="*/ 108 w 108"/>
                <a:gd name="T19" fmla="*/ 3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42">
                  <a:moveTo>
                    <a:pt x="108" y="37"/>
                  </a:moveTo>
                  <a:cubicBezTo>
                    <a:pt x="108" y="17"/>
                    <a:pt x="91" y="0"/>
                    <a:pt x="71" y="0"/>
                  </a:cubicBezTo>
                  <a:cubicBezTo>
                    <a:pt x="0" y="0"/>
                    <a:pt x="0" y="0"/>
                    <a:pt x="0" y="0"/>
                  </a:cubicBezTo>
                  <a:cubicBezTo>
                    <a:pt x="0" y="19"/>
                    <a:pt x="0" y="19"/>
                    <a:pt x="0" y="19"/>
                  </a:cubicBezTo>
                  <a:cubicBezTo>
                    <a:pt x="23" y="19"/>
                    <a:pt x="23" y="19"/>
                    <a:pt x="23" y="19"/>
                  </a:cubicBezTo>
                  <a:cubicBezTo>
                    <a:pt x="71" y="19"/>
                    <a:pt x="71" y="19"/>
                    <a:pt x="71" y="19"/>
                  </a:cubicBezTo>
                  <a:cubicBezTo>
                    <a:pt x="81" y="19"/>
                    <a:pt x="89" y="27"/>
                    <a:pt x="89" y="37"/>
                  </a:cubicBezTo>
                  <a:cubicBezTo>
                    <a:pt x="89" y="137"/>
                    <a:pt x="89" y="137"/>
                    <a:pt x="89" y="137"/>
                  </a:cubicBezTo>
                  <a:cubicBezTo>
                    <a:pt x="96" y="138"/>
                    <a:pt x="102" y="139"/>
                    <a:pt x="108" y="142"/>
                  </a:cubicBezTo>
                  <a:lnTo>
                    <a:pt x="108"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5" name="Freeform 10">
              <a:extLst>
                <a:ext uri="{FF2B5EF4-FFF2-40B4-BE49-F238E27FC236}">
                  <a16:creationId xmlns:a16="http://schemas.microsoft.com/office/drawing/2014/main" id="{FE8567FB-B8D9-A84B-80E5-F7D70B17200E}"/>
                </a:ext>
              </a:extLst>
            </p:cNvPr>
            <p:cNvSpPr>
              <a:spLocks noEditPoints="1"/>
            </p:cNvSpPr>
            <p:nvPr/>
          </p:nvSpPr>
          <p:spPr bwMode="auto">
            <a:xfrm>
              <a:off x="3621088" y="4405313"/>
              <a:ext cx="344488" cy="346075"/>
            </a:xfrm>
            <a:custGeom>
              <a:avLst/>
              <a:gdLst>
                <a:gd name="T0" fmla="*/ 57 w 114"/>
                <a:gd name="T1" fmla="*/ 0 h 114"/>
                <a:gd name="T2" fmla="*/ 0 w 114"/>
                <a:gd name="T3" fmla="*/ 57 h 114"/>
                <a:gd name="T4" fmla="*/ 57 w 114"/>
                <a:gd name="T5" fmla="*/ 114 h 114"/>
                <a:gd name="T6" fmla="*/ 114 w 114"/>
                <a:gd name="T7" fmla="*/ 57 h 114"/>
                <a:gd name="T8" fmla="*/ 57 w 114"/>
                <a:gd name="T9" fmla="*/ 0 h 114"/>
                <a:gd name="T10" fmla="*/ 53 w 114"/>
                <a:gd name="T11" fmla="*/ 90 h 114"/>
                <a:gd name="T12" fmla="*/ 24 w 114"/>
                <a:gd name="T13" fmla="*/ 61 h 114"/>
                <a:gd name="T14" fmla="*/ 34 w 114"/>
                <a:gd name="T15" fmla="*/ 51 h 114"/>
                <a:gd name="T16" fmla="*/ 52 w 114"/>
                <a:gd name="T17" fmla="*/ 68 h 114"/>
                <a:gd name="T18" fmla="*/ 82 w 114"/>
                <a:gd name="T19" fmla="*/ 30 h 114"/>
                <a:gd name="T20" fmla="*/ 93 w 114"/>
                <a:gd name="T21" fmla="*/ 39 h 114"/>
                <a:gd name="T22" fmla="*/ 53 w 114"/>
                <a:gd name="T23" fmla="*/ 9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14">
                  <a:moveTo>
                    <a:pt x="57" y="0"/>
                  </a:moveTo>
                  <a:cubicBezTo>
                    <a:pt x="26" y="0"/>
                    <a:pt x="0" y="26"/>
                    <a:pt x="0" y="57"/>
                  </a:cubicBezTo>
                  <a:cubicBezTo>
                    <a:pt x="0" y="88"/>
                    <a:pt x="26" y="114"/>
                    <a:pt x="57" y="114"/>
                  </a:cubicBezTo>
                  <a:cubicBezTo>
                    <a:pt x="88" y="114"/>
                    <a:pt x="114" y="88"/>
                    <a:pt x="114" y="57"/>
                  </a:cubicBezTo>
                  <a:cubicBezTo>
                    <a:pt x="114" y="26"/>
                    <a:pt x="88" y="0"/>
                    <a:pt x="57" y="0"/>
                  </a:cubicBezTo>
                  <a:close/>
                  <a:moveTo>
                    <a:pt x="53" y="90"/>
                  </a:moveTo>
                  <a:cubicBezTo>
                    <a:pt x="24" y="61"/>
                    <a:pt x="24" y="61"/>
                    <a:pt x="24" y="61"/>
                  </a:cubicBezTo>
                  <a:cubicBezTo>
                    <a:pt x="34" y="51"/>
                    <a:pt x="34" y="51"/>
                    <a:pt x="34" y="51"/>
                  </a:cubicBezTo>
                  <a:cubicBezTo>
                    <a:pt x="52" y="68"/>
                    <a:pt x="52" y="68"/>
                    <a:pt x="52" y="68"/>
                  </a:cubicBezTo>
                  <a:cubicBezTo>
                    <a:pt x="82" y="30"/>
                    <a:pt x="82" y="30"/>
                    <a:pt x="82" y="30"/>
                  </a:cubicBezTo>
                  <a:cubicBezTo>
                    <a:pt x="93" y="39"/>
                    <a:pt x="93" y="39"/>
                    <a:pt x="93" y="39"/>
                  </a:cubicBezTo>
                  <a:lnTo>
                    <a:pt x="53"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7" name="Rectangle 11">
              <a:extLst>
                <a:ext uri="{FF2B5EF4-FFF2-40B4-BE49-F238E27FC236}">
                  <a16:creationId xmlns:a16="http://schemas.microsoft.com/office/drawing/2014/main" id="{162794CD-F277-7A45-80A6-CD1F0B07DDE0}"/>
                </a:ext>
              </a:extLst>
            </p:cNvPr>
            <p:cNvSpPr>
              <a:spLocks noChangeArrowheads="1"/>
            </p:cNvSpPr>
            <p:nvPr/>
          </p:nvSpPr>
          <p:spPr bwMode="auto">
            <a:xfrm>
              <a:off x="3448051" y="4206875"/>
              <a:ext cx="58738"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8" name="Rectangle 12">
              <a:extLst>
                <a:ext uri="{FF2B5EF4-FFF2-40B4-BE49-F238E27FC236}">
                  <a16:creationId xmlns:a16="http://schemas.microsoft.com/office/drawing/2014/main" id="{4629B06C-5370-C448-A262-28BE2361907A}"/>
                </a:ext>
              </a:extLst>
            </p:cNvPr>
            <p:cNvSpPr>
              <a:spLocks noChangeArrowheads="1"/>
            </p:cNvSpPr>
            <p:nvPr/>
          </p:nvSpPr>
          <p:spPr bwMode="auto">
            <a:xfrm>
              <a:off x="3448051" y="4321175"/>
              <a:ext cx="58738"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9" name="Rectangle 13">
              <a:extLst>
                <a:ext uri="{FF2B5EF4-FFF2-40B4-BE49-F238E27FC236}">
                  <a16:creationId xmlns:a16="http://schemas.microsoft.com/office/drawing/2014/main" id="{6E93E813-6B85-3D4C-8EFC-EF8CB0D33420}"/>
                </a:ext>
              </a:extLst>
            </p:cNvPr>
            <p:cNvSpPr>
              <a:spLocks noChangeArrowheads="1"/>
            </p:cNvSpPr>
            <p:nvPr/>
          </p:nvSpPr>
          <p:spPr bwMode="auto">
            <a:xfrm>
              <a:off x="3448051" y="4435475"/>
              <a:ext cx="58738" cy="587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1" name="Rectangle 14">
              <a:extLst>
                <a:ext uri="{FF2B5EF4-FFF2-40B4-BE49-F238E27FC236}">
                  <a16:creationId xmlns:a16="http://schemas.microsoft.com/office/drawing/2014/main" id="{E9D17ACC-25EE-5E49-8CAE-1CAE48DFD175}"/>
                </a:ext>
              </a:extLst>
            </p:cNvPr>
            <p:cNvSpPr>
              <a:spLocks noChangeArrowheads="1"/>
            </p:cNvSpPr>
            <p:nvPr/>
          </p:nvSpPr>
          <p:spPr bwMode="auto">
            <a:xfrm>
              <a:off x="3563938" y="4233863"/>
              <a:ext cx="20161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2" name="Rectangle 81">
              <a:extLst>
                <a:ext uri="{FF2B5EF4-FFF2-40B4-BE49-F238E27FC236}">
                  <a16:creationId xmlns:a16="http://schemas.microsoft.com/office/drawing/2014/main" id="{568DB35F-A093-A647-917A-7D4EEA532DC2}"/>
                </a:ext>
              </a:extLst>
            </p:cNvPr>
            <p:cNvSpPr>
              <a:spLocks noChangeArrowheads="1"/>
            </p:cNvSpPr>
            <p:nvPr/>
          </p:nvSpPr>
          <p:spPr bwMode="auto">
            <a:xfrm>
              <a:off x="3563938" y="4348163"/>
              <a:ext cx="14446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83" name="TextBox 82">
            <a:extLst>
              <a:ext uri="{FF2B5EF4-FFF2-40B4-BE49-F238E27FC236}">
                <a16:creationId xmlns:a16="http://schemas.microsoft.com/office/drawing/2014/main" id="{215F9101-F607-2248-B10A-2B8379FE9BC5}"/>
              </a:ext>
            </a:extLst>
          </p:cNvPr>
          <p:cNvSpPr txBox="1"/>
          <p:nvPr/>
        </p:nvSpPr>
        <p:spPr>
          <a:xfrm>
            <a:off x="10138528" y="3235367"/>
            <a:ext cx="917086" cy="593956"/>
          </a:xfrm>
          <a:prstGeom prst="rect">
            <a:avLst/>
          </a:prstGeom>
          <a:noFill/>
        </p:spPr>
        <p:txBody>
          <a:bodyPr wrap="square" lIns="43789" tIns="43789" rIns="43789" bIns="43789">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95" b="1" i="0" u="none" strike="noStrike" kern="1200" cap="none" spc="0" normalizeH="0" baseline="0" noProof="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rPr>
              <a:t>NIB +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95" b="1" i="0" u="none" strike="noStrike" kern="1200" cap="none" spc="0" normalizeH="0" baseline="0" noProof="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95" b="1" i="0" u="none" strike="noStrike" kern="1200" cap="none" spc="0" normalizeH="0" baseline="0" noProof="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rPr>
              <a:t>SS (</a:t>
            </a:r>
            <a:r>
              <a:rPr kumimoji="0" lang="en-US" sz="1095" b="1" i="1" u="none" strike="noStrike" kern="1200" cap="none" spc="0" normalizeH="0" baseline="0" noProof="0">
                <a:ln>
                  <a:noFill/>
                </a:ln>
                <a:solidFill>
                  <a:srgbClr val="70AD47">
                    <a:lumMod val="75000"/>
                  </a:srgbClr>
                </a:solidFill>
                <a:effectLst/>
                <a:uLnTx/>
                <a:uFillTx/>
                <a:latin typeface="Calibri" panose="020F0502020204030204" pitchFamily="34" charset="0"/>
                <a:ea typeface="+mn-ea"/>
                <a:cs typeface="Calibri" panose="020F0502020204030204" pitchFamily="34" charset="0"/>
              </a:rPr>
              <a:t>verified</a:t>
            </a:r>
            <a:r>
              <a:rPr kumimoji="0" lang="en-US" sz="1095" b="1" i="0" u="none" strike="noStrike" kern="1200" cap="none" spc="0" normalizeH="0" baseline="0" noProof="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rPr>
              <a:t>)</a:t>
            </a:r>
          </a:p>
        </p:txBody>
      </p:sp>
      <p:cxnSp>
        <p:nvCxnSpPr>
          <p:cNvPr id="20" name="Straight Arrow Connector 19">
            <a:extLst>
              <a:ext uri="{FF2B5EF4-FFF2-40B4-BE49-F238E27FC236}">
                <a16:creationId xmlns:a16="http://schemas.microsoft.com/office/drawing/2014/main" id="{5E5439D5-D090-634D-BAC3-A0A19CB44AD9}"/>
              </a:ext>
            </a:extLst>
          </p:cNvPr>
          <p:cNvCxnSpPr>
            <a:cxnSpLocks/>
            <a:endCxn id="40" idx="1"/>
          </p:cNvCxnSpPr>
          <p:nvPr/>
        </p:nvCxnSpPr>
        <p:spPr>
          <a:xfrm>
            <a:off x="1009870" y="3601767"/>
            <a:ext cx="1549242"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E86D5C42-680A-FE4E-AD5D-69AA15D3DF39}"/>
              </a:ext>
            </a:extLst>
          </p:cNvPr>
          <p:cNvCxnSpPr>
            <a:cxnSpLocks/>
            <a:stCxn id="40" idx="3"/>
            <a:endCxn id="56" idx="1"/>
          </p:cNvCxnSpPr>
          <p:nvPr/>
        </p:nvCxnSpPr>
        <p:spPr>
          <a:xfrm>
            <a:off x="3937671" y="3601767"/>
            <a:ext cx="423104"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28" name="Elbow Connector 27">
            <a:extLst>
              <a:ext uri="{FF2B5EF4-FFF2-40B4-BE49-F238E27FC236}">
                <a16:creationId xmlns:a16="http://schemas.microsoft.com/office/drawing/2014/main" id="{12F50127-2F30-2746-A0D7-D213E8F6AFC6}"/>
              </a:ext>
            </a:extLst>
          </p:cNvPr>
          <p:cNvCxnSpPr>
            <a:endCxn id="55" idx="1"/>
          </p:cNvCxnSpPr>
          <p:nvPr/>
        </p:nvCxnSpPr>
        <p:spPr>
          <a:xfrm rot="16200000" flipH="1">
            <a:off x="1651361" y="3972809"/>
            <a:ext cx="1278793" cy="536708"/>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89" name="Shape 204">
            <a:extLst>
              <a:ext uri="{FF2B5EF4-FFF2-40B4-BE49-F238E27FC236}">
                <a16:creationId xmlns:a16="http://schemas.microsoft.com/office/drawing/2014/main" id="{69774EDA-5DEF-9E47-B3BD-985C8402D9DE}"/>
              </a:ext>
            </a:extLst>
          </p:cNvPr>
          <p:cNvSpPr/>
          <p:nvPr/>
        </p:nvSpPr>
        <p:spPr>
          <a:xfrm>
            <a:off x="4915928" y="4565037"/>
            <a:ext cx="1647796" cy="631045"/>
          </a:xfrm>
          <a:prstGeom prst="roundRect">
            <a:avLst>
              <a:gd name="adj" fmla="val 16667"/>
            </a:avLst>
          </a:prstGeom>
          <a:solidFill>
            <a:schemeClr val="accent6">
              <a:lumMod val="75000"/>
            </a:schemeClr>
          </a:solidFill>
          <a:ln>
            <a:noFill/>
          </a:ln>
        </p:spPr>
        <p:txBody>
          <a:bodyPr lIns="100086" tIns="100086" rIns="100086" bIns="100086"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MELENGKAPI PERSYARATAN di Portal </a:t>
            </a:r>
            <a:r>
              <a:rPr kumimoji="0" lang="en-US" sz="1200" b="0" i="0" u="none" strike="noStrike" kern="1200" cap="none" spc="0" normalizeH="0" baseline="0" noProof="0" err="1">
                <a:ln>
                  <a:noFill/>
                </a:ln>
                <a:solidFill>
                  <a:prstClr val="black"/>
                </a:solidFill>
                <a:effectLst/>
                <a:uLnTx/>
                <a:uFillTx/>
                <a:latin typeface="Calibri" panose="020F0502020204030204" pitchFamily="34" charset="0"/>
                <a:ea typeface="+mn-ea"/>
                <a:cs typeface="Calibri" panose="020F0502020204030204" pitchFamily="34" charset="0"/>
              </a:rPr>
              <a:t>Perizinan</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PUPR</a:t>
            </a:r>
          </a:p>
        </p:txBody>
      </p:sp>
      <p:sp>
        <p:nvSpPr>
          <p:cNvPr id="90" name="Shape 204">
            <a:extLst>
              <a:ext uri="{FF2B5EF4-FFF2-40B4-BE49-F238E27FC236}">
                <a16:creationId xmlns:a16="http://schemas.microsoft.com/office/drawing/2014/main" id="{C357AA24-7B62-E24F-AD36-524FCE2760BB}"/>
              </a:ext>
            </a:extLst>
          </p:cNvPr>
          <p:cNvSpPr/>
          <p:nvPr/>
        </p:nvSpPr>
        <p:spPr>
          <a:xfrm>
            <a:off x="6728613" y="4565037"/>
            <a:ext cx="1378559" cy="631045"/>
          </a:xfrm>
          <a:prstGeom prst="roundRect">
            <a:avLst>
              <a:gd name="adj" fmla="val 16667"/>
            </a:avLst>
          </a:prstGeom>
          <a:solidFill>
            <a:schemeClr val="accent6">
              <a:lumMod val="75000"/>
            </a:schemeClr>
          </a:solidFill>
          <a:ln>
            <a:noFill/>
          </a:ln>
        </p:spPr>
        <p:txBody>
          <a:bodyPr lIns="100086" tIns="100086" rIns="100086" bIns="100086"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77"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EMROSESAN UMKU DI PUPR/ LPJK</a:t>
            </a:r>
          </a:p>
        </p:txBody>
      </p:sp>
      <p:sp>
        <p:nvSpPr>
          <p:cNvPr id="94" name="Shape 204">
            <a:extLst>
              <a:ext uri="{FF2B5EF4-FFF2-40B4-BE49-F238E27FC236}">
                <a16:creationId xmlns:a16="http://schemas.microsoft.com/office/drawing/2014/main" id="{F9AA3050-C729-DF43-818C-AB907D8CA3DC}"/>
              </a:ext>
            </a:extLst>
          </p:cNvPr>
          <p:cNvSpPr/>
          <p:nvPr/>
        </p:nvSpPr>
        <p:spPr>
          <a:xfrm>
            <a:off x="8532008" y="4565037"/>
            <a:ext cx="1378559" cy="631045"/>
          </a:xfrm>
          <a:prstGeom prst="roundRect">
            <a:avLst>
              <a:gd name="adj" fmla="val 16667"/>
            </a:avLst>
          </a:prstGeom>
          <a:solidFill>
            <a:schemeClr val="accent2">
              <a:lumMod val="60000"/>
              <a:lumOff val="40000"/>
            </a:schemeClr>
          </a:solidFill>
          <a:ln>
            <a:noFill/>
          </a:ln>
        </p:spPr>
        <p:txBody>
          <a:bodyPr lIns="100086" tIns="100086" rIns="100086" bIns="100086"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77"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DOKUMEN UMKU TERBIT</a:t>
            </a:r>
          </a:p>
        </p:txBody>
      </p:sp>
      <p:cxnSp>
        <p:nvCxnSpPr>
          <p:cNvPr id="95" name="Straight Arrow Connector 94">
            <a:extLst>
              <a:ext uri="{FF2B5EF4-FFF2-40B4-BE49-F238E27FC236}">
                <a16:creationId xmlns:a16="http://schemas.microsoft.com/office/drawing/2014/main" id="{95B934FD-5496-484C-8395-0FC4D1017E7F}"/>
              </a:ext>
            </a:extLst>
          </p:cNvPr>
          <p:cNvCxnSpPr>
            <a:cxnSpLocks/>
            <a:stCxn id="56" idx="3"/>
            <a:endCxn id="58" idx="1"/>
          </p:cNvCxnSpPr>
          <p:nvPr/>
        </p:nvCxnSpPr>
        <p:spPr>
          <a:xfrm>
            <a:off x="5739334" y="3601767"/>
            <a:ext cx="273689"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D25E9956-9350-F14C-8D0A-A27EA190C394}"/>
              </a:ext>
            </a:extLst>
          </p:cNvPr>
          <p:cNvCxnSpPr>
            <a:cxnSpLocks/>
            <a:stCxn id="89" idx="3"/>
            <a:endCxn id="90" idx="1"/>
          </p:cNvCxnSpPr>
          <p:nvPr/>
        </p:nvCxnSpPr>
        <p:spPr>
          <a:xfrm>
            <a:off x="6563724" y="4880560"/>
            <a:ext cx="164889"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1D463E42-3041-214F-808C-40CFDBBDAC02}"/>
              </a:ext>
            </a:extLst>
          </p:cNvPr>
          <p:cNvCxnSpPr>
            <a:cxnSpLocks/>
            <a:stCxn id="90" idx="3"/>
            <a:endCxn id="94" idx="1"/>
          </p:cNvCxnSpPr>
          <p:nvPr/>
        </p:nvCxnSpPr>
        <p:spPr>
          <a:xfrm>
            <a:off x="8107172" y="4880560"/>
            <a:ext cx="424837"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32" name="Elbow Connector 131">
            <a:extLst>
              <a:ext uri="{FF2B5EF4-FFF2-40B4-BE49-F238E27FC236}">
                <a16:creationId xmlns:a16="http://schemas.microsoft.com/office/drawing/2014/main" id="{AF0EBF7C-00BC-2A48-A847-AD95FB02C9BB}"/>
              </a:ext>
            </a:extLst>
          </p:cNvPr>
          <p:cNvCxnSpPr>
            <a:cxnSpLocks/>
            <a:stCxn id="94" idx="3"/>
            <a:endCxn id="58" idx="2"/>
          </p:cNvCxnSpPr>
          <p:nvPr/>
        </p:nvCxnSpPr>
        <p:spPr>
          <a:xfrm flipH="1" flipV="1">
            <a:off x="6760013" y="3917289"/>
            <a:ext cx="3150554" cy="963271"/>
          </a:xfrm>
          <a:prstGeom prst="bentConnector4">
            <a:avLst>
              <a:gd name="adj1" fmla="val -8002"/>
              <a:gd name="adj2" fmla="val 66378"/>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4D21BB33-7611-074B-8CFE-42C335CF0FF3}"/>
              </a:ext>
            </a:extLst>
          </p:cNvPr>
          <p:cNvSpPr txBox="1"/>
          <p:nvPr/>
        </p:nvSpPr>
        <p:spPr>
          <a:xfrm>
            <a:off x="1515747" y="2265146"/>
            <a:ext cx="587020" cy="39780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985"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OSS</a:t>
            </a:r>
          </a:p>
        </p:txBody>
      </p:sp>
      <p:sp>
        <p:nvSpPr>
          <p:cNvPr id="133" name="TextBox 132">
            <a:extLst>
              <a:ext uri="{FF2B5EF4-FFF2-40B4-BE49-F238E27FC236}">
                <a16:creationId xmlns:a16="http://schemas.microsoft.com/office/drawing/2014/main" id="{328AB40F-2A4E-314E-8012-918CB2B28968}"/>
              </a:ext>
            </a:extLst>
          </p:cNvPr>
          <p:cNvSpPr txBox="1"/>
          <p:nvPr/>
        </p:nvSpPr>
        <p:spPr>
          <a:xfrm>
            <a:off x="2559111" y="5267929"/>
            <a:ext cx="3087994" cy="8389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213"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yarat/standar PB-UMKU terdiri atas:</a:t>
            </a:r>
          </a:p>
          <a:p>
            <a:pPr marL="378184" marR="0" lvl="0" indent="-378184" algn="l" defTabSz="914400" rtl="0" eaLnBrk="1" fontAlgn="auto" latinLnBrk="0" hangingPunct="1">
              <a:lnSpc>
                <a:spcPct val="100000"/>
              </a:lnSpc>
              <a:spcBef>
                <a:spcPts val="0"/>
              </a:spcBef>
              <a:spcAft>
                <a:spcPts val="0"/>
              </a:spcAft>
              <a:buClrTx/>
              <a:buSzTx/>
              <a:buFont typeface="Arial"/>
              <a:buAutoNum type="arabicPeriod"/>
              <a:tabLst/>
              <a:defRPr/>
            </a:pPr>
            <a:r>
              <a:rPr kumimoji="0" lang="id-ID" sz="1213"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Lisensi LSBU/LSP</a:t>
            </a:r>
          </a:p>
          <a:p>
            <a:pPr marL="378184" marR="0" lvl="0" indent="-378184" algn="l" defTabSz="914400" rtl="0" eaLnBrk="1" fontAlgn="auto" latinLnBrk="0" hangingPunct="1">
              <a:lnSpc>
                <a:spcPct val="100000"/>
              </a:lnSpc>
              <a:spcBef>
                <a:spcPts val="0"/>
              </a:spcBef>
              <a:spcAft>
                <a:spcPts val="0"/>
              </a:spcAft>
              <a:buClrTx/>
              <a:buSzTx/>
              <a:buFontTx/>
              <a:buAutoNum type="arabicPeriod"/>
              <a:tabLst/>
              <a:defRPr/>
            </a:pPr>
            <a:r>
              <a:rPr kumimoji="0" lang="id-ID" sz="1213"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BU</a:t>
            </a:r>
          </a:p>
          <a:p>
            <a:pPr marL="378184" marR="0" lvl="0" indent="-378184" algn="l" defTabSz="914400" rtl="0" eaLnBrk="1" fontAlgn="auto" latinLnBrk="0" hangingPunct="1">
              <a:lnSpc>
                <a:spcPct val="100000"/>
              </a:lnSpc>
              <a:spcBef>
                <a:spcPts val="0"/>
              </a:spcBef>
              <a:spcAft>
                <a:spcPts val="0"/>
              </a:spcAft>
              <a:buClrTx/>
              <a:buSzTx/>
              <a:buFontTx/>
              <a:buAutoNum type="arabicPeriod"/>
              <a:tabLst/>
              <a:defRPr/>
            </a:pPr>
            <a:r>
              <a:rPr kumimoji="0" lang="id-ID" sz="1213"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KK KONSTRUKSI</a:t>
            </a:r>
          </a:p>
        </p:txBody>
      </p:sp>
      <p:sp>
        <p:nvSpPr>
          <p:cNvPr id="134" name="Left Arrow 133">
            <a:extLst>
              <a:ext uri="{FF2B5EF4-FFF2-40B4-BE49-F238E27FC236}">
                <a16:creationId xmlns:a16="http://schemas.microsoft.com/office/drawing/2014/main" id="{44062675-262A-DA42-9B6A-76E2EC3B667E}"/>
              </a:ext>
            </a:extLst>
          </p:cNvPr>
          <p:cNvSpPr/>
          <p:nvPr/>
        </p:nvSpPr>
        <p:spPr>
          <a:xfrm>
            <a:off x="10912997" y="3006899"/>
            <a:ext cx="1043561" cy="1175630"/>
          </a:xfrm>
          <a:prstGeom prst="leftArrow">
            <a:avLst>
              <a:gd name="adj1" fmla="val 72202"/>
              <a:gd name="adj2" fmla="val 1621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323"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istem di OSS</a:t>
            </a:r>
          </a:p>
        </p:txBody>
      </p:sp>
      <p:sp>
        <p:nvSpPr>
          <p:cNvPr id="136" name="Left Arrow 135">
            <a:extLst>
              <a:ext uri="{FF2B5EF4-FFF2-40B4-BE49-F238E27FC236}">
                <a16:creationId xmlns:a16="http://schemas.microsoft.com/office/drawing/2014/main" id="{DE77694C-2AD7-2042-B4C8-DEA8F86A9FA4}"/>
              </a:ext>
            </a:extLst>
          </p:cNvPr>
          <p:cNvSpPr/>
          <p:nvPr/>
        </p:nvSpPr>
        <p:spPr>
          <a:xfrm>
            <a:off x="10912997" y="4285691"/>
            <a:ext cx="1043561" cy="1175630"/>
          </a:xfrm>
          <a:prstGeom prst="leftArrow">
            <a:avLst>
              <a:gd name="adj1" fmla="val 72202"/>
              <a:gd name="adj2" fmla="val 16217"/>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15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istem di PB UMKU OSS terintegrasi </a:t>
            </a:r>
            <a:r>
              <a:rPr kumimoji="0" lang="id-ID" sz="1158" b="0" i="0" u="none" strike="noStrike" kern="1200" cap="none" spc="0" normalizeH="0" baseline="0" noProof="0" err="1">
                <a:ln>
                  <a:noFill/>
                </a:ln>
                <a:solidFill>
                  <a:prstClr val="black"/>
                </a:solidFill>
                <a:effectLst/>
                <a:uLnTx/>
                <a:uFillTx/>
                <a:latin typeface="Calibri" panose="020F0502020204030204" pitchFamily="34" charset="0"/>
                <a:ea typeface="+mn-ea"/>
                <a:cs typeface="Calibri" panose="020F0502020204030204" pitchFamily="34" charset="0"/>
              </a:rPr>
              <a:t>dg</a:t>
            </a:r>
            <a:r>
              <a:rPr kumimoji="0" lang="id-ID" sz="1158"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PUPR</a:t>
            </a:r>
          </a:p>
        </p:txBody>
      </p:sp>
      <p:sp>
        <p:nvSpPr>
          <p:cNvPr id="65" name="Shape 204">
            <a:extLst>
              <a:ext uri="{FF2B5EF4-FFF2-40B4-BE49-F238E27FC236}">
                <a16:creationId xmlns:a16="http://schemas.microsoft.com/office/drawing/2014/main" id="{8FAD013E-DF84-3449-80C9-9858E03AF057}"/>
              </a:ext>
            </a:extLst>
          </p:cNvPr>
          <p:cNvSpPr/>
          <p:nvPr/>
        </p:nvSpPr>
        <p:spPr>
          <a:xfrm>
            <a:off x="7692125" y="3286244"/>
            <a:ext cx="1378559" cy="631045"/>
          </a:xfrm>
          <a:prstGeom prst="roundRect">
            <a:avLst>
              <a:gd name="adj" fmla="val 16667"/>
            </a:avLst>
          </a:prstGeom>
          <a:solidFill>
            <a:srgbClr val="00479B"/>
          </a:solidFill>
          <a:ln>
            <a:noFill/>
          </a:ln>
        </p:spPr>
        <p:txBody>
          <a:bodyPr lIns="100086" tIns="100086" rIns="100086" bIns="100086"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77"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VERIFIKASI OLEH K/L/D</a:t>
            </a:r>
          </a:p>
        </p:txBody>
      </p:sp>
      <p:cxnSp>
        <p:nvCxnSpPr>
          <p:cNvPr id="67" name="Straight Arrow Connector 66">
            <a:extLst>
              <a:ext uri="{FF2B5EF4-FFF2-40B4-BE49-F238E27FC236}">
                <a16:creationId xmlns:a16="http://schemas.microsoft.com/office/drawing/2014/main" id="{8086AEB6-5C0E-D14C-87BA-00ABC1B9E932}"/>
              </a:ext>
            </a:extLst>
          </p:cNvPr>
          <p:cNvCxnSpPr>
            <a:cxnSpLocks/>
            <a:stCxn id="58" idx="3"/>
            <a:endCxn id="65" idx="1"/>
          </p:cNvCxnSpPr>
          <p:nvPr/>
        </p:nvCxnSpPr>
        <p:spPr>
          <a:xfrm>
            <a:off x="7507004" y="3601767"/>
            <a:ext cx="185121"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EE672D6C-4EB0-FC47-B9AF-439135B5C93F}"/>
              </a:ext>
            </a:extLst>
          </p:cNvPr>
          <p:cNvCxnSpPr>
            <a:cxnSpLocks/>
            <a:stCxn id="65" idx="3"/>
          </p:cNvCxnSpPr>
          <p:nvPr/>
        </p:nvCxnSpPr>
        <p:spPr>
          <a:xfrm>
            <a:off x="9070683" y="3601767"/>
            <a:ext cx="233801"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B34E8D04-3E0A-E141-B60D-3B3CCB1E19F4}"/>
              </a:ext>
            </a:extLst>
          </p:cNvPr>
          <p:cNvGrpSpPr/>
          <p:nvPr/>
        </p:nvGrpSpPr>
        <p:grpSpPr>
          <a:xfrm>
            <a:off x="1472510" y="1147567"/>
            <a:ext cx="5256102" cy="781262"/>
            <a:chOff x="1294222" y="1195428"/>
            <a:chExt cx="5459378" cy="811477"/>
          </a:xfrm>
        </p:grpSpPr>
        <p:sp>
          <p:nvSpPr>
            <p:cNvPr id="61" name="Shape 204">
              <a:extLst>
                <a:ext uri="{FF2B5EF4-FFF2-40B4-BE49-F238E27FC236}">
                  <a16:creationId xmlns:a16="http://schemas.microsoft.com/office/drawing/2014/main" id="{F80980F9-1E29-DD47-89D1-08CAF955986C}"/>
                </a:ext>
              </a:extLst>
            </p:cNvPr>
            <p:cNvSpPr/>
            <p:nvPr/>
          </p:nvSpPr>
          <p:spPr>
            <a:xfrm>
              <a:off x="1294222" y="1289948"/>
              <a:ext cx="1491000" cy="572177"/>
            </a:xfrm>
            <a:prstGeom prst="roundRect">
              <a:avLst>
                <a:gd name="adj" fmla="val 16667"/>
              </a:avLst>
            </a:prstGeom>
            <a:solidFill>
              <a:schemeClr val="accent6">
                <a:lumMod val="50000"/>
              </a:schemeClr>
            </a:solidFill>
            <a:ln>
              <a:noFill/>
            </a:ln>
          </p:spPr>
          <p:txBody>
            <a:bodyPr lIns="100086" tIns="100086" rIns="100086" bIns="100086"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77"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SUBSEKTOR JASA KONSTRUKSI</a:t>
              </a:r>
            </a:p>
          </p:txBody>
        </p:sp>
        <p:sp>
          <p:nvSpPr>
            <p:cNvPr id="62" name="Shape 204">
              <a:extLst>
                <a:ext uri="{FF2B5EF4-FFF2-40B4-BE49-F238E27FC236}">
                  <a16:creationId xmlns:a16="http://schemas.microsoft.com/office/drawing/2014/main" id="{AAF70D6F-B07F-5E42-8189-1F0296AC1E57}"/>
                </a:ext>
              </a:extLst>
            </p:cNvPr>
            <p:cNvSpPr/>
            <p:nvPr/>
          </p:nvSpPr>
          <p:spPr>
            <a:xfrm>
              <a:off x="2921247" y="1283857"/>
              <a:ext cx="1573971" cy="572177"/>
            </a:xfrm>
            <a:prstGeom prst="roundRect">
              <a:avLst>
                <a:gd name="adj" fmla="val 16667"/>
              </a:avLst>
            </a:prstGeom>
            <a:solidFill>
              <a:schemeClr val="accent6">
                <a:lumMod val="50000"/>
              </a:schemeClr>
            </a:solidFill>
            <a:ln>
              <a:noFill/>
            </a:ln>
          </p:spPr>
          <p:txBody>
            <a:bodyPr lIns="100086" tIns="100086" rIns="100086" bIns="100086"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77"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Risiko Menengah Tinggi (MT)</a:t>
              </a:r>
            </a:p>
          </p:txBody>
        </p:sp>
        <p:sp>
          <p:nvSpPr>
            <p:cNvPr id="2" name="Oval 1">
              <a:extLst>
                <a:ext uri="{FF2B5EF4-FFF2-40B4-BE49-F238E27FC236}">
                  <a16:creationId xmlns:a16="http://schemas.microsoft.com/office/drawing/2014/main" id="{53EEC1FE-7981-0C43-9AEA-705CA84A0ECB}"/>
                </a:ext>
              </a:extLst>
            </p:cNvPr>
            <p:cNvSpPr/>
            <p:nvPr/>
          </p:nvSpPr>
          <p:spPr>
            <a:xfrm>
              <a:off x="2691495" y="1432033"/>
              <a:ext cx="312543" cy="312543"/>
            </a:xfrm>
            <a:prstGeom prst="ellips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985"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nvGrpSpPr>
            <p:cNvPr id="72" name="Group 71">
              <a:extLst>
                <a:ext uri="{FF2B5EF4-FFF2-40B4-BE49-F238E27FC236}">
                  <a16:creationId xmlns:a16="http://schemas.microsoft.com/office/drawing/2014/main" id="{F3E31377-B648-C04B-90DA-8E4090DC367A}"/>
                </a:ext>
              </a:extLst>
            </p:cNvPr>
            <p:cNvGrpSpPr/>
            <p:nvPr/>
          </p:nvGrpSpPr>
          <p:grpSpPr>
            <a:xfrm>
              <a:off x="5201994" y="1195428"/>
              <a:ext cx="638273" cy="811477"/>
              <a:chOff x="3333751" y="3948113"/>
              <a:chExt cx="631825" cy="803275"/>
            </a:xfrm>
            <a:solidFill>
              <a:schemeClr val="accent6">
                <a:lumMod val="50000"/>
              </a:schemeClr>
            </a:solidFill>
          </p:grpSpPr>
          <p:sp>
            <p:nvSpPr>
              <p:cNvPr id="73" name="Freeform 7">
                <a:extLst>
                  <a:ext uri="{FF2B5EF4-FFF2-40B4-BE49-F238E27FC236}">
                    <a16:creationId xmlns:a16="http://schemas.microsoft.com/office/drawing/2014/main" id="{7FEE8A72-B7B2-FA47-A2D5-3A9C233D02BD}"/>
                  </a:ext>
                </a:extLst>
              </p:cNvPr>
              <p:cNvSpPr>
                <a:spLocks/>
              </p:cNvSpPr>
              <p:nvPr/>
            </p:nvSpPr>
            <p:spPr bwMode="auto">
              <a:xfrm>
                <a:off x="3343276" y="3954463"/>
                <a:ext cx="160338" cy="160337"/>
              </a:xfrm>
              <a:custGeom>
                <a:avLst/>
                <a:gdLst>
                  <a:gd name="T0" fmla="*/ 101 w 101"/>
                  <a:gd name="T1" fmla="*/ 0 h 101"/>
                  <a:gd name="T2" fmla="*/ 101 w 101"/>
                  <a:gd name="T3" fmla="*/ 101 h 101"/>
                  <a:gd name="T4" fmla="*/ 0 w 101"/>
                  <a:gd name="T5" fmla="*/ 101 h 101"/>
                  <a:gd name="T6" fmla="*/ 101 w 101"/>
                  <a:gd name="T7" fmla="*/ 0 h 101"/>
                </a:gdLst>
                <a:ahLst/>
                <a:cxnLst>
                  <a:cxn ang="0">
                    <a:pos x="T0" y="T1"/>
                  </a:cxn>
                  <a:cxn ang="0">
                    <a:pos x="T2" y="T3"/>
                  </a:cxn>
                  <a:cxn ang="0">
                    <a:pos x="T4" y="T5"/>
                  </a:cxn>
                  <a:cxn ang="0">
                    <a:pos x="T6" y="T7"/>
                  </a:cxn>
                </a:cxnLst>
                <a:rect l="0" t="0" r="r" b="b"/>
                <a:pathLst>
                  <a:path w="101" h="101">
                    <a:moveTo>
                      <a:pt x="101" y="0"/>
                    </a:moveTo>
                    <a:lnTo>
                      <a:pt x="101" y="101"/>
                    </a:lnTo>
                    <a:lnTo>
                      <a:pt x="0" y="101"/>
                    </a:lnTo>
                    <a:lnTo>
                      <a:pt x="1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6" name="Freeform 8">
                <a:extLst>
                  <a:ext uri="{FF2B5EF4-FFF2-40B4-BE49-F238E27FC236}">
                    <a16:creationId xmlns:a16="http://schemas.microsoft.com/office/drawing/2014/main" id="{B4A594AA-0D5C-8D49-AB3A-4922311B9854}"/>
                  </a:ext>
                </a:extLst>
              </p:cNvPr>
              <p:cNvSpPr>
                <a:spLocks/>
              </p:cNvSpPr>
              <p:nvPr/>
            </p:nvSpPr>
            <p:spPr bwMode="auto">
              <a:xfrm>
                <a:off x="3333751" y="4167188"/>
                <a:ext cx="250825" cy="468312"/>
              </a:xfrm>
              <a:custGeom>
                <a:avLst/>
                <a:gdLst>
                  <a:gd name="T0" fmla="*/ 38 w 83"/>
                  <a:gd name="T1" fmla="*/ 136 h 155"/>
                  <a:gd name="T2" fmla="*/ 19 w 83"/>
                  <a:gd name="T3" fmla="*/ 117 h 155"/>
                  <a:gd name="T4" fmla="*/ 19 w 83"/>
                  <a:gd name="T5" fmla="*/ 60 h 155"/>
                  <a:gd name="T6" fmla="*/ 19 w 83"/>
                  <a:gd name="T7" fmla="*/ 13 h 155"/>
                  <a:gd name="T8" fmla="*/ 19 w 83"/>
                  <a:gd name="T9" fmla="*/ 0 h 155"/>
                  <a:gd name="T10" fmla="*/ 0 w 83"/>
                  <a:gd name="T11" fmla="*/ 0 h 155"/>
                  <a:gd name="T12" fmla="*/ 0 w 83"/>
                  <a:gd name="T13" fmla="*/ 117 h 155"/>
                  <a:gd name="T14" fmla="*/ 38 w 83"/>
                  <a:gd name="T15" fmla="*/ 155 h 155"/>
                  <a:gd name="T16" fmla="*/ 83 w 83"/>
                  <a:gd name="T17" fmla="*/ 155 h 155"/>
                  <a:gd name="T18" fmla="*/ 80 w 83"/>
                  <a:gd name="T19" fmla="*/ 136 h 155"/>
                  <a:gd name="T20" fmla="*/ 38 w 83"/>
                  <a:gd name="T21" fmla="*/ 13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155">
                    <a:moveTo>
                      <a:pt x="38" y="136"/>
                    </a:moveTo>
                    <a:cubicBezTo>
                      <a:pt x="28" y="136"/>
                      <a:pt x="19" y="128"/>
                      <a:pt x="19" y="117"/>
                    </a:cubicBezTo>
                    <a:cubicBezTo>
                      <a:pt x="19" y="60"/>
                      <a:pt x="19" y="60"/>
                      <a:pt x="19" y="60"/>
                    </a:cubicBezTo>
                    <a:cubicBezTo>
                      <a:pt x="19" y="13"/>
                      <a:pt x="19" y="13"/>
                      <a:pt x="19" y="13"/>
                    </a:cubicBezTo>
                    <a:cubicBezTo>
                      <a:pt x="19" y="0"/>
                      <a:pt x="19" y="0"/>
                      <a:pt x="19" y="0"/>
                    </a:cubicBezTo>
                    <a:cubicBezTo>
                      <a:pt x="0" y="0"/>
                      <a:pt x="0" y="0"/>
                      <a:pt x="0" y="0"/>
                    </a:cubicBezTo>
                    <a:cubicBezTo>
                      <a:pt x="0" y="117"/>
                      <a:pt x="0" y="117"/>
                      <a:pt x="0" y="117"/>
                    </a:cubicBezTo>
                    <a:cubicBezTo>
                      <a:pt x="0" y="138"/>
                      <a:pt x="17" y="155"/>
                      <a:pt x="38" y="155"/>
                    </a:cubicBezTo>
                    <a:cubicBezTo>
                      <a:pt x="83" y="155"/>
                      <a:pt x="83" y="155"/>
                      <a:pt x="83" y="155"/>
                    </a:cubicBezTo>
                    <a:cubicBezTo>
                      <a:pt x="81" y="149"/>
                      <a:pt x="80" y="143"/>
                      <a:pt x="80" y="136"/>
                    </a:cubicBezTo>
                    <a:lnTo>
                      <a:pt x="38"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0" name="Freeform 9">
                <a:extLst>
                  <a:ext uri="{FF2B5EF4-FFF2-40B4-BE49-F238E27FC236}">
                    <a16:creationId xmlns:a16="http://schemas.microsoft.com/office/drawing/2014/main" id="{92F703A5-670B-E744-8393-48D97A314A0A}"/>
                  </a:ext>
                </a:extLst>
              </p:cNvPr>
              <p:cNvSpPr>
                <a:spLocks/>
              </p:cNvSpPr>
              <p:nvPr/>
            </p:nvSpPr>
            <p:spPr bwMode="auto">
              <a:xfrm>
                <a:off x="3551238" y="3948113"/>
                <a:ext cx="327025" cy="430212"/>
              </a:xfrm>
              <a:custGeom>
                <a:avLst/>
                <a:gdLst>
                  <a:gd name="T0" fmla="*/ 108 w 108"/>
                  <a:gd name="T1" fmla="*/ 37 h 142"/>
                  <a:gd name="T2" fmla="*/ 71 w 108"/>
                  <a:gd name="T3" fmla="*/ 0 h 142"/>
                  <a:gd name="T4" fmla="*/ 0 w 108"/>
                  <a:gd name="T5" fmla="*/ 0 h 142"/>
                  <a:gd name="T6" fmla="*/ 0 w 108"/>
                  <a:gd name="T7" fmla="*/ 19 h 142"/>
                  <a:gd name="T8" fmla="*/ 23 w 108"/>
                  <a:gd name="T9" fmla="*/ 19 h 142"/>
                  <a:gd name="T10" fmla="*/ 71 w 108"/>
                  <a:gd name="T11" fmla="*/ 19 h 142"/>
                  <a:gd name="T12" fmla="*/ 89 w 108"/>
                  <a:gd name="T13" fmla="*/ 37 h 142"/>
                  <a:gd name="T14" fmla="*/ 89 w 108"/>
                  <a:gd name="T15" fmla="*/ 137 h 142"/>
                  <a:gd name="T16" fmla="*/ 108 w 108"/>
                  <a:gd name="T17" fmla="*/ 142 h 142"/>
                  <a:gd name="T18" fmla="*/ 108 w 108"/>
                  <a:gd name="T19" fmla="*/ 3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42">
                    <a:moveTo>
                      <a:pt x="108" y="37"/>
                    </a:moveTo>
                    <a:cubicBezTo>
                      <a:pt x="108" y="17"/>
                      <a:pt x="91" y="0"/>
                      <a:pt x="71" y="0"/>
                    </a:cubicBezTo>
                    <a:cubicBezTo>
                      <a:pt x="0" y="0"/>
                      <a:pt x="0" y="0"/>
                      <a:pt x="0" y="0"/>
                    </a:cubicBezTo>
                    <a:cubicBezTo>
                      <a:pt x="0" y="19"/>
                      <a:pt x="0" y="19"/>
                      <a:pt x="0" y="19"/>
                    </a:cubicBezTo>
                    <a:cubicBezTo>
                      <a:pt x="23" y="19"/>
                      <a:pt x="23" y="19"/>
                      <a:pt x="23" y="19"/>
                    </a:cubicBezTo>
                    <a:cubicBezTo>
                      <a:pt x="71" y="19"/>
                      <a:pt x="71" y="19"/>
                      <a:pt x="71" y="19"/>
                    </a:cubicBezTo>
                    <a:cubicBezTo>
                      <a:pt x="81" y="19"/>
                      <a:pt x="89" y="27"/>
                      <a:pt x="89" y="37"/>
                    </a:cubicBezTo>
                    <a:cubicBezTo>
                      <a:pt x="89" y="137"/>
                      <a:pt x="89" y="137"/>
                      <a:pt x="89" y="137"/>
                    </a:cubicBezTo>
                    <a:cubicBezTo>
                      <a:pt x="96" y="138"/>
                      <a:pt x="102" y="139"/>
                      <a:pt x="108" y="142"/>
                    </a:cubicBezTo>
                    <a:lnTo>
                      <a:pt x="108"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91" name="Freeform 10">
                <a:extLst>
                  <a:ext uri="{FF2B5EF4-FFF2-40B4-BE49-F238E27FC236}">
                    <a16:creationId xmlns:a16="http://schemas.microsoft.com/office/drawing/2014/main" id="{BF48048B-F311-E346-906E-D464FCADB082}"/>
                  </a:ext>
                </a:extLst>
              </p:cNvPr>
              <p:cNvSpPr>
                <a:spLocks noEditPoints="1"/>
              </p:cNvSpPr>
              <p:nvPr/>
            </p:nvSpPr>
            <p:spPr bwMode="auto">
              <a:xfrm>
                <a:off x="3621088" y="4405313"/>
                <a:ext cx="344488" cy="346075"/>
              </a:xfrm>
              <a:custGeom>
                <a:avLst/>
                <a:gdLst>
                  <a:gd name="T0" fmla="*/ 57 w 114"/>
                  <a:gd name="T1" fmla="*/ 0 h 114"/>
                  <a:gd name="T2" fmla="*/ 0 w 114"/>
                  <a:gd name="T3" fmla="*/ 57 h 114"/>
                  <a:gd name="T4" fmla="*/ 57 w 114"/>
                  <a:gd name="T5" fmla="*/ 114 h 114"/>
                  <a:gd name="T6" fmla="*/ 114 w 114"/>
                  <a:gd name="T7" fmla="*/ 57 h 114"/>
                  <a:gd name="T8" fmla="*/ 57 w 114"/>
                  <a:gd name="T9" fmla="*/ 0 h 114"/>
                  <a:gd name="T10" fmla="*/ 53 w 114"/>
                  <a:gd name="T11" fmla="*/ 90 h 114"/>
                  <a:gd name="T12" fmla="*/ 24 w 114"/>
                  <a:gd name="T13" fmla="*/ 61 h 114"/>
                  <a:gd name="T14" fmla="*/ 34 w 114"/>
                  <a:gd name="T15" fmla="*/ 51 h 114"/>
                  <a:gd name="T16" fmla="*/ 52 w 114"/>
                  <a:gd name="T17" fmla="*/ 68 h 114"/>
                  <a:gd name="T18" fmla="*/ 82 w 114"/>
                  <a:gd name="T19" fmla="*/ 30 h 114"/>
                  <a:gd name="T20" fmla="*/ 93 w 114"/>
                  <a:gd name="T21" fmla="*/ 39 h 114"/>
                  <a:gd name="T22" fmla="*/ 53 w 114"/>
                  <a:gd name="T23" fmla="*/ 9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14">
                    <a:moveTo>
                      <a:pt x="57" y="0"/>
                    </a:moveTo>
                    <a:cubicBezTo>
                      <a:pt x="26" y="0"/>
                      <a:pt x="0" y="26"/>
                      <a:pt x="0" y="57"/>
                    </a:cubicBezTo>
                    <a:cubicBezTo>
                      <a:pt x="0" y="88"/>
                      <a:pt x="26" y="114"/>
                      <a:pt x="57" y="114"/>
                    </a:cubicBezTo>
                    <a:cubicBezTo>
                      <a:pt x="88" y="114"/>
                      <a:pt x="114" y="88"/>
                      <a:pt x="114" y="57"/>
                    </a:cubicBezTo>
                    <a:cubicBezTo>
                      <a:pt x="114" y="26"/>
                      <a:pt x="88" y="0"/>
                      <a:pt x="57" y="0"/>
                    </a:cubicBezTo>
                    <a:close/>
                    <a:moveTo>
                      <a:pt x="53" y="90"/>
                    </a:moveTo>
                    <a:cubicBezTo>
                      <a:pt x="24" y="61"/>
                      <a:pt x="24" y="61"/>
                      <a:pt x="24" y="61"/>
                    </a:cubicBezTo>
                    <a:cubicBezTo>
                      <a:pt x="34" y="51"/>
                      <a:pt x="34" y="51"/>
                      <a:pt x="34" y="51"/>
                    </a:cubicBezTo>
                    <a:cubicBezTo>
                      <a:pt x="52" y="68"/>
                      <a:pt x="52" y="68"/>
                      <a:pt x="52" y="68"/>
                    </a:cubicBezTo>
                    <a:cubicBezTo>
                      <a:pt x="82" y="30"/>
                      <a:pt x="82" y="30"/>
                      <a:pt x="82" y="30"/>
                    </a:cubicBezTo>
                    <a:cubicBezTo>
                      <a:pt x="93" y="39"/>
                      <a:pt x="93" y="39"/>
                      <a:pt x="93" y="39"/>
                    </a:cubicBezTo>
                    <a:lnTo>
                      <a:pt x="53"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96" name="Rectangle 11">
                <a:extLst>
                  <a:ext uri="{FF2B5EF4-FFF2-40B4-BE49-F238E27FC236}">
                    <a16:creationId xmlns:a16="http://schemas.microsoft.com/office/drawing/2014/main" id="{55CCD283-0EB5-A04B-AD03-E2233A59ED6B}"/>
                  </a:ext>
                </a:extLst>
              </p:cNvPr>
              <p:cNvSpPr>
                <a:spLocks noChangeArrowheads="1"/>
              </p:cNvSpPr>
              <p:nvPr/>
            </p:nvSpPr>
            <p:spPr bwMode="auto">
              <a:xfrm>
                <a:off x="3448051" y="4206875"/>
                <a:ext cx="58738"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97" name="Rectangle 12">
                <a:extLst>
                  <a:ext uri="{FF2B5EF4-FFF2-40B4-BE49-F238E27FC236}">
                    <a16:creationId xmlns:a16="http://schemas.microsoft.com/office/drawing/2014/main" id="{6F5CFE90-581A-6C4F-861A-7702DA8ED043}"/>
                  </a:ext>
                </a:extLst>
              </p:cNvPr>
              <p:cNvSpPr>
                <a:spLocks noChangeArrowheads="1"/>
              </p:cNvSpPr>
              <p:nvPr/>
            </p:nvSpPr>
            <p:spPr bwMode="auto">
              <a:xfrm>
                <a:off x="3448051" y="4321175"/>
                <a:ext cx="58738"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99" name="Rectangle 13">
                <a:extLst>
                  <a:ext uri="{FF2B5EF4-FFF2-40B4-BE49-F238E27FC236}">
                    <a16:creationId xmlns:a16="http://schemas.microsoft.com/office/drawing/2014/main" id="{9BAE6368-396D-EC4C-B196-181183B1256D}"/>
                  </a:ext>
                </a:extLst>
              </p:cNvPr>
              <p:cNvSpPr>
                <a:spLocks noChangeArrowheads="1"/>
              </p:cNvSpPr>
              <p:nvPr/>
            </p:nvSpPr>
            <p:spPr bwMode="auto">
              <a:xfrm>
                <a:off x="3448051" y="4435475"/>
                <a:ext cx="58738" cy="587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00" name="Rectangle 14">
                <a:extLst>
                  <a:ext uri="{FF2B5EF4-FFF2-40B4-BE49-F238E27FC236}">
                    <a16:creationId xmlns:a16="http://schemas.microsoft.com/office/drawing/2014/main" id="{A6B70DDD-6335-6743-92CE-9194B1561F87}"/>
                  </a:ext>
                </a:extLst>
              </p:cNvPr>
              <p:cNvSpPr>
                <a:spLocks noChangeArrowheads="1"/>
              </p:cNvSpPr>
              <p:nvPr/>
            </p:nvSpPr>
            <p:spPr bwMode="auto">
              <a:xfrm>
                <a:off x="3563938" y="4233863"/>
                <a:ext cx="20161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01" name="Rectangle 100">
                <a:extLst>
                  <a:ext uri="{FF2B5EF4-FFF2-40B4-BE49-F238E27FC236}">
                    <a16:creationId xmlns:a16="http://schemas.microsoft.com/office/drawing/2014/main" id="{C16F9DB3-106D-1F4C-B101-9AF313F2971A}"/>
                  </a:ext>
                </a:extLst>
              </p:cNvPr>
              <p:cNvSpPr>
                <a:spLocks noChangeArrowheads="1"/>
              </p:cNvSpPr>
              <p:nvPr/>
            </p:nvSpPr>
            <p:spPr bwMode="auto">
              <a:xfrm>
                <a:off x="3563938" y="4348163"/>
                <a:ext cx="14446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103" name="TextBox 102">
              <a:extLst>
                <a:ext uri="{FF2B5EF4-FFF2-40B4-BE49-F238E27FC236}">
                  <a16:creationId xmlns:a16="http://schemas.microsoft.com/office/drawing/2014/main" id="{1E87D0E2-7486-6343-980D-2B1B10C5DB98}"/>
                </a:ext>
              </a:extLst>
            </p:cNvPr>
            <p:cNvSpPr txBox="1"/>
            <p:nvPr/>
          </p:nvSpPr>
          <p:spPr>
            <a:xfrm>
              <a:off x="5922066" y="1268947"/>
              <a:ext cx="831534" cy="616927"/>
            </a:xfrm>
            <a:prstGeom prst="rect">
              <a:avLst/>
            </a:prstGeom>
            <a:noFill/>
          </p:spPr>
          <p:txBody>
            <a:bodyPr wrap="square" lIns="43789" tIns="43789" rIns="43789" bIns="43789">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95" b="1" i="0" u="none" strike="noStrike" kern="1200" cap="none" spc="0" normalizeH="0" baseline="0" noProof="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rPr>
                <a:t>NIB +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95" b="1" i="0" u="none" strike="noStrike" kern="1200" cap="none" spc="0" normalizeH="0" baseline="0" noProof="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95" b="1" i="0" u="none" strike="noStrike" kern="1200" cap="none" spc="0" normalizeH="0" baseline="0" noProof="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rPr>
                <a:t>SS (verified)</a:t>
              </a:r>
            </a:p>
          </p:txBody>
        </p:sp>
        <p:sp>
          <p:nvSpPr>
            <p:cNvPr id="3" name="Right Arrow 2">
              <a:extLst>
                <a:ext uri="{FF2B5EF4-FFF2-40B4-BE49-F238E27FC236}">
                  <a16:creationId xmlns:a16="http://schemas.microsoft.com/office/drawing/2014/main" id="{8E80B396-7C5C-6943-A1E1-1AEA9921B300}"/>
                </a:ext>
              </a:extLst>
            </p:cNvPr>
            <p:cNvSpPr/>
            <p:nvPr/>
          </p:nvSpPr>
          <p:spPr>
            <a:xfrm>
              <a:off x="4599888" y="1438633"/>
              <a:ext cx="506052" cy="32185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985"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sp>
        <p:nvSpPr>
          <p:cNvPr id="66" name="Can 65">
            <a:extLst>
              <a:ext uri="{FF2B5EF4-FFF2-40B4-BE49-F238E27FC236}">
                <a16:creationId xmlns:a16="http://schemas.microsoft.com/office/drawing/2014/main" id="{E0E4428D-1357-5D41-8730-41B66BBBF25A}"/>
              </a:ext>
            </a:extLst>
          </p:cNvPr>
          <p:cNvSpPr/>
          <p:nvPr/>
        </p:nvSpPr>
        <p:spPr>
          <a:xfrm>
            <a:off x="7241681" y="5423083"/>
            <a:ext cx="352421" cy="361383"/>
          </a:xfrm>
          <a:prstGeom prst="can">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PI</a:t>
            </a:r>
          </a:p>
        </p:txBody>
      </p:sp>
      <p:sp>
        <p:nvSpPr>
          <p:cNvPr id="84" name="Shape 204">
            <a:extLst>
              <a:ext uri="{FF2B5EF4-FFF2-40B4-BE49-F238E27FC236}">
                <a16:creationId xmlns:a16="http://schemas.microsoft.com/office/drawing/2014/main" id="{22A5DAF3-B121-4F45-83EF-388F03F0521E}"/>
              </a:ext>
            </a:extLst>
          </p:cNvPr>
          <p:cNvSpPr/>
          <p:nvPr/>
        </p:nvSpPr>
        <p:spPr>
          <a:xfrm>
            <a:off x="6912216" y="6041610"/>
            <a:ext cx="1011349" cy="314619"/>
          </a:xfrm>
          <a:prstGeom prst="roundRect">
            <a:avLst>
              <a:gd name="adj" fmla="val 16667"/>
            </a:avLst>
          </a:prstGeom>
          <a:solidFill>
            <a:schemeClr val="accent2">
              <a:lumMod val="50000"/>
            </a:schemeClr>
          </a:solidFill>
          <a:ln>
            <a:noFill/>
          </a:ln>
        </p:spPr>
        <p:txBody>
          <a:bodyPr lIns="100086" tIns="100086" rIns="100086" bIns="100086"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77"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LSBU / LSP</a:t>
            </a:r>
          </a:p>
        </p:txBody>
      </p:sp>
      <p:grpSp>
        <p:nvGrpSpPr>
          <p:cNvPr id="5" name="Group 4">
            <a:extLst>
              <a:ext uri="{FF2B5EF4-FFF2-40B4-BE49-F238E27FC236}">
                <a16:creationId xmlns:a16="http://schemas.microsoft.com/office/drawing/2014/main" id="{B326D405-10C1-3D4B-ABF4-8DBAAA5380A2}"/>
              </a:ext>
            </a:extLst>
          </p:cNvPr>
          <p:cNvGrpSpPr/>
          <p:nvPr/>
        </p:nvGrpSpPr>
        <p:grpSpPr>
          <a:xfrm rot="5400000">
            <a:off x="6979914" y="5534129"/>
            <a:ext cx="862423" cy="164896"/>
            <a:chOff x="5230748" y="4888076"/>
            <a:chExt cx="1069405" cy="161770"/>
          </a:xfrm>
        </p:grpSpPr>
        <p:cxnSp>
          <p:nvCxnSpPr>
            <p:cNvPr id="86" name="Straight Arrow Connector 85">
              <a:extLst>
                <a:ext uri="{FF2B5EF4-FFF2-40B4-BE49-F238E27FC236}">
                  <a16:creationId xmlns:a16="http://schemas.microsoft.com/office/drawing/2014/main" id="{C0CB11DC-B4DA-9F49-B956-E575429FE77F}"/>
                </a:ext>
              </a:extLst>
            </p:cNvPr>
            <p:cNvCxnSpPr>
              <a:cxnSpLocks/>
            </p:cNvCxnSpPr>
            <p:nvPr/>
          </p:nvCxnSpPr>
          <p:spPr>
            <a:xfrm flipV="1">
              <a:off x="5230748" y="4888081"/>
              <a:ext cx="305433" cy="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D378FE64-0D1C-9144-9185-34E81606D0DD}"/>
                </a:ext>
              </a:extLst>
            </p:cNvPr>
            <p:cNvCxnSpPr>
              <a:cxnSpLocks/>
            </p:cNvCxnSpPr>
            <p:nvPr/>
          </p:nvCxnSpPr>
          <p:spPr>
            <a:xfrm>
              <a:off x="6010279" y="4888076"/>
              <a:ext cx="279973" cy="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1B6F3F05-545C-7A4B-95B2-D5CAD1243E2A}"/>
                </a:ext>
              </a:extLst>
            </p:cNvPr>
            <p:cNvCxnSpPr>
              <a:cxnSpLocks/>
            </p:cNvCxnSpPr>
            <p:nvPr/>
          </p:nvCxnSpPr>
          <p:spPr>
            <a:xfrm flipH="1">
              <a:off x="6000395" y="5049844"/>
              <a:ext cx="299758"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97CEC945-27B3-554F-8AEE-261173AB10BB}"/>
                </a:ext>
              </a:extLst>
            </p:cNvPr>
            <p:cNvCxnSpPr>
              <a:cxnSpLocks/>
            </p:cNvCxnSpPr>
            <p:nvPr/>
          </p:nvCxnSpPr>
          <p:spPr>
            <a:xfrm flipH="1">
              <a:off x="5230748" y="5049846"/>
              <a:ext cx="299758"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cxnSp>
        <p:nvCxnSpPr>
          <p:cNvPr id="85" name="Elbow Connector 84">
            <a:extLst>
              <a:ext uri="{FF2B5EF4-FFF2-40B4-BE49-F238E27FC236}">
                <a16:creationId xmlns:a16="http://schemas.microsoft.com/office/drawing/2014/main" id="{51C1575E-A0BF-504A-B858-D6E3AE3E5D56}"/>
              </a:ext>
            </a:extLst>
          </p:cNvPr>
          <p:cNvCxnSpPr>
            <a:cxnSpLocks/>
          </p:cNvCxnSpPr>
          <p:nvPr/>
        </p:nvCxnSpPr>
        <p:spPr>
          <a:xfrm rot="5400000">
            <a:off x="4408382" y="2485352"/>
            <a:ext cx="647747" cy="3511622"/>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21" name="Elbow Connector 120">
            <a:extLst>
              <a:ext uri="{FF2B5EF4-FFF2-40B4-BE49-F238E27FC236}">
                <a16:creationId xmlns:a16="http://schemas.microsoft.com/office/drawing/2014/main" id="{231ECB38-D685-5044-9A1D-76AAC08730FD}"/>
              </a:ext>
            </a:extLst>
          </p:cNvPr>
          <p:cNvCxnSpPr>
            <a:cxnSpLocks/>
            <a:stCxn id="56" idx="3"/>
            <a:endCxn id="108" idx="6"/>
          </p:cNvCxnSpPr>
          <p:nvPr/>
        </p:nvCxnSpPr>
        <p:spPr>
          <a:xfrm flipV="1">
            <a:off x="5739334" y="2858609"/>
            <a:ext cx="410937" cy="743158"/>
          </a:xfrm>
          <a:prstGeom prst="bentConnector3">
            <a:avLst>
              <a:gd name="adj1" fmla="val 30464"/>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122" name="Group 121">
            <a:extLst>
              <a:ext uri="{FF2B5EF4-FFF2-40B4-BE49-F238E27FC236}">
                <a16:creationId xmlns:a16="http://schemas.microsoft.com/office/drawing/2014/main" id="{8966BE3D-296C-944D-8B0A-EDA07C6EC1B2}"/>
              </a:ext>
            </a:extLst>
          </p:cNvPr>
          <p:cNvGrpSpPr/>
          <p:nvPr/>
        </p:nvGrpSpPr>
        <p:grpSpPr>
          <a:xfrm>
            <a:off x="6150271" y="2630402"/>
            <a:ext cx="364351" cy="463223"/>
            <a:chOff x="3333751" y="3948113"/>
            <a:chExt cx="631825" cy="803275"/>
          </a:xfrm>
          <a:solidFill>
            <a:schemeClr val="tx1">
              <a:lumMod val="50000"/>
              <a:lumOff val="50000"/>
            </a:schemeClr>
          </a:solidFill>
        </p:grpSpPr>
        <p:sp>
          <p:nvSpPr>
            <p:cNvPr id="123" name="Freeform 7">
              <a:extLst>
                <a:ext uri="{FF2B5EF4-FFF2-40B4-BE49-F238E27FC236}">
                  <a16:creationId xmlns:a16="http://schemas.microsoft.com/office/drawing/2014/main" id="{0F083FCF-1C4E-DE4A-B246-CFB2FF2B7982}"/>
                </a:ext>
              </a:extLst>
            </p:cNvPr>
            <p:cNvSpPr>
              <a:spLocks/>
            </p:cNvSpPr>
            <p:nvPr/>
          </p:nvSpPr>
          <p:spPr bwMode="auto">
            <a:xfrm>
              <a:off x="3343276" y="3954463"/>
              <a:ext cx="160338" cy="160337"/>
            </a:xfrm>
            <a:custGeom>
              <a:avLst/>
              <a:gdLst>
                <a:gd name="T0" fmla="*/ 101 w 101"/>
                <a:gd name="T1" fmla="*/ 0 h 101"/>
                <a:gd name="T2" fmla="*/ 101 w 101"/>
                <a:gd name="T3" fmla="*/ 101 h 101"/>
                <a:gd name="T4" fmla="*/ 0 w 101"/>
                <a:gd name="T5" fmla="*/ 101 h 101"/>
                <a:gd name="T6" fmla="*/ 101 w 101"/>
                <a:gd name="T7" fmla="*/ 0 h 101"/>
              </a:gdLst>
              <a:ahLst/>
              <a:cxnLst>
                <a:cxn ang="0">
                  <a:pos x="T0" y="T1"/>
                </a:cxn>
                <a:cxn ang="0">
                  <a:pos x="T2" y="T3"/>
                </a:cxn>
                <a:cxn ang="0">
                  <a:pos x="T4" y="T5"/>
                </a:cxn>
                <a:cxn ang="0">
                  <a:pos x="T6" y="T7"/>
                </a:cxn>
              </a:cxnLst>
              <a:rect l="0" t="0" r="r" b="b"/>
              <a:pathLst>
                <a:path w="101" h="101">
                  <a:moveTo>
                    <a:pt x="101" y="0"/>
                  </a:moveTo>
                  <a:lnTo>
                    <a:pt x="101" y="101"/>
                  </a:lnTo>
                  <a:lnTo>
                    <a:pt x="0" y="101"/>
                  </a:lnTo>
                  <a:lnTo>
                    <a:pt x="1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24" name="Freeform 8">
              <a:extLst>
                <a:ext uri="{FF2B5EF4-FFF2-40B4-BE49-F238E27FC236}">
                  <a16:creationId xmlns:a16="http://schemas.microsoft.com/office/drawing/2014/main" id="{9A06DCB8-4386-1B47-8D89-EE766791E91D}"/>
                </a:ext>
              </a:extLst>
            </p:cNvPr>
            <p:cNvSpPr>
              <a:spLocks/>
            </p:cNvSpPr>
            <p:nvPr/>
          </p:nvSpPr>
          <p:spPr bwMode="auto">
            <a:xfrm>
              <a:off x="3333751" y="4167188"/>
              <a:ext cx="250825" cy="468312"/>
            </a:xfrm>
            <a:custGeom>
              <a:avLst/>
              <a:gdLst>
                <a:gd name="T0" fmla="*/ 38 w 83"/>
                <a:gd name="T1" fmla="*/ 136 h 155"/>
                <a:gd name="T2" fmla="*/ 19 w 83"/>
                <a:gd name="T3" fmla="*/ 117 h 155"/>
                <a:gd name="T4" fmla="*/ 19 w 83"/>
                <a:gd name="T5" fmla="*/ 60 h 155"/>
                <a:gd name="T6" fmla="*/ 19 w 83"/>
                <a:gd name="T7" fmla="*/ 13 h 155"/>
                <a:gd name="T8" fmla="*/ 19 w 83"/>
                <a:gd name="T9" fmla="*/ 0 h 155"/>
                <a:gd name="T10" fmla="*/ 0 w 83"/>
                <a:gd name="T11" fmla="*/ 0 h 155"/>
                <a:gd name="T12" fmla="*/ 0 w 83"/>
                <a:gd name="T13" fmla="*/ 117 h 155"/>
                <a:gd name="T14" fmla="*/ 38 w 83"/>
                <a:gd name="T15" fmla="*/ 155 h 155"/>
                <a:gd name="T16" fmla="*/ 83 w 83"/>
                <a:gd name="T17" fmla="*/ 155 h 155"/>
                <a:gd name="T18" fmla="*/ 80 w 83"/>
                <a:gd name="T19" fmla="*/ 136 h 155"/>
                <a:gd name="T20" fmla="*/ 38 w 83"/>
                <a:gd name="T21" fmla="*/ 13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155">
                  <a:moveTo>
                    <a:pt x="38" y="136"/>
                  </a:moveTo>
                  <a:cubicBezTo>
                    <a:pt x="28" y="136"/>
                    <a:pt x="19" y="128"/>
                    <a:pt x="19" y="117"/>
                  </a:cubicBezTo>
                  <a:cubicBezTo>
                    <a:pt x="19" y="60"/>
                    <a:pt x="19" y="60"/>
                    <a:pt x="19" y="60"/>
                  </a:cubicBezTo>
                  <a:cubicBezTo>
                    <a:pt x="19" y="13"/>
                    <a:pt x="19" y="13"/>
                    <a:pt x="19" y="13"/>
                  </a:cubicBezTo>
                  <a:cubicBezTo>
                    <a:pt x="19" y="0"/>
                    <a:pt x="19" y="0"/>
                    <a:pt x="19" y="0"/>
                  </a:cubicBezTo>
                  <a:cubicBezTo>
                    <a:pt x="0" y="0"/>
                    <a:pt x="0" y="0"/>
                    <a:pt x="0" y="0"/>
                  </a:cubicBezTo>
                  <a:cubicBezTo>
                    <a:pt x="0" y="117"/>
                    <a:pt x="0" y="117"/>
                    <a:pt x="0" y="117"/>
                  </a:cubicBezTo>
                  <a:cubicBezTo>
                    <a:pt x="0" y="138"/>
                    <a:pt x="17" y="155"/>
                    <a:pt x="38" y="155"/>
                  </a:cubicBezTo>
                  <a:cubicBezTo>
                    <a:pt x="83" y="155"/>
                    <a:pt x="83" y="155"/>
                    <a:pt x="83" y="155"/>
                  </a:cubicBezTo>
                  <a:cubicBezTo>
                    <a:pt x="81" y="149"/>
                    <a:pt x="80" y="143"/>
                    <a:pt x="80" y="136"/>
                  </a:cubicBezTo>
                  <a:lnTo>
                    <a:pt x="38"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25" name="Freeform 9">
              <a:extLst>
                <a:ext uri="{FF2B5EF4-FFF2-40B4-BE49-F238E27FC236}">
                  <a16:creationId xmlns:a16="http://schemas.microsoft.com/office/drawing/2014/main" id="{BFB87171-2DF7-0C49-AD52-5B5B4B48E349}"/>
                </a:ext>
              </a:extLst>
            </p:cNvPr>
            <p:cNvSpPr>
              <a:spLocks/>
            </p:cNvSpPr>
            <p:nvPr/>
          </p:nvSpPr>
          <p:spPr bwMode="auto">
            <a:xfrm>
              <a:off x="3551238" y="3948113"/>
              <a:ext cx="327025" cy="430212"/>
            </a:xfrm>
            <a:custGeom>
              <a:avLst/>
              <a:gdLst>
                <a:gd name="T0" fmla="*/ 108 w 108"/>
                <a:gd name="T1" fmla="*/ 37 h 142"/>
                <a:gd name="T2" fmla="*/ 71 w 108"/>
                <a:gd name="T3" fmla="*/ 0 h 142"/>
                <a:gd name="T4" fmla="*/ 0 w 108"/>
                <a:gd name="T5" fmla="*/ 0 h 142"/>
                <a:gd name="T6" fmla="*/ 0 w 108"/>
                <a:gd name="T7" fmla="*/ 19 h 142"/>
                <a:gd name="T8" fmla="*/ 23 w 108"/>
                <a:gd name="T9" fmla="*/ 19 h 142"/>
                <a:gd name="T10" fmla="*/ 71 w 108"/>
                <a:gd name="T11" fmla="*/ 19 h 142"/>
                <a:gd name="T12" fmla="*/ 89 w 108"/>
                <a:gd name="T13" fmla="*/ 37 h 142"/>
                <a:gd name="T14" fmla="*/ 89 w 108"/>
                <a:gd name="T15" fmla="*/ 137 h 142"/>
                <a:gd name="T16" fmla="*/ 108 w 108"/>
                <a:gd name="T17" fmla="*/ 142 h 142"/>
                <a:gd name="T18" fmla="*/ 108 w 108"/>
                <a:gd name="T19" fmla="*/ 3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42">
                  <a:moveTo>
                    <a:pt x="108" y="37"/>
                  </a:moveTo>
                  <a:cubicBezTo>
                    <a:pt x="108" y="17"/>
                    <a:pt x="91" y="0"/>
                    <a:pt x="71" y="0"/>
                  </a:cubicBezTo>
                  <a:cubicBezTo>
                    <a:pt x="0" y="0"/>
                    <a:pt x="0" y="0"/>
                    <a:pt x="0" y="0"/>
                  </a:cubicBezTo>
                  <a:cubicBezTo>
                    <a:pt x="0" y="19"/>
                    <a:pt x="0" y="19"/>
                    <a:pt x="0" y="19"/>
                  </a:cubicBezTo>
                  <a:cubicBezTo>
                    <a:pt x="23" y="19"/>
                    <a:pt x="23" y="19"/>
                    <a:pt x="23" y="19"/>
                  </a:cubicBezTo>
                  <a:cubicBezTo>
                    <a:pt x="71" y="19"/>
                    <a:pt x="71" y="19"/>
                    <a:pt x="71" y="19"/>
                  </a:cubicBezTo>
                  <a:cubicBezTo>
                    <a:pt x="81" y="19"/>
                    <a:pt x="89" y="27"/>
                    <a:pt x="89" y="37"/>
                  </a:cubicBezTo>
                  <a:cubicBezTo>
                    <a:pt x="89" y="137"/>
                    <a:pt x="89" y="137"/>
                    <a:pt x="89" y="137"/>
                  </a:cubicBezTo>
                  <a:cubicBezTo>
                    <a:pt x="96" y="138"/>
                    <a:pt x="102" y="139"/>
                    <a:pt x="108" y="142"/>
                  </a:cubicBezTo>
                  <a:lnTo>
                    <a:pt x="108"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26" name="Freeform 10">
              <a:extLst>
                <a:ext uri="{FF2B5EF4-FFF2-40B4-BE49-F238E27FC236}">
                  <a16:creationId xmlns:a16="http://schemas.microsoft.com/office/drawing/2014/main" id="{B8FB0EFC-8539-6941-977B-590AE66D52C7}"/>
                </a:ext>
              </a:extLst>
            </p:cNvPr>
            <p:cNvSpPr>
              <a:spLocks noEditPoints="1"/>
            </p:cNvSpPr>
            <p:nvPr/>
          </p:nvSpPr>
          <p:spPr bwMode="auto">
            <a:xfrm>
              <a:off x="3621088" y="4405313"/>
              <a:ext cx="344488" cy="346075"/>
            </a:xfrm>
            <a:custGeom>
              <a:avLst/>
              <a:gdLst>
                <a:gd name="T0" fmla="*/ 57 w 114"/>
                <a:gd name="T1" fmla="*/ 0 h 114"/>
                <a:gd name="T2" fmla="*/ 0 w 114"/>
                <a:gd name="T3" fmla="*/ 57 h 114"/>
                <a:gd name="T4" fmla="*/ 57 w 114"/>
                <a:gd name="T5" fmla="*/ 114 h 114"/>
                <a:gd name="T6" fmla="*/ 114 w 114"/>
                <a:gd name="T7" fmla="*/ 57 h 114"/>
                <a:gd name="T8" fmla="*/ 57 w 114"/>
                <a:gd name="T9" fmla="*/ 0 h 114"/>
                <a:gd name="T10" fmla="*/ 53 w 114"/>
                <a:gd name="T11" fmla="*/ 90 h 114"/>
                <a:gd name="T12" fmla="*/ 24 w 114"/>
                <a:gd name="T13" fmla="*/ 61 h 114"/>
                <a:gd name="T14" fmla="*/ 34 w 114"/>
                <a:gd name="T15" fmla="*/ 51 h 114"/>
                <a:gd name="T16" fmla="*/ 52 w 114"/>
                <a:gd name="T17" fmla="*/ 68 h 114"/>
                <a:gd name="T18" fmla="*/ 82 w 114"/>
                <a:gd name="T19" fmla="*/ 30 h 114"/>
                <a:gd name="T20" fmla="*/ 93 w 114"/>
                <a:gd name="T21" fmla="*/ 39 h 114"/>
                <a:gd name="T22" fmla="*/ 53 w 114"/>
                <a:gd name="T23" fmla="*/ 9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14">
                  <a:moveTo>
                    <a:pt x="57" y="0"/>
                  </a:moveTo>
                  <a:cubicBezTo>
                    <a:pt x="26" y="0"/>
                    <a:pt x="0" y="26"/>
                    <a:pt x="0" y="57"/>
                  </a:cubicBezTo>
                  <a:cubicBezTo>
                    <a:pt x="0" y="88"/>
                    <a:pt x="26" y="114"/>
                    <a:pt x="57" y="114"/>
                  </a:cubicBezTo>
                  <a:cubicBezTo>
                    <a:pt x="88" y="114"/>
                    <a:pt x="114" y="88"/>
                    <a:pt x="114" y="57"/>
                  </a:cubicBezTo>
                  <a:cubicBezTo>
                    <a:pt x="114" y="26"/>
                    <a:pt x="88" y="0"/>
                    <a:pt x="57" y="0"/>
                  </a:cubicBezTo>
                  <a:close/>
                  <a:moveTo>
                    <a:pt x="53" y="90"/>
                  </a:moveTo>
                  <a:cubicBezTo>
                    <a:pt x="24" y="61"/>
                    <a:pt x="24" y="61"/>
                    <a:pt x="24" y="61"/>
                  </a:cubicBezTo>
                  <a:cubicBezTo>
                    <a:pt x="34" y="51"/>
                    <a:pt x="34" y="51"/>
                    <a:pt x="34" y="51"/>
                  </a:cubicBezTo>
                  <a:cubicBezTo>
                    <a:pt x="52" y="68"/>
                    <a:pt x="52" y="68"/>
                    <a:pt x="52" y="68"/>
                  </a:cubicBezTo>
                  <a:cubicBezTo>
                    <a:pt x="82" y="30"/>
                    <a:pt x="82" y="30"/>
                    <a:pt x="82" y="30"/>
                  </a:cubicBezTo>
                  <a:cubicBezTo>
                    <a:pt x="93" y="39"/>
                    <a:pt x="93" y="39"/>
                    <a:pt x="93" y="39"/>
                  </a:cubicBezTo>
                  <a:lnTo>
                    <a:pt x="53"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27" name="Rectangle 11">
              <a:extLst>
                <a:ext uri="{FF2B5EF4-FFF2-40B4-BE49-F238E27FC236}">
                  <a16:creationId xmlns:a16="http://schemas.microsoft.com/office/drawing/2014/main" id="{487B8170-D57E-554E-B8A5-34D81A9A37DE}"/>
                </a:ext>
              </a:extLst>
            </p:cNvPr>
            <p:cNvSpPr>
              <a:spLocks noChangeArrowheads="1"/>
            </p:cNvSpPr>
            <p:nvPr/>
          </p:nvSpPr>
          <p:spPr bwMode="auto">
            <a:xfrm>
              <a:off x="3448051" y="4206875"/>
              <a:ext cx="58738"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28" name="Rectangle 12">
              <a:extLst>
                <a:ext uri="{FF2B5EF4-FFF2-40B4-BE49-F238E27FC236}">
                  <a16:creationId xmlns:a16="http://schemas.microsoft.com/office/drawing/2014/main" id="{EDDD3980-0822-2C47-82A6-7164ECADC6A9}"/>
                </a:ext>
              </a:extLst>
            </p:cNvPr>
            <p:cNvSpPr>
              <a:spLocks noChangeArrowheads="1"/>
            </p:cNvSpPr>
            <p:nvPr/>
          </p:nvSpPr>
          <p:spPr bwMode="auto">
            <a:xfrm>
              <a:off x="3448051" y="4321175"/>
              <a:ext cx="58738"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29" name="Rectangle 13">
              <a:extLst>
                <a:ext uri="{FF2B5EF4-FFF2-40B4-BE49-F238E27FC236}">
                  <a16:creationId xmlns:a16="http://schemas.microsoft.com/office/drawing/2014/main" id="{0F0E0FD1-531B-B34C-BD1C-16E9BD87E9BC}"/>
                </a:ext>
              </a:extLst>
            </p:cNvPr>
            <p:cNvSpPr>
              <a:spLocks noChangeArrowheads="1"/>
            </p:cNvSpPr>
            <p:nvPr/>
          </p:nvSpPr>
          <p:spPr bwMode="auto">
            <a:xfrm>
              <a:off x="3448051" y="4435475"/>
              <a:ext cx="58738" cy="587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30" name="Rectangle 14">
              <a:extLst>
                <a:ext uri="{FF2B5EF4-FFF2-40B4-BE49-F238E27FC236}">
                  <a16:creationId xmlns:a16="http://schemas.microsoft.com/office/drawing/2014/main" id="{5414083D-8B6D-3141-BE1B-268F6C29064A}"/>
                </a:ext>
              </a:extLst>
            </p:cNvPr>
            <p:cNvSpPr>
              <a:spLocks noChangeArrowheads="1"/>
            </p:cNvSpPr>
            <p:nvPr/>
          </p:nvSpPr>
          <p:spPr bwMode="auto">
            <a:xfrm>
              <a:off x="3563938" y="4233863"/>
              <a:ext cx="20161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31" name="Rectangle 130">
              <a:extLst>
                <a:ext uri="{FF2B5EF4-FFF2-40B4-BE49-F238E27FC236}">
                  <a16:creationId xmlns:a16="http://schemas.microsoft.com/office/drawing/2014/main" id="{BC785A32-A677-F44B-9A43-4DFCC187565B}"/>
                </a:ext>
              </a:extLst>
            </p:cNvPr>
            <p:cNvSpPr>
              <a:spLocks noChangeArrowheads="1"/>
            </p:cNvSpPr>
            <p:nvPr/>
          </p:nvSpPr>
          <p:spPr bwMode="auto">
            <a:xfrm>
              <a:off x="3563938" y="4348163"/>
              <a:ext cx="14446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135" name="TextBox 134">
            <a:extLst>
              <a:ext uri="{FF2B5EF4-FFF2-40B4-BE49-F238E27FC236}">
                <a16:creationId xmlns:a16="http://schemas.microsoft.com/office/drawing/2014/main" id="{ED186EDD-BF40-174C-960B-8A2507DE5053}"/>
              </a:ext>
            </a:extLst>
          </p:cNvPr>
          <p:cNvSpPr txBox="1"/>
          <p:nvPr/>
        </p:nvSpPr>
        <p:spPr>
          <a:xfrm>
            <a:off x="6555852" y="2630403"/>
            <a:ext cx="1150649" cy="425449"/>
          </a:xfrm>
          <a:prstGeom prst="rect">
            <a:avLst/>
          </a:prstGeom>
          <a:noFill/>
        </p:spPr>
        <p:txBody>
          <a:bodyPr wrap="square" lIns="43789" tIns="43789" rIns="43789" bIns="43789">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95" b="1" i="0" u="none" strike="noStrike" kern="1200" cap="none" spc="0" normalizeH="0" baseline="0" noProof="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rPr>
              <a:t>NIB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95" b="1" i="0" u="none" strike="noStrike" kern="1200" cap="none" spc="0" normalizeH="0" baseline="0" noProof="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rPr>
              <a:t>SS (</a:t>
            </a:r>
            <a:r>
              <a:rPr kumimoji="0" lang="en-US" sz="1095" b="1" i="1" u="none" strike="noStrike" kern="1200" cap="none" spc="0" normalizeH="0" baseline="0" noProof="0">
                <a:ln>
                  <a:noFill/>
                </a:ln>
                <a:solidFill>
                  <a:srgbClr val="FF0000"/>
                </a:solidFill>
                <a:effectLst/>
                <a:uLnTx/>
                <a:uFillTx/>
                <a:latin typeface="Calibri" panose="020F0502020204030204" pitchFamily="34" charset="0"/>
                <a:ea typeface="+mn-ea"/>
                <a:cs typeface="Calibri" panose="020F0502020204030204" pitchFamily="34" charset="0"/>
              </a:rPr>
              <a:t>unverified</a:t>
            </a:r>
            <a:r>
              <a:rPr kumimoji="0" lang="en-US" sz="1095" b="1" i="0" u="none" strike="noStrike" kern="1200" cap="none" spc="0" normalizeH="0" baseline="0" noProof="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rPr>
              <a:t>)</a:t>
            </a:r>
          </a:p>
        </p:txBody>
      </p:sp>
      <p:cxnSp>
        <p:nvCxnSpPr>
          <p:cNvPr id="148" name="Elbow Connector 147">
            <a:extLst>
              <a:ext uri="{FF2B5EF4-FFF2-40B4-BE49-F238E27FC236}">
                <a16:creationId xmlns:a16="http://schemas.microsoft.com/office/drawing/2014/main" id="{BDC3D6CD-6510-C944-BE51-78BB69844762}"/>
              </a:ext>
            </a:extLst>
          </p:cNvPr>
          <p:cNvCxnSpPr>
            <a:cxnSpLocks/>
            <a:stCxn id="94" idx="2"/>
            <a:endCxn id="139" idx="5"/>
          </p:cNvCxnSpPr>
          <p:nvPr/>
        </p:nvCxnSpPr>
        <p:spPr>
          <a:xfrm rot="16200000" flipH="1">
            <a:off x="9125157" y="5292212"/>
            <a:ext cx="326599" cy="134339"/>
          </a:xfrm>
          <a:prstGeom prst="bentConnector4">
            <a:avLst>
              <a:gd name="adj1" fmla="val 50000"/>
              <a:gd name="adj2" fmla="val 676"/>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149" name="Group 148">
            <a:extLst>
              <a:ext uri="{FF2B5EF4-FFF2-40B4-BE49-F238E27FC236}">
                <a16:creationId xmlns:a16="http://schemas.microsoft.com/office/drawing/2014/main" id="{9F022677-A42A-3A4F-8DBA-CB0DC79D3AB6}"/>
              </a:ext>
            </a:extLst>
          </p:cNvPr>
          <p:cNvGrpSpPr/>
          <p:nvPr/>
        </p:nvGrpSpPr>
        <p:grpSpPr>
          <a:xfrm>
            <a:off x="9366958" y="5305700"/>
            <a:ext cx="364351" cy="463223"/>
            <a:chOff x="3333751" y="3948113"/>
            <a:chExt cx="631825" cy="803275"/>
          </a:xfrm>
          <a:solidFill>
            <a:schemeClr val="accent2">
              <a:lumMod val="75000"/>
            </a:schemeClr>
          </a:solidFill>
        </p:grpSpPr>
        <p:sp>
          <p:nvSpPr>
            <p:cNvPr id="150" name="Freeform 7">
              <a:extLst>
                <a:ext uri="{FF2B5EF4-FFF2-40B4-BE49-F238E27FC236}">
                  <a16:creationId xmlns:a16="http://schemas.microsoft.com/office/drawing/2014/main" id="{0B85D457-1EAE-E44E-BF34-44D1BD1337E7}"/>
                </a:ext>
              </a:extLst>
            </p:cNvPr>
            <p:cNvSpPr>
              <a:spLocks/>
            </p:cNvSpPr>
            <p:nvPr/>
          </p:nvSpPr>
          <p:spPr bwMode="auto">
            <a:xfrm>
              <a:off x="3343276" y="3954463"/>
              <a:ext cx="160338" cy="160337"/>
            </a:xfrm>
            <a:custGeom>
              <a:avLst/>
              <a:gdLst>
                <a:gd name="T0" fmla="*/ 101 w 101"/>
                <a:gd name="T1" fmla="*/ 0 h 101"/>
                <a:gd name="T2" fmla="*/ 101 w 101"/>
                <a:gd name="T3" fmla="*/ 101 h 101"/>
                <a:gd name="T4" fmla="*/ 0 w 101"/>
                <a:gd name="T5" fmla="*/ 101 h 101"/>
                <a:gd name="T6" fmla="*/ 101 w 101"/>
                <a:gd name="T7" fmla="*/ 0 h 101"/>
              </a:gdLst>
              <a:ahLst/>
              <a:cxnLst>
                <a:cxn ang="0">
                  <a:pos x="T0" y="T1"/>
                </a:cxn>
                <a:cxn ang="0">
                  <a:pos x="T2" y="T3"/>
                </a:cxn>
                <a:cxn ang="0">
                  <a:pos x="T4" y="T5"/>
                </a:cxn>
                <a:cxn ang="0">
                  <a:pos x="T6" y="T7"/>
                </a:cxn>
              </a:cxnLst>
              <a:rect l="0" t="0" r="r" b="b"/>
              <a:pathLst>
                <a:path w="101" h="101">
                  <a:moveTo>
                    <a:pt x="101" y="0"/>
                  </a:moveTo>
                  <a:lnTo>
                    <a:pt x="101" y="101"/>
                  </a:lnTo>
                  <a:lnTo>
                    <a:pt x="0" y="101"/>
                  </a:lnTo>
                  <a:lnTo>
                    <a:pt x="1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51" name="Freeform 8">
              <a:extLst>
                <a:ext uri="{FF2B5EF4-FFF2-40B4-BE49-F238E27FC236}">
                  <a16:creationId xmlns:a16="http://schemas.microsoft.com/office/drawing/2014/main" id="{7ADB3A94-A956-9146-B833-8BAC51C27742}"/>
                </a:ext>
              </a:extLst>
            </p:cNvPr>
            <p:cNvSpPr>
              <a:spLocks/>
            </p:cNvSpPr>
            <p:nvPr/>
          </p:nvSpPr>
          <p:spPr bwMode="auto">
            <a:xfrm>
              <a:off x="3333751" y="4167188"/>
              <a:ext cx="250825" cy="468312"/>
            </a:xfrm>
            <a:custGeom>
              <a:avLst/>
              <a:gdLst>
                <a:gd name="T0" fmla="*/ 38 w 83"/>
                <a:gd name="T1" fmla="*/ 136 h 155"/>
                <a:gd name="T2" fmla="*/ 19 w 83"/>
                <a:gd name="T3" fmla="*/ 117 h 155"/>
                <a:gd name="T4" fmla="*/ 19 w 83"/>
                <a:gd name="T5" fmla="*/ 60 h 155"/>
                <a:gd name="T6" fmla="*/ 19 w 83"/>
                <a:gd name="T7" fmla="*/ 13 h 155"/>
                <a:gd name="T8" fmla="*/ 19 w 83"/>
                <a:gd name="T9" fmla="*/ 0 h 155"/>
                <a:gd name="T10" fmla="*/ 0 w 83"/>
                <a:gd name="T11" fmla="*/ 0 h 155"/>
                <a:gd name="T12" fmla="*/ 0 w 83"/>
                <a:gd name="T13" fmla="*/ 117 h 155"/>
                <a:gd name="T14" fmla="*/ 38 w 83"/>
                <a:gd name="T15" fmla="*/ 155 h 155"/>
                <a:gd name="T16" fmla="*/ 83 w 83"/>
                <a:gd name="T17" fmla="*/ 155 h 155"/>
                <a:gd name="T18" fmla="*/ 80 w 83"/>
                <a:gd name="T19" fmla="*/ 136 h 155"/>
                <a:gd name="T20" fmla="*/ 38 w 83"/>
                <a:gd name="T21" fmla="*/ 13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155">
                  <a:moveTo>
                    <a:pt x="38" y="136"/>
                  </a:moveTo>
                  <a:cubicBezTo>
                    <a:pt x="28" y="136"/>
                    <a:pt x="19" y="128"/>
                    <a:pt x="19" y="117"/>
                  </a:cubicBezTo>
                  <a:cubicBezTo>
                    <a:pt x="19" y="60"/>
                    <a:pt x="19" y="60"/>
                    <a:pt x="19" y="60"/>
                  </a:cubicBezTo>
                  <a:cubicBezTo>
                    <a:pt x="19" y="13"/>
                    <a:pt x="19" y="13"/>
                    <a:pt x="19" y="13"/>
                  </a:cubicBezTo>
                  <a:cubicBezTo>
                    <a:pt x="19" y="0"/>
                    <a:pt x="19" y="0"/>
                    <a:pt x="19" y="0"/>
                  </a:cubicBezTo>
                  <a:cubicBezTo>
                    <a:pt x="0" y="0"/>
                    <a:pt x="0" y="0"/>
                    <a:pt x="0" y="0"/>
                  </a:cubicBezTo>
                  <a:cubicBezTo>
                    <a:pt x="0" y="117"/>
                    <a:pt x="0" y="117"/>
                    <a:pt x="0" y="117"/>
                  </a:cubicBezTo>
                  <a:cubicBezTo>
                    <a:pt x="0" y="138"/>
                    <a:pt x="17" y="155"/>
                    <a:pt x="38" y="155"/>
                  </a:cubicBezTo>
                  <a:cubicBezTo>
                    <a:pt x="83" y="155"/>
                    <a:pt x="83" y="155"/>
                    <a:pt x="83" y="155"/>
                  </a:cubicBezTo>
                  <a:cubicBezTo>
                    <a:pt x="81" y="149"/>
                    <a:pt x="80" y="143"/>
                    <a:pt x="80" y="136"/>
                  </a:cubicBezTo>
                  <a:lnTo>
                    <a:pt x="38"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52" name="Freeform 9">
              <a:extLst>
                <a:ext uri="{FF2B5EF4-FFF2-40B4-BE49-F238E27FC236}">
                  <a16:creationId xmlns:a16="http://schemas.microsoft.com/office/drawing/2014/main" id="{7E596931-48E6-7745-9B2A-C14C0A38C552}"/>
                </a:ext>
              </a:extLst>
            </p:cNvPr>
            <p:cNvSpPr>
              <a:spLocks/>
            </p:cNvSpPr>
            <p:nvPr/>
          </p:nvSpPr>
          <p:spPr bwMode="auto">
            <a:xfrm>
              <a:off x="3551238" y="3948113"/>
              <a:ext cx="327025" cy="430212"/>
            </a:xfrm>
            <a:custGeom>
              <a:avLst/>
              <a:gdLst>
                <a:gd name="T0" fmla="*/ 108 w 108"/>
                <a:gd name="T1" fmla="*/ 37 h 142"/>
                <a:gd name="T2" fmla="*/ 71 w 108"/>
                <a:gd name="T3" fmla="*/ 0 h 142"/>
                <a:gd name="T4" fmla="*/ 0 w 108"/>
                <a:gd name="T5" fmla="*/ 0 h 142"/>
                <a:gd name="T6" fmla="*/ 0 w 108"/>
                <a:gd name="T7" fmla="*/ 19 h 142"/>
                <a:gd name="T8" fmla="*/ 23 w 108"/>
                <a:gd name="T9" fmla="*/ 19 h 142"/>
                <a:gd name="T10" fmla="*/ 71 w 108"/>
                <a:gd name="T11" fmla="*/ 19 h 142"/>
                <a:gd name="T12" fmla="*/ 89 w 108"/>
                <a:gd name="T13" fmla="*/ 37 h 142"/>
                <a:gd name="T14" fmla="*/ 89 w 108"/>
                <a:gd name="T15" fmla="*/ 137 h 142"/>
                <a:gd name="T16" fmla="*/ 108 w 108"/>
                <a:gd name="T17" fmla="*/ 142 h 142"/>
                <a:gd name="T18" fmla="*/ 108 w 108"/>
                <a:gd name="T19" fmla="*/ 3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42">
                  <a:moveTo>
                    <a:pt x="108" y="37"/>
                  </a:moveTo>
                  <a:cubicBezTo>
                    <a:pt x="108" y="17"/>
                    <a:pt x="91" y="0"/>
                    <a:pt x="71" y="0"/>
                  </a:cubicBezTo>
                  <a:cubicBezTo>
                    <a:pt x="0" y="0"/>
                    <a:pt x="0" y="0"/>
                    <a:pt x="0" y="0"/>
                  </a:cubicBezTo>
                  <a:cubicBezTo>
                    <a:pt x="0" y="19"/>
                    <a:pt x="0" y="19"/>
                    <a:pt x="0" y="19"/>
                  </a:cubicBezTo>
                  <a:cubicBezTo>
                    <a:pt x="23" y="19"/>
                    <a:pt x="23" y="19"/>
                    <a:pt x="23" y="19"/>
                  </a:cubicBezTo>
                  <a:cubicBezTo>
                    <a:pt x="71" y="19"/>
                    <a:pt x="71" y="19"/>
                    <a:pt x="71" y="19"/>
                  </a:cubicBezTo>
                  <a:cubicBezTo>
                    <a:pt x="81" y="19"/>
                    <a:pt x="89" y="27"/>
                    <a:pt x="89" y="37"/>
                  </a:cubicBezTo>
                  <a:cubicBezTo>
                    <a:pt x="89" y="137"/>
                    <a:pt x="89" y="137"/>
                    <a:pt x="89" y="137"/>
                  </a:cubicBezTo>
                  <a:cubicBezTo>
                    <a:pt x="96" y="138"/>
                    <a:pt x="102" y="139"/>
                    <a:pt x="108" y="142"/>
                  </a:cubicBezTo>
                  <a:lnTo>
                    <a:pt x="108"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53" name="Freeform 10">
              <a:extLst>
                <a:ext uri="{FF2B5EF4-FFF2-40B4-BE49-F238E27FC236}">
                  <a16:creationId xmlns:a16="http://schemas.microsoft.com/office/drawing/2014/main" id="{DA3A7B14-E88E-BE42-9CAC-450F7696E280}"/>
                </a:ext>
              </a:extLst>
            </p:cNvPr>
            <p:cNvSpPr>
              <a:spLocks noEditPoints="1"/>
            </p:cNvSpPr>
            <p:nvPr/>
          </p:nvSpPr>
          <p:spPr bwMode="auto">
            <a:xfrm>
              <a:off x="3621088" y="4405313"/>
              <a:ext cx="344488" cy="346075"/>
            </a:xfrm>
            <a:custGeom>
              <a:avLst/>
              <a:gdLst>
                <a:gd name="T0" fmla="*/ 57 w 114"/>
                <a:gd name="T1" fmla="*/ 0 h 114"/>
                <a:gd name="T2" fmla="*/ 0 w 114"/>
                <a:gd name="T3" fmla="*/ 57 h 114"/>
                <a:gd name="T4" fmla="*/ 57 w 114"/>
                <a:gd name="T5" fmla="*/ 114 h 114"/>
                <a:gd name="T6" fmla="*/ 114 w 114"/>
                <a:gd name="T7" fmla="*/ 57 h 114"/>
                <a:gd name="T8" fmla="*/ 57 w 114"/>
                <a:gd name="T9" fmla="*/ 0 h 114"/>
                <a:gd name="T10" fmla="*/ 53 w 114"/>
                <a:gd name="T11" fmla="*/ 90 h 114"/>
                <a:gd name="T12" fmla="*/ 24 w 114"/>
                <a:gd name="T13" fmla="*/ 61 h 114"/>
                <a:gd name="T14" fmla="*/ 34 w 114"/>
                <a:gd name="T15" fmla="*/ 51 h 114"/>
                <a:gd name="T16" fmla="*/ 52 w 114"/>
                <a:gd name="T17" fmla="*/ 68 h 114"/>
                <a:gd name="T18" fmla="*/ 82 w 114"/>
                <a:gd name="T19" fmla="*/ 30 h 114"/>
                <a:gd name="T20" fmla="*/ 93 w 114"/>
                <a:gd name="T21" fmla="*/ 39 h 114"/>
                <a:gd name="T22" fmla="*/ 53 w 114"/>
                <a:gd name="T23" fmla="*/ 9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14">
                  <a:moveTo>
                    <a:pt x="57" y="0"/>
                  </a:moveTo>
                  <a:cubicBezTo>
                    <a:pt x="26" y="0"/>
                    <a:pt x="0" y="26"/>
                    <a:pt x="0" y="57"/>
                  </a:cubicBezTo>
                  <a:cubicBezTo>
                    <a:pt x="0" y="88"/>
                    <a:pt x="26" y="114"/>
                    <a:pt x="57" y="114"/>
                  </a:cubicBezTo>
                  <a:cubicBezTo>
                    <a:pt x="88" y="114"/>
                    <a:pt x="114" y="88"/>
                    <a:pt x="114" y="57"/>
                  </a:cubicBezTo>
                  <a:cubicBezTo>
                    <a:pt x="114" y="26"/>
                    <a:pt x="88" y="0"/>
                    <a:pt x="57" y="0"/>
                  </a:cubicBezTo>
                  <a:close/>
                  <a:moveTo>
                    <a:pt x="53" y="90"/>
                  </a:moveTo>
                  <a:cubicBezTo>
                    <a:pt x="24" y="61"/>
                    <a:pt x="24" y="61"/>
                    <a:pt x="24" y="61"/>
                  </a:cubicBezTo>
                  <a:cubicBezTo>
                    <a:pt x="34" y="51"/>
                    <a:pt x="34" y="51"/>
                    <a:pt x="34" y="51"/>
                  </a:cubicBezTo>
                  <a:cubicBezTo>
                    <a:pt x="52" y="68"/>
                    <a:pt x="52" y="68"/>
                    <a:pt x="52" y="68"/>
                  </a:cubicBezTo>
                  <a:cubicBezTo>
                    <a:pt x="82" y="30"/>
                    <a:pt x="82" y="30"/>
                    <a:pt x="82" y="30"/>
                  </a:cubicBezTo>
                  <a:cubicBezTo>
                    <a:pt x="93" y="39"/>
                    <a:pt x="93" y="39"/>
                    <a:pt x="93" y="39"/>
                  </a:cubicBezTo>
                  <a:lnTo>
                    <a:pt x="53"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54" name="Rectangle 11">
              <a:extLst>
                <a:ext uri="{FF2B5EF4-FFF2-40B4-BE49-F238E27FC236}">
                  <a16:creationId xmlns:a16="http://schemas.microsoft.com/office/drawing/2014/main" id="{830BD69F-1349-DA40-9984-302D5B8CFE40}"/>
                </a:ext>
              </a:extLst>
            </p:cNvPr>
            <p:cNvSpPr>
              <a:spLocks noChangeArrowheads="1"/>
            </p:cNvSpPr>
            <p:nvPr/>
          </p:nvSpPr>
          <p:spPr bwMode="auto">
            <a:xfrm>
              <a:off x="3448051" y="4206875"/>
              <a:ext cx="58738"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55" name="Rectangle 12">
              <a:extLst>
                <a:ext uri="{FF2B5EF4-FFF2-40B4-BE49-F238E27FC236}">
                  <a16:creationId xmlns:a16="http://schemas.microsoft.com/office/drawing/2014/main" id="{B6EAFF58-2825-C34C-995A-3626E1354CBE}"/>
                </a:ext>
              </a:extLst>
            </p:cNvPr>
            <p:cNvSpPr>
              <a:spLocks noChangeArrowheads="1"/>
            </p:cNvSpPr>
            <p:nvPr/>
          </p:nvSpPr>
          <p:spPr bwMode="auto">
            <a:xfrm>
              <a:off x="3448051" y="4321175"/>
              <a:ext cx="58738"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56" name="Rectangle 13">
              <a:extLst>
                <a:ext uri="{FF2B5EF4-FFF2-40B4-BE49-F238E27FC236}">
                  <a16:creationId xmlns:a16="http://schemas.microsoft.com/office/drawing/2014/main" id="{41ACB14E-90C0-8045-B1CF-7A3F041F6E48}"/>
                </a:ext>
              </a:extLst>
            </p:cNvPr>
            <p:cNvSpPr>
              <a:spLocks noChangeArrowheads="1"/>
            </p:cNvSpPr>
            <p:nvPr/>
          </p:nvSpPr>
          <p:spPr bwMode="auto">
            <a:xfrm>
              <a:off x="3448051" y="4435475"/>
              <a:ext cx="58738" cy="587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57" name="Rectangle 14">
              <a:extLst>
                <a:ext uri="{FF2B5EF4-FFF2-40B4-BE49-F238E27FC236}">
                  <a16:creationId xmlns:a16="http://schemas.microsoft.com/office/drawing/2014/main" id="{155BF8A6-74C6-3340-B640-C3666FDAF93E}"/>
                </a:ext>
              </a:extLst>
            </p:cNvPr>
            <p:cNvSpPr>
              <a:spLocks noChangeArrowheads="1"/>
            </p:cNvSpPr>
            <p:nvPr/>
          </p:nvSpPr>
          <p:spPr bwMode="auto">
            <a:xfrm>
              <a:off x="3563938" y="4233863"/>
              <a:ext cx="20161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58" name="Rectangle 157">
              <a:extLst>
                <a:ext uri="{FF2B5EF4-FFF2-40B4-BE49-F238E27FC236}">
                  <a16:creationId xmlns:a16="http://schemas.microsoft.com/office/drawing/2014/main" id="{7BF21C1A-6E00-C242-9ABA-3FB70C0A7C6A}"/>
                </a:ext>
              </a:extLst>
            </p:cNvPr>
            <p:cNvSpPr>
              <a:spLocks noChangeArrowheads="1"/>
            </p:cNvSpPr>
            <p:nvPr/>
          </p:nvSpPr>
          <p:spPr bwMode="auto">
            <a:xfrm>
              <a:off x="3563938" y="4348163"/>
              <a:ext cx="14446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159" name="TextBox 158">
            <a:extLst>
              <a:ext uri="{FF2B5EF4-FFF2-40B4-BE49-F238E27FC236}">
                <a16:creationId xmlns:a16="http://schemas.microsoft.com/office/drawing/2014/main" id="{DC548185-3ADD-304B-BF1B-5A08656BFEBF}"/>
              </a:ext>
            </a:extLst>
          </p:cNvPr>
          <p:cNvSpPr txBox="1"/>
          <p:nvPr/>
        </p:nvSpPr>
        <p:spPr>
          <a:xfrm>
            <a:off x="9788308" y="5326429"/>
            <a:ext cx="1150649" cy="425449"/>
          </a:xfrm>
          <a:prstGeom prst="rect">
            <a:avLst/>
          </a:prstGeom>
          <a:noFill/>
        </p:spPr>
        <p:txBody>
          <a:bodyPr wrap="square" lIns="43789" tIns="43789" rIns="43789" bIns="43789">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95" b="1" i="0" u="none" strike="noStrike" kern="1200" cap="none" spc="0" normalizeH="0" baseline="0" noProof="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rPr>
              <a:t>SBU/SKK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95" b="1" i="0" u="none" strike="noStrike" kern="1200" cap="none" spc="0" normalizeH="0" baseline="0" noProof="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rPr>
              <a:t>LISENSI</a:t>
            </a:r>
          </a:p>
        </p:txBody>
      </p:sp>
      <p:cxnSp>
        <p:nvCxnSpPr>
          <p:cNvPr id="160" name="Elbow Connector 159">
            <a:extLst>
              <a:ext uri="{FF2B5EF4-FFF2-40B4-BE49-F238E27FC236}">
                <a16:creationId xmlns:a16="http://schemas.microsoft.com/office/drawing/2014/main" id="{673C97F7-31AA-7D42-885F-9A14A0962F49}"/>
              </a:ext>
            </a:extLst>
          </p:cNvPr>
          <p:cNvCxnSpPr>
            <a:cxnSpLocks/>
          </p:cNvCxnSpPr>
          <p:nvPr/>
        </p:nvCxnSpPr>
        <p:spPr>
          <a:xfrm rot="16200000" flipH="1">
            <a:off x="5703382" y="5292212"/>
            <a:ext cx="326599" cy="134339"/>
          </a:xfrm>
          <a:prstGeom prst="bentConnector4">
            <a:avLst>
              <a:gd name="adj1" fmla="val 50000"/>
              <a:gd name="adj2" fmla="val 676"/>
            </a:avLst>
          </a:prstGeom>
          <a:ln w="19050">
            <a:prstDash val="sysDash"/>
            <a:tailEnd type="triangle"/>
          </a:ln>
        </p:spPr>
        <p:style>
          <a:lnRef idx="1">
            <a:schemeClr val="accent1"/>
          </a:lnRef>
          <a:fillRef idx="0">
            <a:schemeClr val="accent1"/>
          </a:fillRef>
          <a:effectRef idx="0">
            <a:schemeClr val="accent1"/>
          </a:effectRef>
          <a:fontRef idx="minor">
            <a:schemeClr val="tx1"/>
          </a:fontRef>
        </p:style>
      </p:cxnSp>
      <p:pic>
        <p:nvPicPr>
          <p:cNvPr id="21" name="Graphic 20" descr="Paper with solid fill">
            <a:extLst>
              <a:ext uri="{FF2B5EF4-FFF2-40B4-BE49-F238E27FC236}">
                <a16:creationId xmlns:a16="http://schemas.microsoft.com/office/drawing/2014/main" id="{A4CD1E4D-1EA1-084E-A9F5-817C10995463}"/>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07379" y="5366966"/>
            <a:ext cx="299637" cy="299637"/>
          </a:xfrm>
          <a:prstGeom prst="rect">
            <a:avLst/>
          </a:prstGeom>
        </p:spPr>
      </p:pic>
      <p:sp>
        <p:nvSpPr>
          <p:cNvPr id="104" name="TextBox 103">
            <a:extLst>
              <a:ext uri="{FF2B5EF4-FFF2-40B4-BE49-F238E27FC236}">
                <a16:creationId xmlns:a16="http://schemas.microsoft.com/office/drawing/2014/main" id="{FCF8C7AC-34D2-6141-9ACA-722F5DA17F8C}"/>
              </a:ext>
            </a:extLst>
          </p:cNvPr>
          <p:cNvSpPr txBox="1"/>
          <p:nvPr/>
        </p:nvSpPr>
        <p:spPr>
          <a:xfrm>
            <a:off x="1537194" y="4917950"/>
            <a:ext cx="796265" cy="930972"/>
          </a:xfrm>
          <a:prstGeom prst="rect">
            <a:avLst/>
          </a:prstGeom>
          <a:noFill/>
        </p:spPr>
        <p:txBody>
          <a:bodyPr wrap="square" lIns="43789" tIns="43789" rIns="43789" bIns="4378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95" b="1" i="0" u="none" strike="noStrike" kern="1200" cap="none" spc="0" normalizeH="0" baseline="0" noProof="0">
                <a:ln>
                  <a:noFill/>
                </a:ln>
                <a:solidFill>
                  <a:srgbClr val="C00000"/>
                </a:solidFill>
                <a:effectLst/>
                <a:uLnTx/>
                <a:uFillTx/>
                <a:latin typeface="Calibri" panose="020F0502020204030204" pitchFamily="34" charset="0"/>
                <a:ea typeface="+mn-ea"/>
                <a:cs typeface="Calibri" panose="020F0502020204030204" pitchFamily="34" charset="0"/>
              </a:rPr>
              <a:t>SSO </a:t>
            </a:r>
            <a:r>
              <a:rPr kumimoji="0" lang="en-US" sz="1095" b="1" i="0" u="none" strike="noStrike" kern="1200" cap="none" spc="0" normalizeH="0" baseline="0" noProof="0" err="1">
                <a:ln>
                  <a:noFill/>
                </a:ln>
                <a:solidFill>
                  <a:srgbClr val="C00000"/>
                </a:solidFill>
                <a:effectLst/>
                <a:uLnTx/>
                <a:uFillTx/>
                <a:latin typeface="Calibri" panose="020F0502020204030204" pitchFamily="34" charset="0"/>
                <a:ea typeface="+mn-ea"/>
                <a:cs typeface="Calibri" panose="020F0502020204030204" pitchFamily="34" charset="0"/>
              </a:rPr>
              <a:t>dengan</a:t>
            </a:r>
            <a:r>
              <a:rPr kumimoji="0" lang="en-US" sz="1095" b="1" i="0" u="none" strike="noStrike" kern="1200" cap="none" spc="0" normalizeH="0" baseline="0" noProof="0">
                <a:ln>
                  <a:noFill/>
                </a:ln>
                <a:solidFill>
                  <a:srgbClr val="C00000"/>
                </a:solidFill>
                <a:effectLst/>
                <a:uLnTx/>
                <a:uFillTx/>
                <a:latin typeface="Calibri" panose="020F0502020204030204" pitchFamily="34" charset="0"/>
                <a:ea typeface="+mn-ea"/>
                <a:cs typeface="Calibri" panose="020F0502020204030204" pitchFamily="34" charset="0"/>
              </a:rPr>
              <a:t> </a:t>
            </a:r>
            <a:r>
              <a:rPr kumimoji="0" lang="id-ID" sz="1095" b="1" i="0" u="none" strike="noStrike" kern="1200" cap="none" spc="0" normalizeH="0" baseline="0" noProof="0">
                <a:ln>
                  <a:noFill/>
                </a:ln>
                <a:solidFill>
                  <a:srgbClr val="C00000"/>
                </a:solidFill>
                <a:effectLst/>
                <a:uLnTx/>
                <a:uFillTx/>
                <a:latin typeface="Calibri" panose="020F0502020204030204" pitchFamily="34" charset="0"/>
                <a:ea typeface="+mn-ea"/>
                <a:cs typeface="Calibri" panose="020F0502020204030204" pitchFamily="34" charset="0"/>
              </a:rPr>
              <a:t>PORTAL PUPR </a:t>
            </a:r>
            <a:br>
              <a:rPr kumimoji="0" lang="id-ID" sz="1095" b="1" i="0" u="none" strike="noStrike" kern="1200" cap="none" spc="0" normalizeH="0" baseline="0" noProof="0">
                <a:ln>
                  <a:noFill/>
                </a:ln>
                <a:solidFill>
                  <a:srgbClr val="C00000"/>
                </a:solidFill>
                <a:effectLst/>
                <a:uLnTx/>
                <a:uFillTx/>
                <a:latin typeface="Calibri" panose="020F0502020204030204" pitchFamily="34" charset="0"/>
                <a:ea typeface="+mn-ea"/>
                <a:cs typeface="Calibri" panose="020F0502020204030204" pitchFamily="34" charset="0"/>
              </a:rPr>
            </a:br>
            <a:r>
              <a:rPr kumimoji="0" lang="id-ID" sz="1095" b="1" i="0" u="none" strike="noStrike" kern="1200" cap="none" spc="0" normalizeH="0" baseline="0" noProof="0">
                <a:ln>
                  <a:noFill/>
                </a:ln>
                <a:solidFill>
                  <a:srgbClr val="C00000"/>
                </a:solidFill>
                <a:effectLst/>
                <a:uLnTx/>
                <a:uFillTx/>
                <a:latin typeface="Calibri" panose="020F0502020204030204" pitchFamily="34" charset="0"/>
                <a:ea typeface="+mn-ea"/>
                <a:cs typeface="Calibri" panose="020F050202020403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095" b="1" i="0" u="none" strike="noStrike" kern="1200" cap="none" spc="0" normalizeH="0" baseline="0" noProof="0">
                <a:ln>
                  <a:noFill/>
                </a:ln>
                <a:solidFill>
                  <a:srgbClr val="C00000"/>
                </a:solidFill>
                <a:effectLst/>
                <a:uLnTx/>
                <a:uFillTx/>
                <a:latin typeface="Calibri" panose="020F0502020204030204" pitchFamily="34" charset="0"/>
                <a:ea typeface="+mn-ea"/>
                <a:cs typeface="Calibri" panose="020F0502020204030204" pitchFamily="34" charset="0"/>
              </a:rPr>
              <a:t>SIJKT</a:t>
            </a:r>
            <a:endParaRPr kumimoji="0" lang="en-US" sz="1095" b="1" i="0" u="none" strike="noStrike" kern="1200" cap="none" spc="0" normalizeH="0" baseline="0" noProof="0">
              <a:ln>
                <a:noFill/>
              </a:ln>
              <a:solidFill>
                <a:srgbClr val="C00000"/>
              </a:solidFill>
              <a:effectLst/>
              <a:uLnTx/>
              <a:uFillTx/>
              <a:latin typeface="Calibri" panose="020F0502020204030204" pitchFamily="34" charset="0"/>
              <a:ea typeface="+mn-ea"/>
              <a:cs typeface="Calibri" panose="020F0502020204030204" pitchFamily="34" charset="0"/>
            </a:endParaRPr>
          </a:p>
        </p:txBody>
      </p:sp>
      <p:sp>
        <p:nvSpPr>
          <p:cNvPr id="106" name="Can 105">
            <a:extLst>
              <a:ext uri="{FF2B5EF4-FFF2-40B4-BE49-F238E27FC236}">
                <a16:creationId xmlns:a16="http://schemas.microsoft.com/office/drawing/2014/main" id="{F2792A83-ACC6-EC4A-945C-4B004874B48E}"/>
              </a:ext>
            </a:extLst>
          </p:cNvPr>
          <p:cNvSpPr/>
          <p:nvPr/>
        </p:nvSpPr>
        <p:spPr>
          <a:xfrm>
            <a:off x="4256055" y="4689931"/>
            <a:ext cx="352421" cy="361383"/>
          </a:xfrm>
          <a:prstGeom prst="can">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PI</a:t>
            </a:r>
          </a:p>
        </p:txBody>
      </p:sp>
      <p:cxnSp>
        <p:nvCxnSpPr>
          <p:cNvPr id="108" name="Straight Arrow Connector 107">
            <a:extLst>
              <a:ext uri="{FF2B5EF4-FFF2-40B4-BE49-F238E27FC236}">
                <a16:creationId xmlns:a16="http://schemas.microsoft.com/office/drawing/2014/main" id="{6BB3F280-07D1-CB4B-A629-BC2D6922CC02}"/>
              </a:ext>
            </a:extLst>
          </p:cNvPr>
          <p:cNvCxnSpPr>
            <a:cxnSpLocks/>
          </p:cNvCxnSpPr>
          <p:nvPr/>
        </p:nvCxnSpPr>
        <p:spPr>
          <a:xfrm flipV="1">
            <a:off x="3919198" y="4811300"/>
            <a:ext cx="336857" cy="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425C7341-B6EE-564A-993A-A9FCFEBAA169}"/>
              </a:ext>
            </a:extLst>
          </p:cNvPr>
          <p:cNvCxnSpPr>
            <a:cxnSpLocks/>
          </p:cNvCxnSpPr>
          <p:nvPr/>
        </p:nvCxnSpPr>
        <p:spPr>
          <a:xfrm>
            <a:off x="4608476" y="4811300"/>
            <a:ext cx="308778" cy="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75252C6B-F1C6-4045-9E92-74B31AF1A298}"/>
              </a:ext>
            </a:extLst>
          </p:cNvPr>
          <p:cNvCxnSpPr>
            <a:cxnSpLocks/>
          </p:cNvCxnSpPr>
          <p:nvPr/>
        </p:nvCxnSpPr>
        <p:spPr>
          <a:xfrm flipH="1">
            <a:off x="4597565" y="4989708"/>
            <a:ext cx="330599"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2E54D662-F069-C840-8E88-E0C111E6AB03}"/>
              </a:ext>
            </a:extLst>
          </p:cNvPr>
          <p:cNvCxnSpPr>
            <a:cxnSpLocks/>
          </p:cNvCxnSpPr>
          <p:nvPr/>
        </p:nvCxnSpPr>
        <p:spPr>
          <a:xfrm flipH="1">
            <a:off x="3919197" y="4989708"/>
            <a:ext cx="330599"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56871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F8D33-1AE0-B98B-F2DB-7BD89757838E}"/>
              </a:ext>
            </a:extLst>
          </p:cNvPr>
          <p:cNvSpPr>
            <a:spLocks noGrp="1"/>
          </p:cNvSpPr>
          <p:nvPr>
            <p:ph type="title"/>
          </p:nvPr>
        </p:nvSpPr>
        <p:spPr/>
        <p:txBody>
          <a:bodyPr/>
          <a:lstStyle/>
          <a:p>
            <a:r>
              <a:rPr lang="en-ID" dirty="0"/>
              <a:t>PERIZINAN BERUSAHA SUBSEKTOR JASA KONSTRUKSI</a:t>
            </a:r>
            <a:r>
              <a:rPr lang="id-ID" dirty="0"/>
              <a:t> (1/2)</a:t>
            </a:r>
            <a:endParaRPr lang="en-ID" dirty="0"/>
          </a:p>
        </p:txBody>
      </p:sp>
      <p:sp>
        <p:nvSpPr>
          <p:cNvPr id="3" name="Content Placeholder 2">
            <a:extLst>
              <a:ext uri="{FF2B5EF4-FFF2-40B4-BE49-F238E27FC236}">
                <a16:creationId xmlns:a16="http://schemas.microsoft.com/office/drawing/2014/main" id="{DA1D59A7-D97E-1435-43B3-794878BF8EDF}"/>
              </a:ext>
            </a:extLst>
          </p:cNvPr>
          <p:cNvSpPr>
            <a:spLocks noGrp="1"/>
          </p:cNvSpPr>
          <p:nvPr>
            <p:ph idx="1"/>
          </p:nvPr>
        </p:nvSpPr>
        <p:spPr/>
        <p:txBody>
          <a:bodyPr/>
          <a:lstStyle/>
          <a:p>
            <a:endParaRPr lang="en-ID"/>
          </a:p>
        </p:txBody>
      </p:sp>
      <p:cxnSp>
        <p:nvCxnSpPr>
          <p:cNvPr id="31" name="Straight Connector 30">
            <a:extLst>
              <a:ext uri="{FF2B5EF4-FFF2-40B4-BE49-F238E27FC236}">
                <a16:creationId xmlns:a16="http://schemas.microsoft.com/office/drawing/2014/main" id="{271C9293-04F9-F73E-73FF-E0C67B8F9E5A}"/>
              </a:ext>
            </a:extLst>
          </p:cNvPr>
          <p:cNvCxnSpPr>
            <a:cxnSpLocks/>
          </p:cNvCxnSpPr>
          <p:nvPr/>
        </p:nvCxnSpPr>
        <p:spPr>
          <a:xfrm>
            <a:off x="6096000" y="1273511"/>
            <a:ext cx="0" cy="5400000"/>
          </a:xfrm>
          <a:prstGeom prst="line">
            <a:avLst/>
          </a:prstGeom>
          <a:ln w="254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2" name="Rectangle 31">
            <a:extLst>
              <a:ext uri="{FF2B5EF4-FFF2-40B4-BE49-F238E27FC236}">
                <a16:creationId xmlns:a16="http://schemas.microsoft.com/office/drawing/2014/main" id="{2348B60C-AFDA-4528-ECBF-EC984ABAE3F2}"/>
              </a:ext>
            </a:extLst>
          </p:cNvPr>
          <p:cNvSpPr/>
          <p:nvPr/>
        </p:nvSpPr>
        <p:spPr>
          <a:xfrm>
            <a:off x="348000" y="2606819"/>
            <a:ext cx="5400000" cy="2031325"/>
          </a:xfrm>
          <a:prstGeom prst="rect">
            <a:avLst/>
          </a:prstGeom>
        </p:spPr>
        <p:txBody>
          <a:bodyPr wrap="square">
            <a:spAutoFit/>
          </a:bodyPr>
          <a:lstStyle/>
          <a:p>
            <a:pPr marL="285750" indent="-285750">
              <a:buFont typeface="Arial" panose="020B0604020202020204" pitchFamily="34" charset="0"/>
              <a:buChar char="•"/>
            </a:pPr>
            <a:r>
              <a:rPr lang="id-ID" dirty="0"/>
              <a:t>Sesuai dengan ketentuan </a:t>
            </a:r>
            <a:r>
              <a:rPr lang="id-ID" b="1" dirty="0"/>
              <a:t>PP 5/2021</a:t>
            </a:r>
            <a:r>
              <a:rPr lang="id-ID" dirty="0"/>
              <a:t>, Perizinan Berusaha Berbasis Risiko dilakukan berdasarkan penetapan tingkat Risiko. </a:t>
            </a:r>
            <a:r>
              <a:rPr lang="id-ID" b="1" dirty="0"/>
              <a:t>Perizinan Berusaha subsektor Jasa Konstruksi</a:t>
            </a:r>
            <a:r>
              <a:rPr lang="id-ID" dirty="0"/>
              <a:t> diklasifikasikan dengan tingkat risiko </a:t>
            </a:r>
            <a:r>
              <a:rPr lang="id-ID" b="1" dirty="0"/>
              <a:t>Menengah Tinggi</a:t>
            </a:r>
            <a:r>
              <a:rPr lang="id-ID" dirty="0"/>
              <a:t>, sehingga dokumen Perizinannya berupa </a:t>
            </a:r>
            <a:r>
              <a:rPr lang="id-ID" b="1" dirty="0"/>
              <a:t>NIB</a:t>
            </a:r>
            <a:r>
              <a:rPr lang="id-ID" dirty="0"/>
              <a:t> dan </a:t>
            </a:r>
            <a:r>
              <a:rPr lang="id-ID" b="1" dirty="0"/>
              <a:t>Sertifikat Standar terverifikasi.</a:t>
            </a:r>
          </a:p>
        </p:txBody>
      </p:sp>
      <p:grpSp>
        <p:nvGrpSpPr>
          <p:cNvPr id="33" name="Group 32">
            <a:extLst>
              <a:ext uri="{FF2B5EF4-FFF2-40B4-BE49-F238E27FC236}">
                <a16:creationId xmlns:a16="http://schemas.microsoft.com/office/drawing/2014/main" id="{53CC57AD-4EE3-EA1D-6C42-A8DCB566F5C7}"/>
              </a:ext>
            </a:extLst>
          </p:cNvPr>
          <p:cNvGrpSpPr/>
          <p:nvPr/>
        </p:nvGrpSpPr>
        <p:grpSpPr>
          <a:xfrm>
            <a:off x="516346" y="1445281"/>
            <a:ext cx="5063308" cy="886941"/>
            <a:chOff x="665898" y="5348714"/>
            <a:chExt cx="5063308" cy="886941"/>
          </a:xfrm>
        </p:grpSpPr>
        <p:sp>
          <p:nvSpPr>
            <p:cNvPr id="34" name="Shape 204">
              <a:extLst>
                <a:ext uri="{FF2B5EF4-FFF2-40B4-BE49-F238E27FC236}">
                  <a16:creationId xmlns:a16="http://schemas.microsoft.com/office/drawing/2014/main" id="{CB54A1AD-2277-B601-287F-148FE9D3CA72}"/>
                </a:ext>
              </a:extLst>
            </p:cNvPr>
            <p:cNvSpPr/>
            <p:nvPr/>
          </p:nvSpPr>
          <p:spPr>
            <a:xfrm>
              <a:off x="665898" y="5438714"/>
              <a:ext cx="1440000" cy="540000"/>
            </a:xfrm>
            <a:prstGeom prst="roundRect">
              <a:avLst>
                <a:gd name="adj" fmla="val 16667"/>
              </a:avLst>
            </a:prstGeom>
            <a:solidFill>
              <a:schemeClr val="accent6">
                <a:lumMod val="50000"/>
              </a:schemeClr>
            </a:solidFill>
            <a:ln>
              <a:noFill/>
            </a:ln>
          </p:spPr>
          <p:txBody>
            <a:bodyPr lIns="100086" tIns="100086" rIns="100086" bIns="100086"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erizinan Berusaha subsektor Jasa Konstruksi</a:t>
              </a:r>
            </a:p>
          </p:txBody>
        </p:sp>
        <p:grpSp>
          <p:nvGrpSpPr>
            <p:cNvPr id="35" name="Group 34">
              <a:extLst>
                <a:ext uri="{FF2B5EF4-FFF2-40B4-BE49-F238E27FC236}">
                  <a16:creationId xmlns:a16="http://schemas.microsoft.com/office/drawing/2014/main" id="{B253947A-1138-A271-5F03-6B0A57B5AD84}"/>
                </a:ext>
              </a:extLst>
            </p:cNvPr>
            <p:cNvGrpSpPr/>
            <p:nvPr/>
          </p:nvGrpSpPr>
          <p:grpSpPr>
            <a:xfrm>
              <a:off x="2961436" y="5348714"/>
              <a:ext cx="540000" cy="720000"/>
              <a:chOff x="3333751" y="3948113"/>
              <a:chExt cx="631825" cy="803275"/>
            </a:xfrm>
            <a:solidFill>
              <a:schemeClr val="accent6">
                <a:lumMod val="50000"/>
              </a:schemeClr>
            </a:solidFill>
          </p:grpSpPr>
          <p:sp>
            <p:nvSpPr>
              <p:cNvPr id="39" name="Freeform 7">
                <a:extLst>
                  <a:ext uri="{FF2B5EF4-FFF2-40B4-BE49-F238E27FC236}">
                    <a16:creationId xmlns:a16="http://schemas.microsoft.com/office/drawing/2014/main" id="{C3058D06-A7F7-3350-513D-1029425A4F4C}"/>
                  </a:ext>
                </a:extLst>
              </p:cNvPr>
              <p:cNvSpPr>
                <a:spLocks/>
              </p:cNvSpPr>
              <p:nvPr/>
            </p:nvSpPr>
            <p:spPr bwMode="auto">
              <a:xfrm>
                <a:off x="3343276" y="3954463"/>
                <a:ext cx="160338" cy="160337"/>
              </a:xfrm>
              <a:custGeom>
                <a:avLst/>
                <a:gdLst>
                  <a:gd name="T0" fmla="*/ 101 w 101"/>
                  <a:gd name="T1" fmla="*/ 0 h 101"/>
                  <a:gd name="T2" fmla="*/ 101 w 101"/>
                  <a:gd name="T3" fmla="*/ 101 h 101"/>
                  <a:gd name="T4" fmla="*/ 0 w 101"/>
                  <a:gd name="T5" fmla="*/ 101 h 101"/>
                  <a:gd name="T6" fmla="*/ 101 w 101"/>
                  <a:gd name="T7" fmla="*/ 0 h 101"/>
                </a:gdLst>
                <a:ahLst/>
                <a:cxnLst>
                  <a:cxn ang="0">
                    <a:pos x="T0" y="T1"/>
                  </a:cxn>
                  <a:cxn ang="0">
                    <a:pos x="T2" y="T3"/>
                  </a:cxn>
                  <a:cxn ang="0">
                    <a:pos x="T4" y="T5"/>
                  </a:cxn>
                  <a:cxn ang="0">
                    <a:pos x="T6" y="T7"/>
                  </a:cxn>
                </a:cxnLst>
                <a:rect l="0" t="0" r="r" b="b"/>
                <a:pathLst>
                  <a:path w="101" h="101">
                    <a:moveTo>
                      <a:pt x="101" y="0"/>
                    </a:moveTo>
                    <a:lnTo>
                      <a:pt x="101" y="101"/>
                    </a:lnTo>
                    <a:lnTo>
                      <a:pt x="0" y="101"/>
                    </a:lnTo>
                    <a:lnTo>
                      <a:pt x="1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0" name="Freeform 8">
                <a:extLst>
                  <a:ext uri="{FF2B5EF4-FFF2-40B4-BE49-F238E27FC236}">
                    <a16:creationId xmlns:a16="http://schemas.microsoft.com/office/drawing/2014/main" id="{B25F2A7F-2F9B-F5E6-8A37-44C31B35A608}"/>
                  </a:ext>
                </a:extLst>
              </p:cNvPr>
              <p:cNvSpPr>
                <a:spLocks/>
              </p:cNvSpPr>
              <p:nvPr/>
            </p:nvSpPr>
            <p:spPr bwMode="auto">
              <a:xfrm>
                <a:off x="3333751" y="4167188"/>
                <a:ext cx="250825" cy="468312"/>
              </a:xfrm>
              <a:custGeom>
                <a:avLst/>
                <a:gdLst>
                  <a:gd name="T0" fmla="*/ 38 w 83"/>
                  <a:gd name="T1" fmla="*/ 136 h 155"/>
                  <a:gd name="T2" fmla="*/ 19 w 83"/>
                  <a:gd name="T3" fmla="*/ 117 h 155"/>
                  <a:gd name="T4" fmla="*/ 19 w 83"/>
                  <a:gd name="T5" fmla="*/ 60 h 155"/>
                  <a:gd name="T6" fmla="*/ 19 w 83"/>
                  <a:gd name="T7" fmla="*/ 13 h 155"/>
                  <a:gd name="T8" fmla="*/ 19 w 83"/>
                  <a:gd name="T9" fmla="*/ 0 h 155"/>
                  <a:gd name="T10" fmla="*/ 0 w 83"/>
                  <a:gd name="T11" fmla="*/ 0 h 155"/>
                  <a:gd name="T12" fmla="*/ 0 w 83"/>
                  <a:gd name="T13" fmla="*/ 117 h 155"/>
                  <a:gd name="T14" fmla="*/ 38 w 83"/>
                  <a:gd name="T15" fmla="*/ 155 h 155"/>
                  <a:gd name="T16" fmla="*/ 83 w 83"/>
                  <a:gd name="T17" fmla="*/ 155 h 155"/>
                  <a:gd name="T18" fmla="*/ 80 w 83"/>
                  <a:gd name="T19" fmla="*/ 136 h 155"/>
                  <a:gd name="T20" fmla="*/ 38 w 83"/>
                  <a:gd name="T21" fmla="*/ 13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155">
                    <a:moveTo>
                      <a:pt x="38" y="136"/>
                    </a:moveTo>
                    <a:cubicBezTo>
                      <a:pt x="28" y="136"/>
                      <a:pt x="19" y="128"/>
                      <a:pt x="19" y="117"/>
                    </a:cubicBezTo>
                    <a:cubicBezTo>
                      <a:pt x="19" y="60"/>
                      <a:pt x="19" y="60"/>
                      <a:pt x="19" y="60"/>
                    </a:cubicBezTo>
                    <a:cubicBezTo>
                      <a:pt x="19" y="13"/>
                      <a:pt x="19" y="13"/>
                      <a:pt x="19" y="13"/>
                    </a:cubicBezTo>
                    <a:cubicBezTo>
                      <a:pt x="19" y="0"/>
                      <a:pt x="19" y="0"/>
                      <a:pt x="19" y="0"/>
                    </a:cubicBezTo>
                    <a:cubicBezTo>
                      <a:pt x="0" y="0"/>
                      <a:pt x="0" y="0"/>
                      <a:pt x="0" y="0"/>
                    </a:cubicBezTo>
                    <a:cubicBezTo>
                      <a:pt x="0" y="117"/>
                      <a:pt x="0" y="117"/>
                      <a:pt x="0" y="117"/>
                    </a:cubicBezTo>
                    <a:cubicBezTo>
                      <a:pt x="0" y="138"/>
                      <a:pt x="17" y="155"/>
                      <a:pt x="38" y="155"/>
                    </a:cubicBezTo>
                    <a:cubicBezTo>
                      <a:pt x="83" y="155"/>
                      <a:pt x="83" y="155"/>
                      <a:pt x="83" y="155"/>
                    </a:cubicBezTo>
                    <a:cubicBezTo>
                      <a:pt x="81" y="149"/>
                      <a:pt x="80" y="143"/>
                      <a:pt x="80" y="136"/>
                    </a:cubicBezTo>
                    <a:lnTo>
                      <a:pt x="38"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1" name="Freeform 9">
                <a:extLst>
                  <a:ext uri="{FF2B5EF4-FFF2-40B4-BE49-F238E27FC236}">
                    <a16:creationId xmlns:a16="http://schemas.microsoft.com/office/drawing/2014/main" id="{3B968AFD-4C66-BDB2-7740-AC8F36B13C27}"/>
                  </a:ext>
                </a:extLst>
              </p:cNvPr>
              <p:cNvSpPr>
                <a:spLocks/>
              </p:cNvSpPr>
              <p:nvPr/>
            </p:nvSpPr>
            <p:spPr bwMode="auto">
              <a:xfrm>
                <a:off x="3551238" y="3948113"/>
                <a:ext cx="327025" cy="430212"/>
              </a:xfrm>
              <a:custGeom>
                <a:avLst/>
                <a:gdLst>
                  <a:gd name="T0" fmla="*/ 108 w 108"/>
                  <a:gd name="T1" fmla="*/ 37 h 142"/>
                  <a:gd name="T2" fmla="*/ 71 w 108"/>
                  <a:gd name="T3" fmla="*/ 0 h 142"/>
                  <a:gd name="T4" fmla="*/ 0 w 108"/>
                  <a:gd name="T5" fmla="*/ 0 h 142"/>
                  <a:gd name="T6" fmla="*/ 0 w 108"/>
                  <a:gd name="T7" fmla="*/ 19 h 142"/>
                  <a:gd name="T8" fmla="*/ 23 w 108"/>
                  <a:gd name="T9" fmla="*/ 19 h 142"/>
                  <a:gd name="T10" fmla="*/ 71 w 108"/>
                  <a:gd name="T11" fmla="*/ 19 h 142"/>
                  <a:gd name="T12" fmla="*/ 89 w 108"/>
                  <a:gd name="T13" fmla="*/ 37 h 142"/>
                  <a:gd name="T14" fmla="*/ 89 w 108"/>
                  <a:gd name="T15" fmla="*/ 137 h 142"/>
                  <a:gd name="T16" fmla="*/ 108 w 108"/>
                  <a:gd name="T17" fmla="*/ 142 h 142"/>
                  <a:gd name="T18" fmla="*/ 108 w 108"/>
                  <a:gd name="T19" fmla="*/ 3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42">
                    <a:moveTo>
                      <a:pt x="108" y="37"/>
                    </a:moveTo>
                    <a:cubicBezTo>
                      <a:pt x="108" y="17"/>
                      <a:pt x="91" y="0"/>
                      <a:pt x="71" y="0"/>
                    </a:cubicBezTo>
                    <a:cubicBezTo>
                      <a:pt x="0" y="0"/>
                      <a:pt x="0" y="0"/>
                      <a:pt x="0" y="0"/>
                    </a:cubicBezTo>
                    <a:cubicBezTo>
                      <a:pt x="0" y="19"/>
                      <a:pt x="0" y="19"/>
                      <a:pt x="0" y="19"/>
                    </a:cubicBezTo>
                    <a:cubicBezTo>
                      <a:pt x="23" y="19"/>
                      <a:pt x="23" y="19"/>
                      <a:pt x="23" y="19"/>
                    </a:cubicBezTo>
                    <a:cubicBezTo>
                      <a:pt x="71" y="19"/>
                      <a:pt x="71" y="19"/>
                      <a:pt x="71" y="19"/>
                    </a:cubicBezTo>
                    <a:cubicBezTo>
                      <a:pt x="81" y="19"/>
                      <a:pt x="89" y="27"/>
                      <a:pt x="89" y="37"/>
                    </a:cubicBezTo>
                    <a:cubicBezTo>
                      <a:pt x="89" y="137"/>
                      <a:pt x="89" y="137"/>
                      <a:pt x="89" y="137"/>
                    </a:cubicBezTo>
                    <a:cubicBezTo>
                      <a:pt x="96" y="138"/>
                      <a:pt x="102" y="139"/>
                      <a:pt x="108" y="142"/>
                    </a:cubicBezTo>
                    <a:lnTo>
                      <a:pt x="108"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2" name="Freeform 10">
                <a:extLst>
                  <a:ext uri="{FF2B5EF4-FFF2-40B4-BE49-F238E27FC236}">
                    <a16:creationId xmlns:a16="http://schemas.microsoft.com/office/drawing/2014/main" id="{B739D3F3-2EA8-5F11-3A25-F10673DD437A}"/>
                  </a:ext>
                </a:extLst>
              </p:cNvPr>
              <p:cNvSpPr>
                <a:spLocks noEditPoints="1"/>
              </p:cNvSpPr>
              <p:nvPr/>
            </p:nvSpPr>
            <p:spPr bwMode="auto">
              <a:xfrm>
                <a:off x="3621088" y="4405313"/>
                <a:ext cx="344488" cy="346075"/>
              </a:xfrm>
              <a:custGeom>
                <a:avLst/>
                <a:gdLst>
                  <a:gd name="T0" fmla="*/ 57 w 114"/>
                  <a:gd name="T1" fmla="*/ 0 h 114"/>
                  <a:gd name="T2" fmla="*/ 0 w 114"/>
                  <a:gd name="T3" fmla="*/ 57 h 114"/>
                  <a:gd name="T4" fmla="*/ 57 w 114"/>
                  <a:gd name="T5" fmla="*/ 114 h 114"/>
                  <a:gd name="T6" fmla="*/ 114 w 114"/>
                  <a:gd name="T7" fmla="*/ 57 h 114"/>
                  <a:gd name="T8" fmla="*/ 57 w 114"/>
                  <a:gd name="T9" fmla="*/ 0 h 114"/>
                  <a:gd name="T10" fmla="*/ 53 w 114"/>
                  <a:gd name="T11" fmla="*/ 90 h 114"/>
                  <a:gd name="T12" fmla="*/ 24 w 114"/>
                  <a:gd name="T13" fmla="*/ 61 h 114"/>
                  <a:gd name="T14" fmla="*/ 34 w 114"/>
                  <a:gd name="T15" fmla="*/ 51 h 114"/>
                  <a:gd name="T16" fmla="*/ 52 w 114"/>
                  <a:gd name="T17" fmla="*/ 68 h 114"/>
                  <a:gd name="T18" fmla="*/ 82 w 114"/>
                  <a:gd name="T19" fmla="*/ 30 h 114"/>
                  <a:gd name="T20" fmla="*/ 93 w 114"/>
                  <a:gd name="T21" fmla="*/ 39 h 114"/>
                  <a:gd name="T22" fmla="*/ 53 w 114"/>
                  <a:gd name="T23" fmla="*/ 9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14">
                    <a:moveTo>
                      <a:pt x="57" y="0"/>
                    </a:moveTo>
                    <a:cubicBezTo>
                      <a:pt x="26" y="0"/>
                      <a:pt x="0" y="26"/>
                      <a:pt x="0" y="57"/>
                    </a:cubicBezTo>
                    <a:cubicBezTo>
                      <a:pt x="0" y="88"/>
                      <a:pt x="26" y="114"/>
                      <a:pt x="57" y="114"/>
                    </a:cubicBezTo>
                    <a:cubicBezTo>
                      <a:pt x="88" y="114"/>
                      <a:pt x="114" y="88"/>
                      <a:pt x="114" y="57"/>
                    </a:cubicBezTo>
                    <a:cubicBezTo>
                      <a:pt x="114" y="26"/>
                      <a:pt x="88" y="0"/>
                      <a:pt x="57" y="0"/>
                    </a:cubicBezTo>
                    <a:close/>
                    <a:moveTo>
                      <a:pt x="53" y="90"/>
                    </a:moveTo>
                    <a:cubicBezTo>
                      <a:pt x="24" y="61"/>
                      <a:pt x="24" y="61"/>
                      <a:pt x="24" y="61"/>
                    </a:cubicBezTo>
                    <a:cubicBezTo>
                      <a:pt x="34" y="51"/>
                      <a:pt x="34" y="51"/>
                      <a:pt x="34" y="51"/>
                    </a:cubicBezTo>
                    <a:cubicBezTo>
                      <a:pt x="52" y="68"/>
                      <a:pt x="52" y="68"/>
                      <a:pt x="52" y="68"/>
                    </a:cubicBezTo>
                    <a:cubicBezTo>
                      <a:pt x="82" y="30"/>
                      <a:pt x="82" y="30"/>
                      <a:pt x="82" y="30"/>
                    </a:cubicBezTo>
                    <a:cubicBezTo>
                      <a:pt x="93" y="39"/>
                      <a:pt x="93" y="39"/>
                      <a:pt x="93" y="39"/>
                    </a:cubicBezTo>
                    <a:lnTo>
                      <a:pt x="53"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3" name="Rectangle 11">
                <a:extLst>
                  <a:ext uri="{FF2B5EF4-FFF2-40B4-BE49-F238E27FC236}">
                    <a16:creationId xmlns:a16="http://schemas.microsoft.com/office/drawing/2014/main" id="{D972666B-9412-6342-3F43-2A9FE9A24454}"/>
                  </a:ext>
                </a:extLst>
              </p:cNvPr>
              <p:cNvSpPr>
                <a:spLocks noChangeArrowheads="1"/>
              </p:cNvSpPr>
              <p:nvPr/>
            </p:nvSpPr>
            <p:spPr bwMode="auto">
              <a:xfrm>
                <a:off x="3448051" y="4206875"/>
                <a:ext cx="58738"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4" name="Rectangle 12">
                <a:extLst>
                  <a:ext uri="{FF2B5EF4-FFF2-40B4-BE49-F238E27FC236}">
                    <a16:creationId xmlns:a16="http://schemas.microsoft.com/office/drawing/2014/main" id="{4C3DDF49-E100-34B7-853B-35856CB1900B}"/>
                  </a:ext>
                </a:extLst>
              </p:cNvPr>
              <p:cNvSpPr>
                <a:spLocks noChangeArrowheads="1"/>
              </p:cNvSpPr>
              <p:nvPr/>
            </p:nvSpPr>
            <p:spPr bwMode="auto">
              <a:xfrm>
                <a:off x="3448051" y="4321175"/>
                <a:ext cx="58738"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5" name="Rectangle 13">
                <a:extLst>
                  <a:ext uri="{FF2B5EF4-FFF2-40B4-BE49-F238E27FC236}">
                    <a16:creationId xmlns:a16="http://schemas.microsoft.com/office/drawing/2014/main" id="{BBCEB784-FC2D-193F-E9C4-5D0D565A83DE}"/>
                  </a:ext>
                </a:extLst>
              </p:cNvPr>
              <p:cNvSpPr>
                <a:spLocks noChangeArrowheads="1"/>
              </p:cNvSpPr>
              <p:nvPr/>
            </p:nvSpPr>
            <p:spPr bwMode="auto">
              <a:xfrm>
                <a:off x="3448051" y="4435475"/>
                <a:ext cx="58738" cy="587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6" name="Rectangle 14">
                <a:extLst>
                  <a:ext uri="{FF2B5EF4-FFF2-40B4-BE49-F238E27FC236}">
                    <a16:creationId xmlns:a16="http://schemas.microsoft.com/office/drawing/2014/main" id="{C01A6411-B20F-0BC8-AADF-4ED8E5221105}"/>
                  </a:ext>
                </a:extLst>
              </p:cNvPr>
              <p:cNvSpPr>
                <a:spLocks noChangeArrowheads="1"/>
              </p:cNvSpPr>
              <p:nvPr/>
            </p:nvSpPr>
            <p:spPr bwMode="auto">
              <a:xfrm>
                <a:off x="3563938" y="4233863"/>
                <a:ext cx="20161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7" name="Rectangle 46">
                <a:extLst>
                  <a:ext uri="{FF2B5EF4-FFF2-40B4-BE49-F238E27FC236}">
                    <a16:creationId xmlns:a16="http://schemas.microsoft.com/office/drawing/2014/main" id="{D1072071-D1F4-B6B9-07EF-08DAA19F36A4}"/>
                  </a:ext>
                </a:extLst>
              </p:cNvPr>
              <p:cNvSpPr>
                <a:spLocks noChangeArrowheads="1"/>
              </p:cNvSpPr>
              <p:nvPr/>
            </p:nvSpPr>
            <p:spPr bwMode="auto">
              <a:xfrm>
                <a:off x="3563938" y="4348163"/>
                <a:ext cx="14446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1224" tIns="55612" rIns="111224" bIns="5561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2189"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36" name="TextBox 35">
              <a:extLst>
                <a:ext uri="{FF2B5EF4-FFF2-40B4-BE49-F238E27FC236}">
                  <a16:creationId xmlns:a16="http://schemas.microsoft.com/office/drawing/2014/main" id="{C527A077-A868-CD80-D980-A2F5D1ED0C31}"/>
                </a:ext>
              </a:extLst>
            </p:cNvPr>
            <p:cNvSpPr txBox="1"/>
            <p:nvPr/>
          </p:nvSpPr>
          <p:spPr>
            <a:xfrm>
              <a:off x="3749206" y="5495990"/>
              <a:ext cx="1980000" cy="425449"/>
            </a:xfrm>
            <a:prstGeom prst="rect">
              <a:avLst/>
            </a:prstGeom>
            <a:noFill/>
          </p:spPr>
          <p:txBody>
            <a:bodyPr wrap="square" lIns="43789" tIns="43789" rIns="43789" bIns="43789"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095"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rPr>
                <a:t>NIB</a:t>
              </a:r>
              <a:r>
                <a:rPr lang="id-ID" sz="1095" b="1" dirty="0">
                  <a:solidFill>
                    <a:prstClr val="black">
                      <a:lumMod val="75000"/>
                      <a:lumOff val="25000"/>
                    </a:prstClr>
                  </a:solidFill>
                  <a:latin typeface="Calibri" panose="020F0502020204030204" pitchFamily="34" charset="0"/>
                  <a:cs typeface="Calibri" panose="020F0502020204030204" pitchFamily="34" charset="0"/>
                </a:rPr>
                <a:t>; da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id-ID" sz="1095"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rPr>
                <a:t>Sertifikat Standar (</a:t>
              </a:r>
              <a:r>
                <a:rPr kumimoji="0" lang="id-ID" sz="1095" b="1" i="1"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rPr>
                <a:t>verified</a:t>
              </a:r>
              <a:r>
                <a:rPr kumimoji="0" lang="id-ID" sz="1095"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rPr>
                <a:t>).</a:t>
              </a:r>
              <a:endParaRPr kumimoji="0" lang="en-US" sz="1095"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endParaRPr>
            </a:p>
          </p:txBody>
        </p:sp>
        <p:sp>
          <p:nvSpPr>
            <p:cNvPr id="37" name="Right Arrow 2">
              <a:extLst>
                <a:ext uri="{FF2B5EF4-FFF2-40B4-BE49-F238E27FC236}">
                  <a16:creationId xmlns:a16="http://schemas.microsoft.com/office/drawing/2014/main" id="{D6C39030-C138-1D25-4236-1FFB9E06138D}"/>
                </a:ext>
              </a:extLst>
            </p:cNvPr>
            <p:cNvSpPr/>
            <p:nvPr/>
          </p:nvSpPr>
          <p:spPr>
            <a:xfrm>
              <a:off x="2353667" y="5582714"/>
              <a:ext cx="360000" cy="2520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985"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38" name="TextBox 37">
              <a:extLst>
                <a:ext uri="{FF2B5EF4-FFF2-40B4-BE49-F238E27FC236}">
                  <a16:creationId xmlns:a16="http://schemas.microsoft.com/office/drawing/2014/main" id="{2145E27A-FF9E-A136-887A-597020306973}"/>
                </a:ext>
              </a:extLst>
            </p:cNvPr>
            <p:cNvSpPr txBox="1"/>
            <p:nvPr/>
          </p:nvSpPr>
          <p:spPr>
            <a:xfrm>
              <a:off x="4199206" y="5978714"/>
              <a:ext cx="1080000" cy="256941"/>
            </a:xfrm>
            <a:prstGeom prst="rect">
              <a:avLst/>
            </a:prstGeom>
            <a:noFill/>
          </p:spPr>
          <p:txBody>
            <a:bodyPr wrap="square" lIns="43789" tIns="43789" rIns="43789" bIns="43789" anchor="ctr">
              <a:spAutoFit/>
            </a:bodyPr>
            <a:lstStyle/>
            <a:p>
              <a:pPr marR="0" lvl="0" algn="ctr" defTabSz="914400" rtl="0" eaLnBrk="1" fontAlgn="auto" latinLnBrk="0" hangingPunct="1">
                <a:lnSpc>
                  <a:spcPct val="100000"/>
                </a:lnSpc>
                <a:spcBef>
                  <a:spcPts val="0"/>
                </a:spcBef>
                <a:spcAft>
                  <a:spcPts val="0"/>
                </a:spcAft>
                <a:buClrTx/>
                <a:buSzTx/>
                <a:tabLst/>
                <a:defRPr/>
              </a:pPr>
              <a:r>
                <a:rPr kumimoji="0" lang="id-ID" sz="1095" b="1" i="0" u="none" strike="noStrike" kern="1200" cap="none" spc="0" normalizeH="0" baseline="0" noProof="0" dirty="0">
                  <a:ln>
                    <a:noFill/>
                  </a:ln>
                  <a:solidFill>
                    <a:prstClr val="black">
                      <a:lumMod val="75000"/>
                      <a:lumOff val="25000"/>
                    </a:prstClr>
                  </a:solidFill>
                  <a:effectLst/>
                  <a:highlight>
                    <a:srgbClr val="FFFF00"/>
                  </a:highlight>
                  <a:uLnTx/>
                  <a:uFillTx/>
                  <a:latin typeface="Calibri" panose="020F0502020204030204" pitchFamily="34" charset="0"/>
                  <a:ea typeface="+mn-ea"/>
                  <a:cs typeface="Calibri" panose="020F0502020204030204" pitchFamily="34" charset="0"/>
                </a:rPr>
                <a:t>PP 5/2021</a:t>
              </a:r>
              <a:endParaRPr kumimoji="0" lang="en-US" sz="1095" b="1" i="0" u="none" strike="noStrike" kern="1200" cap="none" spc="0" normalizeH="0" baseline="0" noProof="0" dirty="0">
                <a:ln>
                  <a:noFill/>
                </a:ln>
                <a:solidFill>
                  <a:prstClr val="black">
                    <a:lumMod val="75000"/>
                    <a:lumOff val="25000"/>
                  </a:prstClr>
                </a:solidFill>
                <a:effectLst/>
                <a:highlight>
                  <a:srgbClr val="FFFF00"/>
                </a:highlight>
                <a:uLnTx/>
                <a:uFillTx/>
                <a:latin typeface="Calibri" panose="020F0502020204030204" pitchFamily="34" charset="0"/>
                <a:ea typeface="+mn-ea"/>
                <a:cs typeface="Calibri" panose="020F0502020204030204" pitchFamily="34" charset="0"/>
              </a:endParaRPr>
            </a:p>
          </p:txBody>
        </p:sp>
      </p:grpSp>
      <p:sp>
        <p:nvSpPr>
          <p:cNvPr id="48" name="Rectangle 47">
            <a:extLst>
              <a:ext uri="{FF2B5EF4-FFF2-40B4-BE49-F238E27FC236}">
                <a16:creationId xmlns:a16="http://schemas.microsoft.com/office/drawing/2014/main" id="{0592D5C8-29A3-8F58-B46A-61BD07834457}"/>
              </a:ext>
            </a:extLst>
          </p:cNvPr>
          <p:cNvSpPr/>
          <p:nvPr/>
        </p:nvSpPr>
        <p:spPr>
          <a:xfrm>
            <a:off x="6444000" y="1445281"/>
            <a:ext cx="5400000" cy="369332"/>
          </a:xfrm>
          <a:prstGeom prst="rect">
            <a:avLst/>
          </a:prstGeom>
        </p:spPr>
        <p:txBody>
          <a:bodyPr wrap="square">
            <a:spAutoFit/>
          </a:bodyPr>
          <a:lstStyle/>
          <a:p>
            <a:r>
              <a:rPr lang="id-ID" b="1" dirty="0"/>
              <a:t>Perizinan Berusaha subsektor Jasa Konstruksi</a:t>
            </a:r>
          </a:p>
        </p:txBody>
      </p:sp>
      <p:graphicFrame>
        <p:nvGraphicFramePr>
          <p:cNvPr id="49" name="Diagram 48">
            <a:extLst>
              <a:ext uri="{FF2B5EF4-FFF2-40B4-BE49-F238E27FC236}">
                <a16:creationId xmlns:a16="http://schemas.microsoft.com/office/drawing/2014/main" id="{B0D21DF7-AEC1-1ADD-351A-E5C1037D5583}"/>
              </a:ext>
            </a:extLst>
          </p:cNvPr>
          <p:cNvGraphicFramePr/>
          <p:nvPr/>
        </p:nvGraphicFramePr>
        <p:xfrm>
          <a:off x="6444000" y="2100213"/>
          <a:ext cx="5399999" cy="2160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0" name="Rectangle 49">
            <a:extLst>
              <a:ext uri="{FF2B5EF4-FFF2-40B4-BE49-F238E27FC236}">
                <a16:creationId xmlns:a16="http://schemas.microsoft.com/office/drawing/2014/main" id="{C7BF753A-F7C3-87D0-1A18-A437CF0F0711}"/>
              </a:ext>
            </a:extLst>
          </p:cNvPr>
          <p:cNvSpPr/>
          <p:nvPr/>
        </p:nvSpPr>
        <p:spPr>
          <a:xfrm>
            <a:off x="6443999" y="4545812"/>
            <a:ext cx="5400000" cy="1754326"/>
          </a:xfrm>
          <a:prstGeom prst="rect">
            <a:avLst/>
          </a:prstGeom>
        </p:spPr>
        <p:txBody>
          <a:bodyPr wrap="square">
            <a:spAutoFit/>
          </a:bodyPr>
          <a:lstStyle/>
          <a:p>
            <a:r>
              <a:rPr lang="id-ID" dirty="0"/>
              <a:t>Berdasarkan surat Direktur </a:t>
            </a:r>
            <a:r>
              <a:rPr lang="id-ID" i="0" u="none" strike="noStrike" dirty="0">
                <a:solidFill>
                  <a:srgbClr val="2A2E3A"/>
                </a:solidFill>
                <a:effectLst/>
              </a:rPr>
              <a:t>Kelembagaan dan Sumber Daya Konstruksi Nomor </a:t>
            </a:r>
            <a:r>
              <a:rPr lang="id-ID" b="1" i="0" u="none" strike="noStrike" dirty="0">
                <a:solidFill>
                  <a:srgbClr val="2A2E3A"/>
                </a:solidFill>
                <a:effectLst/>
              </a:rPr>
              <a:t>BK0404-Kd/1027 </a:t>
            </a:r>
            <a:r>
              <a:rPr lang="id-ID" i="0" u="none" strike="noStrike" dirty="0">
                <a:solidFill>
                  <a:srgbClr val="2A2E3A"/>
                </a:solidFill>
                <a:effectLst/>
              </a:rPr>
              <a:t>tanggal</a:t>
            </a:r>
            <a:r>
              <a:rPr lang="id-ID" b="1" i="0" u="none" strike="noStrike" dirty="0">
                <a:solidFill>
                  <a:srgbClr val="2A2E3A"/>
                </a:solidFill>
                <a:effectLst/>
              </a:rPr>
              <a:t> 25 Mei 2023</a:t>
            </a:r>
            <a:r>
              <a:rPr lang="id-ID" i="0" u="none" strike="noStrike" dirty="0">
                <a:solidFill>
                  <a:srgbClr val="2A2E3A"/>
                </a:solidFill>
                <a:effectLst/>
              </a:rPr>
              <a:t>, </a:t>
            </a:r>
            <a:r>
              <a:rPr lang="id-ID" b="1" i="0" u="none" strike="noStrike" dirty="0">
                <a:solidFill>
                  <a:srgbClr val="2A2E3A"/>
                </a:solidFill>
                <a:effectLst/>
              </a:rPr>
              <a:t>Sertifikat Standar</a:t>
            </a:r>
            <a:r>
              <a:rPr lang="id-ID" i="0" u="none" strike="noStrike" dirty="0">
                <a:solidFill>
                  <a:srgbClr val="2A2E3A"/>
                </a:solidFill>
                <a:effectLst/>
              </a:rPr>
              <a:t> yang </a:t>
            </a:r>
            <a:r>
              <a:rPr lang="id-ID" b="1" i="0" u="none" strike="noStrike" dirty="0">
                <a:solidFill>
                  <a:srgbClr val="2A2E3A"/>
                </a:solidFill>
                <a:effectLst/>
              </a:rPr>
              <a:t>disetujui secara otomatis oleh Sistem OSS (Fiktif Positif)</a:t>
            </a:r>
            <a:r>
              <a:rPr lang="id-ID" i="0" u="none" strike="noStrike" dirty="0">
                <a:solidFill>
                  <a:srgbClr val="2A2E3A"/>
                </a:solidFill>
                <a:effectLst/>
              </a:rPr>
              <a:t> kedudukannya </a:t>
            </a:r>
            <a:r>
              <a:rPr lang="id-ID" b="1" i="0" u="none" strike="noStrike" dirty="0">
                <a:solidFill>
                  <a:srgbClr val="2A2E3A"/>
                </a:solidFill>
                <a:effectLst/>
              </a:rPr>
              <a:t>sama</a:t>
            </a:r>
            <a:r>
              <a:rPr lang="id-ID" i="0" u="none" strike="noStrike" dirty="0">
                <a:solidFill>
                  <a:srgbClr val="2A2E3A"/>
                </a:solidFill>
                <a:effectLst/>
              </a:rPr>
              <a:t> seperti </a:t>
            </a:r>
            <a:r>
              <a:rPr lang="id-ID" b="1" i="0" u="none" strike="noStrike" dirty="0">
                <a:solidFill>
                  <a:srgbClr val="2A2E3A"/>
                </a:solidFill>
                <a:effectLst/>
              </a:rPr>
              <a:t>Sertifikat Standar terverifikasi</a:t>
            </a:r>
            <a:r>
              <a:rPr lang="id-ID" i="0" u="none" strike="noStrike" dirty="0">
                <a:solidFill>
                  <a:srgbClr val="2A2E3A"/>
                </a:solidFill>
                <a:effectLst/>
              </a:rPr>
              <a:t> yang dilakukan melalui </a:t>
            </a:r>
            <a:r>
              <a:rPr lang="id-ID" b="1" i="0" u="none" strike="noStrike" dirty="0">
                <a:solidFill>
                  <a:srgbClr val="2A2E3A"/>
                </a:solidFill>
                <a:effectLst/>
              </a:rPr>
              <a:t>proses verifikasi dan persetujuan</a:t>
            </a:r>
            <a:r>
              <a:rPr lang="id-ID" i="0" u="none" strike="noStrike" dirty="0">
                <a:solidFill>
                  <a:srgbClr val="2A2E3A"/>
                </a:solidFill>
                <a:effectLst/>
              </a:rPr>
              <a:t>.</a:t>
            </a:r>
            <a:r>
              <a:rPr lang="id-ID" dirty="0"/>
              <a:t> </a:t>
            </a:r>
            <a:endParaRPr lang="en-US" dirty="0"/>
          </a:p>
        </p:txBody>
      </p:sp>
      <p:pic>
        <p:nvPicPr>
          <p:cNvPr id="51" name="Picture 50">
            <a:extLst>
              <a:ext uri="{FF2B5EF4-FFF2-40B4-BE49-F238E27FC236}">
                <a16:creationId xmlns:a16="http://schemas.microsoft.com/office/drawing/2014/main" id="{540CDFCC-686B-C07F-B6FA-DEC842E81B92}"/>
              </a:ext>
            </a:extLst>
          </p:cNvPr>
          <p:cNvPicPr>
            <a:picLocks noChangeAspect="1"/>
          </p:cNvPicPr>
          <p:nvPr/>
        </p:nvPicPr>
        <p:blipFill>
          <a:blip r:embed="rId7"/>
          <a:stretch>
            <a:fillRect/>
          </a:stretch>
        </p:blipFill>
        <p:spPr>
          <a:xfrm>
            <a:off x="348001" y="4648456"/>
            <a:ext cx="2359503" cy="1800000"/>
          </a:xfrm>
          <a:prstGeom prst="rect">
            <a:avLst/>
          </a:prstGeom>
        </p:spPr>
      </p:pic>
      <p:pic>
        <p:nvPicPr>
          <p:cNvPr id="52" name="Picture 51">
            <a:extLst>
              <a:ext uri="{FF2B5EF4-FFF2-40B4-BE49-F238E27FC236}">
                <a16:creationId xmlns:a16="http://schemas.microsoft.com/office/drawing/2014/main" id="{3EFC16DE-F5C0-0A1C-A40A-7CB933A965BB}"/>
              </a:ext>
            </a:extLst>
          </p:cNvPr>
          <p:cNvPicPr>
            <a:picLocks noChangeAspect="1"/>
          </p:cNvPicPr>
          <p:nvPr/>
        </p:nvPicPr>
        <p:blipFill>
          <a:blip r:embed="rId8"/>
          <a:stretch>
            <a:fillRect/>
          </a:stretch>
        </p:blipFill>
        <p:spPr>
          <a:xfrm>
            <a:off x="3297077" y="4648456"/>
            <a:ext cx="2450923" cy="1800000"/>
          </a:xfrm>
          <a:prstGeom prst="rect">
            <a:avLst/>
          </a:prstGeom>
        </p:spPr>
      </p:pic>
      <p:sp>
        <p:nvSpPr>
          <p:cNvPr id="53" name="Plus Sign 52">
            <a:extLst>
              <a:ext uri="{FF2B5EF4-FFF2-40B4-BE49-F238E27FC236}">
                <a16:creationId xmlns:a16="http://schemas.microsoft.com/office/drawing/2014/main" id="{83E3F409-D1B1-861D-3E23-D1974EBD4149}"/>
              </a:ext>
            </a:extLst>
          </p:cNvPr>
          <p:cNvSpPr/>
          <p:nvPr/>
        </p:nvSpPr>
        <p:spPr>
          <a:xfrm>
            <a:off x="7142245" y="2754833"/>
            <a:ext cx="180000" cy="180000"/>
          </a:xfrm>
          <a:prstGeom prst="mathPlu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d-ID"/>
          </a:p>
        </p:txBody>
      </p:sp>
    </p:spTree>
    <p:extLst>
      <p:ext uri="{BB962C8B-B14F-4D97-AF65-F5344CB8AC3E}">
        <p14:creationId xmlns:p14="http://schemas.microsoft.com/office/powerpoint/2010/main" val="9435821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183C7-918C-7DCB-6E0E-EAE39E0C9D15}"/>
              </a:ext>
            </a:extLst>
          </p:cNvPr>
          <p:cNvSpPr>
            <a:spLocks noGrp="1"/>
          </p:cNvSpPr>
          <p:nvPr>
            <p:ph type="title"/>
          </p:nvPr>
        </p:nvSpPr>
        <p:spPr/>
        <p:txBody>
          <a:bodyPr/>
          <a:lstStyle/>
          <a:p>
            <a:r>
              <a:rPr lang="en-ID" dirty="0"/>
              <a:t>PERIZINAN BERUSAHA SUBSEKTOR JASA KONSTRUKSI</a:t>
            </a:r>
            <a:r>
              <a:rPr lang="id-ID" dirty="0"/>
              <a:t> (2/2)</a:t>
            </a:r>
            <a:endParaRPr lang="en-ID" dirty="0"/>
          </a:p>
        </p:txBody>
      </p:sp>
      <p:sp>
        <p:nvSpPr>
          <p:cNvPr id="3" name="Content Placeholder 2">
            <a:extLst>
              <a:ext uri="{FF2B5EF4-FFF2-40B4-BE49-F238E27FC236}">
                <a16:creationId xmlns:a16="http://schemas.microsoft.com/office/drawing/2014/main" id="{82A9BA9F-E72E-4531-C141-81E530E3DAA9}"/>
              </a:ext>
            </a:extLst>
          </p:cNvPr>
          <p:cNvSpPr>
            <a:spLocks noGrp="1"/>
          </p:cNvSpPr>
          <p:nvPr>
            <p:ph idx="1"/>
          </p:nvPr>
        </p:nvSpPr>
        <p:spPr>
          <a:xfrm>
            <a:off x="143217" y="998741"/>
            <a:ext cx="11893342" cy="5594790"/>
          </a:xfrm>
        </p:spPr>
        <p:txBody>
          <a:bodyPr/>
          <a:lstStyle/>
          <a:p>
            <a:endParaRPr lang="en-ID" dirty="0"/>
          </a:p>
        </p:txBody>
      </p:sp>
      <p:grpSp>
        <p:nvGrpSpPr>
          <p:cNvPr id="13" name="Group 12">
            <a:extLst>
              <a:ext uri="{FF2B5EF4-FFF2-40B4-BE49-F238E27FC236}">
                <a16:creationId xmlns:a16="http://schemas.microsoft.com/office/drawing/2014/main" id="{336C7143-3A28-524D-419D-1947C84FFB11}"/>
              </a:ext>
            </a:extLst>
          </p:cNvPr>
          <p:cNvGrpSpPr/>
          <p:nvPr/>
        </p:nvGrpSpPr>
        <p:grpSpPr>
          <a:xfrm>
            <a:off x="130643" y="1370359"/>
            <a:ext cx="7325359" cy="4424582"/>
            <a:chOff x="130643" y="596365"/>
            <a:chExt cx="7325359" cy="4424582"/>
          </a:xfrm>
        </p:grpSpPr>
        <p:grpSp>
          <p:nvGrpSpPr>
            <p:cNvPr id="7" name="Group 6">
              <a:extLst>
                <a:ext uri="{FF2B5EF4-FFF2-40B4-BE49-F238E27FC236}">
                  <a16:creationId xmlns:a16="http://schemas.microsoft.com/office/drawing/2014/main" id="{831B35E1-7BF8-DCAC-6642-C457C6C57DEA}"/>
                </a:ext>
              </a:extLst>
            </p:cNvPr>
            <p:cNvGrpSpPr/>
            <p:nvPr/>
          </p:nvGrpSpPr>
          <p:grpSpPr>
            <a:xfrm>
              <a:off x="130643" y="596365"/>
              <a:ext cx="7325359" cy="4261833"/>
              <a:chOff x="376046" y="1414994"/>
              <a:chExt cx="7325359" cy="4261833"/>
            </a:xfrm>
          </p:grpSpPr>
          <p:pic>
            <p:nvPicPr>
              <p:cNvPr id="5" name="Picture 4">
                <a:extLst>
                  <a:ext uri="{FF2B5EF4-FFF2-40B4-BE49-F238E27FC236}">
                    <a16:creationId xmlns:a16="http://schemas.microsoft.com/office/drawing/2014/main" id="{D35A2D05-7869-7ECC-35E6-57AB20AE6F08}"/>
                  </a:ext>
                </a:extLst>
              </p:cNvPr>
              <p:cNvPicPr>
                <a:picLocks noChangeAspect="1"/>
              </p:cNvPicPr>
              <p:nvPr/>
            </p:nvPicPr>
            <p:blipFill rotWithShape="1">
              <a:blip r:embed="rId2">
                <a:extLst>
                  <a:ext uri="{28A0092B-C50C-407E-A947-70E740481C1C}">
                    <a14:useLocalDpi xmlns:a14="http://schemas.microsoft.com/office/drawing/2010/main" val="0"/>
                  </a:ext>
                </a:extLst>
              </a:blip>
              <a:srcRect l="6281" t="44922" r="6344" b="12044"/>
              <a:stretch/>
            </p:blipFill>
            <p:spPr>
              <a:xfrm>
                <a:off x="376046" y="1414994"/>
                <a:ext cx="7200000" cy="1734264"/>
              </a:xfrm>
              <a:prstGeom prst="rect">
                <a:avLst/>
              </a:prstGeom>
            </p:spPr>
          </p:pic>
          <p:pic>
            <p:nvPicPr>
              <p:cNvPr id="6" name="Picture 5">
                <a:extLst>
                  <a:ext uri="{FF2B5EF4-FFF2-40B4-BE49-F238E27FC236}">
                    <a16:creationId xmlns:a16="http://schemas.microsoft.com/office/drawing/2014/main" id="{FAA2D48B-3E54-1542-163D-3098D07A172A}"/>
                  </a:ext>
                </a:extLst>
              </p:cNvPr>
              <p:cNvPicPr>
                <a:picLocks noChangeAspect="1"/>
              </p:cNvPicPr>
              <p:nvPr/>
            </p:nvPicPr>
            <p:blipFill rotWithShape="1">
              <a:blip r:embed="rId3">
                <a:extLst>
                  <a:ext uri="{28A0092B-C50C-407E-A947-70E740481C1C}">
                    <a14:useLocalDpi xmlns:a14="http://schemas.microsoft.com/office/drawing/2010/main" val="0"/>
                  </a:ext>
                </a:extLst>
              </a:blip>
              <a:srcRect l="750" t="26852" r="1468" b="9876"/>
              <a:stretch/>
            </p:blipFill>
            <p:spPr>
              <a:xfrm>
                <a:off x="501405" y="4261678"/>
                <a:ext cx="7200000" cy="1415149"/>
              </a:xfrm>
              <a:prstGeom prst="rect">
                <a:avLst/>
              </a:prstGeom>
            </p:spPr>
          </p:pic>
        </p:grpSp>
        <p:sp>
          <p:nvSpPr>
            <p:cNvPr id="8" name="Rectangle 7">
              <a:extLst>
                <a:ext uri="{FF2B5EF4-FFF2-40B4-BE49-F238E27FC236}">
                  <a16:creationId xmlns:a16="http://schemas.microsoft.com/office/drawing/2014/main" id="{A58B9902-093A-408D-C11D-F7FE592BCBBC}"/>
                </a:ext>
              </a:extLst>
            </p:cNvPr>
            <p:cNvSpPr/>
            <p:nvPr/>
          </p:nvSpPr>
          <p:spPr>
            <a:xfrm flipV="1">
              <a:off x="6149340" y="1328989"/>
              <a:ext cx="1066963" cy="400111"/>
            </a:xfrm>
            <a:prstGeom prst="rect">
              <a:avLst/>
            </a:prstGeom>
            <a:no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9" name="Rectangle 8">
              <a:extLst>
                <a:ext uri="{FF2B5EF4-FFF2-40B4-BE49-F238E27FC236}">
                  <a16:creationId xmlns:a16="http://schemas.microsoft.com/office/drawing/2014/main" id="{3ADC245C-1183-3162-E079-8159353C330C}"/>
                </a:ext>
              </a:extLst>
            </p:cNvPr>
            <p:cNvSpPr/>
            <p:nvPr/>
          </p:nvSpPr>
          <p:spPr>
            <a:xfrm>
              <a:off x="6255068" y="3996318"/>
              <a:ext cx="822960" cy="308610"/>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0" name="TextBox 9">
              <a:extLst>
                <a:ext uri="{FF2B5EF4-FFF2-40B4-BE49-F238E27FC236}">
                  <a16:creationId xmlns:a16="http://schemas.microsoft.com/office/drawing/2014/main" id="{5A423F8A-B7B7-7B5D-0BD8-57F8AB1E2D3E}"/>
                </a:ext>
              </a:extLst>
            </p:cNvPr>
            <p:cNvSpPr txBox="1"/>
            <p:nvPr/>
          </p:nvSpPr>
          <p:spPr>
            <a:xfrm>
              <a:off x="4858395" y="4466949"/>
              <a:ext cx="1974398" cy="553998"/>
            </a:xfrm>
            <a:prstGeom prst="rect">
              <a:avLst/>
            </a:prstGeom>
            <a:noFill/>
          </p:spPr>
          <p:txBody>
            <a:bodyPr wrap="square" rtlCol="0" anchor="ctr">
              <a:spAutoFit/>
            </a:bodyPr>
            <a:lstStyle/>
            <a:p>
              <a:r>
                <a:rPr lang="id-ID" sz="1000" b="1" dirty="0"/>
                <a:t>Contoh tangkapan layar </a:t>
              </a:r>
            </a:p>
            <a:p>
              <a:r>
                <a:rPr lang="id-ID" sz="1000" b="1" dirty="0"/>
                <a:t>“Menunggu Verifikasi Persyaratan”</a:t>
              </a:r>
            </a:p>
          </p:txBody>
        </p:sp>
        <p:sp>
          <p:nvSpPr>
            <p:cNvPr id="11" name="TextBox 10">
              <a:extLst>
                <a:ext uri="{FF2B5EF4-FFF2-40B4-BE49-F238E27FC236}">
                  <a16:creationId xmlns:a16="http://schemas.microsoft.com/office/drawing/2014/main" id="{74615FE0-6BC3-A3E2-2924-2258C593F73F}"/>
                </a:ext>
              </a:extLst>
            </p:cNvPr>
            <p:cNvSpPr txBox="1"/>
            <p:nvPr/>
          </p:nvSpPr>
          <p:spPr>
            <a:xfrm>
              <a:off x="4765594" y="1760190"/>
              <a:ext cx="2160000" cy="400110"/>
            </a:xfrm>
            <a:prstGeom prst="rect">
              <a:avLst/>
            </a:prstGeom>
            <a:noFill/>
          </p:spPr>
          <p:txBody>
            <a:bodyPr wrap="square" rtlCol="0" anchor="ctr">
              <a:spAutoFit/>
            </a:bodyPr>
            <a:lstStyle/>
            <a:p>
              <a:r>
                <a:rPr lang="id-ID" sz="1000" b="1" dirty="0"/>
                <a:t>Contoh tangkapan layar </a:t>
              </a:r>
            </a:p>
            <a:p>
              <a:r>
                <a:rPr lang="id-ID" sz="1000" b="1" dirty="0"/>
                <a:t>“Belum Melengkapi Persyaratan”</a:t>
              </a:r>
            </a:p>
          </p:txBody>
        </p:sp>
      </p:grpSp>
      <p:sp>
        <p:nvSpPr>
          <p:cNvPr id="12" name="Rectangle 11">
            <a:extLst>
              <a:ext uri="{FF2B5EF4-FFF2-40B4-BE49-F238E27FC236}">
                <a16:creationId xmlns:a16="http://schemas.microsoft.com/office/drawing/2014/main" id="{AB8A3A83-6F66-2053-3F47-5FA021A9AC53}"/>
              </a:ext>
            </a:extLst>
          </p:cNvPr>
          <p:cNvSpPr/>
          <p:nvPr/>
        </p:nvSpPr>
        <p:spPr>
          <a:xfrm>
            <a:off x="7648373" y="1287757"/>
            <a:ext cx="4083029" cy="5016758"/>
          </a:xfrm>
          <a:prstGeom prst="rect">
            <a:avLst/>
          </a:prstGeom>
        </p:spPr>
        <p:txBody>
          <a:bodyPr wrap="square">
            <a:spAutoFit/>
          </a:bodyPr>
          <a:lstStyle/>
          <a:p>
            <a:r>
              <a:rPr lang="id-ID" sz="1600" b="1" dirty="0"/>
              <a:t>Pasal 56 ayat (5) Permen PUPR 8/2022</a:t>
            </a:r>
          </a:p>
          <a:p>
            <a:pPr marL="285750" indent="-285750">
              <a:buFont typeface="Arial" panose="020B0604020202020204" pitchFamily="34" charset="0"/>
              <a:buChar char="•"/>
            </a:pPr>
            <a:r>
              <a:rPr lang="en-US" sz="1600" dirty="0"/>
              <a:t>BUJK yang </a:t>
            </a:r>
            <a:r>
              <a:rPr lang="en-US" sz="1600" dirty="0" err="1"/>
              <a:t>telah</a:t>
            </a:r>
            <a:r>
              <a:rPr lang="en-US" sz="1600" dirty="0"/>
              <a:t> </a:t>
            </a:r>
            <a:r>
              <a:rPr lang="en-US" sz="1600" dirty="0" err="1"/>
              <a:t>memiliki</a:t>
            </a:r>
            <a:r>
              <a:rPr lang="en-US" sz="1600" dirty="0"/>
              <a:t> SBU</a:t>
            </a:r>
            <a:r>
              <a:rPr lang="id-ID" sz="1600" dirty="0"/>
              <a:t> </a:t>
            </a:r>
            <a:r>
              <a:rPr lang="en-US" sz="1600" dirty="0" err="1"/>
              <a:t>sebagaimana</a:t>
            </a:r>
            <a:r>
              <a:rPr lang="en-US" sz="1600" dirty="0"/>
              <a:t> </a:t>
            </a:r>
            <a:r>
              <a:rPr lang="en-US" sz="1600" dirty="0" err="1"/>
              <a:t>dimaksud</a:t>
            </a:r>
            <a:r>
              <a:rPr lang="en-US" sz="1600" dirty="0"/>
              <a:t> pada </a:t>
            </a:r>
            <a:r>
              <a:rPr lang="en-US" sz="1600" dirty="0" err="1"/>
              <a:t>ayat</a:t>
            </a:r>
            <a:r>
              <a:rPr lang="en-US" sz="1600" dirty="0"/>
              <a:t> (2) </a:t>
            </a:r>
            <a:r>
              <a:rPr lang="en-US" sz="1600" dirty="0" err="1"/>
              <a:t>namun</a:t>
            </a:r>
            <a:r>
              <a:rPr lang="en-US" sz="1600" dirty="0"/>
              <a:t> </a:t>
            </a:r>
            <a:r>
              <a:rPr lang="en-US" sz="1600" b="1" dirty="0" err="1"/>
              <a:t>izin</a:t>
            </a:r>
            <a:r>
              <a:rPr lang="en-US" sz="1600" b="1" dirty="0"/>
              <a:t> </a:t>
            </a:r>
            <a:r>
              <a:rPr lang="en-US" sz="1600" b="1" dirty="0" err="1"/>
              <a:t>usaha</a:t>
            </a:r>
            <a:r>
              <a:rPr lang="en-US" sz="1600" b="1" dirty="0"/>
              <a:t> Jasa </a:t>
            </a:r>
            <a:r>
              <a:rPr lang="en-US" sz="1600" b="1" dirty="0" err="1"/>
              <a:t>Konstruksi</a:t>
            </a:r>
            <a:r>
              <a:rPr lang="en-US" sz="1600" b="1" dirty="0"/>
              <a:t> </a:t>
            </a:r>
            <a:r>
              <a:rPr lang="en-US" sz="1600" b="1" dirty="0" err="1"/>
              <a:t>belum</a:t>
            </a:r>
            <a:r>
              <a:rPr lang="en-US" sz="1600" b="1" dirty="0"/>
              <a:t> </a:t>
            </a:r>
            <a:r>
              <a:rPr lang="en-US" sz="1600" b="1" dirty="0" err="1"/>
              <a:t>efektif</a:t>
            </a:r>
            <a:r>
              <a:rPr lang="en-US" sz="1600" dirty="0"/>
              <a:t>, </a:t>
            </a:r>
            <a:r>
              <a:rPr lang="en-US" sz="1600" dirty="0" err="1"/>
              <a:t>tetap</a:t>
            </a:r>
            <a:r>
              <a:rPr lang="en-US" sz="1600" dirty="0"/>
              <a:t> </a:t>
            </a:r>
            <a:r>
              <a:rPr lang="en-US" sz="1600" dirty="0" err="1"/>
              <a:t>dapat</a:t>
            </a:r>
            <a:r>
              <a:rPr lang="en-US" sz="1600" dirty="0"/>
              <a:t> </a:t>
            </a:r>
            <a:r>
              <a:rPr lang="en-US" sz="1600" dirty="0" err="1"/>
              <a:t>mengikuti</a:t>
            </a:r>
            <a:r>
              <a:rPr lang="en-US" sz="1600" dirty="0"/>
              <a:t> </a:t>
            </a:r>
            <a:r>
              <a:rPr lang="en-US" sz="1600" dirty="0" err="1"/>
              <a:t>pemilihan</a:t>
            </a:r>
            <a:r>
              <a:rPr lang="en-US" sz="1600" dirty="0"/>
              <a:t> </a:t>
            </a:r>
            <a:r>
              <a:rPr lang="en-US" sz="1600" dirty="0" err="1"/>
              <a:t>penyedia</a:t>
            </a:r>
            <a:r>
              <a:rPr lang="en-US" sz="1600" dirty="0"/>
              <a:t> Jasa </a:t>
            </a:r>
            <a:r>
              <a:rPr lang="en-US" sz="1600" dirty="0" err="1"/>
              <a:t>Konstruksi</a:t>
            </a:r>
            <a:r>
              <a:rPr lang="en-US" sz="1600" dirty="0"/>
              <a:t> dan </a:t>
            </a:r>
            <a:r>
              <a:rPr lang="en-US" sz="1600" dirty="0" err="1"/>
              <a:t>pengikatan</a:t>
            </a:r>
            <a:r>
              <a:rPr lang="en-US" sz="1600" dirty="0"/>
              <a:t> </a:t>
            </a:r>
            <a:r>
              <a:rPr lang="en-US" sz="1600" dirty="0" err="1"/>
              <a:t>kontrak</a:t>
            </a:r>
            <a:r>
              <a:rPr lang="en-US" sz="1600" dirty="0"/>
              <a:t> Jasa </a:t>
            </a:r>
            <a:r>
              <a:rPr lang="en-US" sz="1600" dirty="0" err="1"/>
              <a:t>Konstruksi</a:t>
            </a:r>
            <a:r>
              <a:rPr lang="en-US" sz="1600" dirty="0"/>
              <a:t> </a:t>
            </a:r>
            <a:r>
              <a:rPr lang="en-US" sz="1600" dirty="0" err="1"/>
              <a:t>dengan</a:t>
            </a:r>
            <a:r>
              <a:rPr lang="en-US" sz="1600" dirty="0"/>
              <a:t> </a:t>
            </a:r>
            <a:r>
              <a:rPr lang="en-US" sz="1600" dirty="0" err="1"/>
              <a:t>menyampaikan</a:t>
            </a:r>
            <a:r>
              <a:rPr lang="en-US" sz="1600" dirty="0"/>
              <a:t> </a:t>
            </a:r>
            <a:r>
              <a:rPr lang="en-US" sz="1600" b="1" dirty="0"/>
              <a:t>NIB</a:t>
            </a:r>
            <a:r>
              <a:rPr lang="en-US" sz="1600" dirty="0"/>
              <a:t> dan </a:t>
            </a:r>
            <a:r>
              <a:rPr lang="en-US" sz="1600" b="1" dirty="0"/>
              <a:t>SBU yang </a:t>
            </a:r>
            <a:r>
              <a:rPr lang="en-US" sz="1600" b="1" dirty="0" err="1"/>
              <a:t>masih</a:t>
            </a:r>
            <a:r>
              <a:rPr lang="en-US" sz="1600" b="1" dirty="0"/>
              <a:t> </a:t>
            </a:r>
            <a:r>
              <a:rPr lang="en-US" sz="1600" b="1" dirty="0" err="1"/>
              <a:t>berlaku</a:t>
            </a:r>
            <a:r>
              <a:rPr lang="en-US" sz="1600" dirty="0"/>
              <a:t>.</a:t>
            </a:r>
            <a:endParaRPr lang="id-ID" sz="1600" dirty="0"/>
          </a:p>
          <a:p>
            <a:endParaRPr lang="id-ID" sz="1600" dirty="0"/>
          </a:p>
          <a:p>
            <a:r>
              <a:rPr lang="id-ID" sz="1600" b="1" dirty="0"/>
              <a:t>Pasal 56 ayat (6) Permen PUPR 8/2022</a:t>
            </a:r>
          </a:p>
          <a:p>
            <a:pPr marL="285750" indent="-285750">
              <a:buFont typeface="Arial" panose="020B0604020202020204" pitchFamily="34" charset="0"/>
              <a:buChar char="•"/>
            </a:pPr>
            <a:r>
              <a:rPr lang="id-ID" sz="1600" dirty="0"/>
              <a:t>BUJK yang telah memiliki NIB namun </a:t>
            </a:r>
            <a:r>
              <a:rPr lang="id-ID" sz="1600" b="1" dirty="0"/>
              <a:t>Sertifikat Standar </a:t>
            </a:r>
            <a:r>
              <a:rPr lang="id-ID" sz="1600" dirty="0"/>
              <a:t>sedang </a:t>
            </a:r>
            <a:r>
              <a:rPr lang="id-ID" sz="1600" b="1" dirty="0"/>
              <a:t>dalam proses verifikasi</a:t>
            </a:r>
            <a:r>
              <a:rPr lang="id-ID" sz="1600" dirty="0"/>
              <a:t> dan </a:t>
            </a:r>
            <a:r>
              <a:rPr lang="id-ID" sz="1600" b="1" dirty="0"/>
              <a:t>persetujuan</a:t>
            </a:r>
            <a:r>
              <a:rPr lang="id-ID" sz="1600" dirty="0"/>
              <a:t> sebagaimana dimaksud dalam Pasal 53 ayat (1), </a:t>
            </a:r>
            <a:r>
              <a:rPr lang="id-ID" sz="1600" b="1" dirty="0"/>
              <a:t>tetap dapat mengikuti pemilihan penyedia </a:t>
            </a:r>
            <a:r>
              <a:rPr lang="id-ID" sz="1600" dirty="0"/>
              <a:t>dan</a:t>
            </a:r>
            <a:r>
              <a:rPr lang="id-ID" sz="1600" b="1" dirty="0"/>
              <a:t> pengikatan kontrak Jasa Konstruksi </a:t>
            </a:r>
            <a:r>
              <a:rPr lang="id-ID" sz="1600" dirty="0"/>
              <a:t>dengan menyampaikan </a:t>
            </a:r>
            <a:r>
              <a:rPr lang="id-ID" sz="1600" b="1" dirty="0"/>
              <a:t>NIB</a:t>
            </a:r>
            <a:r>
              <a:rPr lang="id-ID" sz="1600" dirty="0"/>
              <a:t>, </a:t>
            </a:r>
            <a:r>
              <a:rPr lang="id-ID" sz="1600" b="1" dirty="0"/>
              <a:t>SBU yang masih berlaku</a:t>
            </a:r>
            <a:r>
              <a:rPr lang="id-ID" sz="1600" dirty="0"/>
              <a:t>, serta </a:t>
            </a:r>
            <a:r>
              <a:rPr lang="id-ID" sz="1600" b="1" dirty="0"/>
              <a:t>bukti tangkapan layar laman OSS</a:t>
            </a:r>
            <a:r>
              <a:rPr lang="id-ID" sz="1600" dirty="0"/>
              <a:t> bahwa </a:t>
            </a:r>
            <a:r>
              <a:rPr lang="id-ID" sz="1600" b="1" dirty="0"/>
              <a:t>Sertifikat Standar </a:t>
            </a:r>
            <a:r>
              <a:rPr lang="id-ID" sz="1600" dirty="0"/>
              <a:t>sedang </a:t>
            </a:r>
            <a:r>
              <a:rPr lang="id-ID" sz="1600" b="1" dirty="0"/>
              <a:t>menunggu verifikasi persyaratan</a:t>
            </a:r>
            <a:r>
              <a:rPr lang="id-ID" sz="1600" dirty="0"/>
              <a:t>.</a:t>
            </a:r>
            <a:endParaRPr lang="en-US" sz="1600" dirty="0"/>
          </a:p>
        </p:txBody>
      </p:sp>
      <p:sp>
        <p:nvSpPr>
          <p:cNvPr id="4" name="Arrow: Down 3">
            <a:extLst>
              <a:ext uri="{FF2B5EF4-FFF2-40B4-BE49-F238E27FC236}">
                <a16:creationId xmlns:a16="http://schemas.microsoft.com/office/drawing/2014/main" id="{5F31E699-F498-75BC-AF22-C5008CA9F26A}"/>
              </a:ext>
            </a:extLst>
          </p:cNvPr>
          <p:cNvSpPr/>
          <p:nvPr/>
        </p:nvSpPr>
        <p:spPr>
          <a:xfrm>
            <a:off x="657791" y="3218099"/>
            <a:ext cx="6420237" cy="753623"/>
          </a:xfrm>
          <a:prstGeom prst="downArrow">
            <a:avLst>
              <a:gd name="adj1" fmla="val 50000"/>
              <a:gd name="adj2" fmla="val 74852"/>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err="1"/>
              <a:t>Setelah</a:t>
            </a:r>
            <a:r>
              <a:rPr lang="en-US" sz="1400" dirty="0"/>
              <a:t> </a:t>
            </a:r>
            <a:r>
              <a:rPr lang="en-US" sz="1400" dirty="0" err="1"/>
              <a:t>melakukan</a:t>
            </a:r>
            <a:r>
              <a:rPr lang="en-US" sz="1400" dirty="0"/>
              <a:t>  </a:t>
            </a:r>
            <a:r>
              <a:rPr lang="en-US" sz="1400" dirty="0" err="1"/>
              <a:t>pemenuhan</a:t>
            </a:r>
            <a:r>
              <a:rPr lang="en-US" sz="1400" dirty="0"/>
              <a:t> </a:t>
            </a:r>
            <a:r>
              <a:rPr lang="en-US" sz="1400" dirty="0" err="1"/>
              <a:t>persyaratan</a:t>
            </a:r>
            <a:r>
              <a:rPr lang="en-US" sz="1400" dirty="0"/>
              <a:t> </a:t>
            </a:r>
            <a:r>
              <a:rPr lang="id-ID" sz="1400" dirty="0"/>
              <a:t>(upload SBU)</a:t>
            </a:r>
            <a:endParaRPr lang="en-US" sz="1400" dirty="0"/>
          </a:p>
        </p:txBody>
      </p:sp>
    </p:spTree>
    <p:extLst>
      <p:ext uri="{BB962C8B-B14F-4D97-AF65-F5344CB8AC3E}">
        <p14:creationId xmlns:p14="http://schemas.microsoft.com/office/powerpoint/2010/main" val="6738333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183C7-918C-7DCB-6E0E-EAE39E0C9D15}"/>
              </a:ext>
            </a:extLst>
          </p:cNvPr>
          <p:cNvSpPr>
            <a:spLocks noGrp="1"/>
          </p:cNvSpPr>
          <p:nvPr>
            <p:ph type="title"/>
          </p:nvPr>
        </p:nvSpPr>
        <p:spPr/>
        <p:txBody>
          <a:bodyPr/>
          <a:lstStyle/>
          <a:p>
            <a:r>
              <a:rPr lang="id-ID" dirty="0"/>
              <a:t>PERIZINAN BERUSAHA YANG TELAH TERPENUHI</a:t>
            </a:r>
            <a:endParaRPr lang="en-ID" dirty="0"/>
          </a:p>
        </p:txBody>
      </p:sp>
      <p:sp>
        <p:nvSpPr>
          <p:cNvPr id="16" name="Rectangle: Rounded Corners 15">
            <a:extLst>
              <a:ext uri="{FF2B5EF4-FFF2-40B4-BE49-F238E27FC236}">
                <a16:creationId xmlns:a16="http://schemas.microsoft.com/office/drawing/2014/main" id="{01D103D1-7067-41D9-095D-A51969A7FE62}"/>
              </a:ext>
            </a:extLst>
          </p:cNvPr>
          <p:cNvSpPr/>
          <p:nvPr/>
        </p:nvSpPr>
        <p:spPr>
          <a:xfrm>
            <a:off x="318814" y="4079730"/>
            <a:ext cx="1895192" cy="832447"/>
          </a:xfrm>
          <a:prstGeom prst="round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d-ID" dirty="0"/>
              <a:t>Memiliki SS Terverifikasi</a:t>
            </a:r>
            <a:endParaRPr lang="en-US" dirty="0"/>
          </a:p>
        </p:txBody>
      </p:sp>
      <p:pic>
        <p:nvPicPr>
          <p:cNvPr id="18" name="Picture 17">
            <a:extLst>
              <a:ext uri="{FF2B5EF4-FFF2-40B4-BE49-F238E27FC236}">
                <a16:creationId xmlns:a16="http://schemas.microsoft.com/office/drawing/2014/main" id="{A01DDC9F-5E16-3F67-5AF2-7F827F8A1707}"/>
              </a:ext>
            </a:extLst>
          </p:cNvPr>
          <p:cNvPicPr>
            <a:picLocks noChangeAspect="1"/>
          </p:cNvPicPr>
          <p:nvPr/>
        </p:nvPicPr>
        <p:blipFill>
          <a:blip r:embed="rId2"/>
          <a:stretch>
            <a:fillRect/>
          </a:stretch>
        </p:blipFill>
        <p:spPr>
          <a:xfrm>
            <a:off x="318814" y="1527853"/>
            <a:ext cx="2359503" cy="1800000"/>
          </a:xfrm>
          <a:prstGeom prst="rect">
            <a:avLst/>
          </a:prstGeom>
        </p:spPr>
      </p:pic>
      <p:sp>
        <p:nvSpPr>
          <p:cNvPr id="14" name="Rectangle: Rounded Corners 13">
            <a:extLst>
              <a:ext uri="{FF2B5EF4-FFF2-40B4-BE49-F238E27FC236}">
                <a16:creationId xmlns:a16="http://schemas.microsoft.com/office/drawing/2014/main" id="{8A11FF75-5D85-4507-3614-5EC99BFBD19A}"/>
              </a:ext>
            </a:extLst>
          </p:cNvPr>
          <p:cNvSpPr/>
          <p:nvPr/>
        </p:nvSpPr>
        <p:spPr>
          <a:xfrm>
            <a:off x="318814" y="1108532"/>
            <a:ext cx="1895192" cy="419321"/>
          </a:xfrm>
          <a:prstGeom prst="round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d-ID" dirty="0"/>
              <a:t>Memiliki NIB</a:t>
            </a:r>
            <a:endParaRPr lang="en-US" dirty="0"/>
          </a:p>
        </p:txBody>
      </p:sp>
      <p:pic>
        <p:nvPicPr>
          <p:cNvPr id="20" name="Picture 19">
            <a:extLst>
              <a:ext uri="{FF2B5EF4-FFF2-40B4-BE49-F238E27FC236}">
                <a16:creationId xmlns:a16="http://schemas.microsoft.com/office/drawing/2014/main" id="{D9FC87F2-6B7C-D2FC-5EAE-3A4AC90C0FFE}"/>
              </a:ext>
            </a:extLst>
          </p:cNvPr>
          <p:cNvPicPr>
            <a:picLocks noChangeAspect="1"/>
          </p:cNvPicPr>
          <p:nvPr/>
        </p:nvPicPr>
        <p:blipFill>
          <a:blip r:embed="rId3"/>
          <a:stretch>
            <a:fillRect/>
          </a:stretch>
        </p:blipFill>
        <p:spPr>
          <a:xfrm>
            <a:off x="318814" y="4912177"/>
            <a:ext cx="2450923" cy="1800000"/>
          </a:xfrm>
          <a:prstGeom prst="rect">
            <a:avLst/>
          </a:prstGeom>
        </p:spPr>
      </p:pic>
      <p:sp>
        <p:nvSpPr>
          <p:cNvPr id="21" name="Plus Sign 20">
            <a:extLst>
              <a:ext uri="{FF2B5EF4-FFF2-40B4-BE49-F238E27FC236}">
                <a16:creationId xmlns:a16="http://schemas.microsoft.com/office/drawing/2014/main" id="{8FDFAD74-E216-DD87-A684-C60CC3C77976}"/>
              </a:ext>
            </a:extLst>
          </p:cNvPr>
          <p:cNvSpPr/>
          <p:nvPr/>
        </p:nvSpPr>
        <p:spPr>
          <a:xfrm flipH="1">
            <a:off x="880531" y="3429000"/>
            <a:ext cx="570887" cy="570887"/>
          </a:xfrm>
          <a:prstGeom prst="mathPlus">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Rounded Corners 22">
            <a:extLst>
              <a:ext uri="{FF2B5EF4-FFF2-40B4-BE49-F238E27FC236}">
                <a16:creationId xmlns:a16="http://schemas.microsoft.com/office/drawing/2014/main" id="{6AF90EF6-DF59-C276-4A9E-636480610FB7}"/>
              </a:ext>
            </a:extLst>
          </p:cNvPr>
          <p:cNvSpPr/>
          <p:nvPr/>
        </p:nvSpPr>
        <p:spPr>
          <a:xfrm>
            <a:off x="3514184" y="4079730"/>
            <a:ext cx="1895192" cy="832447"/>
          </a:xfrm>
          <a:prstGeom prst="roundRect">
            <a:avLst/>
          </a:prstGeom>
          <a:solidFill>
            <a:schemeClr val="accent4">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d-ID" dirty="0"/>
              <a:t>Memiliki SS Belum Terverifikasi</a:t>
            </a:r>
            <a:endParaRPr lang="en-US" dirty="0"/>
          </a:p>
        </p:txBody>
      </p:sp>
      <p:pic>
        <p:nvPicPr>
          <p:cNvPr id="25" name="Picture 24">
            <a:extLst>
              <a:ext uri="{FF2B5EF4-FFF2-40B4-BE49-F238E27FC236}">
                <a16:creationId xmlns:a16="http://schemas.microsoft.com/office/drawing/2014/main" id="{7EB9FFD7-8047-A8EB-0F65-23D6ECFF6BB2}"/>
              </a:ext>
            </a:extLst>
          </p:cNvPr>
          <p:cNvPicPr>
            <a:picLocks noChangeAspect="1"/>
          </p:cNvPicPr>
          <p:nvPr/>
        </p:nvPicPr>
        <p:blipFill>
          <a:blip r:embed="rId2"/>
          <a:stretch>
            <a:fillRect/>
          </a:stretch>
        </p:blipFill>
        <p:spPr>
          <a:xfrm>
            <a:off x="4322834" y="1510882"/>
            <a:ext cx="2359503" cy="1800000"/>
          </a:xfrm>
          <a:prstGeom prst="rect">
            <a:avLst/>
          </a:prstGeom>
        </p:spPr>
      </p:pic>
      <p:sp>
        <p:nvSpPr>
          <p:cNvPr id="27" name="Rectangle: Rounded Corners 26">
            <a:extLst>
              <a:ext uri="{FF2B5EF4-FFF2-40B4-BE49-F238E27FC236}">
                <a16:creationId xmlns:a16="http://schemas.microsoft.com/office/drawing/2014/main" id="{BF3253C2-CA41-5AE7-41F2-20A8A91B1571}"/>
              </a:ext>
            </a:extLst>
          </p:cNvPr>
          <p:cNvSpPr/>
          <p:nvPr/>
        </p:nvSpPr>
        <p:spPr>
          <a:xfrm>
            <a:off x="4585824" y="1133681"/>
            <a:ext cx="1895192" cy="419321"/>
          </a:xfrm>
          <a:prstGeom prst="round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d-ID" dirty="0"/>
              <a:t>Memiliki NIB</a:t>
            </a:r>
            <a:endParaRPr lang="en-US" dirty="0"/>
          </a:p>
        </p:txBody>
      </p:sp>
      <p:pic>
        <p:nvPicPr>
          <p:cNvPr id="29" name="Picture 28">
            <a:extLst>
              <a:ext uri="{FF2B5EF4-FFF2-40B4-BE49-F238E27FC236}">
                <a16:creationId xmlns:a16="http://schemas.microsoft.com/office/drawing/2014/main" id="{47A01AAD-9E26-5106-FFF4-C1E2ACF6993D}"/>
              </a:ext>
            </a:extLst>
          </p:cNvPr>
          <p:cNvPicPr>
            <a:picLocks noChangeAspect="1"/>
          </p:cNvPicPr>
          <p:nvPr/>
        </p:nvPicPr>
        <p:blipFill>
          <a:blip r:embed="rId3"/>
          <a:stretch>
            <a:fillRect/>
          </a:stretch>
        </p:blipFill>
        <p:spPr>
          <a:xfrm>
            <a:off x="3514184" y="4912177"/>
            <a:ext cx="2450923" cy="1800000"/>
          </a:xfrm>
          <a:prstGeom prst="rect">
            <a:avLst/>
          </a:prstGeom>
        </p:spPr>
      </p:pic>
      <p:sp>
        <p:nvSpPr>
          <p:cNvPr id="31" name="Plus Sign 30">
            <a:extLst>
              <a:ext uri="{FF2B5EF4-FFF2-40B4-BE49-F238E27FC236}">
                <a16:creationId xmlns:a16="http://schemas.microsoft.com/office/drawing/2014/main" id="{C0B40C8E-BD25-6C80-1F90-1288FF07E1DE}"/>
              </a:ext>
            </a:extLst>
          </p:cNvPr>
          <p:cNvSpPr/>
          <p:nvPr/>
        </p:nvSpPr>
        <p:spPr>
          <a:xfrm flipH="1">
            <a:off x="5188123" y="3429000"/>
            <a:ext cx="570887" cy="570887"/>
          </a:xfrm>
          <a:prstGeom prst="mathPlus">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Rounded Corners 32">
            <a:extLst>
              <a:ext uri="{FF2B5EF4-FFF2-40B4-BE49-F238E27FC236}">
                <a16:creationId xmlns:a16="http://schemas.microsoft.com/office/drawing/2014/main" id="{9B0C5B4D-7041-09ED-FD61-2D6EB61E925F}"/>
              </a:ext>
            </a:extLst>
          </p:cNvPr>
          <p:cNvSpPr/>
          <p:nvPr/>
        </p:nvSpPr>
        <p:spPr>
          <a:xfrm>
            <a:off x="5523047" y="4061525"/>
            <a:ext cx="1895192" cy="832447"/>
          </a:xfrm>
          <a:prstGeom prst="roundRect">
            <a:avLst/>
          </a:prstGeom>
          <a:solidFill>
            <a:schemeClr val="accent4">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d-ID" dirty="0"/>
              <a:t>Tangkapan Layar “Menunggu Verifikasi”</a:t>
            </a:r>
            <a:endParaRPr lang="en-US" dirty="0"/>
          </a:p>
        </p:txBody>
      </p:sp>
      <p:pic>
        <p:nvPicPr>
          <p:cNvPr id="35" name="Picture 34">
            <a:extLst>
              <a:ext uri="{FF2B5EF4-FFF2-40B4-BE49-F238E27FC236}">
                <a16:creationId xmlns:a16="http://schemas.microsoft.com/office/drawing/2014/main" id="{9A18B957-F871-949A-A498-B9B053ACC936}"/>
              </a:ext>
            </a:extLst>
          </p:cNvPr>
          <p:cNvPicPr>
            <a:picLocks noChangeAspect="1"/>
          </p:cNvPicPr>
          <p:nvPr/>
        </p:nvPicPr>
        <p:blipFill rotWithShape="1">
          <a:blip r:embed="rId4">
            <a:extLst>
              <a:ext uri="{28A0092B-C50C-407E-A947-70E740481C1C}">
                <a14:useLocalDpi xmlns:a14="http://schemas.microsoft.com/office/drawing/2010/main" val="0"/>
              </a:ext>
            </a:extLst>
          </a:blip>
          <a:srcRect l="78633" t="26852" r="1467" b="9876"/>
          <a:stretch/>
        </p:blipFill>
        <p:spPr>
          <a:xfrm>
            <a:off x="6133306" y="5543153"/>
            <a:ext cx="1152496" cy="1113104"/>
          </a:xfrm>
          <a:prstGeom prst="rect">
            <a:avLst/>
          </a:prstGeom>
        </p:spPr>
      </p:pic>
      <p:sp>
        <p:nvSpPr>
          <p:cNvPr id="36" name="TextBox 35">
            <a:extLst>
              <a:ext uri="{FF2B5EF4-FFF2-40B4-BE49-F238E27FC236}">
                <a16:creationId xmlns:a16="http://schemas.microsoft.com/office/drawing/2014/main" id="{06D63555-B918-A8C9-3BEC-0201F8E8E74F}"/>
              </a:ext>
            </a:extLst>
          </p:cNvPr>
          <p:cNvSpPr txBox="1"/>
          <p:nvPr/>
        </p:nvSpPr>
        <p:spPr>
          <a:xfrm>
            <a:off x="5239423" y="4160301"/>
            <a:ext cx="519587" cy="615553"/>
          </a:xfrm>
          <a:prstGeom prst="rect">
            <a:avLst/>
          </a:prstGeom>
          <a:noFill/>
        </p:spPr>
        <p:txBody>
          <a:bodyPr wrap="square" rtlCol="0">
            <a:spAutoFit/>
          </a:bodyPr>
          <a:lstStyle/>
          <a:p>
            <a:pPr algn="l"/>
            <a:r>
              <a:rPr lang="id-ID" sz="3400" b="1" dirty="0"/>
              <a:t>&amp;</a:t>
            </a:r>
            <a:endParaRPr lang="en-US" sz="3400" b="1" dirty="0"/>
          </a:p>
        </p:txBody>
      </p:sp>
      <p:cxnSp>
        <p:nvCxnSpPr>
          <p:cNvPr id="37" name="Straight Arrow Connector 36">
            <a:extLst>
              <a:ext uri="{FF2B5EF4-FFF2-40B4-BE49-F238E27FC236}">
                <a16:creationId xmlns:a16="http://schemas.microsoft.com/office/drawing/2014/main" id="{2E7B5207-4D16-4FFC-BA60-BB3369372A75}"/>
              </a:ext>
            </a:extLst>
          </p:cNvPr>
          <p:cNvCxnSpPr>
            <a:cxnSpLocks/>
          </p:cNvCxnSpPr>
          <p:nvPr/>
        </p:nvCxnSpPr>
        <p:spPr>
          <a:xfrm>
            <a:off x="3049873" y="1527853"/>
            <a:ext cx="0" cy="4910167"/>
          </a:xfrm>
          <a:prstGeom prst="straightConnector1">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2" name="TextBox 41">
            <a:extLst>
              <a:ext uri="{FF2B5EF4-FFF2-40B4-BE49-F238E27FC236}">
                <a16:creationId xmlns:a16="http://schemas.microsoft.com/office/drawing/2014/main" id="{ADF6C8D9-F052-841F-8125-F6F926283D1F}"/>
              </a:ext>
            </a:extLst>
          </p:cNvPr>
          <p:cNvSpPr txBox="1"/>
          <p:nvPr/>
        </p:nvSpPr>
        <p:spPr>
          <a:xfrm rot="16200000">
            <a:off x="2239599" y="3609283"/>
            <a:ext cx="1522053" cy="492443"/>
          </a:xfrm>
          <a:prstGeom prst="rect">
            <a:avLst/>
          </a:prstGeom>
          <a:solidFill>
            <a:schemeClr val="bg1"/>
          </a:solidFill>
          <a:ln>
            <a:noFill/>
          </a:ln>
        </p:spPr>
        <p:txBody>
          <a:bodyPr wrap="square" rtlCol="0">
            <a:spAutoFit/>
          </a:bodyPr>
          <a:lstStyle/>
          <a:p>
            <a:pPr algn="ctr"/>
            <a:r>
              <a:rPr lang="id-ID" sz="2600" b="1" i="1" dirty="0">
                <a:solidFill>
                  <a:schemeClr val="accent2">
                    <a:lumMod val="75000"/>
                  </a:schemeClr>
                </a:solidFill>
              </a:rPr>
              <a:t>Atau</a:t>
            </a:r>
            <a:endParaRPr lang="en-US" sz="2600" b="1" i="1" dirty="0">
              <a:solidFill>
                <a:schemeClr val="accent2">
                  <a:lumMod val="75000"/>
                </a:schemeClr>
              </a:solidFill>
            </a:endParaRPr>
          </a:p>
        </p:txBody>
      </p:sp>
      <p:cxnSp>
        <p:nvCxnSpPr>
          <p:cNvPr id="44" name="Straight Arrow Connector 43">
            <a:extLst>
              <a:ext uri="{FF2B5EF4-FFF2-40B4-BE49-F238E27FC236}">
                <a16:creationId xmlns:a16="http://schemas.microsoft.com/office/drawing/2014/main" id="{2786ED6E-399C-107F-747B-D1E8DC1398AD}"/>
              </a:ext>
            </a:extLst>
          </p:cNvPr>
          <p:cNvCxnSpPr>
            <a:cxnSpLocks/>
          </p:cNvCxnSpPr>
          <p:nvPr/>
        </p:nvCxnSpPr>
        <p:spPr>
          <a:xfrm>
            <a:off x="7952913" y="1527853"/>
            <a:ext cx="0" cy="4910167"/>
          </a:xfrm>
          <a:prstGeom prst="straightConnector1">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6" name="TextBox 45">
            <a:extLst>
              <a:ext uri="{FF2B5EF4-FFF2-40B4-BE49-F238E27FC236}">
                <a16:creationId xmlns:a16="http://schemas.microsoft.com/office/drawing/2014/main" id="{5FDA4514-5045-32B9-1BEA-3B0858DB81E9}"/>
              </a:ext>
            </a:extLst>
          </p:cNvPr>
          <p:cNvSpPr txBox="1"/>
          <p:nvPr/>
        </p:nvSpPr>
        <p:spPr>
          <a:xfrm rot="16200000">
            <a:off x="7142639" y="3609283"/>
            <a:ext cx="1522053" cy="492443"/>
          </a:xfrm>
          <a:prstGeom prst="rect">
            <a:avLst/>
          </a:prstGeom>
          <a:solidFill>
            <a:schemeClr val="bg1"/>
          </a:solidFill>
          <a:ln>
            <a:noFill/>
          </a:ln>
        </p:spPr>
        <p:txBody>
          <a:bodyPr wrap="square" rtlCol="0">
            <a:spAutoFit/>
          </a:bodyPr>
          <a:lstStyle/>
          <a:p>
            <a:pPr algn="ctr"/>
            <a:r>
              <a:rPr lang="id-ID" sz="2600" b="1" i="1" dirty="0">
                <a:solidFill>
                  <a:schemeClr val="accent2">
                    <a:lumMod val="75000"/>
                  </a:schemeClr>
                </a:solidFill>
              </a:rPr>
              <a:t>Atau</a:t>
            </a:r>
            <a:endParaRPr lang="en-US" sz="2600" b="1" i="1" dirty="0">
              <a:solidFill>
                <a:schemeClr val="accent2">
                  <a:lumMod val="75000"/>
                </a:schemeClr>
              </a:solidFill>
            </a:endParaRPr>
          </a:p>
        </p:txBody>
      </p:sp>
      <p:sp>
        <p:nvSpPr>
          <p:cNvPr id="48" name="Rectangle: Rounded Corners 47">
            <a:extLst>
              <a:ext uri="{FF2B5EF4-FFF2-40B4-BE49-F238E27FC236}">
                <a16:creationId xmlns:a16="http://schemas.microsoft.com/office/drawing/2014/main" id="{810AF928-1E6F-1A8D-9EA9-545DFB763137}"/>
              </a:ext>
            </a:extLst>
          </p:cNvPr>
          <p:cNvSpPr/>
          <p:nvPr/>
        </p:nvSpPr>
        <p:spPr>
          <a:xfrm>
            <a:off x="8633795" y="4079730"/>
            <a:ext cx="1895192" cy="832447"/>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d-ID" dirty="0"/>
              <a:t>Memiliki SBU Lama yang masih berlaku</a:t>
            </a:r>
            <a:endParaRPr lang="en-US" dirty="0"/>
          </a:p>
        </p:txBody>
      </p:sp>
      <p:pic>
        <p:nvPicPr>
          <p:cNvPr id="50" name="Picture 49">
            <a:extLst>
              <a:ext uri="{FF2B5EF4-FFF2-40B4-BE49-F238E27FC236}">
                <a16:creationId xmlns:a16="http://schemas.microsoft.com/office/drawing/2014/main" id="{0BD93CAB-7689-F826-6D8D-73691D2A8940}"/>
              </a:ext>
            </a:extLst>
          </p:cNvPr>
          <p:cNvPicPr>
            <a:picLocks noChangeAspect="1"/>
          </p:cNvPicPr>
          <p:nvPr/>
        </p:nvPicPr>
        <p:blipFill>
          <a:blip r:embed="rId2"/>
          <a:stretch>
            <a:fillRect/>
          </a:stretch>
        </p:blipFill>
        <p:spPr>
          <a:xfrm>
            <a:off x="8633795" y="1527853"/>
            <a:ext cx="2359503" cy="1800000"/>
          </a:xfrm>
          <a:prstGeom prst="rect">
            <a:avLst/>
          </a:prstGeom>
        </p:spPr>
      </p:pic>
      <p:sp>
        <p:nvSpPr>
          <p:cNvPr id="52" name="Rectangle: Rounded Corners 51">
            <a:extLst>
              <a:ext uri="{FF2B5EF4-FFF2-40B4-BE49-F238E27FC236}">
                <a16:creationId xmlns:a16="http://schemas.microsoft.com/office/drawing/2014/main" id="{B6DEAC10-C907-005A-C45E-117AB33508A0}"/>
              </a:ext>
            </a:extLst>
          </p:cNvPr>
          <p:cNvSpPr/>
          <p:nvPr/>
        </p:nvSpPr>
        <p:spPr>
          <a:xfrm>
            <a:off x="8633795" y="1108532"/>
            <a:ext cx="1895192" cy="419321"/>
          </a:xfrm>
          <a:prstGeom prst="round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d-ID" dirty="0"/>
              <a:t>Memiliki NIB</a:t>
            </a:r>
            <a:endParaRPr lang="en-US" dirty="0"/>
          </a:p>
        </p:txBody>
      </p:sp>
      <p:sp>
        <p:nvSpPr>
          <p:cNvPr id="54" name="Plus Sign 53">
            <a:extLst>
              <a:ext uri="{FF2B5EF4-FFF2-40B4-BE49-F238E27FC236}">
                <a16:creationId xmlns:a16="http://schemas.microsoft.com/office/drawing/2014/main" id="{D777EF40-EAD3-E0B4-F47F-934A33A82075}"/>
              </a:ext>
            </a:extLst>
          </p:cNvPr>
          <p:cNvSpPr/>
          <p:nvPr/>
        </p:nvSpPr>
        <p:spPr>
          <a:xfrm flipH="1">
            <a:off x="9195512" y="3429000"/>
            <a:ext cx="570887" cy="570887"/>
          </a:xfrm>
          <a:prstGeom prst="mathPlus">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6" name="Picture 55">
            <a:extLst>
              <a:ext uri="{FF2B5EF4-FFF2-40B4-BE49-F238E27FC236}">
                <a16:creationId xmlns:a16="http://schemas.microsoft.com/office/drawing/2014/main" id="{5809FF6A-5D24-36F8-AB59-79E3556D4C30}"/>
              </a:ext>
            </a:extLst>
          </p:cNvPr>
          <p:cNvPicPr>
            <a:picLocks noChangeAspect="1"/>
          </p:cNvPicPr>
          <p:nvPr/>
        </p:nvPicPr>
        <p:blipFill>
          <a:blip r:embed="rId5"/>
          <a:stretch>
            <a:fillRect/>
          </a:stretch>
        </p:blipFill>
        <p:spPr>
          <a:xfrm>
            <a:off x="8630395" y="4992021"/>
            <a:ext cx="2145739" cy="1514920"/>
          </a:xfrm>
          <a:prstGeom prst="rect">
            <a:avLst/>
          </a:prstGeom>
          <a:ln>
            <a:solidFill>
              <a:schemeClr val="tx1"/>
            </a:solidFill>
          </a:ln>
        </p:spPr>
      </p:pic>
      <p:sp>
        <p:nvSpPr>
          <p:cNvPr id="57" name="TextBox 56">
            <a:extLst>
              <a:ext uri="{FF2B5EF4-FFF2-40B4-BE49-F238E27FC236}">
                <a16:creationId xmlns:a16="http://schemas.microsoft.com/office/drawing/2014/main" id="{7DB9D438-9168-DA0A-AB6E-ED731F4AB28F}"/>
              </a:ext>
            </a:extLst>
          </p:cNvPr>
          <p:cNvSpPr txBox="1"/>
          <p:nvPr/>
        </p:nvSpPr>
        <p:spPr>
          <a:xfrm>
            <a:off x="4585824" y="6377106"/>
            <a:ext cx="632691" cy="153888"/>
          </a:xfrm>
          <a:prstGeom prst="rect">
            <a:avLst/>
          </a:prstGeom>
          <a:solidFill>
            <a:schemeClr val="bg1"/>
          </a:solidFill>
        </p:spPr>
        <p:txBody>
          <a:bodyPr wrap="square" rtlCol="0" anchor="t">
            <a:spAutoFit/>
          </a:bodyPr>
          <a:lstStyle/>
          <a:p>
            <a:pPr algn="l"/>
            <a:r>
              <a:rPr lang="id-ID" sz="400" dirty="0">
                <a:solidFill>
                  <a:srgbClr val="FF0000"/>
                </a:solidFill>
              </a:rPr>
              <a:t>Belum Terverifikasi</a:t>
            </a:r>
            <a:endParaRPr lang="en-US" sz="400" dirty="0">
              <a:solidFill>
                <a:srgbClr val="FF0000"/>
              </a:solidFill>
            </a:endParaRPr>
          </a:p>
        </p:txBody>
      </p:sp>
    </p:spTree>
    <p:extLst>
      <p:ext uri="{BB962C8B-B14F-4D97-AF65-F5344CB8AC3E}">
        <p14:creationId xmlns:p14="http://schemas.microsoft.com/office/powerpoint/2010/main" val="1463915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183C7-918C-7DCB-6E0E-EAE39E0C9D15}"/>
              </a:ext>
            </a:extLst>
          </p:cNvPr>
          <p:cNvSpPr>
            <a:spLocks noGrp="1"/>
          </p:cNvSpPr>
          <p:nvPr>
            <p:ph type="title"/>
          </p:nvPr>
        </p:nvSpPr>
        <p:spPr/>
        <p:txBody>
          <a:bodyPr/>
          <a:lstStyle/>
          <a:p>
            <a:r>
              <a:rPr lang="sv-SE" dirty="0"/>
              <a:t>SERTIFIKAT BADAN USAHA (SBU) KONSTRUKSI</a:t>
            </a:r>
            <a:r>
              <a:rPr lang="id-ID" dirty="0"/>
              <a:t> (Perubahan)</a:t>
            </a:r>
            <a:endParaRPr lang="sv-SE" dirty="0"/>
          </a:p>
        </p:txBody>
      </p:sp>
      <p:sp>
        <p:nvSpPr>
          <p:cNvPr id="3" name="Content Placeholder 2">
            <a:extLst>
              <a:ext uri="{FF2B5EF4-FFF2-40B4-BE49-F238E27FC236}">
                <a16:creationId xmlns:a16="http://schemas.microsoft.com/office/drawing/2014/main" id="{82A9BA9F-E72E-4531-C141-81E530E3DAA9}"/>
              </a:ext>
            </a:extLst>
          </p:cNvPr>
          <p:cNvSpPr>
            <a:spLocks noGrp="1"/>
          </p:cNvSpPr>
          <p:nvPr>
            <p:ph idx="1"/>
          </p:nvPr>
        </p:nvSpPr>
        <p:spPr/>
        <p:txBody>
          <a:bodyPr/>
          <a:lstStyle/>
          <a:p>
            <a:endParaRPr lang="en-ID"/>
          </a:p>
        </p:txBody>
      </p:sp>
      <p:cxnSp>
        <p:nvCxnSpPr>
          <p:cNvPr id="4" name="Straight Connector 3">
            <a:extLst>
              <a:ext uri="{FF2B5EF4-FFF2-40B4-BE49-F238E27FC236}">
                <a16:creationId xmlns:a16="http://schemas.microsoft.com/office/drawing/2014/main" id="{75133074-B728-EC86-47D2-6459344703A7}"/>
              </a:ext>
            </a:extLst>
          </p:cNvPr>
          <p:cNvCxnSpPr>
            <a:cxnSpLocks/>
          </p:cNvCxnSpPr>
          <p:nvPr/>
        </p:nvCxnSpPr>
        <p:spPr>
          <a:xfrm>
            <a:off x="6096000" y="1273511"/>
            <a:ext cx="0" cy="5400000"/>
          </a:xfrm>
          <a:prstGeom prst="line">
            <a:avLst/>
          </a:prstGeom>
          <a:ln w="254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5" name="Diagram 4">
            <a:extLst>
              <a:ext uri="{FF2B5EF4-FFF2-40B4-BE49-F238E27FC236}">
                <a16:creationId xmlns:a16="http://schemas.microsoft.com/office/drawing/2014/main" id="{4BF11EB5-A98D-CC5B-CF3B-E0C35764ADF0}"/>
              </a:ext>
            </a:extLst>
          </p:cNvPr>
          <p:cNvGraphicFramePr/>
          <p:nvPr/>
        </p:nvGraphicFramePr>
        <p:xfrm>
          <a:off x="888000" y="1445281"/>
          <a:ext cx="4320000" cy="1800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a:extLst>
              <a:ext uri="{FF2B5EF4-FFF2-40B4-BE49-F238E27FC236}">
                <a16:creationId xmlns:a16="http://schemas.microsoft.com/office/drawing/2014/main" id="{545876B9-15C6-B5AE-5A1F-B48BB09CEE9C}"/>
              </a:ext>
            </a:extLst>
          </p:cNvPr>
          <p:cNvSpPr/>
          <p:nvPr/>
        </p:nvSpPr>
        <p:spPr>
          <a:xfrm>
            <a:off x="6444000" y="1445281"/>
            <a:ext cx="5400000" cy="4524315"/>
          </a:xfrm>
          <a:prstGeom prst="rect">
            <a:avLst/>
          </a:prstGeom>
        </p:spPr>
        <p:txBody>
          <a:bodyPr wrap="square">
            <a:spAutoFit/>
          </a:bodyPr>
          <a:lstStyle/>
          <a:p>
            <a:pPr marL="285750" indent="-285750">
              <a:buFont typeface="Arial" panose="020B0604020202020204" pitchFamily="34" charset="0"/>
              <a:buChar char="•"/>
            </a:pPr>
            <a:r>
              <a:rPr lang="id-ID" dirty="0"/>
              <a:t>Sesuai dengan ketentuan Permen PUPR 8/2022 Pasal 56, </a:t>
            </a:r>
            <a:r>
              <a:rPr lang="id-ID" b="1" dirty="0"/>
              <a:t>SBU (sebelum UU Cipta Kerja) </a:t>
            </a:r>
            <a:r>
              <a:rPr lang="id-ID" dirty="0"/>
              <a:t>yang diterbitkan </a:t>
            </a:r>
            <a:r>
              <a:rPr lang="id-ID" b="1" dirty="0"/>
              <a:t>LPJK Nasional </a:t>
            </a:r>
            <a:r>
              <a:rPr lang="id-ID" dirty="0"/>
              <a:t>dan </a:t>
            </a:r>
            <a:r>
              <a:rPr lang="id-ID" b="1" dirty="0"/>
              <a:t>LPJK Provinsi </a:t>
            </a:r>
            <a:r>
              <a:rPr lang="id-ID" dirty="0"/>
              <a:t>serta </a:t>
            </a:r>
            <a:r>
              <a:rPr lang="id-ID" b="1" dirty="0"/>
              <a:t>Tim Penyelenggara Sertifikasi</a:t>
            </a:r>
            <a:r>
              <a:rPr lang="id-ID" dirty="0"/>
              <a:t>, </a:t>
            </a:r>
            <a:r>
              <a:rPr lang="id-ID" b="1" dirty="0"/>
              <a:t>tetap berlaku sampai berakhir masa berlakunya</a:t>
            </a:r>
            <a:r>
              <a:rPr lang="id-ID" dirty="0"/>
              <a:t>.</a:t>
            </a:r>
          </a:p>
          <a:p>
            <a:endParaRPr lang="id-ID" dirty="0"/>
          </a:p>
          <a:p>
            <a:pPr marL="285750" indent="-285750">
              <a:buFont typeface="Arial" panose="020B0604020202020204" pitchFamily="34" charset="0"/>
              <a:buChar char="•"/>
            </a:pPr>
            <a:r>
              <a:rPr lang="id-ID" dirty="0"/>
              <a:t>BUJK atau Pemohon yang melakukan </a:t>
            </a:r>
            <a:r>
              <a:rPr lang="id-ID" b="1" dirty="0"/>
              <a:t>perubahan</a:t>
            </a:r>
            <a:r>
              <a:rPr lang="id-ID" dirty="0"/>
              <a:t> kualifikasi </a:t>
            </a:r>
            <a:r>
              <a:rPr lang="id-ID" b="1" dirty="0"/>
              <a:t>SBU</a:t>
            </a:r>
            <a:r>
              <a:rPr lang="id-ID" dirty="0"/>
              <a:t> pada suatu </a:t>
            </a:r>
            <a:r>
              <a:rPr lang="id-ID" b="1" dirty="0"/>
              <a:t>subklasifikasi</a:t>
            </a:r>
            <a:r>
              <a:rPr lang="id-ID" dirty="0"/>
              <a:t> dan/atau pada </a:t>
            </a:r>
            <a:r>
              <a:rPr lang="id-ID" b="1" dirty="0"/>
              <a:t>subklasifikasi yang setara</a:t>
            </a:r>
            <a:r>
              <a:rPr lang="id-ID" dirty="0"/>
              <a:t>, </a:t>
            </a:r>
            <a:r>
              <a:rPr lang="id-ID" b="1" dirty="0"/>
              <a:t>wajib</a:t>
            </a:r>
            <a:r>
              <a:rPr lang="id-ID" dirty="0"/>
              <a:t> menyatakan bahwa </a:t>
            </a:r>
            <a:r>
              <a:rPr lang="id-ID" b="1" dirty="0"/>
              <a:t>SBU yang terdahulu tidak berlaku </a:t>
            </a:r>
            <a:r>
              <a:rPr lang="id-ID" dirty="0"/>
              <a:t>lagi karena telah berubah kualifikasi.</a:t>
            </a:r>
          </a:p>
          <a:p>
            <a:endParaRPr lang="id-ID" dirty="0"/>
          </a:p>
          <a:p>
            <a:pPr marL="285750" indent="-285750">
              <a:buFont typeface="Arial" panose="020B0604020202020204" pitchFamily="34" charset="0"/>
              <a:buChar char="•"/>
            </a:pPr>
            <a:r>
              <a:rPr lang="id-ID" dirty="0"/>
              <a:t>BUJK yang memiliki SBU dengan kualifikasi lebih dari 1 (satu) pada subklasifikasi yang sama atau setara, wajib memilih SBU dengan kualifikasi yang akan digunakan dalam pelaksanaan pekerjaan.</a:t>
            </a:r>
          </a:p>
        </p:txBody>
      </p:sp>
      <p:pic>
        <p:nvPicPr>
          <p:cNvPr id="7" name="Picture 6">
            <a:extLst>
              <a:ext uri="{FF2B5EF4-FFF2-40B4-BE49-F238E27FC236}">
                <a16:creationId xmlns:a16="http://schemas.microsoft.com/office/drawing/2014/main" id="{A6E13359-D876-2A8C-A6DE-60A8BA8ABFA8}"/>
              </a:ext>
            </a:extLst>
          </p:cNvPr>
          <p:cNvPicPr>
            <a:picLocks noChangeAspect="1"/>
          </p:cNvPicPr>
          <p:nvPr/>
        </p:nvPicPr>
        <p:blipFill>
          <a:blip r:embed="rId7"/>
          <a:stretch>
            <a:fillRect/>
          </a:stretch>
        </p:blipFill>
        <p:spPr>
          <a:xfrm>
            <a:off x="2908954" y="3791639"/>
            <a:ext cx="2832528" cy="2520000"/>
          </a:xfrm>
          <a:prstGeom prst="rect">
            <a:avLst/>
          </a:prstGeom>
          <a:ln>
            <a:solidFill>
              <a:schemeClr val="tx1"/>
            </a:solidFill>
          </a:ln>
        </p:spPr>
      </p:pic>
      <p:pic>
        <p:nvPicPr>
          <p:cNvPr id="8" name="Picture 7">
            <a:extLst>
              <a:ext uri="{FF2B5EF4-FFF2-40B4-BE49-F238E27FC236}">
                <a16:creationId xmlns:a16="http://schemas.microsoft.com/office/drawing/2014/main" id="{248739D8-AAED-B1BC-D7DC-2B15F46FA75F}"/>
              </a:ext>
            </a:extLst>
          </p:cNvPr>
          <p:cNvPicPr>
            <a:picLocks noChangeAspect="1"/>
          </p:cNvPicPr>
          <p:nvPr/>
        </p:nvPicPr>
        <p:blipFill>
          <a:blip r:embed="rId8"/>
          <a:stretch>
            <a:fillRect/>
          </a:stretch>
        </p:blipFill>
        <p:spPr>
          <a:xfrm>
            <a:off x="341482" y="4162063"/>
            <a:ext cx="2520000" cy="1779153"/>
          </a:xfrm>
          <a:prstGeom prst="rect">
            <a:avLst/>
          </a:prstGeom>
          <a:ln>
            <a:solidFill>
              <a:schemeClr val="tx1"/>
            </a:solidFill>
          </a:ln>
        </p:spPr>
      </p:pic>
      <p:sp>
        <p:nvSpPr>
          <p:cNvPr id="9" name="TextBox 8">
            <a:extLst>
              <a:ext uri="{FF2B5EF4-FFF2-40B4-BE49-F238E27FC236}">
                <a16:creationId xmlns:a16="http://schemas.microsoft.com/office/drawing/2014/main" id="{638812C9-D1AE-03D0-7C1E-923D9ACC1473}"/>
              </a:ext>
            </a:extLst>
          </p:cNvPr>
          <p:cNvSpPr txBox="1"/>
          <p:nvPr/>
        </p:nvSpPr>
        <p:spPr>
          <a:xfrm>
            <a:off x="341482" y="4913140"/>
            <a:ext cx="2520000" cy="276999"/>
          </a:xfrm>
          <a:prstGeom prst="rect">
            <a:avLst/>
          </a:prstGeom>
          <a:noFill/>
        </p:spPr>
        <p:txBody>
          <a:bodyPr wrap="square" rtlCol="0">
            <a:spAutoFit/>
          </a:bodyPr>
          <a:lstStyle/>
          <a:p>
            <a:pPr algn="ctr"/>
            <a:r>
              <a:rPr lang="id-ID" sz="1200" b="1" dirty="0">
                <a:highlight>
                  <a:srgbClr val="FFFF00"/>
                </a:highlight>
              </a:rPr>
              <a:t>SBU sebelum UU Cipta Kerja</a:t>
            </a:r>
          </a:p>
        </p:txBody>
      </p:sp>
      <p:sp>
        <p:nvSpPr>
          <p:cNvPr id="10" name="TextBox 9">
            <a:extLst>
              <a:ext uri="{FF2B5EF4-FFF2-40B4-BE49-F238E27FC236}">
                <a16:creationId xmlns:a16="http://schemas.microsoft.com/office/drawing/2014/main" id="{B4AA4561-8C0C-C531-7DAA-1AC62931CF90}"/>
              </a:ext>
            </a:extLst>
          </p:cNvPr>
          <p:cNvSpPr txBox="1"/>
          <p:nvPr/>
        </p:nvSpPr>
        <p:spPr>
          <a:xfrm>
            <a:off x="4676693" y="3791639"/>
            <a:ext cx="1066013" cy="646331"/>
          </a:xfrm>
          <a:prstGeom prst="rect">
            <a:avLst/>
          </a:prstGeom>
          <a:noFill/>
        </p:spPr>
        <p:txBody>
          <a:bodyPr wrap="square" rtlCol="0">
            <a:spAutoFit/>
          </a:bodyPr>
          <a:lstStyle/>
          <a:p>
            <a:pPr algn="r"/>
            <a:r>
              <a:rPr lang="id-ID" sz="1200" b="1" dirty="0">
                <a:highlight>
                  <a:srgbClr val="FFFF00"/>
                </a:highlight>
              </a:rPr>
              <a:t>SBU setelah </a:t>
            </a:r>
          </a:p>
          <a:p>
            <a:pPr algn="r"/>
            <a:r>
              <a:rPr lang="id-ID" sz="1200" b="1" dirty="0">
                <a:highlight>
                  <a:srgbClr val="FFFF00"/>
                </a:highlight>
              </a:rPr>
              <a:t>UU Cipta Kerja</a:t>
            </a:r>
          </a:p>
        </p:txBody>
      </p:sp>
    </p:spTree>
    <p:extLst>
      <p:ext uri="{BB962C8B-B14F-4D97-AF65-F5344CB8AC3E}">
        <p14:creationId xmlns:p14="http://schemas.microsoft.com/office/powerpoint/2010/main" val="30043666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fld id="{F68327C5-B821-4FE9-A59A-A60D9EB59A9A}" type="slidenum">
              <a:rPr kumimoji="0" lang="en-US" sz="1400" b="0" i="0" u="none" strike="noStrike" kern="1200" cap="none" spc="0" normalizeH="0" baseline="0" noProof="0" smtClean="0">
                <a:ln>
                  <a:noFill/>
                </a:ln>
                <a:solidFill>
                  <a:srgbClr val="2F3A46"/>
                </a:solidFill>
                <a:effectLst/>
                <a:uLnTx/>
                <a:uFillTx/>
                <a:latin typeface="Calibri" panose="020F0502020204030204"/>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19</a:t>
            </a:fld>
            <a:endParaRPr kumimoji="0" lang="en-US" sz="1400" b="0" i="0" u="none" strike="noStrike" kern="1200" cap="none" spc="0" normalizeH="0" baseline="0" noProof="0" dirty="0">
              <a:ln>
                <a:noFill/>
              </a:ln>
              <a:solidFill>
                <a:srgbClr val="2F3A46"/>
              </a:solidFill>
              <a:effectLst/>
              <a:uLnTx/>
              <a:uFillTx/>
              <a:latin typeface="Calibri" panose="020F0502020204030204"/>
              <a:ea typeface="+mn-ea"/>
              <a:cs typeface="+mn-cs"/>
            </a:endParaRPr>
          </a:p>
        </p:txBody>
      </p:sp>
      <p:sp>
        <p:nvSpPr>
          <p:cNvPr id="10" name="Title 9"/>
          <p:cNvSpPr>
            <a:spLocks noGrp="1"/>
          </p:cNvSpPr>
          <p:nvPr>
            <p:ph type="title"/>
          </p:nvPr>
        </p:nvSpPr>
        <p:spPr/>
        <p:txBody>
          <a:bodyPr>
            <a:normAutofit fontScale="90000"/>
          </a:bodyPr>
          <a:lstStyle/>
          <a:p>
            <a:r>
              <a:rPr lang="id-ID" dirty="0"/>
              <a:t>Sertifikat standar </a:t>
            </a:r>
            <a:br>
              <a:rPr lang="id-ID" dirty="0"/>
            </a:br>
            <a:r>
              <a:rPr lang="id-ID" dirty="0" err="1"/>
              <a:t>subsektor</a:t>
            </a:r>
            <a:r>
              <a:rPr lang="id-ID" dirty="0"/>
              <a:t> jasa konstruksi</a:t>
            </a:r>
            <a:endParaRPr lang="en-US" dirty="0"/>
          </a:p>
        </p:txBody>
      </p:sp>
      <p:sp>
        <p:nvSpPr>
          <p:cNvPr id="16" name="Pentagon 15">
            <a:extLst>
              <a:ext uri="{FF2B5EF4-FFF2-40B4-BE49-F238E27FC236}">
                <a16:creationId xmlns:a16="http://schemas.microsoft.com/office/drawing/2014/main" id="{1F61AE83-D1D0-F349-9888-34AFCDE59EA1}"/>
              </a:ext>
            </a:extLst>
          </p:cNvPr>
          <p:cNvSpPr/>
          <p:nvPr/>
        </p:nvSpPr>
        <p:spPr>
          <a:xfrm rot="10800000">
            <a:off x="8631044" y="6237309"/>
            <a:ext cx="3323773" cy="390437"/>
          </a:xfrm>
          <a:prstGeom prst="homePlat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8EA39363-FA7C-774B-8DC4-A589258C3A41}"/>
              </a:ext>
            </a:extLst>
          </p:cNvPr>
          <p:cNvSpPr txBox="1"/>
          <p:nvPr/>
        </p:nvSpPr>
        <p:spPr>
          <a:xfrm>
            <a:off x="6299140" y="6307651"/>
            <a:ext cx="5433481"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a:ea typeface="+mn-ea"/>
                <a:cs typeface="+mn-cs"/>
              </a:rPr>
              <a:t>Pasal</a:t>
            </a:r>
            <a:r>
              <a:rPr kumimoji="0" lang="en-US" sz="1800" b="0" i="0" u="none" strike="noStrike" kern="1200" cap="none" spc="0" normalizeH="0" baseline="0" noProof="0" dirty="0">
                <a:ln>
                  <a:noFill/>
                </a:ln>
                <a:solidFill>
                  <a:prstClr val="black"/>
                </a:solidFill>
                <a:effectLst/>
                <a:uLnTx/>
                <a:uFillTx/>
                <a:latin typeface="Calibri"/>
                <a:ea typeface="+mn-ea"/>
                <a:cs typeface="+mn-cs"/>
              </a:rPr>
              <a:t> 99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s.d.</a:t>
            </a:r>
            <a:r>
              <a:rPr kumimoji="0" lang="en-US" sz="1800" b="0" i="0" u="none" strike="noStrike" kern="1200" cap="none" spc="0" normalizeH="0" baseline="0" noProof="0" dirty="0">
                <a:ln>
                  <a:noFill/>
                </a:ln>
                <a:solidFill>
                  <a:prstClr val="black"/>
                </a:solidFill>
                <a:effectLst/>
                <a:uLnTx/>
                <a:uFillTx/>
                <a:latin typeface="Calibri"/>
                <a:ea typeface="+mn-ea"/>
                <a:cs typeface="+mn-cs"/>
              </a:rPr>
              <a:t>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Pasal</a:t>
            </a:r>
            <a:r>
              <a:rPr kumimoji="0" lang="en-US" sz="1800" b="0" i="0" u="none" strike="noStrike" kern="1200" cap="none" spc="0" normalizeH="0" baseline="0" noProof="0" dirty="0">
                <a:ln>
                  <a:noFill/>
                </a:ln>
                <a:solidFill>
                  <a:prstClr val="black"/>
                </a:solidFill>
                <a:effectLst/>
                <a:uLnTx/>
                <a:uFillTx/>
                <a:latin typeface="Calibri"/>
                <a:ea typeface="+mn-ea"/>
                <a:cs typeface="+mn-cs"/>
              </a:rPr>
              <a:t> 101</a:t>
            </a:r>
          </a:p>
        </p:txBody>
      </p:sp>
      <p:cxnSp>
        <p:nvCxnSpPr>
          <p:cNvPr id="6" name="Straight Connector 5">
            <a:extLst>
              <a:ext uri="{FF2B5EF4-FFF2-40B4-BE49-F238E27FC236}">
                <a16:creationId xmlns:a16="http://schemas.microsoft.com/office/drawing/2014/main" id="{97EB9EC8-F4A0-014B-B6CA-F7DE312ED32F}"/>
              </a:ext>
            </a:extLst>
          </p:cNvPr>
          <p:cNvCxnSpPr>
            <a:cxnSpLocks/>
          </p:cNvCxnSpPr>
          <p:nvPr/>
        </p:nvCxnSpPr>
        <p:spPr>
          <a:xfrm>
            <a:off x="9500300" y="6140421"/>
            <a:ext cx="2539769" cy="0"/>
          </a:xfrm>
          <a:prstGeom prst="line">
            <a:avLst/>
          </a:prstGeom>
          <a:ln w="38100">
            <a:solidFill>
              <a:srgbClr val="FFC00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8FCD58F-9754-9543-9832-BCB4322680E8}"/>
              </a:ext>
            </a:extLst>
          </p:cNvPr>
          <p:cNvSpPr/>
          <p:nvPr/>
        </p:nvSpPr>
        <p:spPr>
          <a:xfrm>
            <a:off x="363070" y="1070996"/>
            <a:ext cx="6096000" cy="646331"/>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800" b="1" i="0" u="none" strike="noStrike" kern="1200" cap="none" spc="0" normalizeH="0" baseline="0" noProof="0" dirty="0" err="1">
                <a:ln>
                  <a:noFill/>
                </a:ln>
                <a:solidFill>
                  <a:prstClr val="black"/>
                </a:solidFill>
                <a:effectLst/>
                <a:uLnTx/>
                <a:uFillTx/>
                <a:latin typeface="Calibri"/>
                <a:ea typeface="+mn-ea"/>
                <a:cs typeface="+mn-cs"/>
              </a:rPr>
              <a:t>Sertifikat</a:t>
            </a:r>
            <a:r>
              <a:rPr kumimoji="0" lang="en-ID" sz="1800" b="1" i="0" u="none" strike="noStrike" kern="1200" cap="none" spc="0" normalizeH="0" baseline="0" noProof="0" dirty="0">
                <a:ln>
                  <a:noFill/>
                </a:ln>
                <a:solidFill>
                  <a:prstClr val="black"/>
                </a:solidFill>
                <a:effectLst/>
                <a:uLnTx/>
                <a:uFillTx/>
                <a:latin typeface="Calibri"/>
                <a:ea typeface="+mn-ea"/>
                <a:cs typeface="+mn-cs"/>
              </a:rPr>
              <a:t> </a:t>
            </a:r>
            <a:r>
              <a:rPr kumimoji="0" lang="en-ID" sz="1800" b="1" i="0" u="none" strike="noStrike" kern="1200" cap="none" spc="0" normalizeH="0" baseline="0" noProof="0" dirty="0" err="1">
                <a:ln>
                  <a:noFill/>
                </a:ln>
                <a:solidFill>
                  <a:prstClr val="black"/>
                </a:solidFill>
                <a:effectLst/>
                <a:uLnTx/>
                <a:uFillTx/>
                <a:latin typeface="Calibri"/>
                <a:ea typeface="+mn-ea"/>
                <a:cs typeface="+mn-cs"/>
              </a:rPr>
              <a:t>Standar</a:t>
            </a:r>
            <a:r>
              <a:rPr kumimoji="0" lang="en-ID" sz="1800" b="1" i="0" u="none" strike="noStrike" kern="1200" cap="none" spc="0" normalizeH="0" baseline="0" noProof="0" dirty="0">
                <a:ln>
                  <a:noFill/>
                </a:ln>
                <a:solidFill>
                  <a:prstClr val="black"/>
                </a:solidFill>
                <a:effectLst/>
                <a:uLnTx/>
                <a:uFillTx/>
                <a:latin typeface="Calibri"/>
                <a:ea typeface="+mn-ea"/>
                <a:cs typeface="+mn-cs"/>
              </a:rPr>
              <a:t> </a:t>
            </a:r>
            <a:r>
              <a:rPr kumimoji="0" lang="en-ID" sz="1800" b="1" i="0" u="none" strike="noStrike" kern="1200" cap="none" spc="0" normalizeH="0" baseline="0" noProof="0" dirty="0" err="1">
                <a:ln>
                  <a:noFill/>
                </a:ln>
                <a:solidFill>
                  <a:prstClr val="black"/>
                </a:solidFill>
                <a:effectLst/>
                <a:uLnTx/>
                <a:uFillTx/>
                <a:latin typeface="Calibri"/>
                <a:ea typeface="+mn-ea"/>
                <a:cs typeface="+mn-cs"/>
              </a:rPr>
              <a:t>Perizinan</a:t>
            </a:r>
            <a:r>
              <a:rPr kumimoji="0" lang="en-ID" sz="1800" b="1" i="0" u="none" strike="noStrike" kern="1200" cap="none" spc="0" normalizeH="0" baseline="0" noProof="0" dirty="0">
                <a:ln>
                  <a:noFill/>
                </a:ln>
                <a:solidFill>
                  <a:prstClr val="black"/>
                </a:solidFill>
                <a:effectLst/>
                <a:uLnTx/>
                <a:uFillTx/>
                <a:latin typeface="Calibri"/>
                <a:ea typeface="+mn-ea"/>
                <a:cs typeface="+mn-cs"/>
              </a:rPr>
              <a:t> </a:t>
            </a:r>
            <a:r>
              <a:rPr kumimoji="0" lang="en-ID" sz="1800" b="1" i="0" u="none" strike="noStrike" kern="1200" cap="none" spc="0" normalizeH="0" baseline="0" noProof="0" dirty="0" err="1">
                <a:ln>
                  <a:noFill/>
                </a:ln>
                <a:solidFill>
                  <a:prstClr val="black"/>
                </a:solidFill>
                <a:effectLst/>
                <a:uLnTx/>
                <a:uFillTx/>
                <a:latin typeface="Calibri"/>
                <a:ea typeface="+mn-ea"/>
                <a:cs typeface="+mn-cs"/>
              </a:rPr>
              <a:t>Berusaha</a:t>
            </a:r>
            <a:r>
              <a:rPr kumimoji="0" lang="en-ID" sz="1800" b="1" i="0" u="none" strike="noStrike" kern="1200" cap="none" spc="0" normalizeH="0" baseline="0" noProof="0" dirty="0">
                <a:ln>
                  <a:noFill/>
                </a:ln>
                <a:solidFill>
                  <a:prstClr val="black"/>
                </a:solidFill>
                <a:effectLst/>
                <a:uLnTx/>
                <a:uFillTx/>
                <a:latin typeface="Calibri"/>
                <a:ea typeface="+mn-ea"/>
                <a:cs typeface="+mn-cs"/>
              </a:rPr>
              <a:t> </a:t>
            </a:r>
            <a:r>
              <a:rPr kumimoji="0" lang="en-ID" sz="1800" b="1" i="0" u="none" strike="noStrike" kern="1200" cap="none" spc="0" normalizeH="0" baseline="0" noProof="0" dirty="0" err="1">
                <a:ln>
                  <a:noFill/>
                </a:ln>
                <a:solidFill>
                  <a:prstClr val="black"/>
                </a:solidFill>
                <a:effectLst/>
                <a:uLnTx/>
                <a:uFillTx/>
                <a:latin typeface="Calibri"/>
                <a:ea typeface="+mn-ea"/>
                <a:cs typeface="+mn-cs"/>
              </a:rPr>
              <a:t>subsektor</a:t>
            </a:r>
            <a:r>
              <a:rPr kumimoji="0" lang="en-ID" sz="1800" b="1" i="0" u="none" strike="noStrike" kern="1200" cap="none" spc="0" normalizeH="0" baseline="0" noProof="0" dirty="0">
                <a:ln>
                  <a:noFill/>
                </a:ln>
                <a:solidFill>
                  <a:prstClr val="black"/>
                </a:solidFill>
                <a:effectLst/>
                <a:uLnTx/>
                <a:uFillTx/>
                <a:latin typeface="Calibri"/>
                <a:ea typeface="+mn-ea"/>
                <a:cs typeface="+mn-cs"/>
              </a:rPr>
              <a:t> </a:t>
            </a:r>
            <a:r>
              <a:rPr kumimoji="0" lang="en-ID" sz="1800" b="1" i="0" u="none" strike="noStrike" kern="1200" cap="none" spc="0" normalizeH="0" baseline="0" noProof="0" dirty="0" err="1">
                <a:ln>
                  <a:noFill/>
                </a:ln>
                <a:solidFill>
                  <a:prstClr val="black"/>
                </a:solidFill>
                <a:effectLst/>
                <a:uLnTx/>
                <a:uFillTx/>
                <a:latin typeface="Calibri"/>
                <a:ea typeface="+mn-ea"/>
                <a:cs typeface="+mn-cs"/>
              </a:rPr>
              <a:t>jasa</a:t>
            </a:r>
            <a:r>
              <a:rPr kumimoji="0" lang="en-ID" sz="1800" b="1" i="0" u="none" strike="noStrike" kern="1200" cap="none" spc="0" normalizeH="0" baseline="0" noProof="0" dirty="0">
                <a:ln>
                  <a:noFill/>
                </a:ln>
                <a:solidFill>
                  <a:prstClr val="black"/>
                </a:solidFill>
                <a:effectLst/>
                <a:uLnTx/>
                <a:uFillTx/>
                <a:latin typeface="Calibri"/>
                <a:ea typeface="+mn-ea"/>
                <a:cs typeface="+mn-cs"/>
              </a:rPr>
              <a:t> </a:t>
            </a:r>
            <a:r>
              <a:rPr kumimoji="0" lang="en-ID" sz="1800" b="1" i="0" u="none" strike="noStrike" kern="1200" cap="none" spc="0" normalizeH="0" baseline="0" noProof="0" dirty="0" err="1">
                <a:ln>
                  <a:noFill/>
                </a:ln>
                <a:solidFill>
                  <a:prstClr val="black"/>
                </a:solidFill>
                <a:effectLst/>
                <a:uLnTx/>
                <a:uFillTx/>
                <a:latin typeface="Calibri"/>
                <a:ea typeface="+mn-ea"/>
                <a:cs typeface="+mn-cs"/>
              </a:rPr>
              <a:t>konstruksi</a:t>
            </a:r>
            <a:r>
              <a:rPr kumimoji="0" lang="en-ID" sz="1800" b="1" i="0" u="none" strike="noStrike" kern="1200" cap="none" spc="0" normalizeH="0" baseline="0" noProof="0" dirty="0">
                <a:ln>
                  <a:noFill/>
                </a:ln>
                <a:solidFill>
                  <a:prstClr val="black"/>
                </a:solidFill>
                <a:effectLst/>
                <a:uLnTx/>
                <a:uFillTx/>
                <a:latin typeface="Calibri"/>
                <a:ea typeface="+mn-ea"/>
                <a:cs typeface="+mn-cs"/>
              </a:rPr>
              <a:t> </a:t>
            </a:r>
            <a:r>
              <a:rPr kumimoji="0" lang="en-ID" sz="1800" b="1" i="0" u="none" strike="noStrike" kern="1200" cap="none" spc="0" normalizeH="0" baseline="0" noProof="0" dirty="0" err="1">
                <a:ln>
                  <a:noFill/>
                </a:ln>
                <a:solidFill>
                  <a:prstClr val="black"/>
                </a:solidFill>
                <a:effectLst/>
                <a:uLnTx/>
                <a:uFillTx/>
                <a:latin typeface="Calibri"/>
                <a:ea typeface="+mn-ea"/>
                <a:cs typeface="+mn-cs"/>
              </a:rPr>
              <a:t>dipenuhi</a:t>
            </a:r>
            <a:r>
              <a:rPr kumimoji="0" lang="en-ID" sz="1800" b="1" i="0" u="none" strike="noStrike" kern="1200" cap="none" spc="0" normalizeH="0" baseline="0" noProof="0" dirty="0">
                <a:ln>
                  <a:noFill/>
                </a:ln>
                <a:solidFill>
                  <a:prstClr val="black"/>
                </a:solidFill>
                <a:effectLst/>
                <a:uLnTx/>
                <a:uFillTx/>
                <a:latin typeface="Calibri"/>
                <a:ea typeface="+mn-ea"/>
                <a:cs typeface="+mn-cs"/>
              </a:rPr>
              <a:t> </a:t>
            </a:r>
            <a:r>
              <a:rPr kumimoji="0" lang="en-ID" sz="1800" b="1" i="0" u="none" strike="noStrike" kern="1200" cap="none" spc="0" normalizeH="0" baseline="0" noProof="0" dirty="0" err="1">
                <a:ln>
                  <a:noFill/>
                </a:ln>
                <a:solidFill>
                  <a:prstClr val="black"/>
                </a:solidFill>
                <a:effectLst/>
                <a:uLnTx/>
                <a:uFillTx/>
                <a:latin typeface="Calibri"/>
                <a:ea typeface="+mn-ea"/>
                <a:cs typeface="+mn-cs"/>
              </a:rPr>
              <a:t>dengan</a:t>
            </a:r>
            <a:r>
              <a:rPr kumimoji="0" lang="en-ID" sz="1800" b="1" i="0" u="none" strike="noStrike" kern="1200" cap="none" spc="0" normalizeH="0" baseline="0" noProof="0" dirty="0">
                <a:ln>
                  <a:noFill/>
                </a:ln>
                <a:solidFill>
                  <a:prstClr val="black"/>
                </a:solidFill>
                <a:effectLst/>
                <a:uLnTx/>
                <a:uFillTx/>
                <a:latin typeface="Calibri"/>
                <a:ea typeface="+mn-ea"/>
                <a:cs typeface="+mn-cs"/>
              </a:rPr>
              <a:t>: </a:t>
            </a:r>
          </a:p>
        </p:txBody>
      </p:sp>
      <p:graphicFrame>
        <p:nvGraphicFramePr>
          <p:cNvPr id="5" name="Diagram 4">
            <a:extLst>
              <a:ext uri="{FF2B5EF4-FFF2-40B4-BE49-F238E27FC236}">
                <a16:creationId xmlns:a16="http://schemas.microsoft.com/office/drawing/2014/main" id="{7CC8F8F6-E1C5-CF4D-8EC4-A7E489A37095}"/>
              </a:ext>
            </a:extLst>
          </p:cNvPr>
          <p:cNvGraphicFramePr/>
          <p:nvPr/>
        </p:nvGraphicFramePr>
        <p:xfrm>
          <a:off x="501374" y="1814946"/>
          <a:ext cx="3599571" cy="42146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26" name="Diagram 25">
            <a:extLst>
              <a:ext uri="{FF2B5EF4-FFF2-40B4-BE49-F238E27FC236}">
                <a16:creationId xmlns:a16="http://schemas.microsoft.com/office/drawing/2014/main" id="{F63E98AC-223E-1046-A18B-E9FF97999612}"/>
              </a:ext>
            </a:extLst>
          </p:cNvPr>
          <p:cNvGraphicFramePr/>
          <p:nvPr/>
        </p:nvGraphicFramePr>
        <p:xfrm>
          <a:off x="4296214" y="1717327"/>
          <a:ext cx="3599571" cy="421463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29" name="Diagram 28">
            <a:extLst>
              <a:ext uri="{FF2B5EF4-FFF2-40B4-BE49-F238E27FC236}">
                <a16:creationId xmlns:a16="http://schemas.microsoft.com/office/drawing/2014/main" id="{A2780A85-D0EE-DB41-9C26-91C2C1934526}"/>
              </a:ext>
            </a:extLst>
          </p:cNvPr>
          <p:cNvGraphicFramePr/>
          <p:nvPr/>
        </p:nvGraphicFramePr>
        <p:xfrm>
          <a:off x="8133050" y="1814946"/>
          <a:ext cx="3599571" cy="246610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3" name="Rectangle 2">
            <a:extLst>
              <a:ext uri="{FF2B5EF4-FFF2-40B4-BE49-F238E27FC236}">
                <a16:creationId xmlns:a16="http://schemas.microsoft.com/office/drawing/2014/main" id="{160BE7BD-CA04-46C9-B692-0F3B8395485E}"/>
              </a:ext>
            </a:extLst>
          </p:cNvPr>
          <p:cNvSpPr/>
          <p:nvPr/>
        </p:nvSpPr>
        <p:spPr>
          <a:xfrm>
            <a:off x="0" y="6140421"/>
            <a:ext cx="12192000" cy="7175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1960309"/>
      </p:ext>
    </p:extLst>
  </p:cSld>
  <p:clrMapOvr>
    <a:masterClrMapping/>
  </p:clrMapOvr>
  <mc:AlternateContent xmlns:mc="http://schemas.openxmlformats.org/markup-compatibility/2006" xmlns:p14="http://schemas.microsoft.com/office/powerpoint/2010/main">
    <mc:Choice Requires="p14">
      <p:transition spd="slow">
        <p14:pan dir="u"/>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A1791D6-7D7D-FC12-0495-D61B3BA20033}"/>
              </a:ext>
            </a:extLst>
          </p:cNvPr>
          <p:cNvSpPr>
            <a:spLocks noGrp="1"/>
          </p:cNvSpPr>
          <p:nvPr>
            <p:ph type="sldNum" sz="quarter" idx="12"/>
          </p:nvPr>
        </p:nvSpPr>
        <p:spPr/>
        <p:txBody>
          <a:bodyPr/>
          <a:lstStyle/>
          <a:p>
            <a:fld id="{420B1099-E721-E54F-9A56-8FD715DAFF88}" type="slidenum">
              <a:rPr lang="en-US" smtClean="0"/>
              <a:t>2</a:t>
            </a:fld>
            <a:endParaRPr lang="en-US"/>
          </a:p>
        </p:txBody>
      </p:sp>
      <p:sp>
        <p:nvSpPr>
          <p:cNvPr id="4" name="TextBox 3">
            <a:extLst>
              <a:ext uri="{FF2B5EF4-FFF2-40B4-BE49-F238E27FC236}">
                <a16:creationId xmlns:a16="http://schemas.microsoft.com/office/drawing/2014/main" id="{AF4AE7AE-5783-4D17-340B-136DC8E1D780}"/>
              </a:ext>
            </a:extLst>
          </p:cNvPr>
          <p:cNvSpPr txBox="1"/>
          <p:nvPr/>
        </p:nvSpPr>
        <p:spPr>
          <a:xfrm>
            <a:off x="-1003299" y="-994460"/>
            <a:ext cx="9169400" cy="9202519"/>
          </a:xfrm>
          <a:prstGeom prst="rect">
            <a:avLst/>
          </a:prstGeom>
          <a:noFill/>
        </p:spPr>
        <p:txBody>
          <a:bodyPr wrap="square" lIns="0" tIns="0" rIns="0" rtlCol="0" anchor="ctr">
            <a:spAutoFit/>
          </a:bodyPr>
          <a:lstStyle/>
          <a:p>
            <a:r>
              <a:rPr lang="id-ID" sz="59500" b="1" dirty="0">
                <a:blipFill dpi="0" rotWithShape="1">
                  <a:blip r:embed="rId2">
                    <a:alphaModFix amt="32000"/>
                  </a:blip>
                  <a:srcRect/>
                  <a:stretch>
                    <a:fillRect/>
                  </a:stretch>
                </a:blipFill>
                <a:latin typeface="Impact" panose="020B0806030902050204" pitchFamily="34" charset="0"/>
                <a:ea typeface="Hiragino Kaku Gothic StdN W8" panose="020B0800000000000000" pitchFamily="34" charset="-128"/>
                <a:cs typeface="Arial" panose="020B0604020202020204" pitchFamily="34" charset="0"/>
              </a:rPr>
              <a:t>01</a:t>
            </a:r>
          </a:p>
        </p:txBody>
      </p:sp>
      <p:sp>
        <p:nvSpPr>
          <p:cNvPr id="7" name="Rectangle 6">
            <a:extLst>
              <a:ext uri="{FF2B5EF4-FFF2-40B4-BE49-F238E27FC236}">
                <a16:creationId xmlns:a16="http://schemas.microsoft.com/office/drawing/2014/main" id="{1AC55671-5DDB-EEE4-92AC-61E7BA6585F3}"/>
              </a:ext>
            </a:extLst>
          </p:cNvPr>
          <p:cNvSpPr/>
          <p:nvPr/>
        </p:nvSpPr>
        <p:spPr>
          <a:xfrm>
            <a:off x="5226050" y="1228483"/>
            <a:ext cx="6965949" cy="252035"/>
          </a:xfrm>
          <a:prstGeom prst="rect">
            <a:avLst/>
          </a:prstGeom>
          <a:solidFill>
            <a:srgbClr val="1E32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TextBox 7">
            <a:extLst>
              <a:ext uri="{FF2B5EF4-FFF2-40B4-BE49-F238E27FC236}">
                <a16:creationId xmlns:a16="http://schemas.microsoft.com/office/drawing/2014/main" id="{194C30AD-FC66-8EA5-30E1-8BFD79017C33}"/>
              </a:ext>
            </a:extLst>
          </p:cNvPr>
          <p:cNvSpPr txBox="1"/>
          <p:nvPr/>
        </p:nvSpPr>
        <p:spPr>
          <a:xfrm>
            <a:off x="5903913" y="2321004"/>
            <a:ext cx="5880100" cy="553998"/>
          </a:xfrm>
          <a:prstGeom prst="rect">
            <a:avLst/>
          </a:prstGeom>
          <a:noFill/>
        </p:spPr>
        <p:txBody>
          <a:bodyPr wrap="square" lIns="0" tIns="0" rIns="0" bIns="0" rtlCol="0" anchor="ctr">
            <a:spAutoFit/>
          </a:bodyPr>
          <a:lstStyle/>
          <a:p>
            <a:pPr lvl="0">
              <a:defRPr/>
            </a:pPr>
            <a:r>
              <a:rPr lang="en-US" sz="3600" b="1" dirty="0">
                <a:solidFill>
                  <a:schemeClr val="accent1">
                    <a:lumMod val="50000"/>
                  </a:schemeClr>
                </a:solidFill>
                <a:latin typeface="Century Gothic" charset="0"/>
                <a:ea typeface="Century Gothic" charset="0"/>
                <a:cs typeface="Century Gothic" charset="0"/>
              </a:rPr>
              <a:t>PENDAHULUAN</a:t>
            </a:r>
          </a:p>
        </p:txBody>
      </p:sp>
      <p:pic>
        <p:nvPicPr>
          <p:cNvPr id="9" name="Picture 8">
            <a:extLst>
              <a:ext uri="{FF2B5EF4-FFF2-40B4-BE49-F238E27FC236}">
                <a16:creationId xmlns:a16="http://schemas.microsoft.com/office/drawing/2014/main" id="{37481281-597B-1215-D940-21CC27FB689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085631" y="6159181"/>
            <a:ext cx="2106369" cy="698819"/>
          </a:xfrm>
          <a:prstGeom prst="rect">
            <a:avLst/>
          </a:prstGeom>
        </p:spPr>
      </p:pic>
      <p:pic>
        <p:nvPicPr>
          <p:cNvPr id="10" name="Picture 9" descr="Text, logo&#10;&#10;Description automatically generated">
            <a:extLst>
              <a:ext uri="{FF2B5EF4-FFF2-40B4-BE49-F238E27FC236}">
                <a16:creationId xmlns:a16="http://schemas.microsoft.com/office/drawing/2014/main" id="{98F27504-C8FF-E7B3-C944-4B80D9C7276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6207" y="5857175"/>
            <a:ext cx="2305163" cy="876866"/>
          </a:xfrm>
          <a:prstGeom prst="rect">
            <a:avLst/>
          </a:prstGeom>
        </p:spPr>
      </p:pic>
    </p:spTree>
    <p:extLst>
      <p:ext uri="{BB962C8B-B14F-4D97-AF65-F5344CB8AC3E}">
        <p14:creationId xmlns:p14="http://schemas.microsoft.com/office/powerpoint/2010/main" val="37623752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5478775" y="3354824"/>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C3367"/>
              </a:solidFill>
              <a:effectLst/>
              <a:uLnTx/>
              <a:uFillTx/>
              <a:latin typeface="Calibri" panose="020F0502020204030204"/>
              <a:ea typeface="+mn-ea"/>
              <a:cs typeface="+mn-cs"/>
            </a:endParaRPr>
          </a:p>
        </p:txBody>
      </p:sp>
      <p:sp>
        <p:nvSpPr>
          <p:cNvPr id="20" name="Rectangle 19"/>
          <p:cNvSpPr/>
          <p:nvPr/>
        </p:nvSpPr>
        <p:spPr>
          <a:xfrm>
            <a:off x="6479527" y="840711"/>
            <a:ext cx="5267091" cy="3312834"/>
          </a:xfrm>
          <a:prstGeom prst="rect">
            <a:avLst/>
          </a:prstGeom>
          <a:solidFill>
            <a:srgbClr val="1C33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3367"/>
              </a:solidFill>
              <a:effectLst/>
              <a:uLnTx/>
              <a:uFillTx/>
              <a:latin typeface="Calibri" panose="020F0502020204030204"/>
              <a:ea typeface="+mn-ea"/>
              <a:cs typeface="+mn-cs"/>
            </a:endParaRPr>
          </a:p>
        </p:txBody>
      </p:sp>
      <p:sp>
        <p:nvSpPr>
          <p:cNvPr id="59" name="Rectangle 58">
            <a:extLst>
              <a:ext uri="{FF2B5EF4-FFF2-40B4-BE49-F238E27FC236}">
                <a16:creationId xmlns:a16="http://schemas.microsoft.com/office/drawing/2014/main" id="{8440B923-9B02-6E4C-AEEB-CEC9A1113FD1}"/>
              </a:ext>
            </a:extLst>
          </p:cNvPr>
          <p:cNvSpPr/>
          <p:nvPr/>
        </p:nvSpPr>
        <p:spPr>
          <a:xfrm>
            <a:off x="6479527" y="4339524"/>
            <a:ext cx="5267091" cy="2410529"/>
          </a:xfrm>
          <a:prstGeom prst="rect">
            <a:avLst/>
          </a:prstGeom>
          <a:solidFill>
            <a:srgbClr val="1C33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3367"/>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80244F8B-75F2-6949-83CD-9E4BB196367C}"/>
              </a:ext>
            </a:extLst>
          </p:cNvPr>
          <p:cNvSpPr/>
          <p:nvPr/>
        </p:nvSpPr>
        <p:spPr>
          <a:xfrm>
            <a:off x="722481" y="840711"/>
            <a:ext cx="5267091" cy="3312834"/>
          </a:xfrm>
          <a:prstGeom prst="rect">
            <a:avLst/>
          </a:prstGeom>
          <a:solidFill>
            <a:srgbClr val="1C33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C3367"/>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7DA1CA63-8E02-4B4D-B47D-836D78582A11}"/>
              </a:ext>
            </a:extLst>
          </p:cNvPr>
          <p:cNvSpPr/>
          <p:nvPr/>
        </p:nvSpPr>
        <p:spPr>
          <a:xfrm>
            <a:off x="722479" y="4339524"/>
            <a:ext cx="5267091" cy="2454268"/>
          </a:xfrm>
          <a:prstGeom prst="rect">
            <a:avLst/>
          </a:prstGeom>
          <a:solidFill>
            <a:srgbClr val="1C33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3367"/>
              </a:solidFill>
              <a:effectLst/>
              <a:uLnTx/>
              <a:uFillTx/>
              <a:latin typeface="Calibri" panose="020F0502020204030204"/>
              <a:ea typeface="+mn-ea"/>
              <a:cs typeface="+mn-cs"/>
            </a:endParaRPr>
          </a:p>
        </p:txBody>
      </p:sp>
      <p:sp>
        <p:nvSpPr>
          <p:cNvPr id="24" name="Text Placeholder 17">
            <a:extLst>
              <a:ext uri="{FF2B5EF4-FFF2-40B4-BE49-F238E27FC236}">
                <a16:creationId xmlns:a16="http://schemas.microsoft.com/office/drawing/2014/main" id="{3D941F76-A03D-6640-B843-8876BD7D6652}"/>
              </a:ext>
            </a:extLst>
          </p:cNvPr>
          <p:cNvSpPr txBox="1">
            <a:spLocks noChangeArrowheads="1"/>
          </p:cNvSpPr>
          <p:nvPr/>
        </p:nvSpPr>
        <p:spPr bwMode="auto">
          <a:xfrm>
            <a:off x="-551091" y="7170"/>
            <a:ext cx="10088918"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d-ID" altLang="en-US" sz="2400" b="1" i="0" u="none" strike="noStrike" kern="1200" cap="none" spc="0" normalizeH="0" baseline="0" noProof="0" dirty="0">
                <a:ln>
                  <a:noFill/>
                </a:ln>
                <a:solidFill>
                  <a:srgbClr val="1C3367"/>
                </a:solidFill>
                <a:effectLst/>
                <a:uLnTx/>
                <a:uFillTx/>
                <a:latin typeface="Century Gothic" panose="020B0502020202020204" pitchFamily="34" charset="0"/>
                <a:ea typeface="+mn-ea"/>
                <a:cs typeface="+mn-cs"/>
              </a:rPr>
              <a:t>PENENTUAN KUALIFIKASI BADAN USAHA  USAHA</a:t>
            </a:r>
            <a:endParaRPr kumimoji="0" lang="en-US" altLang="en-US" sz="2400" b="1" i="0" u="none" strike="noStrike" kern="1200" cap="none" spc="0" normalizeH="0" baseline="0" noProof="0" dirty="0">
              <a:ln>
                <a:noFill/>
              </a:ln>
              <a:solidFill>
                <a:srgbClr val="1C3367"/>
              </a:solidFill>
              <a:effectLst/>
              <a:uLnTx/>
              <a:uFillTx/>
              <a:latin typeface="Century Gothic" panose="020B0502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78DC04D0-E9AD-6140-85A2-B5DE04A5FD8C}"/>
              </a:ext>
            </a:extLst>
          </p:cNvPr>
          <p:cNvSpPr txBox="1"/>
          <p:nvPr/>
        </p:nvSpPr>
        <p:spPr>
          <a:xfrm>
            <a:off x="1170038" y="1340649"/>
            <a:ext cx="5064512" cy="274690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Dibuktik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deng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rekam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kontrak</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kerja</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konstruksi</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yang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disahk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oleh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pemilik</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pekerja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dan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telah</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tercatat</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sebagai</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pengalam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badan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usaha</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a:t>
            </a:r>
          </a:p>
          <a:p>
            <a:pPr marL="285750" marR="0" lvl="0" indent="-28575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Didasark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pada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peroleh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pekerja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dalam</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masa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berlakunya</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SBU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Konstruksi</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a:t>
            </a:r>
          </a:p>
          <a:p>
            <a:pPr marL="285750" marR="0" lvl="0" indent="-28575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Untuk</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KSO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lapor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penjual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tahun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dipisahk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sesuai</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deng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porsinya</a:t>
            </a:r>
            <a:endPar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endParaRPr>
          </a:p>
          <a:p>
            <a:pPr marL="285750" marR="0" lvl="0" indent="-28575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Dilakuk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terhadap</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akumulasi</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penjual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tahun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sejenis</a:t>
            </a:r>
            <a:endPar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endParaRPr>
          </a:p>
        </p:txBody>
      </p:sp>
      <p:sp>
        <p:nvSpPr>
          <p:cNvPr id="26" name="TextBox 25">
            <a:extLst>
              <a:ext uri="{FF2B5EF4-FFF2-40B4-BE49-F238E27FC236}">
                <a16:creationId xmlns:a16="http://schemas.microsoft.com/office/drawing/2014/main" id="{CB4D91A4-61BE-D547-B991-85C2A83B16D2}"/>
              </a:ext>
            </a:extLst>
          </p:cNvPr>
          <p:cNvSpPr txBox="1"/>
          <p:nvPr/>
        </p:nvSpPr>
        <p:spPr>
          <a:xfrm>
            <a:off x="6909771" y="1469806"/>
            <a:ext cx="4836848" cy="251607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Kemampu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keuang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diperoleh</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dari</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nilai</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total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ekuitas</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pada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neraca</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keuang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BUJK,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untuk</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BUJK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kualifikasi</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kecil</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dan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neraca</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keuang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BUJK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hasil</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udi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kantor</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akunt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publik</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yang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teregistrasi</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sesuai</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deng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ketentu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peratur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perundang-undang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untuk</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BUJK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Kualifikasi</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menengah</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dan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besar</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a:t>
            </a:r>
          </a:p>
          <a:p>
            <a:pPr marL="285750" marR="0" lvl="0" indent="-28575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Bila</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ekuitas</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dinyatak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dalam</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mata</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uang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asing</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maka</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dikonversi</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sesuai</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kurs</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pada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tanggal</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pengajuan</a:t>
            </a:r>
            <a:endPar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endParaRPr>
          </a:p>
        </p:txBody>
      </p:sp>
      <p:sp>
        <p:nvSpPr>
          <p:cNvPr id="27" name="TextBox 26">
            <a:extLst>
              <a:ext uri="{FF2B5EF4-FFF2-40B4-BE49-F238E27FC236}">
                <a16:creationId xmlns:a16="http://schemas.microsoft.com/office/drawing/2014/main" id="{EE1AE653-07F7-0D46-84D4-9AA945634251}"/>
              </a:ext>
            </a:extLst>
          </p:cNvPr>
          <p:cNvSpPr txBox="1"/>
          <p:nvPr/>
        </p:nvSpPr>
        <p:spPr>
          <a:xfrm>
            <a:off x="1274901" y="4956595"/>
            <a:ext cx="4512090" cy="182357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Memenuhi</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persyarat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minimal yang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terdiri</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atas</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jumlah</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tenaga</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kerja</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kualifikasi</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tenaga</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kerja</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dan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jenjang</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tenaga</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kerja</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dibuktik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deng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kepemilik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SKK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utk</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setiap</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subklasifikasi</a:t>
            </a:r>
            <a:endPar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endParaRPr>
          </a:p>
          <a:p>
            <a:pPr marL="285750" marR="0" lvl="0" indent="-28575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Tenaga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kerja</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meliputi</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1) PJBU; 2) PJTBU; 3) PJSKBU.</a:t>
            </a:r>
          </a:p>
        </p:txBody>
      </p:sp>
      <p:sp>
        <p:nvSpPr>
          <p:cNvPr id="28" name="TextBox 27">
            <a:extLst>
              <a:ext uri="{FF2B5EF4-FFF2-40B4-BE49-F238E27FC236}">
                <a16:creationId xmlns:a16="http://schemas.microsoft.com/office/drawing/2014/main" id="{7A33863F-6E59-F746-B648-2087268E23FA}"/>
              </a:ext>
            </a:extLst>
          </p:cNvPr>
          <p:cNvSpPr txBox="1"/>
          <p:nvPr/>
        </p:nvSpPr>
        <p:spPr>
          <a:xfrm>
            <a:off x="6963642" y="4956595"/>
            <a:ext cx="4813577" cy="170816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Memenuhi</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persyarat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minimal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jumlah</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peralat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utama</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untuk</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setiap</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subklasifikasi</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a:t>
            </a:r>
          </a:p>
          <a:p>
            <a:pPr marL="285750" marR="0" lvl="0" indent="-28575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Wajib</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disediak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Pelaku</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Usaha paling lama 30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tiga</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puluh</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hari</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kalender</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sejak</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SBU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Konstruksi</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diterbitk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a:t>
            </a:r>
          </a:p>
          <a:p>
            <a:pPr marL="285750" marR="0" lvl="0" indent="-28575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Dikecualikan</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untuk</a:t>
            </a:r>
            <a:r>
              <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rPr>
              <a:t> Jasa </a:t>
            </a:r>
            <a:r>
              <a:rPr kumimoji="0" lang="en-US" sz="1500" b="0" i="0" u="none" strike="noStrike" kern="1200" cap="none" spc="0" normalizeH="0" baseline="0" noProof="0" dirty="0" err="1">
                <a:ln>
                  <a:noFill/>
                </a:ln>
                <a:solidFill>
                  <a:prstClr val="white"/>
                </a:solidFill>
                <a:effectLst/>
                <a:uLnTx/>
                <a:uFillTx/>
                <a:latin typeface="Montserrat" pitchFamily="2" charset="77"/>
                <a:ea typeface="+mn-ea"/>
                <a:cs typeface="+mn-cs"/>
              </a:rPr>
              <a:t>Konsultansi</a:t>
            </a:r>
            <a:endParaRPr kumimoji="0" lang="en-US" sz="1500" b="0" i="0" u="none" strike="noStrike" kern="1200" cap="none" spc="0" normalizeH="0" baseline="0" noProof="0" dirty="0">
              <a:ln>
                <a:noFill/>
              </a:ln>
              <a:solidFill>
                <a:prstClr val="white"/>
              </a:solidFill>
              <a:effectLst/>
              <a:uLnTx/>
              <a:uFillTx/>
              <a:latin typeface="Montserrat" pitchFamily="2" charset="77"/>
              <a:ea typeface="+mn-ea"/>
              <a:cs typeface="+mn-cs"/>
            </a:endParaRPr>
          </a:p>
        </p:txBody>
      </p:sp>
      <p:grpSp>
        <p:nvGrpSpPr>
          <p:cNvPr id="29" name="Group 28">
            <a:extLst>
              <a:ext uri="{FF2B5EF4-FFF2-40B4-BE49-F238E27FC236}">
                <a16:creationId xmlns:a16="http://schemas.microsoft.com/office/drawing/2014/main" id="{2DCFEB48-24A0-4B4A-8CB6-E0ADAFF54BB8}"/>
              </a:ext>
            </a:extLst>
          </p:cNvPr>
          <p:cNvGrpSpPr/>
          <p:nvPr/>
        </p:nvGrpSpPr>
        <p:grpSpPr>
          <a:xfrm>
            <a:off x="449409" y="823548"/>
            <a:ext cx="1196280" cy="1086658"/>
            <a:chOff x="515938" y="1570194"/>
            <a:chExt cx="2028931" cy="1474034"/>
          </a:xfrm>
          <a:solidFill>
            <a:srgbClr val="FEB813"/>
          </a:solidFill>
        </p:grpSpPr>
        <p:sp>
          <p:nvSpPr>
            <p:cNvPr id="31" name="Round Same Side Corner Rectangle 30">
              <a:extLst>
                <a:ext uri="{FF2B5EF4-FFF2-40B4-BE49-F238E27FC236}">
                  <a16:creationId xmlns:a16="http://schemas.microsoft.com/office/drawing/2014/main" id="{6C9FE32E-9A92-AD4D-B427-E384897F731C}"/>
                </a:ext>
              </a:extLst>
            </p:cNvPr>
            <p:cNvSpPr/>
            <p:nvPr/>
          </p:nvSpPr>
          <p:spPr>
            <a:xfrm rot="10800000">
              <a:off x="515938" y="1570194"/>
              <a:ext cx="1137016" cy="1153719"/>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1C3367"/>
                </a:solidFill>
                <a:effectLst/>
                <a:uLnTx/>
                <a:uFillTx/>
                <a:latin typeface="Montserrat" pitchFamily="2" charset="77"/>
                <a:ea typeface="+mn-ea"/>
                <a:cs typeface="+mn-cs"/>
              </a:endParaRPr>
            </a:p>
          </p:txBody>
        </p:sp>
        <p:sp>
          <p:nvSpPr>
            <p:cNvPr id="32" name="Freeform 31">
              <a:extLst>
                <a:ext uri="{FF2B5EF4-FFF2-40B4-BE49-F238E27FC236}">
                  <a16:creationId xmlns:a16="http://schemas.microsoft.com/office/drawing/2014/main" id="{CA1832D3-9C3D-D94F-AF95-B80AD8F27C2B}"/>
                </a:ext>
              </a:extLst>
            </p:cNvPr>
            <p:cNvSpPr/>
            <p:nvPr/>
          </p:nvSpPr>
          <p:spPr>
            <a:xfrm rot="16200000">
              <a:off x="1361895" y="1861254"/>
              <a:ext cx="1474033" cy="891915"/>
            </a:xfrm>
            <a:custGeom>
              <a:avLst/>
              <a:gdLst>
                <a:gd name="connsiteX0" fmla="*/ 0 w 1474033"/>
                <a:gd name="connsiteY0" fmla="*/ 0 h 891915"/>
                <a:gd name="connsiteX1" fmla="*/ 1474033 w 1474033"/>
                <a:gd name="connsiteY1" fmla="*/ 0 h 891915"/>
                <a:gd name="connsiteX2" fmla="*/ 1474033 w 1474033"/>
                <a:gd name="connsiteY2" fmla="*/ 891915 h 891915"/>
                <a:gd name="connsiteX3" fmla="*/ 1473785 w 1474033"/>
                <a:gd name="connsiteY3" fmla="*/ 891915 h 891915"/>
                <a:gd name="connsiteX4" fmla="*/ 1455862 w 1474033"/>
                <a:gd name="connsiteY4" fmla="*/ 714121 h 891915"/>
                <a:gd name="connsiteX5" fmla="*/ 579667 w 1474033"/>
                <a:gd name="connsiteY5" fmla="*/ 1 h 891915"/>
                <a:gd name="connsiteX6" fmla="*/ 0 w 1474033"/>
                <a:gd name="connsiteY6" fmla="*/ 1 h 89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4033" h="891915">
                  <a:moveTo>
                    <a:pt x="0" y="0"/>
                  </a:moveTo>
                  <a:lnTo>
                    <a:pt x="1474033" y="0"/>
                  </a:lnTo>
                  <a:lnTo>
                    <a:pt x="1474033" y="891915"/>
                  </a:lnTo>
                  <a:lnTo>
                    <a:pt x="1473785" y="891915"/>
                  </a:lnTo>
                  <a:lnTo>
                    <a:pt x="1455862" y="714121"/>
                  </a:lnTo>
                  <a:cubicBezTo>
                    <a:pt x="1372465" y="306574"/>
                    <a:pt x="1011868" y="1"/>
                    <a:pt x="579667" y="1"/>
                  </a:cubicBezTo>
                  <a:lnTo>
                    <a:pt x="0" y="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C3367"/>
                </a:solidFill>
                <a:effectLst/>
                <a:uLnTx/>
                <a:uFillTx/>
                <a:latin typeface="Montserrat" pitchFamily="2" charset="77"/>
                <a:ea typeface="+mn-ea"/>
                <a:cs typeface="+mn-cs"/>
              </a:endParaRPr>
            </a:p>
          </p:txBody>
        </p:sp>
      </p:grpSp>
      <p:grpSp>
        <p:nvGrpSpPr>
          <p:cNvPr id="33" name="Group 32">
            <a:extLst>
              <a:ext uri="{FF2B5EF4-FFF2-40B4-BE49-F238E27FC236}">
                <a16:creationId xmlns:a16="http://schemas.microsoft.com/office/drawing/2014/main" id="{37511F13-B331-6341-8DD3-8B814116D0B4}"/>
              </a:ext>
            </a:extLst>
          </p:cNvPr>
          <p:cNvGrpSpPr/>
          <p:nvPr/>
        </p:nvGrpSpPr>
        <p:grpSpPr>
          <a:xfrm>
            <a:off x="6262644" y="824744"/>
            <a:ext cx="1196280" cy="1086658"/>
            <a:chOff x="515938" y="1570194"/>
            <a:chExt cx="2028931" cy="1474034"/>
          </a:xfrm>
          <a:solidFill>
            <a:srgbClr val="FEB813"/>
          </a:solidFill>
        </p:grpSpPr>
        <p:sp>
          <p:nvSpPr>
            <p:cNvPr id="34" name="Round Same Side Corner Rectangle 33">
              <a:extLst>
                <a:ext uri="{FF2B5EF4-FFF2-40B4-BE49-F238E27FC236}">
                  <a16:creationId xmlns:a16="http://schemas.microsoft.com/office/drawing/2014/main" id="{C2CF9E21-9E56-7141-A5D3-18BA48A664AB}"/>
                </a:ext>
              </a:extLst>
            </p:cNvPr>
            <p:cNvSpPr/>
            <p:nvPr/>
          </p:nvSpPr>
          <p:spPr>
            <a:xfrm rot="10800000">
              <a:off x="515938" y="1570194"/>
              <a:ext cx="1137016" cy="1153719"/>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1C3367"/>
                </a:solidFill>
                <a:effectLst/>
                <a:uLnTx/>
                <a:uFillTx/>
                <a:latin typeface="Montserrat" pitchFamily="2" charset="77"/>
                <a:ea typeface="+mn-ea"/>
                <a:cs typeface="+mn-cs"/>
              </a:endParaRPr>
            </a:p>
          </p:txBody>
        </p:sp>
        <p:sp>
          <p:nvSpPr>
            <p:cNvPr id="35" name="Freeform 34">
              <a:extLst>
                <a:ext uri="{FF2B5EF4-FFF2-40B4-BE49-F238E27FC236}">
                  <a16:creationId xmlns:a16="http://schemas.microsoft.com/office/drawing/2014/main" id="{A08B2B6F-D67A-464F-954C-86CC39FB9FE9}"/>
                </a:ext>
              </a:extLst>
            </p:cNvPr>
            <p:cNvSpPr/>
            <p:nvPr/>
          </p:nvSpPr>
          <p:spPr>
            <a:xfrm rot="16200000">
              <a:off x="1361895" y="1861254"/>
              <a:ext cx="1474033" cy="891915"/>
            </a:xfrm>
            <a:custGeom>
              <a:avLst/>
              <a:gdLst>
                <a:gd name="connsiteX0" fmla="*/ 0 w 1474033"/>
                <a:gd name="connsiteY0" fmla="*/ 0 h 891915"/>
                <a:gd name="connsiteX1" fmla="*/ 1474033 w 1474033"/>
                <a:gd name="connsiteY1" fmla="*/ 0 h 891915"/>
                <a:gd name="connsiteX2" fmla="*/ 1474033 w 1474033"/>
                <a:gd name="connsiteY2" fmla="*/ 891915 h 891915"/>
                <a:gd name="connsiteX3" fmla="*/ 1473785 w 1474033"/>
                <a:gd name="connsiteY3" fmla="*/ 891915 h 891915"/>
                <a:gd name="connsiteX4" fmla="*/ 1455862 w 1474033"/>
                <a:gd name="connsiteY4" fmla="*/ 714121 h 891915"/>
                <a:gd name="connsiteX5" fmla="*/ 579667 w 1474033"/>
                <a:gd name="connsiteY5" fmla="*/ 1 h 891915"/>
                <a:gd name="connsiteX6" fmla="*/ 0 w 1474033"/>
                <a:gd name="connsiteY6" fmla="*/ 1 h 89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4033" h="891915">
                  <a:moveTo>
                    <a:pt x="0" y="0"/>
                  </a:moveTo>
                  <a:lnTo>
                    <a:pt x="1474033" y="0"/>
                  </a:lnTo>
                  <a:lnTo>
                    <a:pt x="1474033" y="891915"/>
                  </a:lnTo>
                  <a:lnTo>
                    <a:pt x="1473785" y="891915"/>
                  </a:lnTo>
                  <a:lnTo>
                    <a:pt x="1455862" y="714121"/>
                  </a:lnTo>
                  <a:cubicBezTo>
                    <a:pt x="1372465" y="306574"/>
                    <a:pt x="1011868" y="1"/>
                    <a:pt x="579667" y="1"/>
                  </a:cubicBezTo>
                  <a:lnTo>
                    <a:pt x="0" y="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C3367"/>
                </a:solidFill>
                <a:effectLst/>
                <a:uLnTx/>
                <a:uFillTx/>
                <a:latin typeface="Montserrat" pitchFamily="2" charset="77"/>
                <a:ea typeface="+mn-ea"/>
                <a:cs typeface="+mn-cs"/>
              </a:endParaRPr>
            </a:p>
          </p:txBody>
        </p:sp>
      </p:grpSp>
      <p:grpSp>
        <p:nvGrpSpPr>
          <p:cNvPr id="36" name="Group 35">
            <a:extLst>
              <a:ext uri="{FF2B5EF4-FFF2-40B4-BE49-F238E27FC236}">
                <a16:creationId xmlns:a16="http://schemas.microsoft.com/office/drawing/2014/main" id="{B71D874A-33FD-7846-A785-3BD33BB6AFAD}"/>
              </a:ext>
            </a:extLst>
          </p:cNvPr>
          <p:cNvGrpSpPr/>
          <p:nvPr/>
        </p:nvGrpSpPr>
        <p:grpSpPr>
          <a:xfrm>
            <a:off x="571898" y="4339524"/>
            <a:ext cx="1196280" cy="1086658"/>
            <a:chOff x="515938" y="1570194"/>
            <a:chExt cx="2028931" cy="1474034"/>
          </a:xfrm>
          <a:solidFill>
            <a:srgbClr val="FEB813"/>
          </a:solidFill>
        </p:grpSpPr>
        <p:sp>
          <p:nvSpPr>
            <p:cNvPr id="37" name="Round Same Side Corner Rectangle 36">
              <a:extLst>
                <a:ext uri="{FF2B5EF4-FFF2-40B4-BE49-F238E27FC236}">
                  <a16:creationId xmlns:a16="http://schemas.microsoft.com/office/drawing/2014/main" id="{FB950FF8-F15E-A04E-AEE4-5ED4D3F994FE}"/>
                </a:ext>
              </a:extLst>
            </p:cNvPr>
            <p:cNvSpPr/>
            <p:nvPr/>
          </p:nvSpPr>
          <p:spPr>
            <a:xfrm rot="10800000">
              <a:off x="515938" y="1570194"/>
              <a:ext cx="1137016" cy="1153719"/>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1C3367"/>
                </a:solidFill>
                <a:effectLst/>
                <a:uLnTx/>
                <a:uFillTx/>
                <a:latin typeface="Montserrat" pitchFamily="2" charset="77"/>
                <a:ea typeface="+mn-ea"/>
                <a:cs typeface="+mn-cs"/>
              </a:endParaRPr>
            </a:p>
          </p:txBody>
        </p:sp>
        <p:sp>
          <p:nvSpPr>
            <p:cNvPr id="38" name="Freeform 37">
              <a:extLst>
                <a:ext uri="{FF2B5EF4-FFF2-40B4-BE49-F238E27FC236}">
                  <a16:creationId xmlns:a16="http://schemas.microsoft.com/office/drawing/2014/main" id="{D57F4D23-D06A-7845-82D2-F089F3BE7EF1}"/>
                </a:ext>
              </a:extLst>
            </p:cNvPr>
            <p:cNvSpPr/>
            <p:nvPr/>
          </p:nvSpPr>
          <p:spPr>
            <a:xfrm rot="16200000">
              <a:off x="1361895" y="1861254"/>
              <a:ext cx="1474033" cy="891915"/>
            </a:xfrm>
            <a:custGeom>
              <a:avLst/>
              <a:gdLst>
                <a:gd name="connsiteX0" fmla="*/ 0 w 1474033"/>
                <a:gd name="connsiteY0" fmla="*/ 0 h 891915"/>
                <a:gd name="connsiteX1" fmla="*/ 1474033 w 1474033"/>
                <a:gd name="connsiteY1" fmla="*/ 0 h 891915"/>
                <a:gd name="connsiteX2" fmla="*/ 1474033 w 1474033"/>
                <a:gd name="connsiteY2" fmla="*/ 891915 h 891915"/>
                <a:gd name="connsiteX3" fmla="*/ 1473785 w 1474033"/>
                <a:gd name="connsiteY3" fmla="*/ 891915 h 891915"/>
                <a:gd name="connsiteX4" fmla="*/ 1455862 w 1474033"/>
                <a:gd name="connsiteY4" fmla="*/ 714121 h 891915"/>
                <a:gd name="connsiteX5" fmla="*/ 579667 w 1474033"/>
                <a:gd name="connsiteY5" fmla="*/ 1 h 891915"/>
                <a:gd name="connsiteX6" fmla="*/ 0 w 1474033"/>
                <a:gd name="connsiteY6" fmla="*/ 1 h 89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4033" h="891915">
                  <a:moveTo>
                    <a:pt x="0" y="0"/>
                  </a:moveTo>
                  <a:lnTo>
                    <a:pt x="1474033" y="0"/>
                  </a:lnTo>
                  <a:lnTo>
                    <a:pt x="1474033" y="891915"/>
                  </a:lnTo>
                  <a:lnTo>
                    <a:pt x="1473785" y="891915"/>
                  </a:lnTo>
                  <a:lnTo>
                    <a:pt x="1455862" y="714121"/>
                  </a:lnTo>
                  <a:cubicBezTo>
                    <a:pt x="1372465" y="306574"/>
                    <a:pt x="1011868" y="1"/>
                    <a:pt x="579667" y="1"/>
                  </a:cubicBezTo>
                  <a:lnTo>
                    <a:pt x="0" y="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C3367"/>
                </a:solidFill>
                <a:effectLst/>
                <a:uLnTx/>
                <a:uFillTx/>
                <a:latin typeface="Montserrat" pitchFamily="2" charset="77"/>
                <a:ea typeface="+mn-ea"/>
                <a:cs typeface="+mn-cs"/>
              </a:endParaRPr>
            </a:p>
          </p:txBody>
        </p:sp>
      </p:grpSp>
      <p:grpSp>
        <p:nvGrpSpPr>
          <p:cNvPr id="39" name="Group 38">
            <a:extLst>
              <a:ext uri="{FF2B5EF4-FFF2-40B4-BE49-F238E27FC236}">
                <a16:creationId xmlns:a16="http://schemas.microsoft.com/office/drawing/2014/main" id="{A5373EC5-5948-344F-86FC-242B26A45F17}"/>
              </a:ext>
            </a:extLst>
          </p:cNvPr>
          <p:cNvGrpSpPr/>
          <p:nvPr/>
        </p:nvGrpSpPr>
        <p:grpSpPr>
          <a:xfrm>
            <a:off x="6339413" y="4320277"/>
            <a:ext cx="1196280" cy="1086658"/>
            <a:chOff x="515938" y="1570194"/>
            <a:chExt cx="2028931" cy="1474034"/>
          </a:xfrm>
          <a:solidFill>
            <a:srgbClr val="FEB813"/>
          </a:solidFill>
        </p:grpSpPr>
        <p:sp>
          <p:nvSpPr>
            <p:cNvPr id="40" name="Round Same Side Corner Rectangle 39">
              <a:extLst>
                <a:ext uri="{FF2B5EF4-FFF2-40B4-BE49-F238E27FC236}">
                  <a16:creationId xmlns:a16="http://schemas.microsoft.com/office/drawing/2014/main" id="{4E48BEB3-204D-2C45-A2F3-343BFEB865D6}"/>
                </a:ext>
              </a:extLst>
            </p:cNvPr>
            <p:cNvSpPr/>
            <p:nvPr/>
          </p:nvSpPr>
          <p:spPr>
            <a:xfrm rot="10800000">
              <a:off x="515938" y="1570194"/>
              <a:ext cx="1137016" cy="1153719"/>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1C3367"/>
                </a:solidFill>
                <a:effectLst/>
                <a:uLnTx/>
                <a:uFillTx/>
                <a:latin typeface="Montserrat" pitchFamily="2" charset="77"/>
                <a:ea typeface="+mn-ea"/>
                <a:cs typeface="+mn-cs"/>
              </a:endParaRPr>
            </a:p>
          </p:txBody>
        </p:sp>
        <p:sp>
          <p:nvSpPr>
            <p:cNvPr id="41" name="Freeform 40">
              <a:extLst>
                <a:ext uri="{FF2B5EF4-FFF2-40B4-BE49-F238E27FC236}">
                  <a16:creationId xmlns:a16="http://schemas.microsoft.com/office/drawing/2014/main" id="{48234050-7753-0B47-8651-3B76D917A5C3}"/>
                </a:ext>
              </a:extLst>
            </p:cNvPr>
            <p:cNvSpPr/>
            <p:nvPr/>
          </p:nvSpPr>
          <p:spPr>
            <a:xfrm rot="16200000">
              <a:off x="1361895" y="1861254"/>
              <a:ext cx="1474033" cy="891915"/>
            </a:xfrm>
            <a:custGeom>
              <a:avLst/>
              <a:gdLst>
                <a:gd name="connsiteX0" fmla="*/ 0 w 1474033"/>
                <a:gd name="connsiteY0" fmla="*/ 0 h 891915"/>
                <a:gd name="connsiteX1" fmla="*/ 1474033 w 1474033"/>
                <a:gd name="connsiteY1" fmla="*/ 0 h 891915"/>
                <a:gd name="connsiteX2" fmla="*/ 1474033 w 1474033"/>
                <a:gd name="connsiteY2" fmla="*/ 891915 h 891915"/>
                <a:gd name="connsiteX3" fmla="*/ 1473785 w 1474033"/>
                <a:gd name="connsiteY3" fmla="*/ 891915 h 891915"/>
                <a:gd name="connsiteX4" fmla="*/ 1455862 w 1474033"/>
                <a:gd name="connsiteY4" fmla="*/ 714121 h 891915"/>
                <a:gd name="connsiteX5" fmla="*/ 579667 w 1474033"/>
                <a:gd name="connsiteY5" fmla="*/ 1 h 891915"/>
                <a:gd name="connsiteX6" fmla="*/ 0 w 1474033"/>
                <a:gd name="connsiteY6" fmla="*/ 1 h 891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4033" h="891915">
                  <a:moveTo>
                    <a:pt x="0" y="0"/>
                  </a:moveTo>
                  <a:lnTo>
                    <a:pt x="1474033" y="0"/>
                  </a:lnTo>
                  <a:lnTo>
                    <a:pt x="1474033" y="891915"/>
                  </a:lnTo>
                  <a:lnTo>
                    <a:pt x="1473785" y="891915"/>
                  </a:lnTo>
                  <a:lnTo>
                    <a:pt x="1455862" y="714121"/>
                  </a:lnTo>
                  <a:cubicBezTo>
                    <a:pt x="1372465" y="306574"/>
                    <a:pt x="1011868" y="1"/>
                    <a:pt x="579667" y="1"/>
                  </a:cubicBezTo>
                  <a:lnTo>
                    <a:pt x="0" y="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1C3367"/>
                </a:solidFill>
                <a:effectLst/>
                <a:uLnTx/>
                <a:uFillTx/>
                <a:latin typeface="Montserrat" pitchFamily="2" charset="77"/>
                <a:ea typeface="+mn-ea"/>
                <a:cs typeface="+mn-cs"/>
              </a:endParaRPr>
            </a:p>
          </p:txBody>
        </p:sp>
      </p:grpSp>
      <p:sp>
        <p:nvSpPr>
          <p:cNvPr id="42" name="Text Placeholder 17">
            <a:extLst>
              <a:ext uri="{FF2B5EF4-FFF2-40B4-BE49-F238E27FC236}">
                <a16:creationId xmlns:a16="http://schemas.microsoft.com/office/drawing/2014/main" id="{14014A05-BC41-E743-A632-810D4CC511DE}"/>
              </a:ext>
            </a:extLst>
          </p:cNvPr>
          <p:cNvSpPr txBox="1">
            <a:spLocks noChangeArrowheads="1"/>
          </p:cNvSpPr>
          <p:nvPr/>
        </p:nvSpPr>
        <p:spPr bwMode="auto">
          <a:xfrm>
            <a:off x="1517133" y="951289"/>
            <a:ext cx="3756070"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srgbClr val="FEB813"/>
                </a:solidFill>
                <a:effectLst/>
                <a:uLnTx/>
                <a:uFillTx/>
                <a:latin typeface="Montserrat" pitchFamily="2" charset="77"/>
                <a:ea typeface="+mn-ea"/>
                <a:cs typeface="+mn-cs"/>
              </a:rPr>
              <a:t>Penjualan</a:t>
            </a:r>
            <a:r>
              <a:rPr kumimoji="0" lang="en-US" sz="1600" b="1" i="0" u="none" strike="noStrike" kern="1200" cap="none" spc="0" normalizeH="0" baseline="0" noProof="0" dirty="0">
                <a:ln>
                  <a:noFill/>
                </a:ln>
                <a:solidFill>
                  <a:srgbClr val="FEB813"/>
                </a:solidFill>
                <a:effectLst/>
                <a:uLnTx/>
                <a:uFillTx/>
                <a:latin typeface="Montserrat" pitchFamily="2" charset="77"/>
                <a:ea typeface="+mn-ea"/>
                <a:cs typeface="+mn-cs"/>
              </a:rPr>
              <a:t> </a:t>
            </a:r>
            <a:r>
              <a:rPr kumimoji="0" lang="en-US" sz="1600" b="1" i="0" u="none" strike="noStrike" kern="1200" cap="none" spc="0" normalizeH="0" baseline="0" noProof="0" dirty="0" err="1">
                <a:ln>
                  <a:noFill/>
                </a:ln>
                <a:solidFill>
                  <a:srgbClr val="FEB813"/>
                </a:solidFill>
                <a:effectLst/>
                <a:uLnTx/>
                <a:uFillTx/>
                <a:latin typeface="Montserrat" pitchFamily="2" charset="77"/>
                <a:ea typeface="+mn-ea"/>
                <a:cs typeface="+mn-cs"/>
              </a:rPr>
              <a:t>Tahunan</a:t>
            </a:r>
            <a:endParaRPr kumimoji="0" lang="en-US" sz="1600" b="1" i="0" u="none" strike="noStrike" kern="1200" cap="none" spc="0" normalizeH="0" baseline="0" noProof="0" dirty="0">
              <a:ln>
                <a:noFill/>
              </a:ln>
              <a:solidFill>
                <a:srgbClr val="FEB813"/>
              </a:solidFill>
              <a:effectLst/>
              <a:uLnTx/>
              <a:uFillTx/>
              <a:latin typeface="Montserrat" pitchFamily="2" charset="77"/>
              <a:ea typeface="+mn-ea"/>
              <a:cs typeface="+mn-cs"/>
            </a:endParaRPr>
          </a:p>
        </p:txBody>
      </p:sp>
      <p:sp>
        <p:nvSpPr>
          <p:cNvPr id="44" name="Text Placeholder 17">
            <a:extLst>
              <a:ext uri="{FF2B5EF4-FFF2-40B4-BE49-F238E27FC236}">
                <a16:creationId xmlns:a16="http://schemas.microsoft.com/office/drawing/2014/main" id="{00CA4FB3-B695-B04E-9D0F-47C6E853CD48}"/>
              </a:ext>
            </a:extLst>
          </p:cNvPr>
          <p:cNvSpPr txBox="1">
            <a:spLocks noChangeArrowheads="1"/>
          </p:cNvSpPr>
          <p:nvPr/>
        </p:nvSpPr>
        <p:spPr bwMode="auto">
          <a:xfrm>
            <a:off x="7575682" y="1074476"/>
            <a:ext cx="3756070"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srgbClr val="FEB813"/>
                </a:solidFill>
                <a:effectLst/>
                <a:uLnTx/>
                <a:uFillTx/>
                <a:latin typeface="Montserrat" pitchFamily="2" charset="77"/>
                <a:ea typeface="+mn-ea"/>
                <a:cs typeface="+mn-cs"/>
              </a:rPr>
              <a:t>Kemampuan</a:t>
            </a:r>
            <a:r>
              <a:rPr kumimoji="0" lang="en-US" sz="1600" b="1" i="0" u="none" strike="noStrike" kern="1200" cap="none" spc="0" normalizeH="0" baseline="0" noProof="0" dirty="0">
                <a:ln>
                  <a:noFill/>
                </a:ln>
                <a:solidFill>
                  <a:srgbClr val="FEB813"/>
                </a:solidFill>
                <a:effectLst/>
                <a:uLnTx/>
                <a:uFillTx/>
                <a:latin typeface="Montserrat" pitchFamily="2" charset="77"/>
                <a:ea typeface="+mn-ea"/>
                <a:cs typeface="+mn-cs"/>
              </a:rPr>
              <a:t> </a:t>
            </a:r>
            <a:r>
              <a:rPr kumimoji="0" lang="en-US" sz="1600" b="1" i="0" u="none" strike="noStrike" kern="1200" cap="none" spc="0" normalizeH="0" baseline="0" noProof="0" dirty="0" err="1">
                <a:ln>
                  <a:noFill/>
                </a:ln>
                <a:solidFill>
                  <a:srgbClr val="FEB813"/>
                </a:solidFill>
                <a:effectLst/>
                <a:uLnTx/>
                <a:uFillTx/>
                <a:latin typeface="Montserrat" pitchFamily="2" charset="77"/>
                <a:ea typeface="+mn-ea"/>
                <a:cs typeface="+mn-cs"/>
              </a:rPr>
              <a:t>Keuangan</a:t>
            </a:r>
            <a:endParaRPr kumimoji="0" lang="en-US" sz="1600" b="1" i="0" u="none" strike="noStrike" kern="1200" cap="none" spc="0" normalizeH="0" baseline="0" noProof="0" dirty="0">
              <a:ln>
                <a:noFill/>
              </a:ln>
              <a:solidFill>
                <a:srgbClr val="FEB813"/>
              </a:solidFill>
              <a:effectLst/>
              <a:uLnTx/>
              <a:uFillTx/>
              <a:latin typeface="Montserrat" pitchFamily="2" charset="77"/>
              <a:ea typeface="+mn-ea"/>
              <a:cs typeface="+mn-cs"/>
            </a:endParaRPr>
          </a:p>
        </p:txBody>
      </p:sp>
      <p:sp>
        <p:nvSpPr>
          <p:cNvPr id="45" name="Text Placeholder 17">
            <a:extLst>
              <a:ext uri="{FF2B5EF4-FFF2-40B4-BE49-F238E27FC236}">
                <a16:creationId xmlns:a16="http://schemas.microsoft.com/office/drawing/2014/main" id="{4967303C-879E-484E-9943-AE8648D61FDF}"/>
              </a:ext>
            </a:extLst>
          </p:cNvPr>
          <p:cNvSpPr txBox="1">
            <a:spLocks noChangeArrowheads="1"/>
          </p:cNvSpPr>
          <p:nvPr/>
        </p:nvSpPr>
        <p:spPr bwMode="auto">
          <a:xfrm>
            <a:off x="1638647" y="4399107"/>
            <a:ext cx="3756070"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FEB813"/>
                </a:solidFill>
                <a:effectLst/>
                <a:uLnTx/>
                <a:uFillTx/>
                <a:latin typeface="Montserrat" pitchFamily="2" charset="77"/>
                <a:ea typeface="+mn-ea"/>
                <a:cs typeface="+mn-cs"/>
              </a:rPr>
              <a:t> </a:t>
            </a:r>
            <a:r>
              <a:rPr kumimoji="0" lang="en-US" sz="1600" b="1" i="0" u="none" strike="noStrike" kern="1200" cap="none" spc="0" normalizeH="0" baseline="0" noProof="0" dirty="0" err="1">
                <a:ln>
                  <a:noFill/>
                </a:ln>
                <a:solidFill>
                  <a:srgbClr val="FEB813"/>
                </a:solidFill>
                <a:effectLst/>
                <a:uLnTx/>
                <a:uFillTx/>
                <a:latin typeface="Montserrat" pitchFamily="2" charset="77"/>
                <a:ea typeface="+mn-ea"/>
                <a:cs typeface="+mn-cs"/>
              </a:rPr>
              <a:t>Ketersediaan</a:t>
            </a:r>
            <a:r>
              <a:rPr kumimoji="0" lang="en-US" sz="1600" b="1" i="0" u="none" strike="noStrike" kern="1200" cap="none" spc="0" normalizeH="0" baseline="0" noProof="0" dirty="0">
                <a:ln>
                  <a:noFill/>
                </a:ln>
                <a:solidFill>
                  <a:srgbClr val="FEB813"/>
                </a:solidFill>
                <a:effectLst/>
                <a:uLnTx/>
                <a:uFillTx/>
                <a:latin typeface="Montserrat" pitchFamily="2" charset="77"/>
                <a:ea typeface="+mn-ea"/>
                <a:cs typeface="+mn-cs"/>
              </a:rPr>
              <a:t> Tenaga </a:t>
            </a:r>
            <a:r>
              <a:rPr kumimoji="0" lang="en-US" sz="1600" b="1" i="0" u="none" strike="noStrike" kern="1200" cap="none" spc="0" normalizeH="0" baseline="0" noProof="0" dirty="0" err="1">
                <a:ln>
                  <a:noFill/>
                </a:ln>
                <a:solidFill>
                  <a:srgbClr val="FEB813"/>
                </a:solidFill>
                <a:effectLst/>
                <a:uLnTx/>
                <a:uFillTx/>
                <a:latin typeface="Montserrat" pitchFamily="2" charset="77"/>
                <a:ea typeface="+mn-ea"/>
                <a:cs typeface="+mn-cs"/>
              </a:rPr>
              <a:t>Kerja</a:t>
            </a:r>
            <a:r>
              <a:rPr kumimoji="0" lang="en-US" sz="1600" b="1" i="0" u="none" strike="noStrike" kern="1200" cap="none" spc="0" normalizeH="0" baseline="0" noProof="0" dirty="0">
                <a:ln>
                  <a:noFill/>
                </a:ln>
                <a:solidFill>
                  <a:srgbClr val="FEB813"/>
                </a:solidFill>
                <a:effectLst/>
                <a:uLnTx/>
                <a:uFillTx/>
                <a:latin typeface="Montserrat" pitchFamily="2" charset="77"/>
                <a:ea typeface="+mn-ea"/>
                <a:cs typeface="+mn-cs"/>
              </a:rPr>
              <a:t> </a:t>
            </a:r>
            <a:r>
              <a:rPr kumimoji="0" lang="en-US" sz="1600" b="1" i="0" u="none" strike="noStrike" kern="1200" cap="none" spc="0" normalizeH="0" baseline="0" noProof="0" dirty="0" err="1">
                <a:ln>
                  <a:noFill/>
                </a:ln>
                <a:solidFill>
                  <a:srgbClr val="FEB813"/>
                </a:solidFill>
                <a:effectLst/>
                <a:uLnTx/>
                <a:uFillTx/>
                <a:latin typeface="Montserrat" pitchFamily="2" charset="77"/>
                <a:ea typeface="+mn-ea"/>
                <a:cs typeface="+mn-cs"/>
              </a:rPr>
              <a:t>Konstruksi</a:t>
            </a:r>
            <a:endParaRPr kumimoji="0" lang="en-US" sz="1600" b="1" i="1" u="none" strike="noStrike" kern="1200" cap="none" spc="0" normalizeH="0" baseline="0" noProof="0" dirty="0">
              <a:ln>
                <a:noFill/>
              </a:ln>
              <a:solidFill>
                <a:srgbClr val="FEB813"/>
              </a:solidFill>
              <a:effectLst/>
              <a:uLnTx/>
              <a:uFillTx/>
              <a:latin typeface="Montserrat" pitchFamily="2" charset="77"/>
              <a:ea typeface="+mn-ea"/>
              <a:cs typeface="+mn-cs"/>
            </a:endParaRPr>
          </a:p>
        </p:txBody>
      </p:sp>
      <p:sp>
        <p:nvSpPr>
          <p:cNvPr id="46" name="Text Placeholder 17">
            <a:extLst>
              <a:ext uri="{FF2B5EF4-FFF2-40B4-BE49-F238E27FC236}">
                <a16:creationId xmlns:a16="http://schemas.microsoft.com/office/drawing/2014/main" id="{9D1BED88-F4DF-204E-8F30-5535FAB71367}"/>
              </a:ext>
            </a:extLst>
          </p:cNvPr>
          <p:cNvSpPr txBox="1">
            <a:spLocks noChangeArrowheads="1"/>
          </p:cNvSpPr>
          <p:nvPr/>
        </p:nvSpPr>
        <p:spPr bwMode="auto">
          <a:xfrm>
            <a:off x="7659792" y="4411047"/>
            <a:ext cx="3756070"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srgbClr val="FEB813"/>
                </a:solidFill>
                <a:effectLst/>
                <a:uLnTx/>
                <a:uFillTx/>
                <a:latin typeface="Montserrat" pitchFamily="2" charset="77"/>
                <a:ea typeface="+mn-ea"/>
                <a:cs typeface="+mn-cs"/>
              </a:rPr>
              <a:t>Kemampuan</a:t>
            </a:r>
            <a:r>
              <a:rPr kumimoji="0" lang="en-US" sz="1600" b="1" i="0" u="none" strike="noStrike" kern="1200" cap="none" spc="0" normalizeH="0" baseline="0" noProof="0" dirty="0">
                <a:ln>
                  <a:noFill/>
                </a:ln>
                <a:solidFill>
                  <a:srgbClr val="FEB813"/>
                </a:solidFill>
                <a:effectLst/>
                <a:uLnTx/>
                <a:uFillTx/>
                <a:latin typeface="Montserrat" pitchFamily="2" charset="77"/>
                <a:ea typeface="+mn-ea"/>
                <a:cs typeface="+mn-cs"/>
              </a:rPr>
              <a:t> </a:t>
            </a:r>
            <a:r>
              <a:rPr kumimoji="0" lang="en-US" sz="1600" b="1" i="0" u="none" strike="noStrike" kern="1200" cap="none" spc="0" normalizeH="0" baseline="0" noProof="0" dirty="0" err="1">
                <a:ln>
                  <a:noFill/>
                </a:ln>
                <a:solidFill>
                  <a:srgbClr val="FEB813"/>
                </a:solidFill>
                <a:effectLst/>
                <a:uLnTx/>
                <a:uFillTx/>
                <a:latin typeface="Montserrat" pitchFamily="2" charset="77"/>
                <a:ea typeface="+mn-ea"/>
                <a:cs typeface="+mn-cs"/>
              </a:rPr>
              <a:t>dalam</a:t>
            </a:r>
            <a:r>
              <a:rPr kumimoji="0" lang="en-US" sz="1600" b="1" i="0" u="none" strike="noStrike" kern="1200" cap="none" spc="0" normalizeH="0" baseline="0" noProof="0" dirty="0">
                <a:ln>
                  <a:noFill/>
                </a:ln>
                <a:solidFill>
                  <a:srgbClr val="FEB813"/>
                </a:solidFill>
                <a:effectLst/>
                <a:uLnTx/>
                <a:uFillTx/>
                <a:latin typeface="Montserrat" pitchFamily="2" charset="77"/>
                <a:ea typeface="+mn-ea"/>
                <a:cs typeface="+mn-cs"/>
              </a:rPr>
              <a:t> </a:t>
            </a:r>
            <a:r>
              <a:rPr kumimoji="0" lang="en-US" sz="1600" b="1" i="0" u="none" strike="noStrike" kern="1200" cap="none" spc="0" normalizeH="0" baseline="0" noProof="0" dirty="0" err="1">
                <a:ln>
                  <a:noFill/>
                </a:ln>
                <a:solidFill>
                  <a:srgbClr val="FEB813"/>
                </a:solidFill>
                <a:effectLst/>
                <a:uLnTx/>
                <a:uFillTx/>
                <a:latin typeface="Montserrat" pitchFamily="2" charset="77"/>
                <a:ea typeface="+mn-ea"/>
                <a:cs typeface="+mn-cs"/>
              </a:rPr>
              <a:t>Penyediaan</a:t>
            </a:r>
            <a:r>
              <a:rPr kumimoji="0" lang="en-US" sz="1600" b="1" i="0" u="none" strike="noStrike" kern="1200" cap="none" spc="0" normalizeH="0" baseline="0" noProof="0" dirty="0">
                <a:ln>
                  <a:noFill/>
                </a:ln>
                <a:solidFill>
                  <a:srgbClr val="FEB813"/>
                </a:solidFill>
                <a:effectLst/>
                <a:uLnTx/>
                <a:uFillTx/>
                <a:latin typeface="Montserrat" pitchFamily="2" charset="77"/>
                <a:ea typeface="+mn-ea"/>
                <a:cs typeface="+mn-cs"/>
              </a:rPr>
              <a:t> </a:t>
            </a:r>
            <a:r>
              <a:rPr kumimoji="0" lang="en-US" sz="1600" b="1" i="0" u="none" strike="noStrike" kern="1200" cap="none" spc="0" normalizeH="0" baseline="0" noProof="0" dirty="0" err="1">
                <a:ln>
                  <a:noFill/>
                </a:ln>
                <a:solidFill>
                  <a:srgbClr val="FEB813"/>
                </a:solidFill>
                <a:effectLst/>
                <a:uLnTx/>
                <a:uFillTx/>
                <a:latin typeface="Montserrat" pitchFamily="2" charset="77"/>
                <a:ea typeface="+mn-ea"/>
                <a:cs typeface="+mn-cs"/>
              </a:rPr>
              <a:t>Peralatan</a:t>
            </a:r>
            <a:r>
              <a:rPr kumimoji="0" lang="en-US" sz="1600" b="1" i="0" u="none" strike="noStrike" kern="1200" cap="none" spc="0" normalizeH="0" baseline="0" noProof="0" dirty="0">
                <a:ln>
                  <a:noFill/>
                </a:ln>
                <a:solidFill>
                  <a:srgbClr val="FEB813"/>
                </a:solidFill>
                <a:effectLst/>
                <a:uLnTx/>
                <a:uFillTx/>
                <a:latin typeface="Montserrat" pitchFamily="2" charset="77"/>
                <a:ea typeface="+mn-ea"/>
                <a:cs typeface="+mn-cs"/>
              </a:rPr>
              <a:t> </a:t>
            </a:r>
            <a:r>
              <a:rPr kumimoji="0" lang="en-US" sz="1600" b="1" i="0" u="none" strike="noStrike" kern="1200" cap="none" spc="0" normalizeH="0" baseline="0" noProof="0" dirty="0" err="1">
                <a:ln>
                  <a:noFill/>
                </a:ln>
                <a:solidFill>
                  <a:srgbClr val="FEB813"/>
                </a:solidFill>
                <a:effectLst/>
                <a:uLnTx/>
                <a:uFillTx/>
                <a:latin typeface="Montserrat" pitchFamily="2" charset="77"/>
                <a:ea typeface="+mn-ea"/>
                <a:cs typeface="+mn-cs"/>
              </a:rPr>
              <a:t>Konstruksi</a:t>
            </a:r>
            <a:endParaRPr kumimoji="0" lang="en-US" sz="1600" b="1" i="1" u="none" strike="noStrike" kern="1200" cap="none" spc="0" normalizeH="0" baseline="0" noProof="0" dirty="0">
              <a:ln>
                <a:noFill/>
              </a:ln>
              <a:solidFill>
                <a:srgbClr val="FEB813"/>
              </a:solidFill>
              <a:effectLst/>
              <a:uLnTx/>
              <a:uFillTx/>
              <a:latin typeface="Montserrat" pitchFamily="2" charset="77"/>
              <a:ea typeface="+mn-ea"/>
              <a:cs typeface="+mn-cs"/>
            </a:endParaRPr>
          </a:p>
        </p:txBody>
      </p:sp>
      <p:sp>
        <p:nvSpPr>
          <p:cNvPr id="47" name="TextBox 46">
            <a:extLst>
              <a:ext uri="{FF2B5EF4-FFF2-40B4-BE49-F238E27FC236}">
                <a16:creationId xmlns:a16="http://schemas.microsoft.com/office/drawing/2014/main" id="{DF0D09A1-E007-8C4E-80C3-995FA9DAD54C}"/>
              </a:ext>
            </a:extLst>
          </p:cNvPr>
          <p:cNvSpPr txBox="1"/>
          <p:nvPr/>
        </p:nvSpPr>
        <p:spPr>
          <a:xfrm>
            <a:off x="339759" y="353591"/>
            <a:ext cx="8528336" cy="523220"/>
          </a:xfrm>
          <a:prstGeom prst="rect">
            <a:avLst/>
          </a:prstGeom>
          <a:solidFill>
            <a:srgbClr val="FEB813"/>
          </a:solid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1C3367"/>
                </a:solidFill>
                <a:effectLst/>
                <a:uLnTx/>
                <a:uFillTx/>
                <a:latin typeface="Montserrat" pitchFamily="2" charset="77"/>
                <a:ea typeface="+mn-ea"/>
                <a:cs typeface="+mn-cs"/>
              </a:rPr>
              <a:t>berdasarkan</a:t>
            </a:r>
            <a:r>
              <a:rPr kumimoji="0" lang="en-US" sz="1400" b="1" i="0" u="none" strike="noStrike" kern="1200" cap="none" spc="0" normalizeH="0" baseline="0" noProof="0" dirty="0">
                <a:ln>
                  <a:noFill/>
                </a:ln>
                <a:solidFill>
                  <a:srgbClr val="1C3367"/>
                </a:solidFill>
                <a:effectLst/>
                <a:uLnTx/>
                <a:uFillTx/>
                <a:latin typeface="Montserrat" pitchFamily="2" charset="77"/>
                <a:ea typeface="+mn-ea"/>
                <a:cs typeface="+mn-cs"/>
              </a:rPr>
              <a:t> </a:t>
            </a:r>
            <a:r>
              <a:rPr kumimoji="0" lang="en-US" sz="1400" b="1"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MEKANISME SERTIFIKASI </a:t>
            </a:r>
            <a:r>
              <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yang </a:t>
            </a:r>
            <a:r>
              <a:rPr kumimoji="0" lang="en-US" sz="1400" b="0" i="0" u="none" strike="noStrike" kern="1200" cap="none" spc="0" normalizeH="0" baseline="0" noProof="0" dirty="0" err="1">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diatur</a:t>
            </a:r>
            <a:r>
              <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 </a:t>
            </a:r>
            <a:r>
              <a:rPr kumimoji="0" lang="en-US" sz="1400" b="0" i="0" u="none" strike="noStrike" kern="1200" cap="none" spc="0" normalizeH="0" baseline="0" noProof="0" dirty="0" err="1">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sesuai</a:t>
            </a:r>
            <a:r>
              <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 </a:t>
            </a:r>
            <a:r>
              <a:rPr kumimoji="0" lang="en-US" sz="1400" b="0" i="0" u="none" strike="noStrike" kern="1200" cap="none" spc="0" normalizeH="0" baseline="0" noProof="0" dirty="0" err="1">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ketentuan</a:t>
            </a:r>
            <a:r>
              <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 </a:t>
            </a:r>
            <a:r>
              <a:rPr kumimoji="0" lang="en-US" sz="1400" b="0" i="0" u="none" strike="noStrike" kern="1200" cap="none" spc="0" normalizeH="0" baseline="0" noProof="0" dirty="0" err="1">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peraturan</a:t>
            </a:r>
            <a:r>
              <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 </a:t>
            </a:r>
            <a:r>
              <a:rPr kumimoji="0" lang="en-US" sz="1400" b="0" i="0" u="none" strike="noStrike" kern="1200" cap="none" spc="0" normalizeH="0" baseline="0" noProof="0" dirty="0" err="1">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perundang-undangan</a:t>
            </a:r>
            <a:r>
              <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 yang </a:t>
            </a:r>
            <a:r>
              <a:rPr kumimoji="0" lang="en-US" sz="1400" b="0" i="0" u="none" strike="noStrike" kern="1200" cap="none" spc="0" normalizeH="0" baseline="0" noProof="0" dirty="0" err="1">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terkait</a:t>
            </a:r>
            <a:r>
              <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 </a:t>
            </a:r>
            <a:r>
              <a:rPr kumimoji="0" lang="en-US" sz="1400" b="0" i="0" u="none" strike="noStrike" kern="1200" cap="none" spc="0" normalizeH="0" baseline="0" noProof="0" dirty="0" err="1">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Perizinan</a:t>
            </a:r>
            <a:r>
              <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 </a:t>
            </a:r>
            <a:r>
              <a:rPr kumimoji="0" lang="en-US" sz="1400" b="0" i="0" u="none" strike="noStrike" kern="1200" cap="none" spc="0" normalizeH="0" baseline="0" noProof="0" dirty="0" err="1">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Berusaha</a:t>
            </a:r>
            <a:r>
              <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 </a:t>
            </a:r>
            <a:r>
              <a:rPr kumimoji="0" lang="en-US" sz="1400" b="0" i="0" u="none" strike="noStrike" kern="1200" cap="none" spc="0" normalizeH="0" baseline="0" noProof="0" dirty="0" err="1">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Berbasis</a:t>
            </a:r>
            <a:r>
              <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 </a:t>
            </a:r>
            <a:r>
              <a:rPr kumimoji="0" lang="en-US" sz="1400" b="0" i="0" u="none" strike="noStrike" kern="1200" cap="none" spc="0" normalizeH="0" baseline="0" noProof="0" dirty="0" err="1">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Risiko</a:t>
            </a:r>
            <a:r>
              <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 </a:t>
            </a:r>
            <a:r>
              <a:rPr kumimoji="0" lang="en-US" sz="1400" b="0" i="0" u="none" strike="noStrike" kern="1200" cap="none" spc="0" normalizeH="0" baseline="0" noProof="0" dirty="0" err="1">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dengan</a:t>
            </a:r>
            <a:r>
              <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 </a:t>
            </a:r>
            <a:r>
              <a:rPr kumimoji="0" lang="en-US" sz="1400" b="0" i="0" u="none" strike="noStrike" kern="1200" cap="none" spc="0" normalizeH="0" baseline="0" noProof="0" dirty="0" err="1">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melakukan</a:t>
            </a:r>
            <a:r>
              <a:rPr kumimoji="0" lang="en-US" sz="1400" b="0"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 </a:t>
            </a:r>
            <a:r>
              <a:rPr kumimoji="0" lang="en-US" sz="1400" b="1" i="0" u="none" strike="noStrike" kern="1200" cap="none" spc="0" normalizeH="0" baseline="0" noProof="0" dirty="0" err="1">
                <a:ln>
                  <a:noFill/>
                </a:ln>
                <a:solidFill>
                  <a:srgbClr val="1C3367"/>
                </a:solidFill>
                <a:effectLst/>
                <a:uLnTx/>
                <a:uFillTx/>
                <a:latin typeface="Montserrat" pitchFamily="2" charset="77"/>
                <a:ea typeface="+mn-ea"/>
                <a:cs typeface="+mn-cs"/>
              </a:rPr>
              <a:t>penilaian</a:t>
            </a:r>
            <a:r>
              <a:rPr kumimoji="0" lang="en-US" sz="1400" b="1" i="0" u="none" strike="noStrike" kern="1200" cap="none" spc="0" normalizeH="0" baseline="0" noProof="0" dirty="0">
                <a:ln>
                  <a:noFill/>
                </a:ln>
                <a:solidFill>
                  <a:srgbClr val="1C3367"/>
                </a:solidFill>
                <a:effectLst/>
                <a:uLnTx/>
                <a:uFillTx/>
                <a:latin typeface="Montserrat" pitchFamily="2" charset="77"/>
                <a:ea typeface="+mn-ea"/>
                <a:cs typeface="+mn-cs"/>
              </a:rPr>
              <a:t> </a:t>
            </a:r>
            <a:r>
              <a:rPr kumimoji="0" lang="en-US" sz="1400" b="1" i="0" u="none" strike="noStrike" kern="1200" cap="none" spc="0" normalizeH="0" baseline="0" noProof="0" dirty="0" err="1">
                <a:ln>
                  <a:noFill/>
                </a:ln>
                <a:solidFill>
                  <a:srgbClr val="1C3367"/>
                </a:solidFill>
                <a:effectLst/>
                <a:uLnTx/>
                <a:uFillTx/>
                <a:latin typeface="Montserrat" pitchFamily="2" charset="77"/>
                <a:ea typeface="+mn-ea"/>
                <a:cs typeface="+mn-cs"/>
              </a:rPr>
              <a:t>kelayakan</a:t>
            </a:r>
            <a:r>
              <a:rPr kumimoji="0" lang="en-US" sz="1400" b="1" i="0" u="none" strike="noStrike" kern="1200" cap="none" spc="0" normalizeH="0" baseline="0" noProof="0" dirty="0">
                <a:ln>
                  <a:noFill/>
                </a:ln>
                <a:solidFill>
                  <a:srgbClr val="1C3367"/>
                </a:solidFill>
                <a:effectLst/>
                <a:uLnTx/>
                <a:uFillTx/>
                <a:latin typeface="Montserrat" pitchFamily="2" charset="77"/>
                <a:ea typeface="+mn-ea"/>
                <a:cs typeface="+mn-cs"/>
              </a:rPr>
              <a:t> </a:t>
            </a:r>
            <a:r>
              <a:rPr kumimoji="0" lang="en-US" sz="1400" b="1" i="0" u="none" strike="noStrike" kern="1200" cap="none" spc="0" normalizeH="0" baseline="0" noProof="0" dirty="0" err="1">
                <a:ln>
                  <a:noFill/>
                </a:ln>
                <a:solidFill>
                  <a:srgbClr val="1C3367"/>
                </a:solidFill>
                <a:effectLst/>
                <a:uLnTx/>
                <a:uFillTx/>
                <a:latin typeface="Montserrat" pitchFamily="2" charset="77"/>
                <a:ea typeface="+mn-ea"/>
                <a:cs typeface="+mn-cs"/>
              </a:rPr>
              <a:t>terhadap</a:t>
            </a:r>
            <a:endParaRPr kumimoji="0" lang="en-US" sz="1400" b="1" i="1" u="none" strike="noStrike" kern="1200" cap="none" spc="0" normalizeH="0" baseline="0" noProof="0" dirty="0">
              <a:ln>
                <a:noFill/>
              </a:ln>
              <a:solidFill>
                <a:srgbClr val="1C3367"/>
              </a:solidFill>
              <a:effectLst/>
              <a:uLnTx/>
              <a:uFillTx/>
              <a:latin typeface="Montserrat" pitchFamily="2" charset="77"/>
              <a:ea typeface="+mn-ea"/>
              <a:cs typeface="+mn-cs"/>
            </a:endParaRPr>
          </a:p>
        </p:txBody>
      </p:sp>
      <p:sp>
        <p:nvSpPr>
          <p:cNvPr id="30" name="TextBox 29">
            <a:extLst>
              <a:ext uri="{FF2B5EF4-FFF2-40B4-BE49-F238E27FC236}">
                <a16:creationId xmlns:a16="http://schemas.microsoft.com/office/drawing/2014/main" id="{70B3D7DF-A578-C341-BEE1-BED8B98CFFBC}"/>
              </a:ext>
            </a:extLst>
          </p:cNvPr>
          <p:cNvSpPr txBox="1"/>
          <p:nvPr/>
        </p:nvSpPr>
        <p:spPr>
          <a:xfrm>
            <a:off x="9113072" y="200609"/>
            <a:ext cx="2599910" cy="523220"/>
          </a:xfrm>
          <a:prstGeom prst="rect">
            <a:avLst/>
          </a:prstGeom>
          <a:solidFill>
            <a:srgbClr val="FFB813"/>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dirty="0">
                <a:ln>
                  <a:noFill/>
                </a:ln>
                <a:solidFill>
                  <a:srgbClr val="002060"/>
                </a:solidFill>
                <a:effectLst/>
                <a:uLnTx/>
                <a:uFillTx/>
                <a:latin typeface="Montserrat" pitchFamily="2" charset="77"/>
                <a:ea typeface="+mn-ea"/>
                <a:cs typeface="Poppins" panose="00000500000000000000" pitchFamily="2" charset="0"/>
              </a:rPr>
              <a:t>PP NOMOR 5 TAHUN 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dirty="0">
                <a:ln>
                  <a:noFill/>
                </a:ln>
                <a:solidFill>
                  <a:srgbClr val="002060"/>
                </a:solidFill>
                <a:effectLst/>
                <a:uLnTx/>
                <a:uFillTx/>
                <a:latin typeface="Montserrat" pitchFamily="2" charset="77"/>
                <a:ea typeface="+mn-ea"/>
                <a:cs typeface="Poppins" panose="00000500000000000000" pitchFamily="2" charset="0"/>
              </a:rPr>
              <a:t>PASAL 85 AYAT (1)</a:t>
            </a:r>
          </a:p>
        </p:txBody>
      </p:sp>
    </p:spTree>
    <p:extLst>
      <p:ext uri="{BB962C8B-B14F-4D97-AF65-F5344CB8AC3E}">
        <p14:creationId xmlns:p14="http://schemas.microsoft.com/office/powerpoint/2010/main" val="36024846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AFF4FF4-3295-8BF0-4263-9E893E79BF6B}"/>
              </a:ext>
            </a:extLst>
          </p:cNvPr>
          <p:cNvSpPr/>
          <p:nvPr/>
        </p:nvSpPr>
        <p:spPr>
          <a:xfrm>
            <a:off x="-1" y="0"/>
            <a:ext cx="12192001" cy="855228"/>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7313" marR="0" lvl="0" algn="just" defTabSz="914492" rtl="0" eaLnBrk="1" fontAlgn="auto" latinLnBrk="0" hangingPunct="1">
              <a:lnSpc>
                <a:spcPct val="100000"/>
              </a:lnSpc>
              <a:spcBef>
                <a:spcPts val="0"/>
              </a:spcBef>
              <a:spcAft>
                <a:spcPts val="0"/>
              </a:spcAft>
              <a:buClrTx/>
              <a:buSzTx/>
              <a:buFontTx/>
              <a:buNone/>
              <a:tabLst/>
              <a:defRPr/>
            </a:pPr>
            <a:r>
              <a:rPr kumimoji="0" lang="it-IT" sz="2800" b="1" i="0" u="none" strike="noStrike" kern="1200" cap="none" spc="0" normalizeH="0" baseline="0" noProof="0" dirty="0">
                <a:ln>
                  <a:noFill/>
                </a:ln>
                <a:solidFill>
                  <a:prstClr val="white"/>
                </a:solidFill>
                <a:effectLst/>
                <a:uLnTx/>
                <a:uFillTx/>
                <a:latin typeface="Anantason"/>
                <a:ea typeface="+mn-ea"/>
                <a:cs typeface="+mn-cs"/>
              </a:rPr>
              <a:t>Konsep Interoperabilitas Data Pencatatan SDPK untuk </a:t>
            </a:r>
          </a:p>
          <a:p>
            <a:pPr marL="87313" marR="0" lvl="0" algn="just" defTabSz="914492" rtl="0" eaLnBrk="1" fontAlgn="auto" latinLnBrk="0" hangingPunct="1">
              <a:lnSpc>
                <a:spcPct val="100000"/>
              </a:lnSpc>
              <a:spcBef>
                <a:spcPts val="0"/>
              </a:spcBef>
              <a:spcAft>
                <a:spcPts val="0"/>
              </a:spcAft>
              <a:buClrTx/>
              <a:buSzTx/>
              <a:buFontTx/>
              <a:buNone/>
              <a:tabLst/>
              <a:defRPr/>
            </a:pPr>
            <a:r>
              <a:rPr kumimoji="0" lang="it-IT" sz="2800" b="1" i="0" u="none" strike="noStrike" kern="1200" cap="none" spc="0" normalizeH="0" baseline="0" noProof="0" dirty="0">
                <a:ln>
                  <a:noFill/>
                </a:ln>
                <a:solidFill>
                  <a:prstClr val="white"/>
                </a:solidFill>
                <a:effectLst/>
                <a:uLnTx/>
                <a:uFillTx/>
                <a:latin typeface="Anantason"/>
                <a:ea typeface="+mn-ea"/>
                <a:cs typeface="+mn-cs"/>
              </a:rPr>
              <a:t>Mendukung SBU Jasa Konstruksi dengan Status Peralatan Sewa (1/2)</a:t>
            </a:r>
          </a:p>
        </p:txBody>
      </p:sp>
      <p:sp>
        <p:nvSpPr>
          <p:cNvPr id="14" name="object 19">
            <a:extLst>
              <a:ext uri="{FF2B5EF4-FFF2-40B4-BE49-F238E27FC236}">
                <a16:creationId xmlns:a16="http://schemas.microsoft.com/office/drawing/2014/main" id="{62BCE603-ABEC-6C5E-E5ED-3BA761536345}"/>
              </a:ext>
            </a:extLst>
          </p:cNvPr>
          <p:cNvSpPr/>
          <p:nvPr/>
        </p:nvSpPr>
        <p:spPr>
          <a:xfrm>
            <a:off x="9757457" y="0"/>
            <a:ext cx="2434543" cy="1099595"/>
          </a:xfrm>
          <a:prstGeom prst="rect">
            <a:avLst/>
          </a:prstGeom>
          <a:blipFill>
            <a:blip r:embed="rId3" cstate="print"/>
            <a:stretch>
              <a:fillRect/>
            </a:stretch>
          </a:blipFill>
        </p:spPr>
        <p:txBody>
          <a:bodyPr wrap="square" lIns="0" tIns="0" rIns="0" bIns="0" rtlCol="0"/>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Franklin Gothic Book"/>
              <a:ea typeface="+mn-ea"/>
              <a:cs typeface="+mn-cs"/>
            </a:endParaRPr>
          </a:p>
        </p:txBody>
      </p:sp>
      <p:sp>
        <p:nvSpPr>
          <p:cNvPr id="2" name="Google Shape;116;p2">
            <a:extLst>
              <a:ext uri="{FF2B5EF4-FFF2-40B4-BE49-F238E27FC236}">
                <a16:creationId xmlns:a16="http://schemas.microsoft.com/office/drawing/2014/main" id="{00D59603-6B33-F78F-096C-C9F64EFA7BEE}"/>
              </a:ext>
            </a:extLst>
          </p:cNvPr>
          <p:cNvSpPr/>
          <p:nvPr/>
        </p:nvSpPr>
        <p:spPr>
          <a:xfrm>
            <a:off x="19681" y="6611280"/>
            <a:ext cx="12108069" cy="197545"/>
          </a:xfrm>
          <a:prstGeom prst="rect">
            <a:avLst/>
          </a:prstGeom>
          <a:solidFill>
            <a:srgbClr val="002060"/>
          </a:solidFill>
          <a:ln>
            <a:noFill/>
          </a:ln>
        </p:spPr>
        <p:txBody>
          <a:bodyPr spcFirstLastPara="1" wrap="square" lIns="60950" tIns="30467" rIns="60950" bIns="30467" anchor="ctr" anchorCtr="0">
            <a:noAutofit/>
          </a:bodyPr>
          <a:lstStyle/>
          <a:p>
            <a:pPr marL="0" marR="0" lvl="0" indent="0" algn="ctr" defTabSz="609660" rtl="0" eaLnBrk="1" fontAlgn="auto" latinLnBrk="0" hangingPunct="1">
              <a:lnSpc>
                <a:spcPct val="100000"/>
              </a:lnSpc>
              <a:spcBef>
                <a:spcPts val="0"/>
              </a:spcBef>
              <a:spcAft>
                <a:spcPts val="0"/>
              </a:spcAft>
              <a:buClrTx/>
              <a:buSzPts val="1800"/>
              <a:buFontTx/>
              <a:buNone/>
              <a:tabLst/>
              <a:defRPr/>
            </a:pPr>
            <a:r>
              <a:rPr kumimoji="0" lang="en-US" sz="1201" b="0" i="0" u="none" strike="noStrike" kern="1200" cap="none" spc="0" normalizeH="0" baseline="0" noProof="0">
                <a:ln>
                  <a:noFill/>
                </a:ln>
                <a:solidFill>
                  <a:prstClr val="white"/>
                </a:solidFill>
                <a:effectLst/>
                <a:uLnTx/>
                <a:uFillTx/>
                <a:latin typeface="Calibri"/>
                <a:ea typeface="Calibri"/>
                <a:cs typeface="Calibri"/>
                <a:sym typeface="Calibri"/>
              </a:rPr>
              <a:t>  </a:t>
            </a:r>
            <a:endParaRPr kumimoji="0" sz="934" b="0" i="0" u="none" strike="noStrike" kern="1200" cap="none" spc="0" normalizeH="0" baseline="0" noProof="0">
              <a:ln>
                <a:noFill/>
              </a:ln>
              <a:solidFill>
                <a:prstClr val="black"/>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4717DD07-1ED1-D6B2-8732-170F7278097D}"/>
              </a:ext>
            </a:extLst>
          </p:cNvPr>
          <p:cNvPicPr>
            <a:picLocks noChangeAspect="1"/>
          </p:cNvPicPr>
          <p:nvPr/>
        </p:nvPicPr>
        <p:blipFill>
          <a:blip r:embed="rId4"/>
          <a:stretch>
            <a:fillRect/>
          </a:stretch>
        </p:blipFill>
        <p:spPr>
          <a:xfrm>
            <a:off x="201262" y="1034666"/>
            <a:ext cx="6805417" cy="2698587"/>
          </a:xfrm>
          <a:prstGeom prst="rect">
            <a:avLst/>
          </a:prstGeom>
          <a:ln>
            <a:solidFill>
              <a:schemeClr val="tx1"/>
            </a:solidFill>
          </a:ln>
        </p:spPr>
      </p:pic>
      <p:sp>
        <p:nvSpPr>
          <p:cNvPr id="7" name="Rectangle 6">
            <a:extLst>
              <a:ext uri="{FF2B5EF4-FFF2-40B4-BE49-F238E27FC236}">
                <a16:creationId xmlns:a16="http://schemas.microsoft.com/office/drawing/2014/main" id="{3A1D7ACA-541F-BDBC-7940-D29F7F9729ED}"/>
              </a:ext>
            </a:extLst>
          </p:cNvPr>
          <p:cNvSpPr/>
          <p:nvPr/>
        </p:nvSpPr>
        <p:spPr>
          <a:xfrm>
            <a:off x="7208196" y="1034666"/>
            <a:ext cx="4782542" cy="2622934"/>
          </a:xfrm>
          <a:prstGeom prst="rect">
            <a:avLst/>
          </a:prstGeom>
          <a:solidFill>
            <a:srgbClr val="FFC000"/>
          </a:solidFill>
          <a:ln>
            <a:noFill/>
          </a:ln>
        </p:spPr>
        <p:style>
          <a:lnRef idx="2">
            <a:schemeClr val="accent1"/>
          </a:lnRef>
          <a:fillRef idx="1">
            <a:schemeClr val="lt1"/>
          </a:fillRef>
          <a:effectRef idx="0">
            <a:schemeClr val="accent1"/>
          </a:effectRef>
          <a:fontRef idx="minor">
            <a:schemeClr val="dk1"/>
          </a:fontRef>
        </p:style>
        <p:txBody>
          <a:bodyPr rtlCol="0" anchor="t"/>
          <a:lstStyle/>
          <a:p>
            <a:pPr algn="just"/>
            <a:r>
              <a:rPr lang="en-US" sz="1600" dirty="0">
                <a:latin typeface="Arial" panose="020B0604020202020204" pitchFamily="34" charset="0"/>
                <a:cs typeface="Arial" panose="020B0604020202020204" pitchFamily="34" charset="0"/>
              </a:rPr>
              <a:t>Tahap-1:</a:t>
            </a:r>
          </a:p>
          <a:p>
            <a:pPr algn="just"/>
            <a:r>
              <a:rPr lang="en-US" sz="1400" dirty="0">
                <a:latin typeface="Arial" panose="020B0604020202020204" pitchFamily="34" charset="0"/>
                <a:cs typeface="Arial" panose="020B0604020202020204" pitchFamily="34" charset="0"/>
              </a:rPr>
              <a:t>BUJK </a:t>
            </a:r>
            <a:r>
              <a:rPr lang="en-US" sz="1400" dirty="0" err="1">
                <a:latin typeface="Arial" panose="020B0604020202020204" pitchFamily="34" charset="0"/>
                <a:cs typeface="Arial" panose="020B0604020202020204" pitchFamily="34" charset="0"/>
              </a:rPr>
              <a:t>melakuka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perjanjia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sewa</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dalam</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jangka</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waktu</a:t>
            </a:r>
            <a:r>
              <a:rPr lang="en-US" sz="1400" dirty="0">
                <a:latin typeface="Arial" panose="020B0604020202020204" pitchFamily="34" charset="0"/>
                <a:cs typeface="Arial" panose="020B0604020202020204" pitchFamily="34" charset="0"/>
              </a:rPr>
              <a:t> minimal 1(</a:t>
            </a:r>
            <a:r>
              <a:rPr lang="en-US" sz="1400" dirty="0" err="1">
                <a:latin typeface="Arial" panose="020B0604020202020204" pitchFamily="34" charset="0"/>
                <a:cs typeface="Arial" panose="020B0604020202020204" pitchFamily="34" charset="0"/>
              </a:rPr>
              <a:t>satu</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ahu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dengan</a:t>
            </a:r>
            <a:r>
              <a:rPr lang="en-US" sz="1400" dirty="0">
                <a:latin typeface="Arial" panose="020B0604020202020204" pitchFamily="34" charset="0"/>
                <a:cs typeface="Arial" panose="020B0604020202020204" pitchFamily="34" charset="0"/>
              </a:rPr>
              <a:t> Perusahaan </a:t>
            </a:r>
            <a:r>
              <a:rPr lang="en-US" sz="1400" dirty="0" err="1">
                <a:latin typeface="Arial" panose="020B0604020202020204" pitchFamily="34" charset="0"/>
                <a:cs typeface="Arial" panose="020B0604020202020204" pitchFamily="34" charset="0"/>
              </a:rPr>
              <a:t>pemilik</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peralatan</a:t>
            </a:r>
            <a:r>
              <a:rPr lang="en-US" sz="1400" dirty="0">
                <a:latin typeface="Arial" panose="020B0604020202020204" pitchFamily="34" charset="0"/>
                <a:cs typeface="Arial" panose="020B0604020202020204" pitchFamily="34" charset="0"/>
              </a:rPr>
              <a:t>/</a:t>
            </a:r>
            <a:r>
              <a:rPr lang="en-US" sz="1400" dirty="0" err="1">
                <a:latin typeface="Arial" panose="020B0604020202020204" pitchFamily="34" charset="0"/>
                <a:cs typeface="Arial" panose="020B0604020202020204" pitchFamily="34" charset="0"/>
              </a:rPr>
              <a:t>perusahaan</a:t>
            </a:r>
            <a:r>
              <a:rPr lang="en-US" sz="1400" dirty="0">
                <a:latin typeface="Arial" panose="020B0604020202020204" pitchFamily="34" charset="0"/>
                <a:cs typeface="Arial" panose="020B0604020202020204" pitchFamily="34" charset="0"/>
              </a:rPr>
              <a:t> rental yang </a:t>
            </a:r>
            <a:r>
              <a:rPr lang="en-US" sz="1400" dirty="0" err="1">
                <a:latin typeface="Arial" panose="020B0604020202020204" pitchFamily="34" charset="0"/>
                <a:cs typeface="Arial" panose="020B0604020202020204" pitchFamily="34" charset="0"/>
              </a:rPr>
              <a:t>dibuktika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denga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Dokume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Perjanjian</a:t>
            </a:r>
            <a:r>
              <a:rPr lang="en-US" sz="1400" dirty="0">
                <a:latin typeface="Arial" panose="020B0604020202020204" pitchFamily="34" charset="0"/>
                <a:cs typeface="Arial" panose="020B0604020202020204" pitchFamily="34" charset="0"/>
              </a:rPr>
              <a:t> Sewa/Rental. BUJK </a:t>
            </a:r>
            <a:r>
              <a:rPr lang="en-US" sz="1400" dirty="0" err="1">
                <a:latin typeface="Arial" panose="020B0604020202020204" pitchFamily="34" charset="0"/>
                <a:cs typeface="Arial" panose="020B0604020202020204" pitchFamily="34" charset="0"/>
              </a:rPr>
              <a:t>harus</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memastika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ke</a:t>
            </a:r>
            <a:r>
              <a:rPr lang="en-US" sz="1400" dirty="0">
                <a:latin typeface="Arial" panose="020B0604020202020204" pitchFamily="34" charset="0"/>
                <a:cs typeface="Arial" panose="020B0604020202020204" pitchFamily="34" charset="0"/>
              </a:rPr>
              <a:t> Perusahaan </a:t>
            </a:r>
            <a:r>
              <a:rPr lang="en-US" sz="1400" dirty="0" err="1">
                <a:latin typeface="Arial" panose="020B0604020202020204" pitchFamily="34" charset="0"/>
                <a:cs typeface="Arial" panose="020B0604020202020204" pitchFamily="34" charset="0"/>
              </a:rPr>
              <a:t>pemilik</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peralatan</a:t>
            </a:r>
            <a:r>
              <a:rPr lang="en-US" sz="1400" dirty="0">
                <a:latin typeface="Arial" panose="020B0604020202020204" pitchFamily="34" charset="0"/>
                <a:cs typeface="Arial" panose="020B0604020202020204" pitchFamily="34" charset="0"/>
              </a:rPr>
              <a:t>/ rental </a:t>
            </a:r>
            <a:r>
              <a:rPr lang="en-US" sz="1400" dirty="0" err="1">
                <a:latin typeface="Arial" panose="020B0604020202020204" pitchFamily="34" charset="0"/>
                <a:cs typeface="Arial" panose="020B0604020202020204" pitchFamily="34" charset="0"/>
              </a:rPr>
              <a:t>bahwa</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peralatan</a:t>
            </a:r>
            <a:r>
              <a:rPr lang="en-US" sz="1400" dirty="0">
                <a:latin typeface="Arial" panose="020B0604020202020204" pitchFamily="34" charset="0"/>
                <a:cs typeface="Arial" panose="020B0604020202020204" pitchFamily="34" charset="0"/>
              </a:rPr>
              <a:t> yang </a:t>
            </a:r>
            <a:r>
              <a:rPr lang="en-US" sz="1400" dirty="0" err="1">
                <a:latin typeface="Arial" panose="020B0604020202020204" pitchFamily="34" charset="0"/>
                <a:cs typeface="Arial" panose="020B0604020202020204" pitchFamily="34" charset="0"/>
              </a:rPr>
              <a:t>disewa</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elah</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dilakuka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Pencatata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Sumber</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Daya</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Peralata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Konstruksi</a:t>
            </a:r>
            <a:r>
              <a:rPr lang="en-US" sz="1400" dirty="0">
                <a:latin typeface="Arial" panose="020B0604020202020204" pitchFamily="34" charset="0"/>
                <a:cs typeface="Arial" panose="020B0604020202020204" pitchFamily="34" charset="0"/>
              </a:rPr>
              <a:t>/ SDPK di SIMPK. </a:t>
            </a:r>
            <a:r>
              <a:rPr lang="en-US" sz="1400" dirty="0" err="1">
                <a:latin typeface="Arial" panose="020B0604020202020204" pitchFamily="34" charset="0"/>
                <a:cs typeface="Arial" panose="020B0604020202020204" pitchFamily="34" charset="0"/>
              </a:rPr>
              <a:t>Selanjutnya</a:t>
            </a:r>
            <a:r>
              <a:rPr lang="en-US" sz="1400" dirty="0">
                <a:latin typeface="Arial" panose="020B0604020202020204" pitchFamily="34" charset="0"/>
                <a:cs typeface="Arial" panose="020B0604020202020204" pitchFamily="34" charset="0"/>
              </a:rPr>
              <a:t> BUJK </a:t>
            </a:r>
            <a:r>
              <a:rPr lang="en-US" sz="1400" dirty="0" err="1">
                <a:latin typeface="Arial" panose="020B0604020202020204" pitchFamily="34" charset="0"/>
                <a:cs typeface="Arial" panose="020B0604020202020204" pitchFamily="34" charset="0"/>
              </a:rPr>
              <a:t>melakukan</a:t>
            </a:r>
            <a:r>
              <a:rPr lang="en-US" sz="1400" dirty="0">
                <a:latin typeface="Arial" panose="020B0604020202020204" pitchFamily="34" charset="0"/>
                <a:cs typeface="Arial" panose="020B0604020202020204" pitchFamily="34" charset="0"/>
              </a:rPr>
              <a:t> input data </a:t>
            </a:r>
            <a:r>
              <a:rPr lang="en-US" sz="1400" dirty="0" err="1">
                <a:latin typeface="Arial" panose="020B0604020202020204" pitchFamily="34" charset="0"/>
                <a:cs typeface="Arial" panose="020B0604020202020204" pitchFamily="34" charset="0"/>
              </a:rPr>
              <a:t>permohonan</a:t>
            </a:r>
            <a:r>
              <a:rPr lang="en-US" sz="1400" dirty="0">
                <a:latin typeface="Arial" panose="020B0604020202020204" pitchFamily="34" charset="0"/>
                <a:cs typeface="Arial" panose="020B0604020202020204" pitchFamily="34" charset="0"/>
              </a:rPr>
              <a:t> pada SIKI </a:t>
            </a:r>
            <a:r>
              <a:rPr lang="en-US" sz="1400" dirty="0" err="1">
                <a:latin typeface="Arial" panose="020B0604020202020204" pitchFamily="34" charset="0"/>
                <a:cs typeface="Arial" panose="020B0604020202020204" pitchFamily="34" charset="0"/>
              </a:rPr>
              <a:t>denga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memilih</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peralata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sewa</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disertai</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unggahan</a:t>
            </a:r>
            <a:r>
              <a:rPr lang="en-US" sz="1400" dirty="0">
                <a:latin typeface="Arial" panose="020B0604020202020204" pitchFamily="34" charset="0"/>
                <a:cs typeface="Arial" panose="020B0604020202020204" pitchFamily="34" charset="0"/>
              </a:rPr>
              <a:t>/upload </a:t>
            </a:r>
            <a:r>
              <a:rPr lang="en-US" sz="1400" dirty="0" err="1">
                <a:latin typeface="Arial" panose="020B0604020202020204" pitchFamily="34" charset="0"/>
                <a:cs typeface="Arial" panose="020B0604020202020204" pitchFamily="34" charset="0"/>
              </a:rPr>
              <a:t>Dokume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Perjanjian</a:t>
            </a:r>
            <a:r>
              <a:rPr lang="en-US" sz="1400" dirty="0">
                <a:latin typeface="Arial" panose="020B0604020202020204" pitchFamily="34" charset="0"/>
                <a:cs typeface="Arial" panose="020B0604020202020204" pitchFamily="34" charset="0"/>
              </a:rPr>
              <a:t> Sewa/Rental.</a:t>
            </a:r>
          </a:p>
          <a:p>
            <a:pPr algn="ctr"/>
            <a:endParaRPr lang="en-ID" dirty="0"/>
          </a:p>
        </p:txBody>
      </p:sp>
      <p:sp>
        <p:nvSpPr>
          <p:cNvPr id="9" name="Rectangle 8">
            <a:extLst>
              <a:ext uri="{FF2B5EF4-FFF2-40B4-BE49-F238E27FC236}">
                <a16:creationId xmlns:a16="http://schemas.microsoft.com/office/drawing/2014/main" id="{DCDA2854-B965-109F-E639-393AC10CBEC5}"/>
              </a:ext>
            </a:extLst>
          </p:cNvPr>
          <p:cNvSpPr/>
          <p:nvPr/>
        </p:nvSpPr>
        <p:spPr>
          <a:xfrm>
            <a:off x="201262" y="3860802"/>
            <a:ext cx="11789476" cy="1100304"/>
          </a:xfrm>
          <a:prstGeom prst="rect">
            <a:avLst/>
          </a:prstGeom>
          <a:solidFill>
            <a:srgbClr val="FFC000"/>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just"/>
            <a:r>
              <a:rPr lang="en-US" sz="1600" dirty="0">
                <a:latin typeface="Arial" panose="020B0604020202020204" pitchFamily="34" charset="0"/>
                <a:cs typeface="Arial" panose="020B0604020202020204" pitchFamily="34" charset="0"/>
              </a:rPr>
              <a:t>Tahap-2:</a:t>
            </a:r>
          </a:p>
          <a:p>
            <a:pPr algn="just"/>
            <a:r>
              <a:rPr lang="en-US" sz="1400" dirty="0">
                <a:latin typeface="Arial" panose="020B0604020202020204" pitchFamily="34" charset="0"/>
                <a:cs typeface="Arial" panose="020B0604020202020204" pitchFamily="34" charset="0"/>
              </a:rPr>
              <a:t>SIKI </a:t>
            </a:r>
            <a:r>
              <a:rPr lang="en-US" sz="1400" dirty="0" err="1">
                <a:latin typeface="Arial" panose="020B0604020202020204" pitchFamily="34" charset="0"/>
                <a:cs typeface="Arial" panose="020B0604020202020204" pitchFamily="34" charset="0"/>
              </a:rPr>
              <a:t>selanjutnya</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mengirim</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notifikasi</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ke</a:t>
            </a:r>
            <a:r>
              <a:rPr lang="en-US" sz="1400" dirty="0">
                <a:latin typeface="Arial" panose="020B0604020202020204" pitchFamily="34" charset="0"/>
                <a:cs typeface="Arial" panose="020B0604020202020204" pitchFamily="34" charset="0"/>
              </a:rPr>
              <a:t> SIMPK </a:t>
            </a:r>
            <a:r>
              <a:rPr lang="en-US" sz="1400" dirty="0" err="1">
                <a:latin typeface="Arial" panose="020B0604020202020204" pitchFamily="34" charset="0"/>
                <a:cs typeface="Arial" panose="020B0604020202020204" pitchFamily="34" charset="0"/>
              </a:rPr>
              <a:t>untuk</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memastika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kebenaran</a:t>
            </a:r>
            <a:r>
              <a:rPr lang="en-US" sz="1400" dirty="0">
                <a:latin typeface="Arial" panose="020B0604020202020204" pitchFamily="34" charset="0"/>
                <a:cs typeface="Arial" panose="020B0604020202020204" pitchFamily="34" charset="0"/>
              </a:rPr>
              <a:t> data </a:t>
            </a:r>
            <a:r>
              <a:rPr lang="en-US" sz="1400" dirty="0" err="1">
                <a:latin typeface="Arial" panose="020B0604020202020204" pitchFamily="34" charset="0"/>
                <a:cs typeface="Arial" panose="020B0604020202020204" pitchFamily="34" charset="0"/>
              </a:rPr>
              <a:t>kepemilika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peralatan</a:t>
            </a:r>
            <a:r>
              <a:rPr lang="en-US" sz="1400" dirty="0">
                <a:latin typeface="Arial" panose="020B0604020202020204" pitchFamily="34" charset="0"/>
                <a:cs typeface="Arial" panose="020B0604020202020204" pitchFamily="34" charset="0"/>
              </a:rPr>
              <a:t> yang </a:t>
            </a:r>
            <a:r>
              <a:rPr lang="en-US" sz="1400" dirty="0" err="1">
                <a:latin typeface="Arial" panose="020B0604020202020204" pitchFamily="34" charset="0"/>
                <a:cs typeface="Arial" panose="020B0604020202020204" pitchFamily="34" charset="0"/>
              </a:rPr>
              <a:t>seda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disewa</a:t>
            </a:r>
            <a:r>
              <a:rPr lang="en-US" sz="1400" dirty="0">
                <a:latin typeface="Arial" panose="020B0604020202020204" pitchFamily="34" charset="0"/>
                <a:cs typeface="Arial" panose="020B0604020202020204" pitchFamily="34" charset="0"/>
              </a:rPr>
              <a:t> oleh BUJK </a:t>
            </a:r>
            <a:r>
              <a:rPr lang="en-US" sz="1400" dirty="0" err="1">
                <a:latin typeface="Arial" panose="020B0604020202020204" pitchFamily="34" charset="0"/>
                <a:cs typeface="Arial" panose="020B0604020202020204" pitchFamily="34" charset="0"/>
              </a:rPr>
              <a:t>dari</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pemilik</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peralatan</a:t>
            </a:r>
            <a:r>
              <a:rPr lang="en-US" sz="1400" dirty="0">
                <a:latin typeface="Arial" panose="020B0604020202020204" pitchFamily="34" charset="0"/>
                <a:cs typeface="Arial" panose="020B0604020202020204" pitchFamily="34" charset="0"/>
              </a:rPr>
              <a:t>/</a:t>
            </a:r>
            <a:r>
              <a:rPr lang="en-US" sz="1400" dirty="0" err="1">
                <a:latin typeface="Arial" panose="020B0604020202020204" pitchFamily="34" charset="0"/>
                <a:cs typeface="Arial" panose="020B0604020202020204" pitchFamily="34" charset="0"/>
              </a:rPr>
              <a:t>perusahaan</a:t>
            </a:r>
            <a:r>
              <a:rPr lang="en-US" sz="1400" dirty="0">
                <a:latin typeface="Arial" panose="020B0604020202020204" pitchFamily="34" charset="0"/>
                <a:cs typeface="Arial" panose="020B0604020202020204" pitchFamily="34" charset="0"/>
              </a:rPr>
              <a:t> rental yang </a:t>
            </a:r>
            <a:r>
              <a:rPr lang="en-US" sz="1400" dirty="0" err="1">
                <a:latin typeface="Arial" panose="020B0604020202020204" pitchFamily="34" charset="0"/>
                <a:cs typeface="Arial" panose="020B0604020202020204" pitchFamily="34" charset="0"/>
              </a:rPr>
              <a:t>peralatannya</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elah</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erdata</a:t>
            </a:r>
            <a:r>
              <a:rPr lang="en-US" sz="1400" dirty="0">
                <a:latin typeface="Arial" panose="020B0604020202020204" pitchFamily="34" charset="0"/>
                <a:cs typeface="Arial" panose="020B0604020202020204" pitchFamily="34" charset="0"/>
              </a:rPr>
              <a:t> di SIMPK. </a:t>
            </a:r>
            <a:r>
              <a:rPr lang="en-US" sz="1400" dirty="0" err="1">
                <a:latin typeface="Arial" panose="020B0604020202020204" pitchFamily="34" charset="0"/>
                <a:cs typeface="Arial" panose="020B0604020202020204" pitchFamily="34" charset="0"/>
              </a:rPr>
              <a:t>Peralata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erdata</a:t>
            </a:r>
            <a:r>
              <a:rPr lang="en-US" sz="1400" dirty="0">
                <a:latin typeface="Arial" panose="020B0604020202020204" pitchFamily="34" charset="0"/>
                <a:cs typeface="Arial" panose="020B0604020202020204" pitchFamily="34" charset="0"/>
              </a:rPr>
              <a:t> di SIMPK </a:t>
            </a:r>
            <a:r>
              <a:rPr lang="en-US" sz="1400" dirty="0" err="1">
                <a:latin typeface="Arial" panose="020B0604020202020204" pitchFamily="34" charset="0"/>
                <a:cs typeface="Arial" panose="020B0604020202020204" pitchFamily="34" charset="0"/>
              </a:rPr>
              <a:t>yaitu</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peralata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sudah</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melakuka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permohona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Pencatatan</a:t>
            </a:r>
            <a:r>
              <a:rPr lang="en-US" sz="1400" dirty="0">
                <a:latin typeface="Arial" panose="020B0604020202020204" pitchFamily="34" charset="0"/>
                <a:cs typeface="Arial" panose="020B0604020202020204" pitchFamily="34" charset="0"/>
              </a:rPr>
              <a:t> SDPK dan </a:t>
            </a:r>
            <a:r>
              <a:rPr lang="en-US" sz="1400" dirty="0" err="1">
                <a:latin typeface="Arial" panose="020B0604020202020204" pitchFamily="34" charset="0"/>
                <a:cs typeface="Arial" panose="020B0604020202020204" pitchFamily="34" charset="0"/>
              </a:rPr>
              <a:t>sudah</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dilakuka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validasi</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dokume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kepemilika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peralatannya</a:t>
            </a:r>
            <a:r>
              <a:rPr lang="en-US" sz="1400" dirty="0">
                <a:latin typeface="Arial" panose="020B0604020202020204" pitchFamily="34" charset="0"/>
                <a:cs typeface="Arial" panose="020B0604020202020204" pitchFamily="34" charset="0"/>
              </a:rPr>
              <a:t> oleh TPP </a:t>
            </a:r>
            <a:r>
              <a:rPr lang="en-US" sz="1400" dirty="0" err="1">
                <a:latin typeface="Arial" panose="020B0604020202020204" pitchFamily="34" charset="0"/>
                <a:cs typeface="Arial" panose="020B0604020202020204" pitchFamily="34" charset="0"/>
              </a:rPr>
              <a:t>dengan</a:t>
            </a:r>
            <a:r>
              <a:rPr lang="en-US" sz="1400" dirty="0">
                <a:latin typeface="Arial" panose="020B0604020202020204" pitchFamily="34" charset="0"/>
                <a:cs typeface="Arial" panose="020B0604020202020204" pitchFamily="34" charset="0"/>
              </a:rPr>
              <a:t> status valid.</a:t>
            </a:r>
            <a:endParaRPr lang="en-ID" dirty="0"/>
          </a:p>
        </p:txBody>
      </p:sp>
      <p:sp>
        <p:nvSpPr>
          <p:cNvPr id="10" name="Rectangle 9">
            <a:extLst>
              <a:ext uri="{FF2B5EF4-FFF2-40B4-BE49-F238E27FC236}">
                <a16:creationId xmlns:a16="http://schemas.microsoft.com/office/drawing/2014/main" id="{52D95E93-0747-B5BE-145D-D32E717053C2}"/>
              </a:ext>
            </a:extLst>
          </p:cNvPr>
          <p:cNvSpPr/>
          <p:nvPr/>
        </p:nvSpPr>
        <p:spPr>
          <a:xfrm>
            <a:off x="201262" y="5164308"/>
            <a:ext cx="11789476" cy="1100304"/>
          </a:xfrm>
          <a:prstGeom prst="rect">
            <a:avLst/>
          </a:prstGeom>
          <a:solidFill>
            <a:srgbClr val="FFC000"/>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just"/>
            <a:r>
              <a:rPr lang="en-US" sz="1600" dirty="0">
                <a:latin typeface="Arial" panose="020B0604020202020204" pitchFamily="34" charset="0"/>
                <a:cs typeface="Arial" panose="020B0604020202020204" pitchFamily="34" charset="0"/>
              </a:rPr>
              <a:t>Tahap-3:</a:t>
            </a:r>
          </a:p>
          <a:p>
            <a:pPr algn="just"/>
            <a:r>
              <a:rPr lang="en-US" sz="1400" dirty="0">
                <a:latin typeface="Arial" panose="020B0604020202020204" pitchFamily="34" charset="0"/>
                <a:cs typeface="Arial" panose="020B0604020202020204" pitchFamily="34" charset="0"/>
              </a:rPr>
              <a:t>SIMPK </a:t>
            </a:r>
            <a:r>
              <a:rPr lang="en-US" sz="1400" dirty="0" err="1">
                <a:latin typeface="Arial" panose="020B0604020202020204" pitchFamily="34" charset="0"/>
                <a:cs typeface="Arial" panose="020B0604020202020204" pitchFamily="34" charset="0"/>
              </a:rPr>
              <a:t>selanjutnya</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mengirim</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notifikasi</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ke</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alamat</a:t>
            </a:r>
            <a:r>
              <a:rPr lang="en-US" sz="1400" dirty="0">
                <a:latin typeface="Arial" panose="020B0604020202020204" pitchFamily="34" charset="0"/>
                <a:cs typeface="Arial" panose="020B0604020202020204" pitchFamily="34" charset="0"/>
              </a:rPr>
              <a:t> email </a:t>
            </a:r>
            <a:r>
              <a:rPr lang="en-US" sz="1400" dirty="0" err="1">
                <a:latin typeface="Arial" panose="020B0604020202020204" pitchFamily="34" charset="0"/>
                <a:cs typeface="Arial" panose="020B0604020202020204" pitchFamily="34" charset="0"/>
              </a:rPr>
              <a:t>pemilik</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peralatan</a:t>
            </a:r>
            <a:r>
              <a:rPr lang="en-US" sz="1400" dirty="0">
                <a:latin typeface="Arial" panose="020B0604020202020204" pitchFamily="34" charset="0"/>
                <a:cs typeface="Arial" panose="020B0604020202020204" pitchFamily="34" charset="0"/>
              </a:rPr>
              <a:t>/</a:t>
            </a:r>
            <a:r>
              <a:rPr lang="en-US" sz="1400" dirty="0" err="1">
                <a:latin typeface="Arial" panose="020B0604020202020204" pitchFamily="34" charset="0"/>
                <a:cs typeface="Arial" panose="020B0604020202020204" pitchFamily="34" charset="0"/>
              </a:rPr>
              <a:t>perusahaan</a:t>
            </a:r>
            <a:r>
              <a:rPr lang="en-US" sz="1400" dirty="0">
                <a:latin typeface="Arial" panose="020B0604020202020204" pitchFamily="34" charset="0"/>
                <a:cs typeface="Arial" panose="020B0604020202020204" pitchFamily="34" charset="0"/>
              </a:rPr>
              <a:t> rental </a:t>
            </a:r>
            <a:r>
              <a:rPr lang="en-US" sz="1400" dirty="0" err="1">
                <a:latin typeface="Arial" panose="020B0604020202020204" pitchFamily="34" charset="0"/>
                <a:cs typeface="Arial" panose="020B0604020202020204" pitchFamily="34" charset="0"/>
              </a:rPr>
              <a:t>sebagaimana</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penjelasan</a:t>
            </a:r>
            <a:r>
              <a:rPr lang="en-US" sz="1400" dirty="0">
                <a:latin typeface="Arial" panose="020B0604020202020204" pitchFamily="34" charset="0"/>
                <a:cs typeface="Arial" panose="020B0604020202020204" pitchFamily="34" charset="0"/>
              </a:rPr>
              <a:t> pada tahap-2. </a:t>
            </a:r>
            <a:r>
              <a:rPr lang="en-US" sz="1400" dirty="0" err="1">
                <a:latin typeface="Arial" panose="020B0604020202020204" pitchFamily="34" charset="0"/>
                <a:cs typeface="Arial" panose="020B0604020202020204" pitchFamily="34" charset="0"/>
              </a:rPr>
              <a:t>Pemilik</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peralatan</a:t>
            </a:r>
            <a:r>
              <a:rPr lang="en-US" sz="1400" dirty="0">
                <a:latin typeface="Arial" panose="020B0604020202020204" pitchFamily="34" charset="0"/>
                <a:cs typeface="Arial" panose="020B0604020202020204" pitchFamily="34" charset="0"/>
              </a:rPr>
              <a:t>/</a:t>
            </a:r>
            <a:r>
              <a:rPr lang="en-US" sz="1400" dirty="0" err="1">
                <a:latin typeface="Arial" panose="020B0604020202020204" pitchFamily="34" charset="0"/>
                <a:cs typeface="Arial" panose="020B0604020202020204" pitchFamily="34" charset="0"/>
              </a:rPr>
              <a:t>perusahaan</a:t>
            </a:r>
            <a:r>
              <a:rPr lang="en-US" sz="1400" dirty="0">
                <a:latin typeface="Arial" panose="020B0604020202020204" pitchFamily="34" charset="0"/>
                <a:cs typeface="Arial" panose="020B0604020202020204" pitchFamily="34" charset="0"/>
              </a:rPr>
              <a:t> rental </a:t>
            </a:r>
            <a:r>
              <a:rPr lang="en-US" sz="1400" dirty="0" err="1">
                <a:latin typeface="Arial" panose="020B0604020202020204" pitchFamily="34" charset="0"/>
                <a:cs typeface="Arial" panose="020B0604020202020204" pitchFamily="34" charset="0"/>
              </a:rPr>
              <a:t>memperoleh</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notifikasi</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berupa</a:t>
            </a:r>
            <a:r>
              <a:rPr lang="en-US" sz="1400" dirty="0">
                <a:latin typeface="Arial" panose="020B0604020202020204" pitchFamily="34" charset="0"/>
                <a:cs typeface="Arial" panose="020B0604020202020204" pitchFamily="34" charset="0"/>
              </a:rPr>
              <a:t> email </a:t>
            </a:r>
            <a:r>
              <a:rPr lang="en-US" sz="1400" dirty="0" err="1">
                <a:latin typeface="Arial" panose="020B0604020202020204" pitchFamily="34" charset="0"/>
                <a:cs typeface="Arial" panose="020B0604020202020204" pitchFamily="34" charset="0"/>
              </a:rPr>
              <a:t>dari</a:t>
            </a:r>
            <a:r>
              <a:rPr lang="en-US" sz="1400" dirty="0">
                <a:latin typeface="Arial" panose="020B0604020202020204" pitchFamily="34" charset="0"/>
                <a:cs typeface="Arial" panose="020B0604020202020204" pitchFamily="34" charset="0"/>
              </a:rPr>
              <a:t> SIMPK </a:t>
            </a:r>
            <a:r>
              <a:rPr lang="en-US" sz="1400" dirty="0" err="1">
                <a:latin typeface="Arial" panose="020B0604020202020204" pitchFamily="34" charset="0"/>
                <a:cs typeface="Arial" panose="020B0604020202020204" pitchFamily="34" charset="0"/>
              </a:rPr>
              <a:t>untuk</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selanjutnya</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melakuka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klarifikasi</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erhadap</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isi</a:t>
            </a:r>
            <a:r>
              <a:rPr lang="en-US" sz="1400" dirty="0">
                <a:latin typeface="Arial" panose="020B0604020202020204" pitchFamily="34" charset="0"/>
                <a:cs typeface="Arial" panose="020B0604020202020204" pitchFamily="34" charset="0"/>
              </a:rPr>
              <a:t> email </a:t>
            </a:r>
            <a:r>
              <a:rPr lang="en-US" sz="1400" dirty="0" err="1">
                <a:latin typeface="Arial" panose="020B0604020202020204" pitchFamily="34" charset="0"/>
                <a:cs typeface="Arial" panose="020B0604020202020204" pitchFamily="34" charset="0"/>
              </a:rPr>
              <a:t>tersebut</a:t>
            </a:r>
            <a:r>
              <a:rPr lang="en-US" sz="1400" dirty="0">
                <a:latin typeface="Arial" panose="020B0604020202020204" pitchFamily="34" charset="0"/>
                <a:cs typeface="Arial" panose="020B0604020202020204" pitchFamily="34" charset="0"/>
              </a:rPr>
              <a:t>.</a:t>
            </a:r>
            <a:endParaRPr lang="en-ID" dirty="0"/>
          </a:p>
        </p:txBody>
      </p:sp>
    </p:spTree>
    <p:extLst>
      <p:ext uri="{BB962C8B-B14F-4D97-AF65-F5344CB8AC3E}">
        <p14:creationId xmlns:p14="http://schemas.microsoft.com/office/powerpoint/2010/main" val="7884748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1" name="Picture Placeholder 2" descr="A picture containing indoor&#10;&#10;Description automatically generated">
            <a:extLst>
              <a:ext uri="{FF2B5EF4-FFF2-40B4-BE49-F238E27FC236}">
                <a16:creationId xmlns:a16="http://schemas.microsoft.com/office/drawing/2014/main" id="{D01658B1-7682-FD4A-B4C8-B021AD40B78C}"/>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7938" y="0"/>
            <a:ext cx="122047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Graphic 21">
            <a:extLst>
              <a:ext uri="{FF2B5EF4-FFF2-40B4-BE49-F238E27FC236}">
                <a16:creationId xmlns:a16="http://schemas.microsoft.com/office/drawing/2014/main" id="{3FD705D5-7C11-204E-B0E9-1B592636A7D8}"/>
              </a:ext>
            </a:extLst>
          </p:cNvPr>
          <p:cNvSpPr/>
          <p:nvPr/>
        </p:nvSpPr>
        <p:spPr>
          <a:xfrm>
            <a:off x="0" y="3959225"/>
            <a:ext cx="2316163" cy="2898775"/>
          </a:xfrm>
          <a:custGeom>
            <a:avLst/>
            <a:gdLst>
              <a:gd name="connsiteX0" fmla="*/ 966121 w 3087570"/>
              <a:gd name="connsiteY0" fmla="*/ 1168813 h 3865721"/>
              <a:gd name="connsiteX1" fmla="*/ 0 w 3087570"/>
              <a:gd name="connsiteY1" fmla="*/ 0 h 3865721"/>
              <a:gd name="connsiteX2" fmla="*/ 0 w 3087570"/>
              <a:gd name="connsiteY2" fmla="*/ 3865721 h 3865721"/>
              <a:gd name="connsiteX3" fmla="*/ 2580132 w 3087570"/>
              <a:gd name="connsiteY3" fmla="*/ 3865721 h 3865721"/>
              <a:gd name="connsiteX4" fmla="*/ 2762155 w 3087570"/>
              <a:gd name="connsiteY4" fmla="*/ 1512284 h 3865721"/>
              <a:gd name="connsiteX5" fmla="*/ 966121 w 3087570"/>
              <a:gd name="connsiteY5" fmla="*/ 1168813 h 3865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570" h="3865721">
                <a:moveTo>
                  <a:pt x="966121" y="1168813"/>
                </a:moveTo>
                <a:cubicBezTo>
                  <a:pt x="510635" y="966978"/>
                  <a:pt x="191072" y="427863"/>
                  <a:pt x="0" y="0"/>
                </a:cubicBezTo>
                <a:lnTo>
                  <a:pt x="0" y="3865721"/>
                </a:lnTo>
                <a:lnTo>
                  <a:pt x="2580132" y="3865721"/>
                </a:lnTo>
                <a:cubicBezTo>
                  <a:pt x="3452241" y="3246120"/>
                  <a:pt x="2982659" y="1852041"/>
                  <a:pt x="2762155" y="1512284"/>
                </a:cubicBezTo>
                <a:cubicBezTo>
                  <a:pt x="2478024" y="1074134"/>
                  <a:pt x="1767554" y="1524095"/>
                  <a:pt x="966121" y="1168813"/>
                </a:cubicBezTo>
                <a:close/>
              </a:path>
            </a:pathLst>
          </a:custGeom>
          <a:solidFill>
            <a:schemeClr val="bg2">
              <a:lumMod val="75000"/>
              <a:alpha val="10000"/>
            </a:schemeClr>
          </a:solidFill>
          <a:ln w="9525" cap="flat">
            <a:noFill/>
            <a:prstDash val="solid"/>
            <a:miter/>
          </a:ln>
        </p:spPr>
        <p:txBody>
          <a:bodyPr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grpSp>
        <p:nvGrpSpPr>
          <p:cNvPr id="9" name="Oval 8">
            <a:extLst>
              <a:ext uri="{FF2B5EF4-FFF2-40B4-BE49-F238E27FC236}">
                <a16:creationId xmlns:a16="http://schemas.microsoft.com/office/drawing/2014/main" id="{24C02BE8-98BE-9B43-B07A-52256DC7A7CB}"/>
              </a:ext>
            </a:extLst>
          </p:cNvPr>
          <p:cNvGrpSpPr>
            <a:grpSpLocks/>
          </p:cNvGrpSpPr>
          <p:nvPr/>
        </p:nvGrpSpPr>
        <p:grpSpPr bwMode="auto">
          <a:xfrm>
            <a:off x="9017000" y="1651000"/>
            <a:ext cx="2159000" cy="2159000"/>
            <a:chOff x="5680" y="1040"/>
            <a:chExt cx="1360" cy="1360"/>
          </a:xfrm>
        </p:grpSpPr>
        <p:pic>
          <p:nvPicPr>
            <p:cNvPr id="41007" name="Oval 8">
              <a:extLst>
                <a:ext uri="{FF2B5EF4-FFF2-40B4-BE49-F238E27FC236}">
                  <a16:creationId xmlns:a16="http://schemas.microsoft.com/office/drawing/2014/main" id="{B1E3497F-E1BA-7747-9758-20E0DD135AD6}"/>
                </a:ext>
              </a:extLst>
            </p:cNvPr>
            <p:cNvPicPr>
              <a:picLocks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680" y="1040"/>
              <a:ext cx="1360" cy="1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08" name="Text Box 4">
              <a:extLst>
                <a:ext uri="{FF2B5EF4-FFF2-40B4-BE49-F238E27FC236}">
                  <a16:creationId xmlns:a16="http://schemas.microsoft.com/office/drawing/2014/main" id="{B26255D6-EB71-6A4E-917B-72AAD3E22E48}"/>
                </a:ext>
              </a:extLst>
            </p:cNvPr>
            <p:cNvSpPr txBox="1">
              <a:spLocks noChangeArrowheads="1"/>
            </p:cNvSpPr>
            <p:nvPr/>
          </p:nvSpPr>
          <p:spPr bwMode="auto">
            <a:xfrm>
              <a:off x="5883" y="1244"/>
              <a:ext cx="959" cy="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altLang="en-US" sz="13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grpSp>
      <p:sp>
        <p:nvSpPr>
          <p:cNvPr id="40964" name="TextBox 1">
            <a:extLst>
              <a:ext uri="{FF2B5EF4-FFF2-40B4-BE49-F238E27FC236}">
                <a16:creationId xmlns:a16="http://schemas.microsoft.com/office/drawing/2014/main" id="{87918B19-4D4C-7943-9F9A-018FF8859F94}"/>
              </a:ext>
            </a:extLst>
          </p:cNvPr>
          <p:cNvSpPr txBox="1">
            <a:spLocks noChangeArrowheads="1"/>
          </p:cNvSpPr>
          <p:nvPr/>
        </p:nvSpPr>
        <p:spPr bwMode="auto">
          <a:xfrm>
            <a:off x="-636588" y="3935413"/>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40965" name="object 4">
            <a:extLst>
              <a:ext uri="{FF2B5EF4-FFF2-40B4-BE49-F238E27FC236}">
                <a16:creationId xmlns:a16="http://schemas.microsoft.com/office/drawing/2014/main" id="{AB9F5FDA-83BD-8E45-B797-5E9BD54EADE9}"/>
              </a:ext>
            </a:extLst>
          </p:cNvPr>
          <p:cNvSpPr>
            <a:spLocks noChangeArrowheads="1"/>
          </p:cNvSpPr>
          <p:nvPr/>
        </p:nvSpPr>
        <p:spPr bwMode="auto">
          <a:xfrm>
            <a:off x="10345738" y="-14288"/>
            <a:ext cx="1846262" cy="776288"/>
          </a:xfrm>
          <a:prstGeom prst="rect">
            <a:avLst/>
          </a:prstGeom>
          <a:blipFill dpi="0" rotWithShape="1">
            <a:blip r:embed="rId4" cstate="screen">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nvGrpSpPr>
          <p:cNvPr id="21" name="Oval 20">
            <a:extLst>
              <a:ext uri="{FF2B5EF4-FFF2-40B4-BE49-F238E27FC236}">
                <a16:creationId xmlns:a16="http://schemas.microsoft.com/office/drawing/2014/main" id="{A6F8C919-387A-E346-BF17-27186D0DEF3D}"/>
              </a:ext>
            </a:extLst>
          </p:cNvPr>
          <p:cNvGrpSpPr>
            <a:grpSpLocks/>
          </p:cNvGrpSpPr>
          <p:nvPr/>
        </p:nvGrpSpPr>
        <p:grpSpPr bwMode="auto">
          <a:xfrm>
            <a:off x="-1092200" y="-887413"/>
            <a:ext cx="4940300" cy="4724401"/>
            <a:chOff x="-1200" y="2584"/>
            <a:chExt cx="3112" cy="2976"/>
          </a:xfrm>
        </p:grpSpPr>
        <p:pic>
          <p:nvPicPr>
            <p:cNvPr id="41005" name="Oval 20">
              <a:extLst>
                <a:ext uri="{FF2B5EF4-FFF2-40B4-BE49-F238E27FC236}">
                  <a16:creationId xmlns:a16="http://schemas.microsoft.com/office/drawing/2014/main" id="{3F9203E6-C2CB-FE43-81A5-30AD5D4CB07E}"/>
                </a:ext>
              </a:extLst>
            </p:cNvPr>
            <p:cNvPicPr>
              <a:picLocks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00" y="2584"/>
              <a:ext cx="3112"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06" name="Text Box 3">
              <a:extLst>
                <a:ext uri="{FF2B5EF4-FFF2-40B4-BE49-F238E27FC236}">
                  <a16:creationId xmlns:a16="http://schemas.microsoft.com/office/drawing/2014/main" id="{1A0136D1-26FE-9B49-ACBF-A954E6675C24}"/>
                </a:ext>
              </a:extLst>
            </p:cNvPr>
            <p:cNvSpPr txBox="1">
              <a:spLocks noChangeArrowheads="1"/>
            </p:cNvSpPr>
            <p:nvPr/>
          </p:nvSpPr>
          <p:spPr bwMode="auto">
            <a:xfrm>
              <a:off x="-743" y="3019"/>
              <a:ext cx="2195" cy="2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altLang="en-US" sz="13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grpSp>
      <p:sp>
        <p:nvSpPr>
          <p:cNvPr id="7" name="Rectangle: Rounded Corners 6">
            <a:extLst>
              <a:ext uri="{FF2B5EF4-FFF2-40B4-BE49-F238E27FC236}">
                <a16:creationId xmlns:a16="http://schemas.microsoft.com/office/drawing/2014/main" id="{E65AC056-532D-494C-ADDF-3E0A5910A893}"/>
              </a:ext>
            </a:extLst>
          </p:cNvPr>
          <p:cNvSpPr/>
          <p:nvPr/>
        </p:nvSpPr>
        <p:spPr>
          <a:xfrm>
            <a:off x="398463" y="671513"/>
            <a:ext cx="11422062" cy="5773737"/>
          </a:xfrm>
          <a:prstGeom prst="roundRect">
            <a:avLst>
              <a:gd name="adj" fmla="val 1875"/>
            </a:avLst>
          </a:prstGeom>
          <a:solidFill>
            <a:schemeClr val="bg1"/>
          </a:solidFill>
          <a:ln>
            <a:noFill/>
          </a:ln>
          <a:effectLst>
            <a:outerShdw blurRad="266700" dist="508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15" name="Text Placeholder 17">
            <a:extLst>
              <a:ext uri="{FF2B5EF4-FFF2-40B4-BE49-F238E27FC236}">
                <a16:creationId xmlns:a16="http://schemas.microsoft.com/office/drawing/2014/main" id="{AE70A7B9-3EE5-2541-8BCA-7A8BA9D4AE0C}"/>
              </a:ext>
            </a:extLst>
          </p:cNvPr>
          <p:cNvSpPr>
            <a:spLocks noGrp="1" noChangeArrowheads="1"/>
          </p:cNvSpPr>
          <p:nvPr>
            <p:ph type="body" sz="quarter" idx="14"/>
          </p:nvPr>
        </p:nvSpPr>
        <p:spPr>
          <a:xfrm>
            <a:off x="1379538" y="661988"/>
            <a:ext cx="9431337" cy="388937"/>
          </a:xfrm>
        </p:spPr>
        <p:txBody>
          <a:bodyPr>
            <a:normAutofit lnSpcReduction="10000"/>
          </a:bodyPr>
          <a:lstStyle/>
          <a:p>
            <a:pPr eaLnBrk="1" hangingPunct="1">
              <a:spcBef>
                <a:spcPct val="0"/>
              </a:spcBef>
            </a:pPr>
            <a:r>
              <a:rPr lang="en-US" altLang="en-US" sz="2000" dirty="0">
                <a:solidFill>
                  <a:srgbClr val="001647"/>
                </a:solidFill>
                <a:latin typeface="Century Gothic" panose="020B0502020202020204" pitchFamily="34" charset="0"/>
              </a:rPr>
              <a:t>KEWAJIBAN BADAN USAHA</a:t>
            </a:r>
          </a:p>
        </p:txBody>
      </p:sp>
      <p:graphicFrame>
        <p:nvGraphicFramePr>
          <p:cNvPr id="17" name="Table 16">
            <a:extLst>
              <a:ext uri="{FF2B5EF4-FFF2-40B4-BE49-F238E27FC236}">
                <a16:creationId xmlns:a16="http://schemas.microsoft.com/office/drawing/2014/main" id="{22ED12AB-2AB1-434F-90DE-DE0460B95B5C}"/>
              </a:ext>
            </a:extLst>
          </p:cNvPr>
          <p:cNvGraphicFramePr>
            <a:graphicFrameLocks noGrp="1"/>
          </p:cNvGraphicFramePr>
          <p:nvPr/>
        </p:nvGraphicFramePr>
        <p:xfrm>
          <a:off x="223284" y="1240936"/>
          <a:ext cx="6953540" cy="3474720"/>
        </p:xfrm>
        <a:graphic>
          <a:graphicData uri="http://schemas.openxmlformats.org/drawingml/2006/table">
            <a:tbl>
              <a:tblPr firstRow="1" bandRow="1">
                <a:tableStyleId>{74C1A8A3-306A-4EB7-A6B1-4F7E0EB9C5D6}</a:tableStyleId>
              </a:tblPr>
              <a:tblGrid>
                <a:gridCol w="2289636">
                  <a:extLst>
                    <a:ext uri="{9D8B030D-6E8A-4147-A177-3AD203B41FA5}">
                      <a16:colId xmlns:a16="http://schemas.microsoft.com/office/drawing/2014/main" val="20000"/>
                    </a:ext>
                  </a:extLst>
                </a:gridCol>
                <a:gridCol w="1400696">
                  <a:extLst>
                    <a:ext uri="{9D8B030D-6E8A-4147-A177-3AD203B41FA5}">
                      <a16:colId xmlns:a16="http://schemas.microsoft.com/office/drawing/2014/main" val="20001"/>
                    </a:ext>
                  </a:extLst>
                </a:gridCol>
                <a:gridCol w="1288746">
                  <a:extLst>
                    <a:ext uri="{9D8B030D-6E8A-4147-A177-3AD203B41FA5}">
                      <a16:colId xmlns:a16="http://schemas.microsoft.com/office/drawing/2014/main" val="20002"/>
                    </a:ext>
                  </a:extLst>
                </a:gridCol>
                <a:gridCol w="1030154">
                  <a:extLst>
                    <a:ext uri="{9D8B030D-6E8A-4147-A177-3AD203B41FA5}">
                      <a16:colId xmlns:a16="http://schemas.microsoft.com/office/drawing/2014/main" val="20003"/>
                    </a:ext>
                  </a:extLst>
                </a:gridCol>
                <a:gridCol w="944308">
                  <a:extLst>
                    <a:ext uri="{9D8B030D-6E8A-4147-A177-3AD203B41FA5}">
                      <a16:colId xmlns:a16="http://schemas.microsoft.com/office/drawing/2014/main" val="20004"/>
                    </a:ext>
                  </a:extLst>
                </a:gridCol>
              </a:tblGrid>
              <a:tr h="765785">
                <a:tc>
                  <a:txBody>
                    <a:bodyPr/>
                    <a:lstStyle/>
                    <a:p>
                      <a:pPr algn="ctr"/>
                      <a:r>
                        <a:rPr lang="en-US" sz="1600" b="1" dirty="0"/>
                        <a:t>KEWAJIBAN PELAKU USAHA (UMUM)</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Usaha Orang </a:t>
                      </a:r>
                      <a:r>
                        <a:rPr lang="en-US" sz="1600" dirty="0" err="1"/>
                        <a:t>Perseorangan</a:t>
                      </a:r>
                      <a:endParaRPr lang="en-US" sz="1600" dirty="0"/>
                    </a:p>
                    <a:p>
                      <a:pPr algn="ctr"/>
                      <a:endParaRPr lang="en-US" sz="16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BUJKN</a:t>
                      </a:r>
                    </a:p>
                    <a:p>
                      <a:pPr algn="ctr"/>
                      <a:endParaRPr lang="en-US" sz="16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KP BUJKA</a:t>
                      </a:r>
                    </a:p>
                    <a:p>
                      <a:pPr algn="ctr"/>
                      <a:endParaRPr lang="en-US" sz="16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BUJK PMA</a:t>
                      </a:r>
                    </a:p>
                    <a:p>
                      <a:pPr algn="ctr"/>
                      <a:endParaRPr lang="en-US" sz="1600" b="1" dirty="0"/>
                    </a:p>
                  </a:txBody>
                  <a:tcPr anchor="ctr"/>
                </a:tc>
                <a:extLst>
                  <a:ext uri="{0D108BD9-81ED-4DB2-BD59-A6C34878D82A}">
                    <a16:rowId xmlns:a16="http://schemas.microsoft.com/office/drawing/2014/main" val="10000"/>
                  </a:ext>
                </a:extLst>
              </a:tr>
              <a:tr h="538886">
                <a:tc>
                  <a:txBody>
                    <a:bodyPr/>
                    <a:lstStyle/>
                    <a:p>
                      <a:pPr algn="l"/>
                      <a:r>
                        <a:rPr lang="en-US" sz="1600" dirty="0" err="1"/>
                        <a:t>Laporan</a:t>
                      </a:r>
                      <a:r>
                        <a:rPr lang="en-US" sz="1600" dirty="0"/>
                        <a:t> </a:t>
                      </a:r>
                      <a:r>
                        <a:rPr lang="en-US" sz="1600" dirty="0" err="1"/>
                        <a:t>Kegiatan</a:t>
                      </a:r>
                      <a:r>
                        <a:rPr lang="en-US" sz="1600" dirty="0"/>
                        <a:t> Usaha </a:t>
                      </a:r>
                      <a:r>
                        <a:rPr lang="en-US" sz="1600" dirty="0" err="1"/>
                        <a:t>Tahunan</a:t>
                      </a:r>
                      <a:endParaRPr lang="en-US" sz="1600" dirty="0"/>
                    </a:p>
                  </a:txBody>
                  <a:tcPr/>
                </a:tc>
                <a:tc>
                  <a:txBody>
                    <a:bodyPr/>
                    <a:lstStyle/>
                    <a:p>
                      <a:pPr algn="ctr"/>
                      <a:r>
                        <a:rPr lang="en-US" sz="1600" dirty="0">
                          <a:sym typeface="Wingdings" panose="05000000000000000000" pitchFamily="2" charset="2"/>
                        </a:rPr>
                        <a:t></a:t>
                      </a:r>
                      <a:endParaRPr lang="en-US" sz="1600" dirty="0"/>
                    </a:p>
                  </a:txBody>
                  <a:tcPr/>
                </a:tc>
                <a:tc>
                  <a:txBody>
                    <a:bodyPr/>
                    <a:lstStyle/>
                    <a:p>
                      <a:pPr algn="ctr"/>
                      <a:r>
                        <a:rPr lang="en-US" sz="1600">
                          <a:sym typeface="Wingdings" panose="05000000000000000000" pitchFamily="2" charset="2"/>
                        </a:rPr>
                        <a:t></a:t>
                      </a:r>
                      <a:endParaRPr lang="en-US" sz="1600" dirty="0"/>
                    </a:p>
                  </a:txBody>
                  <a:tcPr/>
                </a:tc>
                <a:tc>
                  <a:txBody>
                    <a:bodyPr/>
                    <a:lstStyle/>
                    <a:p>
                      <a:pPr algn="ctr"/>
                      <a:r>
                        <a:rPr lang="en-US" sz="1600">
                          <a:sym typeface="Wingdings" panose="05000000000000000000" pitchFamily="2" charset="2"/>
                        </a:rPr>
                        <a:t></a:t>
                      </a:r>
                      <a:endParaRPr lang="en-US" sz="1600" dirty="0"/>
                    </a:p>
                  </a:txBody>
                  <a:tcPr/>
                </a:tc>
                <a:tc>
                  <a:txBody>
                    <a:bodyPr/>
                    <a:lstStyle/>
                    <a:p>
                      <a:pPr algn="ctr"/>
                      <a:r>
                        <a:rPr lang="en-US" sz="1600">
                          <a:sym typeface="Wingdings" panose="05000000000000000000" pitchFamily="2" charset="2"/>
                        </a:rPr>
                        <a:t></a:t>
                      </a:r>
                      <a:endParaRPr lang="en-US" sz="1600" dirty="0"/>
                    </a:p>
                  </a:txBody>
                  <a:tcPr/>
                </a:tc>
                <a:extLst>
                  <a:ext uri="{0D108BD9-81ED-4DB2-BD59-A6C34878D82A}">
                    <a16:rowId xmlns:a16="http://schemas.microsoft.com/office/drawing/2014/main" val="10001"/>
                  </a:ext>
                </a:extLst>
              </a:tr>
              <a:tr h="127280">
                <a:tc>
                  <a:txBody>
                    <a:bodyPr/>
                    <a:lstStyle/>
                    <a:p>
                      <a:pPr algn="l"/>
                      <a:r>
                        <a:rPr lang="en-US" sz="1600" dirty="0" err="1"/>
                        <a:t>Pencatatan</a:t>
                      </a:r>
                      <a:r>
                        <a:rPr lang="en-US" sz="1600" baseline="0" dirty="0"/>
                        <a:t> </a:t>
                      </a:r>
                      <a:r>
                        <a:rPr lang="en-US" sz="1600" baseline="0" dirty="0" err="1"/>
                        <a:t>Pengalaman</a:t>
                      </a:r>
                      <a:endParaRPr lang="en-US" sz="16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ym typeface="Wingdings" panose="05000000000000000000" pitchFamily="2" charset="2"/>
                        </a:rPr>
                        <a:t></a:t>
                      </a:r>
                      <a:endParaRPr lang="en-US" sz="1600" dirty="0"/>
                    </a:p>
                  </a:txBody>
                  <a:tcPr/>
                </a:tc>
                <a:tc>
                  <a:txBody>
                    <a:bodyPr/>
                    <a:lstStyle/>
                    <a:p>
                      <a:pPr algn="ctr"/>
                      <a:r>
                        <a:rPr lang="en-US" sz="1600" dirty="0">
                          <a:sym typeface="Wingdings" panose="05000000000000000000" pitchFamily="2" charset="2"/>
                        </a:rPr>
                        <a:t></a:t>
                      </a:r>
                      <a:endParaRPr lang="en-US" sz="1600" dirty="0"/>
                    </a:p>
                  </a:txBody>
                  <a:tcPr/>
                </a:tc>
                <a:tc>
                  <a:txBody>
                    <a:bodyPr/>
                    <a:lstStyle/>
                    <a:p>
                      <a:pPr algn="ctr"/>
                      <a:r>
                        <a:rPr lang="en-US" sz="1600">
                          <a:sym typeface="Wingdings" panose="05000000000000000000" pitchFamily="2" charset="2"/>
                        </a:rPr>
                        <a:t></a:t>
                      </a:r>
                      <a:endParaRPr lang="en-US" sz="1600" dirty="0"/>
                    </a:p>
                  </a:txBody>
                  <a:tcPr/>
                </a:tc>
                <a:tc>
                  <a:txBody>
                    <a:bodyPr/>
                    <a:lstStyle/>
                    <a:p>
                      <a:pPr algn="ctr"/>
                      <a:r>
                        <a:rPr lang="en-US" sz="1600" dirty="0">
                          <a:sym typeface="Wingdings" panose="05000000000000000000" pitchFamily="2" charset="2"/>
                        </a:rPr>
                        <a:t></a:t>
                      </a:r>
                      <a:endParaRPr lang="en-US" sz="1600" dirty="0"/>
                    </a:p>
                  </a:txBody>
                  <a:tcPr/>
                </a:tc>
                <a:extLst>
                  <a:ext uri="{0D108BD9-81ED-4DB2-BD59-A6C34878D82A}">
                    <a16:rowId xmlns:a16="http://schemas.microsoft.com/office/drawing/2014/main" val="10002"/>
                  </a:ext>
                </a:extLst>
              </a:tr>
              <a:tr h="324728">
                <a:tc>
                  <a:txBody>
                    <a:bodyPr/>
                    <a:lstStyle/>
                    <a:p>
                      <a:pPr algn="l"/>
                      <a:r>
                        <a:rPr lang="en-US" sz="1600" dirty="0" err="1"/>
                        <a:t>Penilaian</a:t>
                      </a:r>
                      <a:r>
                        <a:rPr lang="en-US" sz="1600" dirty="0"/>
                        <a:t> </a:t>
                      </a:r>
                      <a:r>
                        <a:rPr lang="en-US" sz="1600" dirty="0" err="1"/>
                        <a:t>Kinerja</a:t>
                      </a:r>
                      <a:endParaRPr lang="en-US" sz="1600" dirty="0"/>
                    </a:p>
                  </a:txBody>
                  <a:tcPr/>
                </a:tc>
                <a:tc>
                  <a:txBody>
                    <a:bodyPr/>
                    <a:lstStyle/>
                    <a:p>
                      <a:pPr algn="ctr"/>
                      <a:r>
                        <a:rPr lang="en-US" sz="1600" dirty="0"/>
                        <a:t>-</a:t>
                      </a:r>
                    </a:p>
                  </a:txBody>
                  <a:tcPr/>
                </a:tc>
                <a:tc>
                  <a:txBody>
                    <a:bodyPr/>
                    <a:lstStyle/>
                    <a:p>
                      <a:pPr algn="ctr"/>
                      <a:r>
                        <a:rPr lang="en-US" sz="1600" dirty="0">
                          <a:sym typeface="Wingdings" panose="05000000000000000000" pitchFamily="2" charset="2"/>
                        </a:rPr>
                        <a:t></a:t>
                      </a:r>
                      <a:endParaRPr lang="en-US" sz="1600" dirty="0"/>
                    </a:p>
                  </a:txBody>
                  <a:tcPr/>
                </a:tc>
                <a:tc>
                  <a:txBody>
                    <a:bodyPr/>
                    <a:lstStyle/>
                    <a:p>
                      <a:pPr algn="ctr"/>
                      <a:r>
                        <a:rPr lang="en-US" sz="1600" dirty="0">
                          <a:sym typeface="Wingdings" panose="05000000000000000000" pitchFamily="2" charset="2"/>
                        </a:rPr>
                        <a:t></a:t>
                      </a:r>
                      <a:endParaRPr lang="en-US" sz="1600" dirty="0"/>
                    </a:p>
                  </a:txBody>
                  <a:tcPr/>
                </a:tc>
                <a:tc>
                  <a:txBody>
                    <a:bodyPr/>
                    <a:lstStyle/>
                    <a:p>
                      <a:pPr algn="ctr"/>
                      <a:r>
                        <a:rPr lang="en-US" sz="1600" dirty="0">
                          <a:sym typeface="Wingdings" panose="05000000000000000000" pitchFamily="2" charset="2"/>
                        </a:rPr>
                        <a:t></a:t>
                      </a:r>
                      <a:endParaRPr lang="en-US" sz="1600" dirty="0"/>
                    </a:p>
                  </a:txBody>
                  <a:tcPr/>
                </a:tc>
                <a:extLst>
                  <a:ext uri="{0D108BD9-81ED-4DB2-BD59-A6C34878D82A}">
                    <a16:rowId xmlns:a16="http://schemas.microsoft.com/office/drawing/2014/main" val="10003"/>
                  </a:ext>
                </a:extLst>
              </a:tr>
              <a:tr h="720629">
                <a:tc>
                  <a:txBody>
                    <a:bodyPr/>
                    <a:lstStyle/>
                    <a:p>
                      <a:pPr algn="l"/>
                      <a:r>
                        <a:rPr lang="en-US" sz="1600" dirty="0" err="1"/>
                        <a:t>Pemenuhan</a:t>
                      </a:r>
                      <a:r>
                        <a:rPr lang="en-US" sz="1600" baseline="0" dirty="0"/>
                        <a:t> </a:t>
                      </a:r>
                      <a:r>
                        <a:rPr lang="en-US" sz="1600" baseline="0" dirty="0" err="1"/>
                        <a:t>Kemampuan</a:t>
                      </a:r>
                      <a:r>
                        <a:rPr lang="en-US" sz="1600" baseline="0" dirty="0"/>
                        <a:t> </a:t>
                      </a:r>
                      <a:r>
                        <a:rPr lang="en-US" sz="1600" baseline="0" dirty="0" err="1"/>
                        <a:t>Penyediaan</a:t>
                      </a:r>
                      <a:r>
                        <a:rPr lang="en-US" sz="1600" baseline="0" dirty="0"/>
                        <a:t> </a:t>
                      </a:r>
                      <a:r>
                        <a:rPr lang="en-US" sz="1600" baseline="0" dirty="0" err="1"/>
                        <a:t>Peralatan</a:t>
                      </a:r>
                      <a:endParaRPr lang="en-US" sz="1600" dirty="0"/>
                    </a:p>
                  </a:txBody>
                  <a:tcPr/>
                </a:tc>
                <a:tc>
                  <a:txBody>
                    <a:bodyPr/>
                    <a:lstStyle/>
                    <a:p>
                      <a:pPr algn="ctr"/>
                      <a:r>
                        <a:rPr lang="en-US" sz="1600" dirty="0"/>
                        <a:t>-</a:t>
                      </a:r>
                    </a:p>
                  </a:txBody>
                  <a:tcPr/>
                </a:tc>
                <a:tc>
                  <a:txBody>
                    <a:bodyPr/>
                    <a:lstStyle/>
                    <a:p>
                      <a:pPr algn="ctr"/>
                      <a:r>
                        <a:rPr lang="en-US" sz="1600" dirty="0">
                          <a:sym typeface="Wingdings" panose="05000000000000000000" pitchFamily="2" charset="2"/>
                        </a:rPr>
                        <a:t></a:t>
                      </a:r>
                      <a:endParaRPr lang="en-US" sz="1600" dirty="0"/>
                    </a:p>
                  </a:txBody>
                  <a:tcPr/>
                </a:tc>
                <a:tc>
                  <a:txBody>
                    <a:bodyPr/>
                    <a:lstStyle/>
                    <a:p>
                      <a:pPr algn="ctr"/>
                      <a:r>
                        <a:rPr lang="en-US" sz="1600" dirty="0">
                          <a:sym typeface="Wingdings" panose="05000000000000000000" pitchFamily="2" charset="2"/>
                        </a:rPr>
                        <a:t></a:t>
                      </a:r>
                      <a:endParaRPr lang="en-US" sz="1600" dirty="0"/>
                    </a:p>
                  </a:txBody>
                  <a:tcPr/>
                </a:tc>
                <a:tc>
                  <a:txBody>
                    <a:bodyPr/>
                    <a:lstStyle/>
                    <a:p>
                      <a:pPr algn="ctr"/>
                      <a:r>
                        <a:rPr lang="en-US" sz="1600" dirty="0">
                          <a:sym typeface="Wingdings" panose="05000000000000000000" pitchFamily="2" charset="2"/>
                        </a:rPr>
                        <a:t></a:t>
                      </a:r>
                      <a:endParaRPr lang="en-US" sz="1600" dirty="0"/>
                    </a:p>
                  </a:txBody>
                  <a:tcPr/>
                </a:tc>
                <a:extLst>
                  <a:ext uri="{0D108BD9-81ED-4DB2-BD59-A6C34878D82A}">
                    <a16:rowId xmlns:a16="http://schemas.microsoft.com/office/drawing/2014/main" val="10004"/>
                  </a:ext>
                </a:extLst>
              </a:tr>
              <a:tr h="538886">
                <a:tc>
                  <a:txBody>
                    <a:bodyPr/>
                    <a:lstStyle/>
                    <a:p>
                      <a:pPr algn="l"/>
                      <a:r>
                        <a:rPr lang="en-US" sz="1600" dirty="0" err="1"/>
                        <a:t>Pelaporan</a:t>
                      </a:r>
                      <a:r>
                        <a:rPr lang="en-US" sz="1600" baseline="0" dirty="0"/>
                        <a:t> </a:t>
                      </a:r>
                      <a:r>
                        <a:rPr lang="en-US" sz="1600" baseline="0" dirty="0" err="1"/>
                        <a:t>Penggantian</a:t>
                      </a:r>
                      <a:r>
                        <a:rPr lang="en-US" sz="1600" baseline="0" dirty="0"/>
                        <a:t> PJBU/PJTBU/PJSKBU</a:t>
                      </a:r>
                      <a:endParaRPr lang="en-US" sz="1600" dirty="0"/>
                    </a:p>
                  </a:txBody>
                  <a:tcPr/>
                </a:tc>
                <a:tc>
                  <a:txBody>
                    <a:bodyPr/>
                    <a:lstStyle/>
                    <a:p>
                      <a:pPr algn="ctr"/>
                      <a:r>
                        <a:rPr lang="en-US" sz="1600" dirty="0"/>
                        <a:t>-</a:t>
                      </a:r>
                    </a:p>
                  </a:txBody>
                  <a:tcPr/>
                </a:tc>
                <a:tc>
                  <a:txBody>
                    <a:bodyPr/>
                    <a:lstStyle/>
                    <a:p>
                      <a:pPr algn="ctr"/>
                      <a:r>
                        <a:rPr lang="en-US" sz="1600">
                          <a:sym typeface="Wingdings" panose="05000000000000000000" pitchFamily="2" charset="2"/>
                        </a:rPr>
                        <a:t></a:t>
                      </a:r>
                      <a:endParaRPr lang="en-US" sz="1600" dirty="0"/>
                    </a:p>
                  </a:txBody>
                  <a:tcPr/>
                </a:tc>
                <a:tc>
                  <a:txBody>
                    <a:bodyPr/>
                    <a:lstStyle/>
                    <a:p>
                      <a:pPr algn="ctr"/>
                      <a:r>
                        <a:rPr lang="en-US" sz="1600" dirty="0">
                          <a:sym typeface="Wingdings" panose="05000000000000000000" pitchFamily="2" charset="2"/>
                        </a:rPr>
                        <a:t></a:t>
                      </a:r>
                      <a:endParaRPr lang="en-US" sz="1600" dirty="0"/>
                    </a:p>
                  </a:txBody>
                  <a:tcPr/>
                </a:tc>
                <a:tc>
                  <a:txBody>
                    <a:bodyPr/>
                    <a:lstStyle/>
                    <a:p>
                      <a:pPr algn="ctr"/>
                      <a:r>
                        <a:rPr lang="en-US" sz="1600" dirty="0">
                          <a:sym typeface="Wingdings" panose="05000000000000000000" pitchFamily="2" charset="2"/>
                        </a:rPr>
                        <a:t></a:t>
                      </a:r>
                      <a:endParaRPr lang="en-US" sz="1600" dirty="0"/>
                    </a:p>
                  </a:txBody>
                  <a:tcPr/>
                </a:tc>
                <a:extLst>
                  <a:ext uri="{0D108BD9-81ED-4DB2-BD59-A6C34878D82A}">
                    <a16:rowId xmlns:a16="http://schemas.microsoft.com/office/drawing/2014/main" val="10005"/>
                  </a:ext>
                </a:extLst>
              </a:tr>
            </a:tbl>
          </a:graphicData>
        </a:graphic>
      </p:graphicFrame>
      <p:sp>
        <p:nvSpPr>
          <p:cNvPr id="18" name="Rectangle 17">
            <a:extLst>
              <a:ext uri="{FF2B5EF4-FFF2-40B4-BE49-F238E27FC236}">
                <a16:creationId xmlns:a16="http://schemas.microsoft.com/office/drawing/2014/main" id="{FBDD9824-9B98-604D-9623-7ECE6B8ACD83}"/>
              </a:ext>
            </a:extLst>
          </p:cNvPr>
          <p:cNvSpPr/>
          <p:nvPr/>
        </p:nvSpPr>
        <p:spPr>
          <a:xfrm>
            <a:off x="7518838" y="1240936"/>
            <a:ext cx="4449878" cy="5151025"/>
          </a:xfrm>
          <a:prstGeom prst="rect">
            <a:avLst/>
          </a:prstGeom>
          <a:solidFill>
            <a:schemeClr val="accent1">
              <a:lumMod val="20000"/>
              <a:lumOff val="80000"/>
            </a:schemeClr>
          </a:solidFill>
        </p:spPr>
        <p:txBody>
          <a:bodyPr wrap="square">
            <a:spAutoFit/>
          </a:bodyPr>
          <a:lstStyle/>
          <a:p>
            <a:pPr marL="0" marR="0" lvl="0" indent="0" algn="just" defTabSz="457200" rtl="0" eaLnBrk="0" fontAlgn="base" latinLnBrk="0" hangingPunct="0">
              <a:lnSpc>
                <a:spcPct val="130000"/>
              </a:lnSpc>
              <a:spcBef>
                <a:spcPct val="0"/>
              </a:spcBef>
              <a:spcAft>
                <a:spcPts val="0"/>
              </a:spcAft>
              <a:buClrTx/>
              <a:buSzTx/>
              <a:buFontTx/>
              <a:buNone/>
              <a:tabLst/>
              <a:defRPr/>
            </a:pPr>
            <a:r>
              <a:rPr kumimoji="0" lang="en-ID" sz="1600" b="1"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KEWAJIBAN KHUSUS KP BUJKA:</a:t>
            </a:r>
          </a:p>
          <a:p>
            <a:pPr marL="180975" marR="0" lvl="0" indent="-180975" algn="just" defTabSz="457200" rtl="0" eaLnBrk="0" fontAlgn="base" latinLnBrk="0" hangingPunct="0">
              <a:lnSpc>
                <a:spcPct val="130000"/>
              </a:lnSpc>
              <a:spcBef>
                <a:spcPct val="0"/>
              </a:spcBef>
              <a:spcAft>
                <a:spcPts val="0"/>
              </a:spcAft>
              <a:buClrTx/>
              <a:buSzTx/>
              <a:buFont typeface="+mj-lt"/>
              <a:buAutoNum type="alphaLcPeriod"/>
              <a:tabLst/>
              <a:defRPr/>
            </a:pP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berbentuk</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badan</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usaha</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dengan</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kualifikasi</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yang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setara</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dengan</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kualifikasi</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besar</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180975" marR="0" lvl="0" indent="-180975" algn="just" defTabSz="457200" rtl="0" eaLnBrk="0" fontAlgn="base" latinLnBrk="0" hangingPunct="0">
              <a:lnSpc>
                <a:spcPct val="130000"/>
              </a:lnSpc>
              <a:spcBef>
                <a:spcPct val="0"/>
              </a:spcBef>
              <a:spcAft>
                <a:spcPts val="0"/>
              </a:spcAft>
              <a:buClrTx/>
              <a:buSzTx/>
              <a:buFont typeface="+mj-lt"/>
              <a:buAutoNum type="alphaLcPeriod"/>
              <a:tabLst/>
              <a:defRPr/>
            </a:pPr>
            <a:r>
              <a:rPr kumimoji="0" lang="en-ID" sz="1400" b="1"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menempatkan</a:t>
            </a:r>
            <a:r>
              <a:rPr kumimoji="0" lang="en-ID" sz="1400" b="1"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1"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warga</a:t>
            </a:r>
            <a:r>
              <a:rPr kumimoji="0" lang="en-ID" sz="1400" b="1"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negara Indonesia </a:t>
            </a:r>
            <a:r>
              <a:rPr kumimoji="0" lang="en-ID" sz="1400" b="1"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sebagai</a:t>
            </a:r>
            <a:r>
              <a:rPr kumimoji="0" lang="en-ID" sz="1400" b="1"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1"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pimpinan</a:t>
            </a:r>
            <a:r>
              <a:rPr kumimoji="0" lang="en-ID" sz="1400" b="1"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1"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tertinggi</a:t>
            </a:r>
            <a:r>
              <a:rPr kumimoji="0" lang="en-ID" sz="1400" b="1"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1"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Wingdings" pitchFamily="2" charset="2"/>
              </a:rPr>
              <a:t> </a:t>
            </a:r>
            <a:r>
              <a:rPr kumimoji="0" lang="en-ID" sz="1400" b="1" i="0" u="none" strike="noStrike" kern="1200" cap="none" spc="0" normalizeH="0" baseline="0" noProof="0" dirty="0" err="1">
                <a:ln>
                  <a:noFill/>
                </a:ln>
                <a:solidFill>
                  <a:srgbClr val="FF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Wingdings" pitchFamily="2" charset="2"/>
              </a:rPr>
              <a:t>terdapat</a:t>
            </a:r>
            <a:r>
              <a:rPr kumimoji="0" lang="en-ID" sz="1400" b="1" i="0" u="none" strike="noStrike" kern="1200" cap="none" spc="0" normalizeH="0" baseline="0" noProof="0" dirty="0">
                <a:ln>
                  <a:noFill/>
                </a:ln>
                <a:solidFill>
                  <a:srgbClr val="FF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Wingdings" pitchFamily="2" charset="2"/>
              </a:rPr>
              <a:t> </a:t>
            </a:r>
            <a:r>
              <a:rPr kumimoji="0" lang="en-ID" sz="1400" b="1" i="0" u="none" strike="noStrike" kern="1200" cap="none" spc="0" normalizeH="0" baseline="0" noProof="0" dirty="0" err="1">
                <a:ln>
                  <a:noFill/>
                </a:ln>
                <a:solidFill>
                  <a:srgbClr val="FF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Wingdings" pitchFamily="2" charset="2"/>
              </a:rPr>
              <a:t>relaksasi</a:t>
            </a:r>
            <a:r>
              <a:rPr kumimoji="0" lang="en-ID" sz="1400" b="1" i="0" u="none" strike="noStrike" kern="1200" cap="none" spc="0" normalizeH="0" baseline="0" noProof="0" dirty="0">
                <a:ln>
                  <a:noFill/>
                </a:ln>
                <a:solidFill>
                  <a:srgbClr val="FF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Wingdings" pitchFamily="2" charset="2"/>
              </a:rPr>
              <a:t> (</a:t>
            </a:r>
            <a:r>
              <a:rPr kumimoji="0" lang="en-ID" sz="1400" b="1" i="0" u="none" strike="noStrike" kern="1200" cap="none" spc="0" normalizeH="0" baseline="0" noProof="0" dirty="0" err="1">
                <a:ln>
                  <a:noFill/>
                </a:ln>
                <a:solidFill>
                  <a:srgbClr val="FF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Wingdings" pitchFamily="2" charset="2"/>
              </a:rPr>
              <a:t>Pasal</a:t>
            </a:r>
            <a:r>
              <a:rPr kumimoji="0" lang="en-ID" sz="1400" b="1" i="0" u="none" strike="noStrike" kern="1200" cap="none" spc="0" normalizeH="0" baseline="0" noProof="0" dirty="0">
                <a:ln>
                  <a:noFill/>
                </a:ln>
                <a:solidFill>
                  <a:srgbClr val="FF0000"/>
                </a:solidFill>
                <a:effectLst/>
                <a:uLnTx/>
                <a:uFillTx/>
                <a:latin typeface="Calibri" panose="020F0502020204030204" pitchFamily="34" charset="0"/>
                <a:ea typeface="Times New Roman" panose="02020603050405020304" pitchFamily="18" charset="0"/>
                <a:cs typeface="Times New Roman" panose="02020603050405020304" pitchFamily="18" charset="0"/>
                <a:sym typeface="Wingdings" pitchFamily="2" charset="2"/>
              </a:rPr>
              <a:t> 84)</a:t>
            </a:r>
            <a:endParaRPr kumimoji="0" lang="en-US" sz="1400" b="1" i="0" u="none" strike="noStrike" kern="1200" cap="none" spc="0" normalizeH="0" baseline="0" noProof="0" dirty="0">
              <a:ln>
                <a:noFill/>
              </a:ln>
              <a:solidFill>
                <a:srgbClr val="FF0000"/>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180975" marR="0" lvl="0" indent="-180975" algn="just" defTabSz="457200" rtl="0" eaLnBrk="0" fontAlgn="base" latinLnBrk="0" hangingPunct="0">
              <a:lnSpc>
                <a:spcPct val="130000"/>
              </a:lnSpc>
              <a:spcBef>
                <a:spcPct val="0"/>
              </a:spcBef>
              <a:spcAft>
                <a:spcPts val="0"/>
              </a:spcAft>
              <a:buClrTx/>
              <a:buSzTx/>
              <a:buFont typeface="+mj-lt"/>
              <a:buAutoNum type="alphaLcPeriod"/>
              <a:tabLst/>
              <a:defRPr/>
            </a:pP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membentuk</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KSO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dengan</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BUJKN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dan</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memenuhi</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kriteria</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teknis</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KSO; </a:t>
            </a: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180975" marR="0" lvl="0" indent="-180975" algn="just" defTabSz="457200" rtl="0" eaLnBrk="0" fontAlgn="base" latinLnBrk="0" hangingPunct="0">
              <a:lnSpc>
                <a:spcPct val="130000"/>
              </a:lnSpc>
              <a:spcBef>
                <a:spcPct val="0"/>
              </a:spcBef>
              <a:spcAft>
                <a:spcPts val="0"/>
              </a:spcAft>
              <a:buClrTx/>
              <a:buSzTx/>
              <a:buFont typeface="+mj-lt"/>
              <a:buAutoNum type="alphaLcPeriod"/>
              <a:tabLst/>
              <a:defRPr/>
            </a:pP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mengutamakan</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penggunaan</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material dan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teknologi</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konstruksi</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dalam</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negeri; </a:t>
            </a:r>
          </a:p>
          <a:p>
            <a:pPr marL="180975" marR="0" lvl="0" indent="-180975" algn="just" defTabSz="457200" rtl="0" eaLnBrk="0" fontAlgn="base" latinLnBrk="0" hangingPunct="0">
              <a:lnSpc>
                <a:spcPct val="130000"/>
              </a:lnSpc>
              <a:spcBef>
                <a:spcPct val="0"/>
              </a:spcBef>
              <a:spcAft>
                <a:spcPts val="0"/>
              </a:spcAft>
              <a:buClrTx/>
              <a:buSzTx/>
              <a:buFont typeface="+mj-lt"/>
              <a:buAutoNum type="alphaLcPeriod"/>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memiliki</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teknologi</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tinggi</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mutakhir</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efisien</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berwawasan</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lingkungan</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serta</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memperhatikan</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kearifan</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lokal</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a:t>
            </a:r>
          </a:p>
          <a:p>
            <a:pPr marL="180975" marR="0" lvl="0" indent="-180975" algn="just" defTabSz="457200" rtl="0" eaLnBrk="0" fontAlgn="base" latinLnBrk="0" hangingPunct="0">
              <a:lnSpc>
                <a:spcPct val="130000"/>
              </a:lnSpc>
              <a:spcBef>
                <a:spcPct val="0"/>
              </a:spcBef>
              <a:spcAft>
                <a:spcPts val="0"/>
              </a:spcAft>
              <a:buClrTx/>
              <a:buSzTx/>
              <a:buFont typeface="+mj-lt"/>
              <a:buAutoNum type="alphaLcPeriod"/>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melaksanakan</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proses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alih</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teknologi</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p>
          <a:p>
            <a:pPr marL="180975" marR="0" lvl="0" indent="-180975" algn="just" defTabSz="457200" rtl="0" eaLnBrk="0" fontAlgn="base" latinLnBrk="0" hangingPunct="0">
              <a:lnSpc>
                <a:spcPct val="130000"/>
              </a:lnSpc>
              <a:spcBef>
                <a:spcPct val="0"/>
              </a:spcBef>
              <a:spcAft>
                <a:spcPts val="0"/>
              </a:spcAft>
              <a:buClrTx/>
              <a:buSzTx/>
              <a:buFont typeface="+mj-lt"/>
              <a:buAutoNum type="alphaLcPeriod"/>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mempekerjakan</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lebih</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banyak</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tenaga</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kerja</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Indonesia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daripada</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tenaga</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kerja</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asing</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dan</a:t>
            </a:r>
          </a:p>
          <a:p>
            <a:pPr marL="180975" marR="0" lvl="0" indent="-180975" algn="just" defTabSz="457200" rtl="0" eaLnBrk="0" fontAlgn="base" latinLnBrk="0" hangingPunct="0">
              <a:lnSpc>
                <a:spcPct val="130000"/>
              </a:lnSpc>
              <a:spcBef>
                <a:spcPct val="0"/>
              </a:spcBef>
              <a:spcAft>
                <a:spcPts val="0"/>
              </a:spcAft>
              <a:buClrTx/>
              <a:buSzTx/>
              <a:buFont typeface="+mj-lt"/>
              <a:buAutoNum type="alphaLcPeriod"/>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mempekerjakan</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tenaga</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kerja</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Indonesia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sebagai</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tenaga</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kerja</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pendamping</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pada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bidang</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manajemen</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dan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teknis</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paling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rendah</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dua</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tingkat</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di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bawah</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jabatan</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tenaga</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kerja</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asing</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berdasarkan</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klasifikasi</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keilmuan</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yang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sesuai</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p>
        </p:txBody>
      </p:sp>
      <p:sp>
        <p:nvSpPr>
          <p:cNvPr id="19" name="Rectangle 18">
            <a:extLst>
              <a:ext uri="{FF2B5EF4-FFF2-40B4-BE49-F238E27FC236}">
                <a16:creationId xmlns:a16="http://schemas.microsoft.com/office/drawing/2014/main" id="{4AA8003D-3C0B-654A-843A-CF387C39C3A0}"/>
              </a:ext>
            </a:extLst>
          </p:cNvPr>
          <p:cNvSpPr/>
          <p:nvPr/>
        </p:nvSpPr>
        <p:spPr>
          <a:xfrm>
            <a:off x="223284" y="4993024"/>
            <a:ext cx="6953540" cy="1397690"/>
          </a:xfrm>
          <a:prstGeom prst="rect">
            <a:avLst/>
          </a:prstGeom>
          <a:solidFill>
            <a:schemeClr val="bg1">
              <a:lumMod val="85000"/>
            </a:schemeClr>
          </a:solidFill>
        </p:spPr>
        <p:txBody>
          <a:bodyPr wrap="square">
            <a:spAutoFit/>
          </a:bodyPr>
          <a:lstStyle/>
          <a:p>
            <a:pPr marL="0" marR="0" lvl="0" indent="0" algn="just" defTabSz="457200" rtl="0" eaLnBrk="0" fontAlgn="base" latinLnBrk="0" hangingPunct="0">
              <a:lnSpc>
                <a:spcPct val="150000"/>
              </a:lnSpc>
              <a:spcBef>
                <a:spcPct val="0"/>
              </a:spcBef>
              <a:spcAft>
                <a:spcPts val="0"/>
              </a:spcAft>
              <a:buClrTx/>
              <a:buSzTx/>
              <a:buFontTx/>
              <a:buNone/>
              <a:tabLst/>
              <a:defRPr/>
            </a:pPr>
            <a:r>
              <a:rPr kumimoji="0" lang="en-ID" sz="1600" b="1"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KEWAJIBAN KHUSUS BUJK PENANAMAN MODAL ASING</a:t>
            </a:r>
          </a:p>
          <a:p>
            <a:pPr marL="180975" marR="0" lvl="0" indent="-180975" algn="just" defTabSz="457200" rtl="0" eaLnBrk="0" fontAlgn="base" latinLnBrk="0" hangingPunct="0">
              <a:lnSpc>
                <a:spcPct val="150000"/>
              </a:lnSpc>
              <a:spcBef>
                <a:spcPct val="0"/>
              </a:spcBef>
              <a:spcAft>
                <a:spcPts val="0"/>
              </a:spcAft>
              <a:buClrTx/>
              <a:buSzTx/>
              <a:buFont typeface="+mj-lt"/>
              <a:buAutoNum type="alphaLcPeriod"/>
              <a:tabLst/>
              <a:defRPr/>
            </a:pP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membentuk</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badan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usaha</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berbadan</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hukum</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Indonesia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melalui</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kerja</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sama</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modal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dengan</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BUJKN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kualifikasi</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besar</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dan</a:t>
            </a: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a:p>
            <a:pPr marL="180975" marR="0" lvl="0" indent="-180975" algn="just" defTabSz="457200" rtl="0" eaLnBrk="0" fontAlgn="base" latinLnBrk="0" hangingPunct="0">
              <a:lnSpc>
                <a:spcPct val="150000"/>
              </a:lnSpc>
              <a:spcBef>
                <a:spcPct val="0"/>
              </a:spcBef>
              <a:spcAft>
                <a:spcPts val="0"/>
              </a:spcAft>
              <a:buClrTx/>
              <a:buSzTx/>
              <a:buFont typeface="+mj-lt"/>
              <a:buAutoNum type="alphaLcPeriod"/>
              <a:tabLst/>
              <a:defRPr/>
            </a:pP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mengikuti</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ketentuan</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struktur</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permodalan</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dan</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kriteria</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teknis</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a:t>
            </a:r>
            <a:r>
              <a:rPr kumimoji="0" lang="en-ID" sz="14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penanam</a:t>
            </a:r>
            <a:r>
              <a:rPr kumimoji="0" lang="en-ID"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modal.</a:t>
            </a: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6491092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2" presetClass="entr" presetSubtype="1" accel="20000" decel="80000" fill="hold" grpId="0" nodeType="withEffect">
                                  <p:stCondLst>
                                    <p:cond delay="250"/>
                                  </p:stCondLst>
                                  <p:childTnLst>
                                    <p:set>
                                      <p:cBhvr>
                                        <p:cTn id="9" dur="1" fill="hold">
                                          <p:stCondLst>
                                            <p:cond delay="0"/>
                                          </p:stCondLst>
                                        </p:cTn>
                                        <p:tgtEl>
                                          <p:spTgt spid="7"/>
                                        </p:tgtEl>
                                        <p:attrNameLst>
                                          <p:attrName>style.visibility</p:attrName>
                                        </p:attrNameLst>
                                      </p:cBhvr>
                                      <p:to>
                                        <p:strVal val="visible"/>
                                      </p:to>
                                    </p:set>
                                    <p:anim calcmode="lin" valueType="num">
                                      <p:cBhvr additive="base">
                                        <p:cTn id="10" dur="1000" fill="hold"/>
                                        <p:tgtEl>
                                          <p:spTgt spid="7"/>
                                        </p:tgtEl>
                                        <p:attrNameLst>
                                          <p:attrName>ppt_x</p:attrName>
                                        </p:attrNameLst>
                                      </p:cBhvr>
                                      <p:tavLst>
                                        <p:tav tm="0">
                                          <p:val>
                                            <p:strVal val="#ppt_x"/>
                                          </p:val>
                                        </p:tav>
                                        <p:tav tm="100000">
                                          <p:val>
                                            <p:strVal val="#ppt_x"/>
                                          </p:val>
                                        </p:tav>
                                      </p:tavLst>
                                    </p:anim>
                                    <p:anim calcmode="lin" valueType="num">
                                      <p:cBhvr additive="base">
                                        <p:cTn id="11" dur="1000" fill="hold"/>
                                        <p:tgtEl>
                                          <p:spTgt spid="7"/>
                                        </p:tgtEl>
                                        <p:attrNameLst>
                                          <p:attrName>ppt_y</p:attrName>
                                        </p:attrNameLst>
                                      </p:cBhvr>
                                      <p:tavLst>
                                        <p:tav tm="0">
                                          <p:val>
                                            <p:strVal val="0-#ppt_h/2"/>
                                          </p:val>
                                        </p:tav>
                                        <p:tav tm="100000">
                                          <p:val>
                                            <p:strVal val="#ppt_y"/>
                                          </p:val>
                                        </p:tav>
                                      </p:tavLst>
                                    </p:anim>
                                  </p:childTnLst>
                                </p:cTn>
                              </p:par>
                              <p:par>
                                <p:cTn id="12" presetID="10" presetClass="entr" presetSubtype="0" fill="hold" nodeType="withEffect">
                                  <p:stCondLst>
                                    <p:cond delay="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500"/>
                                        <p:tgtEl>
                                          <p:spTgt spid="21"/>
                                        </p:tgtEl>
                                      </p:cBhvr>
                                    </p:animEffect>
                                  </p:childTnLst>
                                </p:cTn>
                              </p:par>
                              <p:par>
                                <p:cTn id="15" presetID="2" presetClass="entr" presetSubtype="1" accel="20000" decel="80000" fill="hold" grpId="0" nodeType="withEffect">
                                  <p:stCondLst>
                                    <p:cond delay="250"/>
                                  </p:stCondLst>
                                  <p:childTnLst>
                                    <p:set>
                                      <p:cBhvr>
                                        <p:cTn id="16" dur="1" fill="hold">
                                          <p:stCondLst>
                                            <p:cond delay="0"/>
                                          </p:stCondLst>
                                        </p:cTn>
                                        <p:tgtEl>
                                          <p:spTgt spid="15">
                                            <p:txEl>
                                              <p:pRg st="0" end="0"/>
                                            </p:txEl>
                                          </p:spTgt>
                                        </p:tgtEl>
                                        <p:attrNameLst>
                                          <p:attrName>style.visibility</p:attrName>
                                        </p:attrNameLst>
                                      </p:cBhvr>
                                      <p:to>
                                        <p:strVal val="visible"/>
                                      </p:to>
                                    </p:set>
                                    <p:anim calcmode="lin" valueType="num">
                                      <p:cBhvr additive="base">
                                        <p:cTn id="17" dur="1000" fill="hold"/>
                                        <p:tgtEl>
                                          <p:spTgt spid="15">
                                            <p:txEl>
                                              <p:pRg st="0" end="0"/>
                                            </p:txEl>
                                          </p:spTgt>
                                        </p:tgtEl>
                                        <p:attrNameLst>
                                          <p:attrName>ppt_x</p:attrName>
                                        </p:attrNameLst>
                                      </p:cBhvr>
                                      <p:tavLst>
                                        <p:tav tm="0">
                                          <p:val>
                                            <p:strVal val="#ppt_x"/>
                                          </p:val>
                                        </p:tav>
                                        <p:tav tm="100000">
                                          <p:val>
                                            <p:strVal val="#ppt_x"/>
                                          </p:val>
                                        </p:tav>
                                      </p:tavLst>
                                    </p:anim>
                                    <p:anim calcmode="lin" valueType="num">
                                      <p:cBhvr additive="base">
                                        <p:cTn id="18" dur="1000" fill="hold"/>
                                        <p:tgtEl>
                                          <p:spTgt spid="15">
                                            <p:txEl>
                                              <p:pRg st="0" end="0"/>
                                            </p:txEl>
                                          </p:spTgt>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5"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5" name="Picture Placeholder 2" descr="A picture containing indoor&#10;&#10;Description automatically generated">
            <a:extLst>
              <a:ext uri="{FF2B5EF4-FFF2-40B4-BE49-F238E27FC236}">
                <a16:creationId xmlns:a16="http://schemas.microsoft.com/office/drawing/2014/main" id="{20403547-53ED-6A4E-A89D-32A1FCB64B60}"/>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7938" y="0"/>
            <a:ext cx="122047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Graphic 21">
            <a:extLst>
              <a:ext uri="{FF2B5EF4-FFF2-40B4-BE49-F238E27FC236}">
                <a16:creationId xmlns:a16="http://schemas.microsoft.com/office/drawing/2014/main" id="{169C437B-9E02-7B40-8395-402AF84D85CC}"/>
              </a:ext>
            </a:extLst>
          </p:cNvPr>
          <p:cNvSpPr/>
          <p:nvPr/>
        </p:nvSpPr>
        <p:spPr>
          <a:xfrm>
            <a:off x="0" y="3959225"/>
            <a:ext cx="2316163" cy="2898775"/>
          </a:xfrm>
          <a:custGeom>
            <a:avLst/>
            <a:gdLst>
              <a:gd name="connsiteX0" fmla="*/ 966121 w 3087570"/>
              <a:gd name="connsiteY0" fmla="*/ 1168813 h 3865721"/>
              <a:gd name="connsiteX1" fmla="*/ 0 w 3087570"/>
              <a:gd name="connsiteY1" fmla="*/ 0 h 3865721"/>
              <a:gd name="connsiteX2" fmla="*/ 0 w 3087570"/>
              <a:gd name="connsiteY2" fmla="*/ 3865721 h 3865721"/>
              <a:gd name="connsiteX3" fmla="*/ 2580132 w 3087570"/>
              <a:gd name="connsiteY3" fmla="*/ 3865721 h 3865721"/>
              <a:gd name="connsiteX4" fmla="*/ 2762155 w 3087570"/>
              <a:gd name="connsiteY4" fmla="*/ 1512284 h 3865721"/>
              <a:gd name="connsiteX5" fmla="*/ 966121 w 3087570"/>
              <a:gd name="connsiteY5" fmla="*/ 1168813 h 3865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570" h="3865721">
                <a:moveTo>
                  <a:pt x="966121" y="1168813"/>
                </a:moveTo>
                <a:cubicBezTo>
                  <a:pt x="510635" y="966978"/>
                  <a:pt x="191072" y="427863"/>
                  <a:pt x="0" y="0"/>
                </a:cubicBezTo>
                <a:lnTo>
                  <a:pt x="0" y="3865721"/>
                </a:lnTo>
                <a:lnTo>
                  <a:pt x="2580132" y="3865721"/>
                </a:lnTo>
                <a:cubicBezTo>
                  <a:pt x="3452241" y="3246120"/>
                  <a:pt x="2982659" y="1852041"/>
                  <a:pt x="2762155" y="1512284"/>
                </a:cubicBezTo>
                <a:cubicBezTo>
                  <a:pt x="2478024" y="1074134"/>
                  <a:pt x="1767554" y="1524095"/>
                  <a:pt x="966121" y="1168813"/>
                </a:cubicBezTo>
                <a:close/>
              </a:path>
            </a:pathLst>
          </a:custGeom>
          <a:solidFill>
            <a:schemeClr val="bg2">
              <a:lumMod val="75000"/>
              <a:alpha val="10000"/>
            </a:schemeClr>
          </a:solidFill>
          <a:ln w="9525" cap="flat">
            <a:noFill/>
            <a:prstDash val="solid"/>
            <a:miter/>
          </a:ln>
        </p:spPr>
        <p:txBody>
          <a:bodyPr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grpSp>
        <p:nvGrpSpPr>
          <p:cNvPr id="9" name="Oval 8">
            <a:extLst>
              <a:ext uri="{FF2B5EF4-FFF2-40B4-BE49-F238E27FC236}">
                <a16:creationId xmlns:a16="http://schemas.microsoft.com/office/drawing/2014/main" id="{F4245DC4-BC21-C948-9683-711FE27AACC3}"/>
              </a:ext>
            </a:extLst>
          </p:cNvPr>
          <p:cNvGrpSpPr>
            <a:grpSpLocks/>
          </p:cNvGrpSpPr>
          <p:nvPr/>
        </p:nvGrpSpPr>
        <p:grpSpPr bwMode="auto">
          <a:xfrm>
            <a:off x="9017000" y="1651000"/>
            <a:ext cx="2159000" cy="2159000"/>
            <a:chOff x="5680" y="1040"/>
            <a:chExt cx="1360" cy="1360"/>
          </a:xfrm>
        </p:grpSpPr>
        <p:pic>
          <p:nvPicPr>
            <p:cNvPr id="36878" name="Oval 8">
              <a:extLst>
                <a:ext uri="{FF2B5EF4-FFF2-40B4-BE49-F238E27FC236}">
                  <a16:creationId xmlns:a16="http://schemas.microsoft.com/office/drawing/2014/main" id="{2C8B86CB-D5DA-574F-88C6-DD4EDAAD9FC8}"/>
                </a:ext>
              </a:extLst>
            </p:cNvPr>
            <p:cNvPicPr>
              <a:picLocks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680" y="1040"/>
              <a:ext cx="1360" cy="1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79" name="Text Box 4">
              <a:extLst>
                <a:ext uri="{FF2B5EF4-FFF2-40B4-BE49-F238E27FC236}">
                  <a16:creationId xmlns:a16="http://schemas.microsoft.com/office/drawing/2014/main" id="{0B039CF6-5707-3342-98D4-B02BA9323679}"/>
                </a:ext>
              </a:extLst>
            </p:cNvPr>
            <p:cNvSpPr txBox="1">
              <a:spLocks noChangeArrowheads="1"/>
            </p:cNvSpPr>
            <p:nvPr/>
          </p:nvSpPr>
          <p:spPr bwMode="auto">
            <a:xfrm>
              <a:off x="5883" y="1244"/>
              <a:ext cx="959" cy="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altLang="en-US" sz="13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grpSp>
      <p:sp>
        <p:nvSpPr>
          <p:cNvPr id="36868" name="TextBox 1">
            <a:extLst>
              <a:ext uri="{FF2B5EF4-FFF2-40B4-BE49-F238E27FC236}">
                <a16:creationId xmlns:a16="http://schemas.microsoft.com/office/drawing/2014/main" id="{9EC1C017-6070-EA42-92C7-A51B8E0C426A}"/>
              </a:ext>
            </a:extLst>
          </p:cNvPr>
          <p:cNvSpPr txBox="1">
            <a:spLocks noChangeArrowheads="1"/>
          </p:cNvSpPr>
          <p:nvPr/>
        </p:nvSpPr>
        <p:spPr bwMode="auto">
          <a:xfrm>
            <a:off x="-293332" y="3616780"/>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6869" name="object 4">
            <a:extLst>
              <a:ext uri="{FF2B5EF4-FFF2-40B4-BE49-F238E27FC236}">
                <a16:creationId xmlns:a16="http://schemas.microsoft.com/office/drawing/2014/main" id="{C6F08A22-2B3E-494E-9AA8-8043C9194628}"/>
              </a:ext>
            </a:extLst>
          </p:cNvPr>
          <p:cNvSpPr>
            <a:spLocks noChangeArrowheads="1"/>
          </p:cNvSpPr>
          <p:nvPr/>
        </p:nvSpPr>
        <p:spPr bwMode="auto">
          <a:xfrm>
            <a:off x="10345738" y="-14288"/>
            <a:ext cx="1846262" cy="776288"/>
          </a:xfrm>
          <a:prstGeom prst="rect">
            <a:avLst/>
          </a:prstGeom>
          <a:blipFill dpi="0" rotWithShape="1">
            <a:blip r:embed="rId4" cstate="screen">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nvGrpSpPr>
          <p:cNvPr id="21" name="Oval 20">
            <a:extLst>
              <a:ext uri="{FF2B5EF4-FFF2-40B4-BE49-F238E27FC236}">
                <a16:creationId xmlns:a16="http://schemas.microsoft.com/office/drawing/2014/main" id="{E9C94BA4-9547-D046-89DA-A6D5268DB6CC}"/>
              </a:ext>
            </a:extLst>
          </p:cNvPr>
          <p:cNvGrpSpPr>
            <a:grpSpLocks/>
          </p:cNvGrpSpPr>
          <p:nvPr/>
        </p:nvGrpSpPr>
        <p:grpSpPr bwMode="auto">
          <a:xfrm>
            <a:off x="-1092200" y="-887413"/>
            <a:ext cx="4940300" cy="4724401"/>
            <a:chOff x="-1200" y="2584"/>
            <a:chExt cx="3112" cy="2976"/>
          </a:xfrm>
        </p:grpSpPr>
        <p:pic>
          <p:nvPicPr>
            <p:cNvPr id="36876" name="Oval 20">
              <a:extLst>
                <a:ext uri="{FF2B5EF4-FFF2-40B4-BE49-F238E27FC236}">
                  <a16:creationId xmlns:a16="http://schemas.microsoft.com/office/drawing/2014/main" id="{38D57C8F-7A03-C743-95E0-1B2479F66577}"/>
                </a:ext>
              </a:extLst>
            </p:cNvPr>
            <p:cNvPicPr>
              <a:picLocks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00" y="2584"/>
              <a:ext cx="3112"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77" name="Text Box 3">
              <a:extLst>
                <a:ext uri="{FF2B5EF4-FFF2-40B4-BE49-F238E27FC236}">
                  <a16:creationId xmlns:a16="http://schemas.microsoft.com/office/drawing/2014/main" id="{6C041DD7-9EAD-B148-8289-85863033EFE0}"/>
                </a:ext>
              </a:extLst>
            </p:cNvPr>
            <p:cNvSpPr txBox="1">
              <a:spLocks noChangeArrowheads="1"/>
            </p:cNvSpPr>
            <p:nvPr/>
          </p:nvSpPr>
          <p:spPr bwMode="auto">
            <a:xfrm>
              <a:off x="-743" y="3019"/>
              <a:ext cx="2195" cy="2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altLang="en-US" sz="13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grpSp>
      <p:sp>
        <p:nvSpPr>
          <p:cNvPr id="7" name="Rectangle: Rounded Corners 6">
            <a:extLst>
              <a:ext uri="{FF2B5EF4-FFF2-40B4-BE49-F238E27FC236}">
                <a16:creationId xmlns:a16="http://schemas.microsoft.com/office/drawing/2014/main" id="{F0BBB341-DCD4-C345-B99C-09A2D8F875AC}"/>
              </a:ext>
            </a:extLst>
          </p:cNvPr>
          <p:cNvSpPr/>
          <p:nvPr/>
        </p:nvSpPr>
        <p:spPr>
          <a:xfrm>
            <a:off x="398463" y="671513"/>
            <a:ext cx="11422062" cy="5773737"/>
          </a:xfrm>
          <a:prstGeom prst="roundRect">
            <a:avLst>
              <a:gd name="adj" fmla="val 1875"/>
            </a:avLst>
          </a:prstGeom>
          <a:solidFill>
            <a:schemeClr val="bg1"/>
          </a:solidFill>
          <a:ln>
            <a:noFill/>
          </a:ln>
          <a:effectLst>
            <a:outerShdw blurRad="266700" dist="508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a:ea typeface="+mn-ea"/>
              <a:cs typeface="+mn-cs"/>
            </a:endParaRPr>
          </a:p>
        </p:txBody>
      </p:sp>
      <p:pic>
        <p:nvPicPr>
          <p:cNvPr id="36872" name="Picture 23" descr="A group of people wearing helmets&#10;&#10;Description automatically generated with medium confidence">
            <a:extLst>
              <a:ext uri="{FF2B5EF4-FFF2-40B4-BE49-F238E27FC236}">
                <a16:creationId xmlns:a16="http://schemas.microsoft.com/office/drawing/2014/main" id="{8CE44DEB-227A-F740-B1BD-3902D086E367}"/>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340850" y="4303713"/>
            <a:ext cx="3330575" cy="333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74" name="Text Placeholder 17">
            <a:extLst>
              <a:ext uri="{FF2B5EF4-FFF2-40B4-BE49-F238E27FC236}">
                <a16:creationId xmlns:a16="http://schemas.microsoft.com/office/drawing/2014/main" id="{ED9C183E-B261-544C-9F46-3408F07460D2}"/>
              </a:ext>
            </a:extLst>
          </p:cNvPr>
          <p:cNvSpPr txBox="1">
            <a:spLocks noChangeArrowheads="1"/>
          </p:cNvSpPr>
          <p:nvPr/>
        </p:nvSpPr>
        <p:spPr bwMode="auto">
          <a:xfrm>
            <a:off x="1619251" y="737088"/>
            <a:ext cx="7996237"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kumimoji="0" lang="id-ID" altLang="en-US" sz="2800" b="1" i="0" u="none" strike="noStrike" kern="1200" cap="none" spc="0" normalizeH="0" baseline="0" noProof="0" dirty="0">
                <a:ln>
                  <a:noFill/>
                </a:ln>
                <a:solidFill>
                  <a:srgbClr val="FBB21A"/>
                </a:solidFill>
                <a:effectLst/>
                <a:uLnTx/>
                <a:uFillTx/>
                <a:latin typeface="Century Gothic" panose="020B0502020202020204" pitchFamily="34" charset="0"/>
                <a:ea typeface="+mn-ea"/>
                <a:cs typeface="+mn-cs"/>
              </a:rPr>
              <a:t>PENGAWASAN</a:t>
            </a:r>
            <a:endParaRPr kumimoji="0" lang="en-US" altLang="en-US" sz="2800" b="1" i="0" u="none" strike="noStrike" kern="1200" cap="none" spc="0" normalizeH="0" baseline="0" noProof="0" dirty="0">
              <a:ln>
                <a:noFill/>
              </a:ln>
              <a:solidFill>
                <a:srgbClr val="FBB21A"/>
              </a:solidFill>
              <a:effectLst/>
              <a:uLnTx/>
              <a:uFillTx/>
              <a:latin typeface="Century Gothic" panose="020B0502020202020204" pitchFamily="34" charset="0"/>
              <a:ea typeface="+mn-ea"/>
              <a:cs typeface="Arial" panose="020B0604020202020204" pitchFamily="34" charset="0"/>
            </a:endParaRPr>
          </a:p>
        </p:txBody>
      </p:sp>
      <p:sp>
        <p:nvSpPr>
          <p:cNvPr id="17" name="Parallelogram 16">
            <a:extLst>
              <a:ext uri="{FF2B5EF4-FFF2-40B4-BE49-F238E27FC236}">
                <a16:creationId xmlns:a16="http://schemas.microsoft.com/office/drawing/2014/main" id="{BBDA773D-7351-564A-BE67-069C3200315A}"/>
              </a:ext>
            </a:extLst>
          </p:cNvPr>
          <p:cNvSpPr/>
          <p:nvPr/>
        </p:nvSpPr>
        <p:spPr>
          <a:xfrm>
            <a:off x="159070" y="1251616"/>
            <a:ext cx="6037731" cy="1090400"/>
          </a:xfrm>
          <a:prstGeom prst="parallelogram">
            <a:avLst>
              <a:gd name="adj" fmla="val 26813"/>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ID" sz="1400" b="1" i="0" u="none" strike="noStrike" kern="1200" cap="none" spc="0" normalizeH="0" baseline="0" noProof="0" dirty="0" err="1">
                <a:ln>
                  <a:noFill/>
                </a:ln>
                <a:solidFill>
                  <a:prstClr val="white"/>
                </a:solidFill>
                <a:effectLst/>
                <a:uLnTx/>
                <a:uFillTx/>
                <a:latin typeface="Calibri"/>
                <a:ea typeface="+mn-ea"/>
                <a:cs typeface="+mn-cs"/>
              </a:rPr>
              <a:t>Pengawasan</a:t>
            </a:r>
            <a:r>
              <a:rPr kumimoji="0" lang="en-ID" sz="1400" b="1" i="0" u="none" strike="noStrike" kern="1200" cap="none" spc="0" normalizeH="0" baseline="0" noProof="0" dirty="0">
                <a:ln>
                  <a:noFill/>
                </a:ln>
                <a:solidFill>
                  <a:prstClr val="white"/>
                </a:solidFill>
                <a:effectLst/>
                <a:uLnTx/>
                <a:uFillTx/>
                <a:latin typeface="Calibri"/>
                <a:ea typeface="+mn-ea"/>
                <a:cs typeface="+mn-cs"/>
              </a:rPr>
              <a:t> oleh </a:t>
            </a:r>
            <a:r>
              <a:rPr kumimoji="0" lang="en-ID" sz="1400" b="1" i="0" u="none" strike="noStrike" kern="1200" cap="none" spc="0" normalizeH="0" baseline="0" noProof="0" dirty="0" err="1">
                <a:ln>
                  <a:noFill/>
                </a:ln>
                <a:solidFill>
                  <a:prstClr val="white"/>
                </a:solidFill>
                <a:effectLst/>
                <a:uLnTx/>
                <a:uFillTx/>
                <a:latin typeface="Calibri"/>
                <a:ea typeface="+mn-ea"/>
                <a:cs typeface="+mn-cs"/>
              </a:rPr>
              <a:t>menteri</a:t>
            </a:r>
            <a:r>
              <a:rPr kumimoji="0" lang="en-ID" sz="1400" b="1" i="0" u="none" strike="noStrike" kern="1200" cap="none" spc="0" normalizeH="0" baseline="0" noProof="0" dirty="0">
                <a:ln>
                  <a:noFill/>
                </a:ln>
                <a:solidFill>
                  <a:prstClr val="white"/>
                </a:solidFill>
                <a:effectLst/>
                <a:uLnTx/>
                <a:uFillTx/>
                <a:latin typeface="Calibri"/>
                <a:ea typeface="+mn-ea"/>
                <a:cs typeface="+mn-cs"/>
              </a:rPr>
              <a:t> PUPR, </a:t>
            </a:r>
            <a:r>
              <a:rPr kumimoji="0" lang="en-ID" sz="1400" b="1" i="0" u="none" strike="noStrike" kern="1200" cap="none" spc="0" normalizeH="0" baseline="0" noProof="0" dirty="0" err="1">
                <a:ln>
                  <a:noFill/>
                </a:ln>
                <a:solidFill>
                  <a:prstClr val="white"/>
                </a:solidFill>
                <a:effectLst/>
                <a:uLnTx/>
                <a:uFillTx/>
                <a:latin typeface="Calibri"/>
                <a:ea typeface="+mn-ea"/>
                <a:cs typeface="+mn-cs"/>
              </a:rPr>
              <a:t>bupati</a:t>
            </a:r>
            <a:r>
              <a:rPr kumimoji="0" lang="en-ID" sz="1400" b="1" i="0" u="none" strike="noStrike" kern="1200" cap="none" spc="0" normalizeH="0" baseline="0" noProof="0" dirty="0">
                <a:ln>
                  <a:noFill/>
                </a:ln>
                <a:solidFill>
                  <a:prstClr val="white"/>
                </a:solidFill>
                <a:effectLst/>
                <a:uLnTx/>
                <a:uFillTx/>
                <a:latin typeface="Calibri"/>
                <a:ea typeface="+mn-ea"/>
                <a:cs typeface="+mn-cs"/>
              </a:rPr>
              <a:t>/</a:t>
            </a:r>
            <a:r>
              <a:rPr kumimoji="0" lang="en-ID" sz="1400" b="1" i="0" u="none" strike="noStrike" kern="1200" cap="none" spc="0" normalizeH="0" baseline="0" noProof="0" dirty="0" err="1">
                <a:ln>
                  <a:noFill/>
                </a:ln>
                <a:solidFill>
                  <a:prstClr val="white"/>
                </a:solidFill>
                <a:effectLst/>
                <a:uLnTx/>
                <a:uFillTx/>
                <a:latin typeface="Calibri"/>
                <a:ea typeface="+mn-ea"/>
                <a:cs typeface="+mn-cs"/>
              </a:rPr>
              <a:t>walikota</a:t>
            </a:r>
            <a:r>
              <a:rPr kumimoji="0" lang="en-ID" sz="1400" b="1" i="0" u="none" strike="noStrike" kern="1200" cap="none" spc="0" normalizeH="0" baseline="0" noProof="0" dirty="0">
                <a:ln>
                  <a:noFill/>
                </a:ln>
                <a:solidFill>
                  <a:prstClr val="white"/>
                </a:solidFill>
                <a:effectLst/>
                <a:uLnTx/>
                <a:uFillTx/>
                <a:latin typeface="Calibri"/>
                <a:ea typeface="+mn-ea"/>
                <a:cs typeface="+mn-cs"/>
              </a:rPr>
              <a:t>, Administrator KEK, dan </a:t>
            </a:r>
            <a:r>
              <a:rPr kumimoji="0" lang="en-ID" sz="1400" b="1" i="0" u="none" strike="noStrike" kern="1200" cap="none" spc="0" normalizeH="0" baseline="0" noProof="0" dirty="0" err="1">
                <a:ln>
                  <a:noFill/>
                </a:ln>
                <a:solidFill>
                  <a:prstClr val="white"/>
                </a:solidFill>
                <a:effectLst/>
                <a:uLnTx/>
                <a:uFillTx/>
                <a:latin typeface="Calibri"/>
                <a:ea typeface="+mn-ea"/>
                <a:cs typeface="+mn-cs"/>
              </a:rPr>
              <a:t>kepala</a:t>
            </a:r>
            <a:r>
              <a:rPr kumimoji="0" lang="en-ID" sz="1400" b="1" i="0" u="none" strike="noStrike" kern="1200" cap="none" spc="0" normalizeH="0" baseline="0" noProof="0" dirty="0">
                <a:ln>
                  <a:noFill/>
                </a:ln>
                <a:solidFill>
                  <a:prstClr val="white"/>
                </a:solidFill>
                <a:effectLst/>
                <a:uLnTx/>
                <a:uFillTx/>
                <a:latin typeface="Calibri"/>
                <a:ea typeface="+mn-ea"/>
                <a:cs typeface="+mn-cs"/>
              </a:rPr>
              <a:t> Badan </a:t>
            </a:r>
            <a:r>
              <a:rPr kumimoji="0" lang="en-ID" sz="1400" b="1" i="0" u="none" strike="noStrike" kern="1200" cap="none" spc="0" normalizeH="0" baseline="0" noProof="0" dirty="0" err="1">
                <a:ln>
                  <a:noFill/>
                </a:ln>
                <a:solidFill>
                  <a:prstClr val="white"/>
                </a:solidFill>
                <a:effectLst/>
                <a:uLnTx/>
                <a:uFillTx/>
                <a:latin typeface="Calibri"/>
                <a:ea typeface="+mn-ea"/>
                <a:cs typeface="+mn-cs"/>
              </a:rPr>
              <a:t>Pengusahaan</a:t>
            </a:r>
            <a:r>
              <a:rPr kumimoji="0" lang="en-ID" sz="1400" b="1" i="0" u="none" strike="noStrike" kern="1200" cap="none" spc="0" normalizeH="0" baseline="0" noProof="0" dirty="0">
                <a:ln>
                  <a:noFill/>
                </a:ln>
                <a:solidFill>
                  <a:prstClr val="white"/>
                </a:solidFill>
                <a:effectLst/>
                <a:uLnTx/>
                <a:uFillTx/>
                <a:latin typeface="Calibri"/>
                <a:ea typeface="+mn-ea"/>
                <a:cs typeface="+mn-cs"/>
              </a:rPr>
              <a:t> KPBPB </a:t>
            </a:r>
            <a:r>
              <a:rPr kumimoji="0" lang="en-ID" sz="1400" b="1" i="0" u="none" strike="noStrike" kern="1200" cap="none" spc="0" normalizeH="0" baseline="0" noProof="0" dirty="0" err="1">
                <a:ln>
                  <a:noFill/>
                </a:ln>
                <a:solidFill>
                  <a:prstClr val="white"/>
                </a:solidFill>
                <a:effectLst/>
                <a:uLnTx/>
                <a:uFillTx/>
                <a:latin typeface="Calibri"/>
                <a:ea typeface="+mn-ea"/>
                <a:cs typeface="+mn-cs"/>
              </a:rPr>
              <a:t>sesuai</a:t>
            </a:r>
            <a:r>
              <a:rPr kumimoji="0" lang="en-ID" sz="1400" b="1" i="0" u="none" strike="noStrike" kern="1200" cap="none" spc="0" normalizeH="0" baseline="0" noProof="0" dirty="0">
                <a:ln>
                  <a:noFill/>
                </a:ln>
                <a:solidFill>
                  <a:prstClr val="white"/>
                </a:solidFill>
                <a:effectLst/>
                <a:uLnTx/>
                <a:uFillTx/>
                <a:latin typeface="Calibri"/>
                <a:ea typeface="+mn-ea"/>
                <a:cs typeface="+mn-cs"/>
              </a:rPr>
              <a:t> </a:t>
            </a:r>
            <a:r>
              <a:rPr kumimoji="0" lang="en-ID" sz="1400" b="1" i="0" u="none" strike="noStrike" kern="1200" cap="none" spc="0" normalizeH="0" baseline="0" noProof="0" dirty="0" err="1">
                <a:ln>
                  <a:noFill/>
                </a:ln>
                <a:solidFill>
                  <a:prstClr val="white"/>
                </a:solidFill>
                <a:effectLst/>
                <a:uLnTx/>
                <a:uFillTx/>
                <a:latin typeface="Calibri"/>
                <a:ea typeface="+mn-ea"/>
                <a:cs typeface="+mn-cs"/>
              </a:rPr>
              <a:t>kewenangan</a:t>
            </a:r>
            <a:r>
              <a:rPr kumimoji="0" lang="en-ID" sz="1400" b="1" i="0" u="none" strike="noStrike" kern="1200" cap="none" spc="0" normalizeH="0" baseline="0" noProof="0" dirty="0">
                <a:ln>
                  <a:noFill/>
                </a:ln>
                <a:solidFill>
                  <a:prstClr val="white"/>
                </a:solidFill>
                <a:effectLst/>
                <a:uLnTx/>
                <a:uFillTx/>
                <a:latin typeface="Calibri"/>
                <a:ea typeface="+mn-ea"/>
                <a:cs typeface="+mn-cs"/>
              </a:rPr>
              <a:t> </a:t>
            </a:r>
            <a:r>
              <a:rPr kumimoji="0" lang="en-ID" sz="1400" b="1" i="0" u="none" strike="noStrike" kern="1200" cap="none" spc="0" normalizeH="0" baseline="0" noProof="0" dirty="0" err="1">
                <a:ln>
                  <a:noFill/>
                </a:ln>
                <a:solidFill>
                  <a:prstClr val="white"/>
                </a:solidFill>
                <a:effectLst/>
                <a:uLnTx/>
                <a:uFillTx/>
                <a:latin typeface="Calibri"/>
                <a:ea typeface="+mn-ea"/>
                <a:cs typeface="+mn-cs"/>
              </a:rPr>
              <a:t>berdasarkan</a:t>
            </a:r>
            <a:r>
              <a:rPr kumimoji="0" lang="en-ID" sz="1400" b="1" i="0" u="none" strike="noStrike" kern="1200" cap="none" spc="0" normalizeH="0" baseline="0" noProof="0" dirty="0">
                <a:ln>
                  <a:noFill/>
                </a:ln>
                <a:solidFill>
                  <a:prstClr val="white"/>
                </a:solidFill>
                <a:effectLst/>
                <a:uLnTx/>
                <a:uFillTx/>
                <a:latin typeface="Calibri"/>
                <a:ea typeface="+mn-ea"/>
                <a:cs typeface="+mn-cs"/>
              </a:rPr>
              <a:t> </a:t>
            </a:r>
            <a:r>
              <a:rPr kumimoji="0" lang="en-ID" sz="1400" b="1" i="0" u="none" strike="noStrike" kern="1200" cap="none" spc="0" normalizeH="0" baseline="0" noProof="0" dirty="0" err="1">
                <a:ln>
                  <a:noFill/>
                </a:ln>
                <a:solidFill>
                  <a:prstClr val="white"/>
                </a:solidFill>
                <a:effectLst/>
                <a:uLnTx/>
                <a:uFillTx/>
                <a:latin typeface="Calibri"/>
                <a:ea typeface="+mn-ea"/>
                <a:cs typeface="+mn-cs"/>
              </a:rPr>
              <a:t>ketentuan</a:t>
            </a:r>
            <a:r>
              <a:rPr kumimoji="0" lang="en-ID" sz="1400" b="1" i="0" u="none" strike="noStrike" kern="1200" cap="none" spc="0" normalizeH="0" baseline="0" noProof="0" dirty="0">
                <a:ln>
                  <a:noFill/>
                </a:ln>
                <a:solidFill>
                  <a:prstClr val="white"/>
                </a:solidFill>
                <a:effectLst/>
                <a:uLnTx/>
                <a:uFillTx/>
                <a:latin typeface="Calibri"/>
                <a:ea typeface="+mn-ea"/>
                <a:cs typeface="+mn-cs"/>
              </a:rPr>
              <a:t> </a:t>
            </a:r>
            <a:r>
              <a:rPr kumimoji="0" lang="en-ID" sz="1400" b="1" i="0" u="none" strike="noStrike" kern="1200" cap="none" spc="0" normalizeH="0" baseline="0" noProof="0" dirty="0" err="1">
                <a:ln>
                  <a:noFill/>
                </a:ln>
                <a:solidFill>
                  <a:prstClr val="white"/>
                </a:solidFill>
                <a:effectLst/>
                <a:uLnTx/>
                <a:uFillTx/>
                <a:latin typeface="Calibri"/>
                <a:ea typeface="+mn-ea"/>
                <a:cs typeface="+mn-cs"/>
              </a:rPr>
              <a:t>peraturan</a:t>
            </a:r>
            <a:r>
              <a:rPr kumimoji="0" lang="en-ID" sz="1400" b="1" i="0" u="none" strike="noStrike" kern="1200" cap="none" spc="0" normalizeH="0" baseline="0" noProof="0" dirty="0">
                <a:ln>
                  <a:noFill/>
                </a:ln>
                <a:solidFill>
                  <a:prstClr val="white"/>
                </a:solidFill>
                <a:effectLst/>
                <a:uLnTx/>
                <a:uFillTx/>
                <a:latin typeface="Calibri"/>
                <a:ea typeface="+mn-ea"/>
                <a:cs typeface="+mn-cs"/>
              </a:rPr>
              <a:t> </a:t>
            </a:r>
            <a:r>
              <a:rPr kumimoji="0" lang="en-ID" sz="1400" b="1" i="0" u="none" strike="noStrike" kern="1200" cap="none" spc="0" normalizeH="0" baseline="0" noProof="0" dirty="0" err="1">
                <a:ln>
                  <a:noFill/>
                </a:ln>
                <a:solidFill>
                  <a:prstClr val="white"/>
                </a:solidFill>
                <a:effectLst/>
                <a:uLnTx/>
                <a:uFillTx/>
                <a:latin typeface="Calibri"/>
                <a:ea typeface="+mn-ea"/>
                <a:cs typeface="+mn-cs"/>
              </a:rPr>
              <a:t>perundang-undangan</a:t>
            </a:r>
            <a:endParaRPr kumimoji="0" lang="en-US"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8" name="Right Arrow 17">
            <a:extLst>
              <a:ext uri="{FF2B5EF4-FFF2-40B4-BE49-F238E27FC236}">
                <a16:creationId xmlns:a16="http://schemas.microsoft.com/office/drawing/2014/main" id="{3600F492-C11A-414A-8E11-3C2CEB0B6229}"/>
              </a:ext>
            </a:extLst>
          </p:cNvPr>
          <p:cNvSpPr/>
          <p:nvPr/>
        </p:nvSpPr>
        <p:spPr>
          <a:xfrm rot="5400000">
            <a:off x="967618" y="2398183"/>
            <a:ext cx="456511" cy="5210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20" name="Straight Connector 19">
            <a:extLst>
              <a:ext uri="{FF2B5EF4-FFF2-40B4-BE49-F238E27FC236}">
                <a16:creationId xmlns:a16="http://schemas.microsoft.com/office/drawing/2014/main" id="{FBBBCCF1-EE3C-E044-8DB2-704145662CA7}"/>
              </a:ext>
            </a:extLst>
          </p:cNvPr>
          <p:cNvCxnSpPr>
            <a:cxnSpLocks/>
          </p:cNvCxnSpPr>
          <p:nvPr/>
        </p:nvCxnSpPr>
        <p:spPr>
          <a:xfrm>
            <a:off x="9256163" y="6526125"/>
            <a:ext cx="2539769" cy="0"/>
          </a:xfrm>
          <a:prstGeom prst="line">
            <a:avLst/>
          </a:prstGeom>
          <a:ln w="38100">
            <a:solidFill>
              <a:srgbClr val="FFC001"/>
            </a:solidFill>
          </a:ln>
        </p:spPr>
        <p:style>
          <a:lnRef idx="1">
            <a:schemeClr val="accent1"/>
          </a:lnRef>
          <a:fillRef idx="0">
            <a:schemeClr val="accent1"/>
          </a:fillRef>
          <a:effectRef idx="0">
            <a:schemeClr val="accent1"/>
          </a:effectRef>
          <a:fontRef idx="minor">
            <a:schemeClr val="tx1"/>
          </a:fontRef>
        </p:style>
      </p:cxnSp>
      <p:sp>
        <p:nvSpPr>
          <p:cNvPr id="22" name="Rounded Rectangle 21">
            <a:extLst>
              <a:ext uri="{FF2B5EF4-FFF2-40B4-BE49-F238E27FC236}">
                <a16:creationId xmlns:a16="http://schemas.microsoft.com/office/drawing/2014/main" id="{5EFEC755-16F3-664D-9AF3-2F4BA94E89EF}"/>
              </a:ext>
            </a:extLst>
          </p:cNvPr>
          <p:cNvSpPr/>
          <p:nvPr/>
        </p:nvSpPr>
        <p:spPr>
          <a:xfrm>
            <a:off x="462188" y="2903512"/>
            <a:ext cx="2147455" cy="592559"/>
          </a:xfrm>
          <a:prstGeom prst="roundRect">
            <a:avLst>
              <a:gd name="adj" fmla="val 965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err="1">
                <a:ln>
                  <a:noFill/>
                </a:ln>
                <a:solidFill>
                  <a:prstClr val="white"/>
                </a:solidFill>
                <a:effectLst/>
                <a:uLnTx/>
                <a:uFillTx/>
                <a:latin typeface="Calibri"/>
                <a:ea typeface="+mn-ea"/>
                <a:cs typeface="+mn-cs"/>
              </a:rPr>
              <a:t>Pengawawasan</a:t>
            </a:r>
            <a:r>
              <a:rPr kumimoji="0" lang="en-US" sz="1800" b="1" i="0" u="none" strike="noStrike" kern="1200" cap="none" spc="0" normalizeH="0" baseline="0" noProof="0" dirty="0">
                <a:ln>
                  <a:noFill/>
                </a:ln>
                <a:solidFill>
                  <a:prstClr val="white"/>
                </a:solidFill>
                <a:effectLst/>
                <a:uLnTx/>
                <a:uFillTx/>
                <a:latin typeface="Calibri"/>
                <a:ea typeface="+mn-ea"/>
                <a:cs typeface="+mn-cs"/>
              </a:rPr>
              <a:t> </a:t>
            </a:r>
            <a:r>
              <a:rPr kumimoji="0" lang="en-US" sz="1800" b="1" i="0" u="none" strike="noStrike" kern="1200" cap="none" spc="0" normalizeH="0" baseline="0" noProof="0" dirty="0" err="1">
                <a:ln>
                  <a:noFill/>
                </a:ln>
                <a:solidFill>
                  <a:prstClr val="white"/>
                </a:solidFill>
                <a:effectLst/>
                <a:uLnTx/>
                <a:uFillTx/>
                <a:latin typeface="Calibri"/>
                <a:ea typeface="+mn-ea"/>
                <a:cs typeface="+mn-cs"/>
              </a:rPr>
              <a:t>Rutin</a:t>
            </a:r>
            <a:r>
              <a:rPr kumimoji="0" lang="en-US" sz="1800" b="1" i="0" u="none" strike="noStrike" kern="1200" cap="none" spc="0" normalizeH="0" baseline="0" noProof="0" dirty="0">
                <a:ln>
                  <a:noFill/>
                </a:ln>
                <a:solidFill>
                  <a:prstClr val="white"/>
                </a:solidFill>
                <a:effectLst/>
                <a:uLnTx/>
                <a:uFillTx/>
                <a:latin typeface="Calibri"/>
                <a:ea typeface="+mn-ea"/>
                <a:cs typeface="+mn-cs"/>
              </a:rPr>
              <a:t>:</a:t>
            </a:r>
          </a:p>
        </p:txBody>
      </p:sp>
      <p:sp>
        <p:nvSpPr>
          <p:cNvPr id="23" name="Rounded Rectangle 22">
            <a:extLst>
              <a:ext uri="{FF2B5EF4-FFF2-40B4-BE49-F238E27FC236}">
                <a16:creationId xmlns:a16="http://schemas.microsoft.com/office/drawing/2014/main" id="{167732F5-8ADF-404F-A70A-FFB5D4C820D4}"/>
              </a:ext>
            </a:extLst>
          </p:cNvPr>
          <p:cNvSpPr/>
          <p:nvPr/>
        </p:nvSpPr>
        <p:spPr>
          <a:xfrm>
            <a:off x="837809" y="3748409"/>
            <a:ext cx="2364728" cy="922478"/>
          </a:xfrm>
          <a:prstGeom prst="roundRect">
            <a:avLst>
              <a:gd name="adj" fmla="val 731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err="1">
                <a:ln>
                  <a:noFill/>
                </a:ln>
                <a:solidFill>
                  <a:prstClr val="white"/>
                </a:solidFill>
                <a:effectLst/>
                <a:uLnTx/>
                <a:uFillTx/>
                <a:latin typeface="Calibri"/>
                <a:ea typeface="+mn-ea"/>
                <a:cs typeface="+mn-cs"/>
              </a:rPr>
              <a:t>Laporan</a:t>
            </a:r>
            <a:r>
              <a:rPr kumimoji="0" lang="en-US" sz="1800" b="1" i="0" u="none" strike="noStrike" kern="1200" cap="none" spc="0" normalizeH="0" baseline="0" noProof="0" dirty="0">
                <a:ln>
                  <a:noFill/>
                </a:ln>
                <a:solidFill>
                  <a:prstClr val="white"/>
                </a:solidFill>
                <a:effectLst/>
                <a:uLnTx/>
                <a:uFillTx/>
                <a:latin typeface="Calibri"/>
                <a:ea typeface="+mn-ea"/>
                <a:cs typeface="+mn-cs"/>
              </a:rPr>
              <a:t> </a:t>
            </a:r>
            <a:r>
              <a:rPr kumimoji="0" lang="en-US" sz="1800" b="1" i="0" u="none" strike="noStrike" kern="1200" cap="none" spc="0" normalizeH="0" baseline="0" noProof="0" dirty="0" err="1">
                <a:ln>
                  <a:noFill/>
                </a:ln>
                <a:solidFill>
                  <a:prstClr val="white"/>
                </a:solidFill>
                <a:effectLst/>
                <a:uLnTx/>
                <a:uFillTx/>
                <a:latin typeface="Calibri"/>
                <a:ea typeface="+mn-ea"/>
                <a:cs typeface="+mn-cs"/>
              </a:rPr>
              <a:t>Kegiatan</a:t>
            </a:r>
            <a:r>
              <a:rPr kumimoji="0" lang="en-US" sz="1800" b="1" i="0" u="none" strike="noStrike" kern="1200" cap="none" spc="0" normalizeH="0" baseline="0" noProof="0" dirty="0">
                <a:ln>
                  <a:noFill/>
                </a:ln>
                <a:solidFill>
                  <a:prstClr val="white"/>
                </a:solidFill>
                <a:effectLst/>
                <a:uLnTx/>
                <a:uFillTx/>
                <a:latin typeface="Calibri"/>
                <a:ea typeface="+mn-ea"/>
                <a:cs typeface="+mn-cs"/>
              </a:rPr>
              <a:t> Usaha </a:t>
            </a:r>
            <a:r>
              <a:rPr kumimoji="0" lang="en-US" sz="1800" b="1" i="0" u="none" strike="noStrike" kern="1200" cap="none" spc="0" normalizeH="0" baseline="0" noProof="0" dirty="0" err="1">
                <a:ln>
                  <a:noFill/>
                </a:ln>
                <a:solidFill>
                  <a:prstClr val="white"/>
                </a:solidFill>
                <a:effectLst/>
                <a:uLnTx/>
                <a:uFillTx/>
                <a:latin typeface="Calibri"/>
                <a:ea typeface="+mn-ea"/>
                <a:cs typeface="+mn-cs"/>
              </a:rPr>
              <a:t>Tahunan</a:t>
            </a:r>
            <a:r>
              <a:rPr kumimoji="0" lang="en-US" sz="1800" b="1" i="0" u="none" strike="noStrike" kern="1200" cap="none" spc="0" normalizeH="0" baseline="0" noProof="0" dirty="0">
                <a:ln>
                  <a:noFill/>
                </a:ln>
                <a:solidFill>
                  <a:prstClr val="white"/>
                </a:solidFill>
                <a:effectLst/>
                <a:uLnTx/>
                <a:uFillTx/>
                <a:latin typeface="Calibri"/>
                <a:ea typeface="+mn-ea"/>
                <a:cs typeface="+mn-cs"/>
              </a:rPr>
              <a:t> </a:t>
            </a:r>
          </a:p>
        </p:txBody>
      </p:sp>
      <p:sp>
        <p:nvSpPr>
          <p:cNvPr id="24" name="Rounded Rectangle 23">
            <a:extLst>
              <a:ext uri="{FF2B5EF4-FFF2-40B4-BE49-F238E27FC236}">
                <a16:creationId xmlns:a16="http://schemas.microsoft.com/office/drawing/2014/main" id="{3241D1EC-7D80-A14B-A19D-60D80F55F20F}"/>
              </a:ext>
            </a:extLst>
          </p:cNvPr>
          <p:cNvSpPr/>
          <p:nvPr/>
        </p:nvSpPr>
        <p:spPr>
          <a:xfrm>
            <a:off x="837809" y="4840327"/>
            <a:ext cx="2364728" cy="592559"/>
          </a:xfrm>
          <a:prstGeom prst="roundRect">
            <a:avLst>
              <a:gd name="adj" fmla="val 731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err="1">
                <a:ln>
                  <a:noFill/>
                </a:ln>
                <a:solidFill>
                  <a:prstClr val="white"/>
                </a:solidFill>
                <a:effectLst/>
                <a:uLnTx/>
                <a:uFillTx/>
                <a:latin typeface="Calibri"/>
                <a:ea typeface="+mn-ea"/>
                <a:cs typeface="+mn-cs"/>
              </a:rPr>
              <a:t>Pencatatan</a:t>
            </a:r>
            <a:r>
              <a:rPr kumimoji="0" lang="en-US" sz="1800" b="1" i="0" u="none" strike="noStrike" kern="1200" cap="none" spc="0" normalizeH="0" baseline="0" noProof="0" dirty="0">
                <a:ln>
                  <a:noFill/>
                </a:ln>
                <a:solidFill>
                  <a:prstClr val="white"/>
                </a:solidFill>
                <a:effectLst/>
                <a:uLnTx/>
                <a:uFillTx/>
                <a:latin typeface="Calibri"/>
                <a:ea typeface="+mn-ea"/>
                <a:cs typeface="+mn-cs"/>
              </a:rPr>
              <a:t> </a:t>
            </a:r>
            <a:r>
              <a:rPr kumimoji="0" lang="en-US" sz="1800" b="1" i="0" u="none" strike="noStrike" kern="1200" cap="none" spc="0" normalizeH="0" baseline="0" noProof="0" dirty="0" err="1">
                <a:ln>
                  <a:noFill/>
                </a:ln>
                <a:solidFill>
                  <a:prstClr val="white"/>
                </a:solidFill>
                <a:effectLst/>
                <a:uLnTx/>
                <a:uFillTx/>
                <a:latin typeface="Calibri"/>
                <a:ea typeface="+mn-ea"/>
                <a:cs typeface="+mn-cs"/>
              </a:rPr>
              <a:t>Pengalaman</a:t>
            </a:r>
            <a:endParaRPr kumimoji="0" lang="en-US" sz="18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26" name="Elbow Connector 25">
            <a:extLst>
              <a:ext uri="{FF2B5EF4-FFF2-40B4-BE49-F238E27FC236}">
                <a16:creationId xmlns:a16="http://schemas.microsoft.com/office/drawing/2014/main" id="{C1033A63-44C2-954D-ADBC-39EC85077F32}"/>
              </a:ext>
            </a:extLst>
          </p:cNvPr>
          <p:cNvCxnSpPr>
            <a:cxnSpLocks/>
            <a:stCxn id="22" idx="2"/>
            <a:endCxn id="23" idx="1"/>
          </p:cNvCxnSpPr>
          <p:nvPr/>
        </p:nvCxnSpPr>
        <p:spPr>
          <a:xfrm rot="5400000">
            <a:off x="830075" y="3503806"/>
            <a:ext cx="713577" cy="698107"/>
          </a:xfrm>
          <a:prstGeom prst="bentConnector4">
            <a:avLst>
              <a:gd name="adj1" fmla="val 17681"/>
              <a:gd name="adj2" fmla="val 132746"/>
            </a:avLst>
          </a:prstGeom>
          <a:ln w="28575">
            <a:solidFill>
              <a:schemeClr val="tx1">
                <a:lumMod val="65000"/>
                <a:lumOff val="35000"/>
              </a:schemeClr>
            </a:solidFill>
            <a:tailEnd type="triangle"/>
          </a:ln>
        </p:spPr>
        <p:style>
          <a:lnRef idx="1">
            <a:schemeClr val="dk1"/>
          </a:lnRef>
          <a:fillRef idx="0">
            <a:schemeClr val="dk1"/>
          </a:fillRef>
          <a:effectRef idx="0">
            <a:schemeClr val="dk1"/>
          </a:effectRef>
          <a:fontRef idx="minor">
            <a:schemeClr val="tx1"/>
          </a:fontRef>
        </p:style>
      </p:cxnSp>
      <p:cxnSp>
        <p:nvCxnSpPr>
          <p:cNvPr id="27" name="Elbow Connector 26">
            <a:extLst>
              <a:ext uri="{FF2B5EF4-FFF2-40B4-BE49-F238E27FC236}">
                <a16:creationId xmlns:a16="http://schemas.microsoft.com/office/drawing/2014/main" id="{E261A715-B00F-2646-B13B-21341453014D}"/>
              </a:ext>
            </a:extLst>
          </p:cNvPr>
          <p:cNvCxnSpPr>
            <a:cxnSpLocks/>
            <a:stCxn id="22" idx="2"/>
            <a:endCxn id="24" idx="1"/>
          </p:cNvCxnSpPr>
          <p:nvPr/>
        </p:nvCxnSpPr>
        <p:spPr>
          <a:xfrm rot="5400000">
            <a:off x="366595" y="3967286"/>
            <a:ext cx="1640536" cy="698107"/>
          </a:xfrm>
          <a:prstGeom prst="bentConnector4">
            <a:avLst>
              <a:gd name="adj1" fmla="val 7190"/>
              <a:gd name="adj2" fmla="val 132746"/>
            </a:avLst>
          </a:prstGeom>
          <a:ln w="28575">
            <a:solidFill>
              <a:schemeClr val="tx1">
                <a:lumMod val="65000"/>
                <a:lumOff val="35000"/>
              </a:schemeClr>
            </a:solidFill>
            <a:tailEnd type="triangle"/>
          </a:ln>
        </p:spPr>
        <p:style>
          <a:lnRef idx="1">
            <a:schemeClr val="dk1"/>
          </a:lnRef>
          <a:fillRef idx="0">
            <a:schemeClr val="dk1"/>
          </a:fillRef>
          <a:effectRef idx="0">
            <a:schemeClr val="dk1"/>
          </a:effectRef>
          <a:fontRef idx="minor">
            <a:schemeClr val="tx1"/>
          </a:fontRef>
        </p:style>
      </p:cxnSp>
      <p:sp>
        <p:nvSpPr>
          <p:cNvPr id="28" name="Rectangle 27">
            <a:extLst>
              <a:ext uri="{FF2B5EF4-FFF2-40B4-BE49-F238E27FC236}">
                <a16:creationId xmlns:a16="http://schemas.microsoft.com/office/drawing/2014/main" id="{92A79259-E857-6242-B375-6196A96EB193}"/>
              </a:ext>
            </a:extLst>
          </p:cNvPr>
          <p:cNvSpPr/>
          <p:nvPr/>
        </p:nvSpPr>
        <p:spPr>
          <a:xfrm>
            <a:off x="3177936" y="2505227"/>
            <a:ext cx="3258946" cy="198789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ID" sz="1600" b="1" i="0" u="none" strike="noStrike" kern="1200" cap="none" spc="0" normalizeH="0" baseline="0" noProof="0" dirty="0" err="1">
                <a:ln>
                  <a:noFill/>
                </a:ln>
                <a:solidFill>
                  <a:prstClr val="black"/>
                </a:solidFill>
                <a:effectLst/>
                <a:uLnTx/>
                <a:uFillTx/>
                <a:latin typeface="Calibri"/>
                <a:ea typeface="+mn-ea"/>
                <a:cs typeface="+mn-cs"/>
              </a:rPr>
              <a:t>Untuk</a:t>
            </a:r>
            <a:r>
              <a:rPr kumimoji="0" lang="en-ID" sz="1600" b="1" i="0" u="none" strike="noStrike" kern="1200" cap="none" spc="0" normalizeH="0" baseline="0" noProof="0" dirty="0">
                <a:ln>
                  <a:noFill/>
                </a:ln>
                <a:solidFill>
                  <a:prstClr val="black"/>
                </a:solidFill>
                <a:effectLst/>
                <a:uLnTx/>
                <a:uFillTx/>
                <a:latin typeface="Calibri"/>
                <a:ea typeface="+mn-ea"/>
                <a:cs typeface="+mn-cs"/>
              </a:rPr>
              <a:t> </a:t>
            </a:r>
            <a:r>
              <a:rPr kumimoji="0" lang="en-ID" sz="1600" b="1" i="0" u="none" strike="noStrike" kern="1200" cap="none" spc="0" normalizeH="0" baseline="0" noProof="0" dirty="0" err="1">
                <a:ln>
                  <a:noFill/>
                </a:ln>
                <a:solidFill>
                  <a:prstClr val="black"/>
                </a:solidFill>
                <a:effectLst/>
                <a:uLnTx/>
                <a:uFillTx/>
                <a:latin typeface="Calibri"/>
                <a:ea typeface="+mn-ea"/>
                <a:cs typeface="+mn-cs"/>
              </a:rPr>
              <a:t>usaha</a:t>
            </a:r>
            <a:r>
              <a:rPr kumimoji="0" lang="en-ID" sz="1600" b="1" i="0" u="none" strike="noStrike" kern="1200" cap="none" spc="0" normalizeH="0" baseline="0" noProof="0" dirty="0">
                <a:ln>
                  <a:noFill/>
                </a:ln>
                <a:solidFill>
                  <a:prstClr val="black"/>
                </a:solidFill>
                <a:effectLst/>
                <a:uLnTx/>
                <a:uFillTx/>
                <a:latin typeface="Calibri"/>
                <a:ea typeface="+mn-ea"/>
                <a:cs typeface="+mn-cs"/>
              </a:rPr>
              <a:t> orang </a:t>
            </a:r>
            <a:r>
              <a:rPr kumimoji="0" lang="en-ID" sz="1600" b="1" i="0" u="none" strike="noStrike" kern="1200" cap="none" spc="0" normalizeH="0" baseline="0" noProof="0" dirty="0" err="1">
                <a:ln>
                  <a:noFill/>
                </a:ln>
                <a:solidFill>
                  <a:prstClr val="black"/>
                </a:solidFill>
                <a:effectLst/>
                <a:uLnTx/>
                <a:uFillTx/>
                <a:latin typeface="Calibri"/>
                <a:ea typeface="+mn-ea"/>
                <a:cs typeface="+mn-cs"/>
              </a:rPr>
              <a:t>perseorangan</a:t>
            </a:r>
            <a:r>
              <a:rPr kumimoji="0" lang="en-ID" sz="1600" b="1" i="0" u="none" strike="noStrike" kern="1200" cap="none" spc="0" normalizeH="0" baseline="0" noProof="0" dirty="0">
                <a:ln>
                  <a:noFill/>
                </a:ln>
                <a:solidFill>
                  <a:prstClr val="black"/>
                </a:solidFill>
                <a:effectLst/>
                <a:uLnTx/>
                <a:uFillTx/>
                <a:latin typeface="Calibri"/>
                <a:ea typeface="+mn-ea"/>
                <a:cs typeface="+mn-cs"/>
              </a:rPr>
              <a:t> dan BUJK </a:t>
            </a:r>
            <a:r>
              <a:rPr kumimoji="0" lang="en-ID" sz="1600" b="1" i="0" u="none" strike="noStrike" kern="1200" cap="none" spc="0" normalizeH="0" baseline="0" noProof="0" dirty="0" err="1">
                <a:ln>
                  <a:noFill/>
                </a:ln>
                <a:solidFill>
                  <a:prstClr val="black"/>
                </a:solidFill>
                <a:effectLst/>
                <a:uLnTx/>
                <a:uFillTx/>
                <a:latin typeface="Calibri"/>
                <a:ea typeface="+mn-ea"/>
                <a:cs typeface="+mn-cs"/>
              </a:rPr>
              <a:t>kualifikasi</a:t>
            </a:r>
            <a:r>
              <a:rPr kumimoji="0" lang="en-ID" sz="1600" b="1" i="0" u="none" strike="noStrike" kern="1200" cap="none" spc="0" normalizeH="0" baseline="0" noProof="0" dirty="0">
                <a:ln>
                  <a:noFill/>
                </a:ln>
                <a:solidFill>
                  <a:prstClr val="black"/>
                </a:solidFill>
                <a:effectLst/>
                <a:uLnTx/>
                <a:uFillTx/>
                <a:latin typeface="Calibri"/>
                <a:ea typeface="+mn-ea"/>
                <a:cs typeface="+mn-cs"/>
              </a:rPr>
              <a:t> </a:t>
            </a:r>
            <a:r>
              <a:rPr kumimoji="0" lang="en-ID" sz="1600" b="1" i="0" u="none" strike="noStrike" kern="1200" cap="none" spc="0" normalizeH="0" baseline="0" noProof="0" dirty="0" err="1">
                <a:ln>
                  <a:noFill/>
                </a:ln>
                <a:solidFill>
                  <a:prstClr val="black"/>
                </a:solidFill>
                <a:effectLst/>
                <a:uLnTx/>
                <a:uFillTx/>
                <a:latin typeface="Calibri"/>
                <a:ea typeface="+mn-ea"/>
                <a:cs typeface="+mn-cs"/>
              </a:rPr>
              <a:t>kecil</a:t>
            </a:r>
            <a:r>
              <a:rPr kumimoji="0" lang="en-ID" sz="1600" b="0" i="0" u="none" strike="noStrike" kern="1200" cap="none" spc="0" normalizeH="0" baseline="0" noProof="0" dirty="0">
                <a:ln>
                  <a:noFill/>
                </a:ln>
                <a:solidFill>
                  <a:prstClr val="black"/>
                </a:solidFill>
                <a:effectLst/>
                <a:uLnTx/>
                <a:uFillTx/>
                <a:latin typeface="Calibri"/>
                <a:ea typeface="+mn-ea"/>
                <a:cs typeface="+mn-cs"/>
              </a:rPr>
              <a:t>:</a:t>
            </a:r>
          </a:p>
          <a:p>
            <a:pPr marL="342900" marR="0" lvl="0" indent="-342900" algn="l" defTabSz="457200" rtl="0" eaLnBrk="0" fontAlgn="base" latinLnBrk="0" hangingPunct="0">
              <a:lnSpc>
                <a:spcPct val="100000"/>
              </a:lnSpc>
              <a:spcBef>
                <a:spcPct val="0"/>
              </a:spcBef>
              <a:spcAft>
                <a:spcPct val="0"/>
              </a:spcAft>
              <a:buClrTx/>
              <a:buSzTx/>
              <a:buFontTx/>
              <a:buAutoNum type="arabicPeriod"/>
              <a:tabLst/>
              <a:defRPr/>
            </a:pPr>
            <a:r>
              <a:rPr kumimoji="0" lang="en-ID" sz="1600" b="0" i="0" u="none" strike="noStrike" kern="1200" cap="none" spc="0" normalizeH="0" baseline="0" noProof="0" dirty="0">
                <a:ln>
                  <a:noFill/>
                </a:ln>
                <a:solidFill>
                  <a:prstClr val="black"/>
                </a:solidFill>
                <a:effectLst/>
                <a:uLnTx/>
                <a:uFillTx/>
                <a:latin typeface="Calibri"/>
                <a:ea typeface="+mn-ea"/>
                <a:cs typeface="+mn-cs"/>
              </a:rPr>
              <a:t>data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usaha</a:t>
            </a:r>
            <a:r>
              <a:rPr kumimoji="0" lang="en-ID" sz="1600" b="0" i="0" u="none" strike="noStrike" kern="1200" cap="none" spc="0" normalizeH="0" baseline="0" noProof="0" dirty="0">
                <a:ln>
                  <a:noFill/>
                </a:ln>
                <a:solidFill>
                  <a:prstClr val="black"/>
                </a:solidFill>
                <a:effectLst/>
                <a:uLnTx/>
                <a:uFillTx/>
                <a:latin typeface="Calibri"/>
                <a:ea typeface="+mn-ea"/>
                <a:cs typeface="+mn-cs"/>
              </a:rPr>
              <a:t> orang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perseorangan</a:t>
            </a:r>
            <a:r>
              <a:rPr kumimoji="0" lang="en-ID" sz="1600" b="0" i="0" u="none" strike="noStrike" kern="1200" cap="none" spc="0" normalizeH="0" baseline="0" noProof="0" dirty="0">
                <a:ln>
                  <a:noFill/>
                </a:ln>
                <a:solidFill>
                  <a:prstClr val="black"/>
                </a:solidFill>
                <a:effectLst/>
                <a:uLnTx/>
                <a:uFillTx/>
                <a:latin typeface="Calibri"/>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atau</a:t>
            </a:r>
            <a:r>
              <a:rPr kumimoji="0" lang="en-ID" sz="1600" b="0" i="0" u="none" strike="noStrike" kern="1200" cap="none" spc="0" normalizeH="0" baseline="0" noProof="0" dirty="0">
                <a:ln>
                  <a:noFill/>
                </a:ln>
                <a:solidFill>
                  <a:prstClr val="black"/>
                </a:solidFill>
                <a:effectLst/>
                <a:uLnTx/>
                <a:uFillTx/>
                <a:latin typeface="Calibri"/>
                <a:ea typeface="+mn-ea"/>
                <a:cs typeface="+mn-cs"/>
              </a:rPr>
              <a:t> badan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usaha</a:t>
            </a:r>
            <a:endParaRPr kumimoji="0" lang="en-ID" sz="16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l" defTabSz="457200" rtl="0" eaLnBrk="0" fontAlgn="base" latinLnBrk="0" hangingPunct="0">
              <a:lnSpc>
                <a:spcPct val="100000"/>
              </a:lnSpc>
              <a:spcBef>
                <a:spcPct val="0"/>
              </a:spcBef>
              <a:spcAft>
                <a:spcPct val="0"/>
              </a:spcAft>
              <a:buClrTx/>
              <a:buSzTx/>
              <a:buFontTx/>
              <a:buAutoNum type="arabicPeriod"/>
              <a:tabLst/>
              <a:defRPr/>
            </a:pPr>
            <a:r>
              <a:rPr kumimoji="0" lang="en-ID" sz="1600" b="0" i="0" u="none" strike="noStrike" kern="1200" cap="none" spc="0" normalizeH="0" baseline="0" noProof="0" dirty="0">
                <a:ln>
                  <a:noFill/>
                </a:ln>
                <a:solidFill>
                  <a:prstClr val="black"/>
                </a:solidFill>
                <a:effectLst/>
                <a:uLnTx/>
                <a:uFillTx/>
                <a:latin typeface="Calibri"/>
                <a:ea typeface="+mn-ea"/>
                <a:cs typeface="+mn-cs"/>
              </a:rPr>
              <a:t>data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kewajiban</a:t>
            </a:r>
            <a:r>
              <a:rPr kumimoji="0" lang="en-ID" sz="1600" b="0" i="0" u="none" strike="noStrike" kern="1200" cap="none" spc="0" normalizeH="0" baseline="0" noProof="0" dirty="0">
                <a:ln>
                  <a:noFill/>
                </a:ln>
                <a:solidFill>
                  <a:prstClr val="black"/>
                </a:solidFill>
                <a:effectLst/>
                <a:uLnTx/>
                <a:uFillTx/>
                <a:latin typeface="Calibri"/>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pelaksanaan</a:t>
            </a:r>
            <a:r>
              <a:rPr kumimoji="0" lang="en-ID" sz="1600" b="0" i="0" u="none" strike="noStrike" kern="1200" cap="none" spc="0" normalizeH="0" baseline="0" noProof="0" dirty="0">
                <a:ln>
                  <a:noFill/>
                </a:ln>
                <a:solidFill>
                  <a:prstClr val="black"/>
                </a:solidFill>
                <a:effectLst/>
                <a:uLnTx/>
                <a:uFillTx/>
                <a:latin typeface="Calibri"/>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berusaha</a:t>
            </a:r>
            <a:r>
              <a:rPr kumimoji="0" lang="en-ID" sz="1600" b="0" i="0" u="none" strike="noStrike" kern="1200" cap="none" spc="0" normalizeH="0" baseline="0" noProof="0" dirty="0">
                <a:ln>
                  <a:noFill/>
                </a:ln>
                <a:solidFill>
                  <a:prstClr val="black"/>
                </a:solidFill>
                <a:effectLst/>
                <a:uLnTx/>
                <a:uFillTx/>
                <a:latin typeface="Calibri"/>
                <a:ea typeface="+mn-ea"/>
                <a:cs typeface="+mn-cs"/>
              </a:rPr>
              <a:t>;</a:t>
            </a:r>
          </a:p>
        </p:txBody>
      </p:sp>
      <p:sp>
        <p:nvSpPr>
          <p:cNvPr id="29" name="Rectangle 28">
            <a:extLst>
              <a:ext uri="{FF2B5EF4-FFF2-40B4-BE49-F238E27FC236}">
                <a16:creationId xmlns:a16="http://schemas.microsoft.com/office/drawing/2014/main" id="{DFC8D2A8-9433-104A-8E17-29417317561E}"/>
              </a:ext>
            </a:extLst>
          </p:cNvPr>
          <p:cNvSpPr/>
          <p:nvPr/>
        </p:nvSpPr>
        <p:spPr>
          <a:xfrm>
            <a:off x="3177936" y="4596321"/>
            <a:ext cx="3258946" cy="178147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ID" sz="1600" b="1" i="0" u="none" strike="noStrike" kern="1200" cap="none" spc="0" normalizeH="0" baseline="0" noProof="0" dirty="0" err="1">
                <a:ln>
                  <a:noFill/>
                </a:ln>
                <a:solidFill>
                  <a:prstClr val="black"/>
                </a:solidFill>
                <a:effectLst/>
                <a:uLnTx/>
                <a:uFillTx/>
                <a:latin typeface="Calibri"/>
                <a:ea typeface="+mn-ea"/>
                <a:cs typeface="+mn-cs"/>
              </a:rPr>
              <a:t>Untuk</a:t>
            </a:r>
            <a:r>
              <a:rPr kumimoji="0" lang="en-ID" sz="1600" b="1" i="0" u="none" strike="noStrike" kern="1200" cap="none" spc="0" normalizeH="0" baseline="0" noProof="0" dirty="0">
                <a:ln>
                  <a:noFill/>
                </a:ln>
                <a:solidFill>
                  <a:prstClr val="black"/>
                </a:solidFill>
                <a:effectLst/>
                <a:uLnTx/>
                <a:uFillTx/>
                <a:latin typeface="Calibri"/>
                <a:ea typeface="+mn-ea"/>
                <a:cs typeface="+mn-cs"/>
              </a:rPr>
              <a:t> BUJK </a:t>
            </a:r>
            <a:r>
              <a:rPr kumimoji="0" lang="en-ID" sz="1600" b="1" i="0" u="none" strike="noStrike" kern="1200" cap="none" spc="0" normalizeH="0" baseline="0" noProof="0" dirty="0" err="1">
                <a:ln>
                  <a:noFill/>
                </a:ln>
                <a:solidFill>
                  <a:prstClr val="black"/>
                </a:solidFill>
                <a:effectLst/>
                <a:uLnTx/>
                <a:uFillTx/>
                <a:latin typeface="Calibri"/>
                <a:ea typeface="+mn-ea"/>
                <a:cs typeface="+mn-cs"/>
              </a:rPr>
              <a:t>kualifi</a:t>
            </a:r>
            <a:r>
              <a:rPr kumimoji="0" lang="en-ID" sz="1600" b="1" i="0" u="none" strike="noStrike" kern="1200" cap="none" spc="0" normalizeH="0" baseline="0" noProof="0" dirty="0">
                <a:ln>
                  <a:noFill/>
                </a:ln>
                <a:solidFill>
                  <a:prstClr val="black"/>
                </a:solidFill>
                <a:effectLst/>
                <a:uLnTx/>
                <a:uFillTx/>
                <a:latin typeface="Calibri"/>
                <a:ea typeface="+mn-ea"/>
                <a:cs typeface="+mn-cs"/>
              </a:rPr>
              <a:t>. </a:t>
            </a:r>
            <a:r>
              <a:rPr kumimoji="0" lang="en-ID" sz="1600" b="1" i="0" u="none" strike="noStrike" kern="1200" cap="none" spc="0" normalizeH="0" baseline="0" noProof="0" dirty="0" err="1">
                <a:ln>
                  <a:noFill/>
                </a:ln>
                <a:solidFill>
                  <a:prstClr val="black"/>
                </a:solidFill>
                <a:effectLst/>
                <a:uLnTx/>
                <a:uFillTx/>
                <a:latin typeface="Calibri"/>
                <a:ea typeface="+mn-ea"/>
                <a:cs typeface="+mn-cs"/>
              </a:rPr>
              <a:t>menengah</a:t>
            </a:r>
            <a:r>
              <a:rPr kumimoji="0" lang="en-ID" sz="1600" b="1" i="0" u="none" strike="noStrike" kern="1200" cap="none" spc="0" normalizeH="0" baseline="0" noProof="0" dirty="0">
                <a:ln>
                  <a:noFill/>
                </a:ln>
                <a:solidFill>
                  <a:prstClr val="black"/>
                </a:solidFill>
                <a:effectLst/>
                <a:uLnTx/>
                <a:uFillTx/>
                <a:latin typeface="Calibri"/>
                <a:ea typeface="+mn-ea"/>
                <a:cs typeface="+mn-cs"/>
              </a:rPr>
              <a:t>, </a:t>
            </a:r>
            <a:r>
              <a:rPr kumimoji="0" lang="en-ID" sz="1600" b="1" i="0" u="none" strike="noStrike" kern="1200" cap="none" spc="0" normalizeH="0" baseline="0" noProof="0" dirty="0" err="1">
                <a:ln>
                  <a:noFill/>
                </a:ln>
                <a:solidFill>
                  <a:prstClr val="black"/>
                </a:solidFill>
                <a:effectLst/>
                <a:uLnTx/>
                <a:uFillTx/>
                <a:latin typeface="Calibri"/>
                <a:ea typeface="+mn-ea"/>
                <a:cs typeface="+mn-cs"/>
              </a:rPr>
              <a:t>besar</a:t>
            </a:r>
            <a:r>
              <a:rPr kumimoji="0" lang="en-ID" sz="1600" b="1" i="0" u="none" strike="noStrike" kern="1200" cap="none" spc="0" normalizeH="0" baseline="0" noProof="0" dirty="0">
                <a:ln>
                  <a:noFill/>
                </a:ln>
                <a:solidFill>
                  <a:prstClr val="black"/>
                </a:solidFill>
                <a:effectLst/>
                <a:uLnTx/>
                <a:uFillTx/>
                <a:latin typeface="Calibri"/>
                <a:ea typeface="+mn-ea"/>
                <a:cs typeface="+mn-cs"/>
              </a:rPr>
              <a:t>, dan BUJK </a:t>
            </a:r>
            <a:r>
              <a:rPr kumimoji="0" lang="en-ID" sz="1600" b="1" i="0" u="none" strike="noStrike" kern="1200" cap="none" spc="0" normalizeH="0" baseline="0" noProof="0" dirty="0" err="1">
                <a:ln>
                  <a:noFill/>
                </a:ln>
                <a:solidFill>
                  <a:prstClr val="black"/>
                </a:solidFill>
                <a:effectLst/>
                <a:uLnTx/>
                <a:uFillTx/>
                <a:latin typeface="Calibri"/>
                <a:ea typeface="+mn-ea"/>
                <a:cs typeface="+mn-cs"/>
              </a:rPr>
              <a:t>spesialis</a:t>
            </a:r>
            <a:r>
              <a:rPr kumimoji="0" lang="en-ID" sz="1600" b="0" i="0" u="none" strike="noStrike" kern="1200" cap="none" spc="0" normalizeH="0" baseline="0" noProof="0" dirty="0">
                <a:ln>
                  <a:noFill/>
                </a:ln>
                <a:solidFill>
                  <a:prstClr val="black"/>
                </a:solidFill>
                <a:effectLst/>
                <a:uLnTx/>
                <a:uFillTx/>
                <a:latin typeface="Calibri"/>
                <a:ea typeface="+mn-ea"/>
                <a:cs typeface="+mn-cs"/>
              </a:rPr>
              <a:t>:</a:t>
            </a:r>
          </a:p>
          <a:p>
            <a:pPr marL="342900" marR="0" lvl="0" indent="-342900" algn="l" defTabSz="457200" rtl="0" eaLnBrk="0" fontAlgn="base" latinLnBrk="0" hangingPunct="0">
              <a:lnSpc>
                <a:spcPct val="100000"/>
              </a:lnSpc>
              <a:spcBef>
                <a:spcPct val="0"/>
              </a:spcBef>
              <a:spcAft>
                <a:spcPct val="0"/>
              </a:spcAft>
              <a:buClrTx/>
              <a:buSzTx/>
              <a:buFontTx/>
              <a:buAutoNum type="arabicPeriod"/>
              <a:tabLst/>
              <a:defRPr/>
            </a:pPr>
            <a:r>
              <a:rPr kumimoji="0" lang="en-ID" sz="1600" b="0" i="0" u="none" strike="noStrike" kern="1200" cap="none" spc="0" normalizeH="0" baseline="0" noProof="0" dirty="0">
                <a:ln>
                  <a:noFill/>
                </a:ln>
                <a:solidFill>
                  <a:prstClr val="black"/>
                </a:solidFill>
                <a:effectLst/>
                <a:uLnTx/>
                <a:uFillTx/>
                <a:latin typeface="Calibri"/>
                <a:ea typeface="+mn-ea"/>
                <a:cs typeface="+mn-cs"/>
              </a:rPr>
              <a:t>data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kepatuhan</a:t>
            </a:r>
            <a:r>
              <a:rPr kumimoji="0" lang="en-ID" sz="1600" b="0" i="0" u="none" strike="noStrike" kern="1200" cap="none" spc="0" normalizeH="0" baseline="0" noProof="0" dirty="0">
                <a:ln>
                  <a:noFill/>
                </a:ln>
                <a:solidFill>
                  <a:prstClr val="black"/>
                </a:solidFill>
                <a:effectLst/>
                <a:uLnTx/>
                <a:uFillTx/>
                <a:latin typeface="Calibri"/>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pelaksanaan</a:t>
            </a:r>
            <a:r>
              <a:rPr kumimoji="0" lang="en-ID" sz="1600" b="0" i="0" u="none" strike="noStrike" kern="1200" cap="none" spc="0" normalizeH="0" baseline="0" noProof="0" dirty="0">
                <a:ln>
                  <a:noFill/>
                </a:ln>
                <a:solidFill>
                  <a:prstClr val="black"/>
                </a:solidFill>
                <a:effectLst/>
                <a:uLnTx/>
                <a:uFillTx/>
                <a:latin typeface="Calibri"/>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Perizinan</a:t>
            </a:r>
            <a:r>
              <a:rPr kumimoji="0" lang="en-ID" sz="1600" b="0" i="0" u="none" strike="noStrike" kern="1200" cap="none" spc="0" normalizeH="0" baseline="0" noProof="0" dirty="0">
                <a:ln>
                  <a:noFill/>
                </a:ln>
                <a:solidFill>
                  <a:prstClr val="black"/>
                </a:solidFill>
                <a:effectLst/>
                <a:uLnTx/>
                <a:uFillTx/>
                <a:latin typeface="Calibri"/>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Berusaha</a:t>
            </a:r>
            <a:r>
              <a:rPr kumimoji="0" lang="en-ID" sz="1600" b="0" i="0" u="none" strike="noStrike" kern="1200" cap="none" spc="0" normalizeH="0" baseline="0" noProof="0" dirty="0">
                <a:ln>
                  <a:noFill/>
                </a:ln>
                <a:solidFill>
                  <a:prstClr val="black"/>
                </a:solidFill>
                <a:effectLst/>
                <a:uLnTx/>
                <a:uFillTx/>
                <a:latin typeface="Calibri"/>
                <a:ea typeface="+mn-ea"/>
                <a:cs typeface="+mn-cs"/>
              </a:rPr>
              <a:t>;</a:t>
            </a:r>
          </a:p>
          <a:p>
            <a:pPr marL="342900" marR="0" lvl="0" indent="-342900" algn="l" defTabSz="457200" rtl="0" eaLnBrk="0" fontAlgn="base" latinLnBrk="0" hangingPunct="0">
              <a:lnSpc>
                <a:spcPct val="100000"/>
              </a:lnSpc>
              <a:spcBef>
                <a:spcPct val="0"/>
              </a:spcBef>
              <a:spcAft>
                <a:spcPct val="0"/>
              </a:spcAft>
              <a:buClrTx/>
              <a:buSzTx/>
              <a:buFontTx/>
              <a:buAutoNum type="arabicPeriod"/>
              <a:tabLst/>
              <a:defRPr/>
            </a:pPr>
            <a:r>
              <a:rPr kumimoji="0" lang="en-ID" sz="1600" b="0" i="0" u="none" strike="noStrike" kern="1200" cap="none" spc="0" normalizeH="0" baseline="0" noProof="0" dirty="0">
                <a:ln>
                  <a:noFill/>
                </a:ln>
                <a:solidFill>
                  <a:prstClr val="black"/>
                </a:solidFill>
                <a:effectLst/>
                <a:uLnTx/>
                <a:uFillTx/>
                <a:latin typeface="Calibri"/>
                <a:ea typeface="+mn-ea"/>
                <a:cs typeface="+mn-cs"/>
              </a:rPr>
              <a:t>data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kinerja</a:t>
            </a:r>
            <a:r>
              <a:rPr kumimoji="0" lang="en-ID" sz="1600" b="0" i="0" u="none" strike="noStrike" kern="1200" cap="none" spc="0" normalizeH="0" baseline="0" noProof="0" dirty="0">
                <a:ln>
                  <a:noFill/>
                </a:ln>
                <a:solidFill>
                  <a:prstClr val="black"/>
                </a:solidFill>
                <a:effectLst/>
                <a:uLnTx/>
                <a:uFillTx/>
                <a:latin typeface="Calibri"/>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manajemen</a:t>
            </a:r>
            <a:r>
              <a:rPr kumimoji="0" lang="en-ID" sz="1600" b="0" i="0" u="none" strike="noStrike" kern="1200" cap="none" spc="0" normalizeH="0" baseline="0" noProof="0" dirty="0">
                <a:ln>
                  <a:noFill/>
                </a:ln>
                <a:solidFill>
                  <a:prstClr val="black"/>
                </a:solidFill>
                <a:effectLst/>
                <a:uLnTx/>
                <a:uFillTx/>
                <a:latin typeface="Calibri"/>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perusahaan</a:t>
            </a:r>
            <a:r>
              <a:rPr kumimoji="0" lang="en-ID" sz="1600" b="0" i="0" u="none" strike="noStrike" kern="1200" cap="none" spc="0" normalizeH="0" baseline="0" noProof="0" dirty="0">
                <a:ln>
                  <a:noFill/>
                </a:ln>
                <a:solidFill>
                  <a:prstClr val="black"/>
                </a:solidFill>
                <a:effectLst/>
                <a:uLnTx/>
                <a:uFillTx/>
                <a:latin typeface="Calibri"/>
                <a:ea typeface="+mn-ea"/>
                <a:cs typeface="+mn-cs"/>
              </a:rPr>
              <a:t>;</a:t>
            </a:r>
          </a:p>
          <a:p>
            <a:pPr marL="342900" marR="0" lvl="0" indent="-342900" algn="l" defTabSz="457200" rtl="0" eaLnBrk="0" fontAlgn="base" latinLnBrk="0" hangingPunct="0">
              <a:lnSpc>
                <a:spcPct val="100000"/>
              </a:lnSpc>
              <a:spcBef>
                <a:spcPct val="0"/>
              </a:spcBef>
              <a:spcAft>
                <a:spcPct val="0"/>
              </a:spcAft>
              <a:buClrTx/>
              <a:buSzTx/>
              <a:buFontTx/>
              <a:buAutoNum type="arabicPeriod"/>
              <a:tabLst/>
              <a:defRPr/>
            </a:pPr>
            <a:r>
              <a:rPr kumimoji="0" lang="en-ID" sz="1600" b="0" i="0" u="none" strike="noStrike" kern="1200" cap="none" spc="0" normalizeH="0" baseline="0" noProof="0" dirty="0">
                <a:ln>
                  <a:noFill/>
                </a:ln>
                <a:solidFill>
                  <a:prstClr val="black"/>
                </a:solidFill>
                <a:effectLst/>
                <a:uLnTx/>
                <a:uFillTx/>
                <a:latin typeface="Calibri"/>
                <a:ea typeface="+mn-ea"/>
                <a:cs typeface="+mn-cs"/>
              </a:rPr>
              <a:t>data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kinerja</a:t>
            </a:r>
            <a:r>
              <a:rPr kumimoji="0" lang="en-ID" sz="1600" b="0" i="0" u="none" strike="noStrike" kern="1200" cap="none" spc="0" normalizeH="0" baseline="0" noProof="0" dirty="0">
                <a:ln>
                  <a:noFill/>
                </a:ln>
                <a:solidFill>
                  <a:prstClr val="black"/>
                </a:solidFill>
                <a:effectLst/>
                <a:uLnTx/>
                <a:uFillTx/>
                <a:latin typeface="Calibri"/>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proyek</a:t>
            </a:r>
            <a:r>
              <a:rPr kumimoji="0" lang="en-ID" sz="1600" b="0" i="0" u="none" strike="noStrike" kern="1200" cap="none" spc="0" normalizeH="0" baseline="0" noProof="0" dirty="0">
                <a:ln>
                  <a:noFill/>
                </a:ln>
                <a:solidFill>
                  <a:prstClr val="black"/>
                </a:solidFill>
                <a:effectLst/>
                <a:uLnTx/>
                <a:uFillTx/>
                <a:latin typeface="Calibri"/>
                <a:ea typeface="+mn-ea"/>
                <a:cs typeface="+mn-cs"/>
              </a:rPr>
              <a:t>.</a:t>
            </a:r>
          </a:p>
        </p:txBody>
      </p:sp>
      <p:sp>
        <p:nvSpPr>
          <p:cNvPr id="30" name="Triangle 29">
            <a:extLst>
              <a:ext uri="{FF2B5EF4-FFF2-40B4-BE49-F238E27FC236}">
                <a16:creationId xmlns:a16="http://schemas.microsoft.com/office/drawing/2014/main" id="{382309D9-6B13-3246-9DCA-649616330548}"/>
              </a:ext>
            </a:extLst>
          </p:cNvPr>
          <p:cNvSpPr/>
          <p:nvPr/>
        </p:nvSpPr>
        <p:spPr>
          <a:xfrm rot="16200000">
            <a:off x="3125491" y="3778793"/>
            <a:ext cx="512618" cy="278783"/>
          </a:xfrm>
          <a:prstGeom prst="triangle">
            <a:avLst>
              <a:gd name="adj" fmla="val 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Triangle 30">
            <a:extLst>
              <a:ext uri="{FF2B5EF4-FFF2-40B4-BE49-F238E27FC236}">
                <a16:creationId xmlns:a16="http://schemas.microsoft.com/office/drawing/2014/main" id="{8931B98C-C20D-4A4A-A016-8FECE24C42BD}"/>
              </a:ext>
            </a:extLst>
          </p:cNvPr>
          <p:cNvSpPr/>
          <p:nvPr/>
        </p:nvSpPr>
        <p:spPr>
          <a:xfrm rot="16200000">
            <a:off x="3125492" y="4392129"/>
            <a:ext cx="512618" cy="278783"/>
          </a:xfrm>
          <a:prstGeom prst="triangle">
            <a:avLst>
              <a:gd name="adj" fmla="val 10000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Rectangle 31">
            <a:extLst>
              <a:ext uri="{FF2B5EF4-FFF2-40B4-BE49-F238E27FC236}">
                <a16:creationId xmlns:a16="http://schemas.microsoft.com/office/drawing/2014/main" id="{E15C98D0-46D9-834E-90F7-A8E0D4E9A9FA}"/>
              </a:ext>
            </a:extLst>
          </p:cNvPr>
          <p:cNvSpPr/>
          <p:nvPr/>
        </p:nvSpPr>
        <p:spPr>
          <a:xfrm>
            <a:off x="6715666" y="1315252"/>
            <a:ext cx="4828989" cy="190689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ID" sz="1600" b="1" i="0" u="none" strike="noStrike" kern="1200" cap="none" spc="0" normalizeH="0" baseline="0" noProof="0" dirty="0" err="1">
                <a:ln>
                  <a:noFill/>
                </a:ln>
                <a:solidFill>
                  <a:prstClr val="black"/>
                </a:solidFill>
                <a:effectLst/>
                <a:uLnTx/>
                <a:uFillTx/>
                <a:latin typeface="Calibri"/>
                <a:ea typeface="+mn-ea"/>
                <a:cs typeface="+mn-cs"/>
              </a:rPr>
              <a:t>Laporan</a:t>
            </a:r>
            <a:r>
              <a:rPr kumimoji="0" lang="en-ID" sz="1600" b="1" i="0" u="none" strike="noStrike" kern="1200" cap="none" spc="0" normalizeH="0" baseline="0" noProof="0" dirty="0">
                <a:ln>
                  <a:noFill/>
                </a:ln>
                <a:solidFill>
                  <a:prstClr val="black"/>
                </a:solidFill>
                <a:effectLst/>
                <a:uLnTx/>
                <a:uFillTx/>
                <a:latin typeface="Calibri"/>
                <a:ea typeface="+mn-ea"/>
                <a:cs typeface="+mn-cs"/>
              </a:rPr>
              <a:t> </a:t>
            </a:r>
            <a:r>
              <a:rPr kumimoji="0" lang="en-ID" sz="1600" b="1" i="0" u="none" strike="noStrike" kern="1200" cap="none" spc="0" normalizeH="0" baseline="0" noProof="0" dirty="0" err="1">
                <a:ln>
                  <a:noFill/>
                </a:ln>
                <a:solidFill>
                  <a:prstClr val="black"/>
                </a:solidFill>
                <a:effectLst/>
                <a:uLnTx/>
                <a:uFillTx/>
                <a:latin typeface="Calibri"/>
                <a:ea typeface="+mn-ea"/>
                <a:cs typeface="+mn-cs"/>
              </a:rPr>
              <a:t>Kegiatan</a:t>
            </a:r>
            <a:r>
              <a:rPr kumimoji="0" lang="en-ID" sz="1600" b="1" i="0" u="none" strike="noStrike" kern="1200" cap="none" spc="0" normalizeH="0" baseline="0" noProof="0" dirty="0">
                <a:ln>
                  <a:noFill/>
                </a:ln>
                <a:solidFill>
                  <a:prstClr val="black"/>
                </a:solidFill>
                <a:effectLst/>
                <a:uLnTx/>
                <a:uFillTx/>
                <a:latin typeface="Calibri"/>
                <a:ea typeface="+mn-ea"/>
                <a:cs typeface="+mn-cs"/>
              </a:rPr>
              <a:t> Usaha </a:t>
            </a:r>
            <a:r>
              <a:rPr kumimoji="0" lang="en-ID" sz="1600" b="1" i="0" u="none" strike="noStrike" kern="1200" cap="none" spc="0" normalizeH="0" baseline="0" noProof="0" dirty="0" err="1">
                <a:ln>
                  <a:noFill/>
                </a:ln>
                <a:solidFill>
                  <a:prstClr val="black"/>
                </a:solidFill>
                <a:effectLst/>
                <a:uLnTx/>
                <a:uFillTx/>
                <a:latin typeface="Calibri"/>
                <a:ea typeface="+mn-ea"/>
                <a:cs typeface="+mn-cs"/>
              </a:rPr>
              <a:t>Tahunan</a:t>
            </a:r>
            <a:r>
              <a:rPr kumimoji="0" lang="en-ID" sz="1600" b="1" i="0" u="none" strike="noStrike" kern="1200" cap="none" spc="0" normalizeH="0" baseline="0" noProof="0" dirty="0">
                <a:ln>
                  <a:noFill/>
                </a:ln>
                <a:solidFill>
                  <a:prstClr val="black"/>
                </a:solidFill>
                <a:effectLst/>
                <a:uLnTx/>
                <a:uFillTx/>
                <a:latin typeface="Calibri"/>
                <a:ea typeface="+mn-ea"/>
                <a:cs typeface="+mn-cs"/>
              </a:rPr>
              <a:t> </a:t>
            </a:r>
            <a:r>
              <a:rPr kumimoji="0" lang="en-ID" sz="1600" b="1" i="0" u="none" strike="noStrike" kern="1200" cap="none" spc="0" normalizeH="0" baseline="0" noProof="0" dirty="0" err="1">
                <a:ln>
                  <a:noFill/>
                </a:ln>
                <a:solidFill>
                  <a:prstClr val="black"/>
                </a:solidFill>
                <a:effectLst/>
                <a:uLnTx/>
                <a:uFillTx/>
                <a:latin typeface="Calibri"/>
                <a:ea typeface="+mn-ea"/>
                <a:cs typeface="+mn-cs"/>
              </a:rPr>
              <a:t>dilengkapi</a:t>
            </a:r>
            <a:r>
              <a:rPr kumimoji="0" lang="en-ID" sz="1600" b="1" i="0" u="none" strike="noStrike" kern="1200" cap="none" spc="0" normalizeH="0" baseline="0" noProof="0" dirty="0">
                <a:ln>
                  <a:noFill/>
                </a:ln>
                <a:solidFill>
                  <a:prstClr val="black"/>
                </a:solidFill>
                <a:effectLst/>
                <a:uLnTx/>
                <a:uFillTx/>
                <a:latin typeface="Calibri"/>
                <a:ea typeface="+mn-ea"/>
                <a:cs typeface="+mn-cs"/>
              </a:rPr>
              <a:t> </a:t>
            </a:r>
            <a:r>
              <a:rPr kumimoji="0" lang="en-ID" sz="1600" b="1" i="0" u="none" strike="noStrike" kern="1200" cap="none" spc="0" normalizeH="0" baseline="0" noProof="0" dirty="0" err="1">
                <a:ln>
                  <a:noFill/>
                </a:ln>
                <a:solidFill>
                  <a:prstClr val="black"/>
                </a:solidFill>
                <a:effectLst/>
                <a:uLnTx/>
                <a:uFillTx/>
                <a:latin typeface="Calibri"/>
                <a:ea typeface="+mn-ea"/>
                <a:cs typeface="+mn-cs"/>
              </a:rPr>
              <a:t>dengan</a:t>
            </a:r>
            <a:r>
              <a:rPr kumimoji="0" lang="en-ID" sz="1600" b="1" i="0" u="none" strike="noStrike" kern="1200" cap="none" spc="0" normalizeH="0" baseline="0" noProof="0" dirty="0">
                <a:ln>
                  <a:noFill/>
                </a:ln>
                <a:solidFill>
                  <a:prstClr val="black"/>
                </a:solidFill>
                <a:effectLst/>
                <a:uLnTx/>
                <a:uFillTx/>
                <a:latin typeface="Calibri"/>
                <a:ea typeface="+mn-ea"/>
                <a:cs typeface="+mn-cs"/>
              </a:rPr>
              <a:t>:</a:t>
            </a:r>
            <a:endParaRPr kumimoji="0" lang="en-ID" sz="16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l" defTabSz="457200" rtl="0" eaLnBrk="0" fontAlgn="base" latinLnBrk="0" hangingPunct="0">
              <a:lnSpc>
                <a:spcPct val="100000"/>
              </a:lnSpc>
              <a:spcBef>
                <a:spcPct val="0"/>
              </a:spcBef>
              <a:spcAft>
                <a:spcPct val="0"/>
              </a:spcAft>
              <a:buClrTx/>
              <a:buSzTx/>
              <a:buFontTx/>
              <a:buAutoNum type="arabicPeriod"/>
              <a:tabLst/>
              <a:defRPr/>
            </a:pPr>
            <a:r>
              <a:rPr kumimoji="0" lang="en-ID" sz="1600" b="0" i="0" u="none" strike="noStrike" kern="1200" cap="none" spc="0" normalizeH="0" baseline="0" noProof="0" dirty="0" err="1">
                <a:ln>
                  <a:noFill/>
                </a:ln>
                <a:solidFill>
                  <a:prstClr val="black"/>
                </a:solidFill>
                <a:effectLst/>
                <a:uLnTx/>
                <a:uFillTx/>
                <a:latin typeface="Calibri"/>
                <a:ea typeface="+mn-ea"/>
                <a:cs typeface="+mn-cs"/>
              </a:rPr>
              <a:t>pemenuhan</a:t>
            </a:r>
            <a:r>
              <a:rPr kumimoji="0" lang="en-ID" sz="1600" b="0" i="0" u="none" strike="noStrike" kern="1200" cap="none" spc="0" normalizeH="0" baseline="0" noProof="0" dirty="0">
                <a:ln>
                  <a:noFill/>
                </a:ln>
                <a:solidFill>
                  <a:prstClr val="black"/>
                </a:solidFill>
                <a:effectLst/>
                <a:uLnTx/>
                <a:uFillTx/>
                <a:latin typeface="Calibri"/>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standar</a:t>
            </a:r>
            <a:r>
              <a:rPr kumimoji="0" lang="en-ID" sz="1600" b="0" i="0" u="none" strike="noStrike" kern="1200" cap="none" spc="0" normalizeH="0" baseline="0" noProof="0" dirty="0">
                <a:ln>
                  <a:noFill/>
                </a:ln>
                <a:solidFill>
                  <a:prstClr val="black"/>
                </a:solidFill>
                <a:effectLst/>
                <a:uLnTx/>
                <a:uFillTx/>
                <a:latin typeface="Calibri"/>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keamanan</a:t>
            </a:r>
            <a:r>
              <a:rPr kumimoji="0" lang="en-ID" sz="1600" b="0" i="0" u="none" strike="noStrike" kern="1200" cap="none" spc="0" normalizeH="0" baseline="0" noProof="0" dirty="0">
                <a:ln>
                  <a:noFill/>
                </a:ln>
                <a:solidFill>
                  <a:prstClr val="black"/>
                </a:solidFill>
                <a:effectLst/>
                <a:uLnTx/>
                <a:uFillTx/>
                <a:latin typeface="Calibri"/>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keselamatan</a:t>
            </a:r>
            <a:r>
              <a:rPr kumimoji="0" lang="en-ID" sz="1600" b="0" i="0" u="none" strike="noStrike" kern="1200" cap="none" spc="0" normalizeH="0" baseline="0" noProof="0" dirty="0">
                <a:ln>
                  <a:noFill/>
                </a:ln>
                <a:solidFill>
                  <a:prstClr val="black"/>
                </a:solidFill>
                <a:effectLst/>
                <a:uLnTx/>
                <a:uFillTx/>
                <a:latin typeface="Calibri"/>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kesehatan</a:t>
            </a:r>
            <a:r>
              <a:rPr kumimoji="0" lang="en-ID" sz="1600" b="0" i="0" u="none" strike="noStrike" kern="1200" cap="none" spc="0" normalizeH="0" baseline="0" noProof="0" dirty="0">
                <a:ln>
                  <a:noFill/>
                </a:ln>
                <a:solidFill>
                  <a:prstClr val="black"/>
                </a:solidFill>
                <a:effectLst/>
                <a:uLnTx/>
                <a:uFillTx/>
                <a:latin typeface="Calibri"/>
                <a:ea typeface="+mn-ea"/>
                <a:cs typeface="+mn-cs"/>
              </a:rPr>
              <a:t> dan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keberlanjutan</a:t>
            </a:r>
            <a:r>
              <a:rPr kumimoji="0" lang="en-ID" sz="1600" b="0" i="0" u="none" strike="noStrike" kern="1200" cap="none" spc="0" normalizeH="0" baseline="0" noProof="0" dirty="0">
                <a:ln>
                  <a:noFill/>
                </a:ln>
                <a:solidFill>
                  <a:prstClr val="black"/>
                </a:solidFill>
                <a:effectLst/>
                <a:uLnTx/>
                <a:uFillTx/>
                <a:latin typeface="Calibri"/>
                <a:ea typeface="+mn-ea"/>
                <a:cs typeface="+mn-cs"/>
              </a:rPr>
              <a:t>;</a:t>
            </a:r>
          </a:p>
          <a:p>
            <a:pPr marL="342900" marR="0" lvl="0" indent="-342900" algn="l" defTabSz="457200" rtl="0" eaLnBrk="0" fontAlgn="base" latinLnBrk="0" hangingPunct="0">
              <a:lnSpc>
                <a:spcPct val="100000"/>
              </a:lnSpc>
              <a:spcBef>
                <a:spcPct val="0"/>
              </a:spcBef>
              <a:spcAft>
                <a:spcPct val="0"/>
              </a:spcAft>
              <a:buClrTx/>
              <a:buSzTx/>
              <a:buFontTx/>
              <a:buAutoNum type="arabicPeriod"/>
              <a:tabLst/>
              <a:defRPr/>
            </a:pPr>
            <a:r>
              <a:rPr kumimoji="0" lang="en-ID" sz="1600" b="0" i="0" u="none" strike="noStrike" kern="1200" cap="none" spc="0" normalizeH="0" baseline="0" noProof="0" dirty="0">
                <a:ln>
                  <a:noFill/>
                </a:ln>
                <a:solidFill>
                  <a:prstClr val="black"/>
                </a:solidFill>
                <a:effectLst/>
                <a:uLnTx/>
                <a:uFillTx/>
                <a:latin typeface="Calibri"/>
                <a:ea typeface="+mn-ea"/>
                <a:cs typeface="+mn-cs"/>
              </a:rPr>
              <a:t>daftar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penggunaan</a:t>
            </a:r>
            <a:r>
              <a:rPr kumimoji="0" lang="en-ID" sz="1600" b="0" i="0" u="none" strike="noStrike" kern="1200" cap="none" spc="0" normalizeH="0" baseline="0" noProof="0" dirty="0">
                <a:ln>
                  <a:noFill/>
                </a:ln>
                <a:solidFill>
                  <a:prstClr val="black"/>
                </a:solidFill>
                <a:effectLst/>
                <a:uLnTx/>
                <a:uFillTx/>
                <a:latin typeface="Calibri"/>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tenaga</a:t>
            </a:r>
            <a:r>
              <a:rPr kumimoji="0" lang="en-ID" sz="1600" b="0" i="0" u="none" strike="noStrike" kern="1200" cap="none" spc="0" normalizeH="0" baseline="0" noProof="0" dirty="0">
                <a:ln>
                  <a:noFill/>
                </a:ln>
                <a:solidFill>
                  <a:prstClr val="black"/>
                </a:solidFill>
                <a:effectLst/>
                <a:uLnTx/>
                <a:uFillTx/>
                <a:latin typeface="Calibri"/>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kerja</a:t>
            </a:r>
            <a:r>
              <a:rPr kumimoji="0" lang="en-ID" sz="1600" b="0" i="0" u="none" strike="noStrike" kern="1200" cap="none" spc="0" normalizeH="0" baseline="0" noProof="0" dirty="0">
                <a:ln>
                  <a:noFill/>
                </a:ln>
                <a:solidFill>
                  <a:prstClr val="black"/>
                </a:solidFill>
                <a:effectLst/>
                <a:uLnTx/>
                <a:uFillTx/>
                <a:latin typeface="Calibri"/>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konstruksi</a:t>
            </a:r>
            <a:r>
              <a:rPr kumimoji="0" lang="en-ID" sz="1600" b="0" i="0" u="none" strike="noStrike" kern="1200" cap="none" spc="0" normalizeH="0" baseline="0" noProof="0" dirty="0">
                <a:ln>
                  <a:noFill/>
                </a:ln>
                <a:solidFill>
                  <a:prstClr val="black"/>
                </a:solidFill>
                <a:effectLst/>
                <a:uLnTx/>
                <a:uFillTx/>
                <a:latin typeface="Calibri"/>
                <a:ea typeface="+mn-ea"/>
                <a:cs typeface="+mn-cs"/>
              </a:rPr>
              <a:t> dan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tenaga</a:t>
            </a:r>
            <a:r>
              <a:rPr kumimoji="0" lang="en-ID" sz="1600" b="0" i="0" u="none" strike="noStrike" kern="1200" cap="none" spc="0" normalizeH="0" baseline="0" noProof="0" dirty="0">
                <a:ln>
                  <a:noFill/>
                </a:ln>
                <a:solidFill>
                  <a:prstClr val="black"/>
                </a:solidFill>
                <a:effectLst/>
                <a:uLnTx/>
                <a:uFillTx/>
                <a:latin typeface="Calibri"/>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kerja</a:t>
            </a:r>
            <a:r>
              <a:rPr kumimoji="0" lang="en-ID" sz="1600" b="0" i="0" u="none" strike="noStrike" kern="1200" cap="none" spc="0" normalizeH="0" baseline="0" noProof="0" dirty="0">
                <a:ln>
                  <a:noFill/>
                </a:ln>
                <a:solidFill>
                  <a:prstClr val="black"/>
                </a:solidFill>
                <a:effectLst/>
                <a:uLnTx/>
                <a:uFillTx/>
                <a:latin typeface="Calibri"/>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konstruksi</a:t>
            </a:r>
            <a:r>
              <a:rPr kumimoji="0" lang="en-ID" sz="1600" b="0" i="0" u="none" strike="noStrike" kern="1200" cap="none" spc="0" normalizeH="0" baseline="0" noProof="0" dirty="0">
                <a:ln>
                  <a:noFill/>
                </a:ln>
                <a:solidFill>
                  <a:prstClr val="black"/>
                </a:solidFill>
                <a:effectLst/>
                <a:uLnTx/>
                <a:uFillTx/>
                <a:latin typeface="Calibri"/>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bersertifikat</a:t>
            </a:r>
            <a:r>
              <a:rPr kumimoji="0" lang="en-ID" sz="1600" b="0" i="0" u="none" strike="noStrike" kern="1200" cap="none" spc="0" normalizeH="0" baseline="0" noProof="0" dirty="0">
                <a:ln>
                  <a:noFill/>
                </a:ln>
                <a:solidFill>
                  <a:prstClr val="black"/>
                </a:solidFill>
                <a:effectLst/>
                <a:uLnTx/>
                <a:uFillTx/>
                <a:latin typeface="Calibri"/>
                <a:ea typeface="+mn-ea"/>
                <a:cs typeface="+mn-cs"/>
              </a:rPr>
              <a:t>; dan/</a:t>
            </a:r>
            <a:r>
              <a:rPr kumimoji="0" lang="en-ID" sz="1600" b="0" i="0" u="none" strike="noStrike" kern="1200" cap="none" spc="0" normalizeH="0" baseline="0" noProof="0" dirty="0" err="1">
                <a:ln>
                  <a:noFill/>
                </a:ln>
                <a:solidFill>
                  <a:prstClr val="black"/>
                </a:solidFill>
                <a:effectLst/>
                <a:uLnTx/>
                <a:uFillTx/>
                <a:latin typeface="Calibri"/>
                <a:ea typeface="+mn-ea"/>
                <a:cs typeface="+mn-cs"/>
              </a:rPr>
              <a:t>atau</a:t>
            </a:r>
            <a:endParaRPr kumimoji="0" lang="en-ID" sz="16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l" defTabSz="457200" rtl="0" eaLnBrk="0" fontAlgn="base" latinLnBrk="0" hangingPunct="0">
              <a:lnSpc>
                <a:spcPct val="100000"/>
              </a:lnSpc>
              <a:spcBef>
                <a:spcPct val="0"/>
              </a:spcBef>
              <a:spcAft>
                <a:spcPct val="0"/>
              </a:spcAft>
              <a:buClrTx/>
              <a:buSzTx/>
              <a:buFontTx/>
              <a:buAutoNum type="arabicPeriod"/>
              <a:tabLst/>
              <a:defRPr/>
            </a:pPr>
            <a:r>
              <a:rPr kumimoji="0" lang="en-ID" sz="1600" b="0" i="0" u="none" strike="noStrike" kern="1200" cap="none" spc="0" normalizeH="0" baseline="0" noProof="0" dirty="0">
                <a:ln>
                  <a:noFill/>
                </a:ln>
                <a:solidFill>
                  <a:prstClr val="black"/>
                </a:solidFill>
                <a:effectLst/>
                <a:uLnTx/>
                <a:uFillTx/>
                <a:latin typeface="Calibri"/>
                <a:ea typeface="+mn-ea"/>
                <a:cs typeface="+mn-cs"/>
              </a:rPr>
              <a:t>daftar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penggunaan</a:t>
            </a:r>
            <a:r>
              <a:rPr kumimoji="0" lang="en-ID" sz="1600" b="0" i="0" u="none" strike="noStrike" kern="1200" cap="none" spc="0" normalizeH="0" baseline="0" noProof="0" dirty="0">
                <a:ln>
                  <a:noFill/>
                </a:ln>
                <a:solidFill>
                  <a:prstClr val="black"/>
                </a:solidFill>
                <a:effectLst/>
                <a:uLnTx/>
                <a:uFillTx/>
                <a:latin typeface="Calibri"/>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tenaga</a:t>
            </a:r>
            <a:r>
              <a:rPr kumimoji="0" lang="en-ID" sz="1600" b="0" i="0" u="none" strike="noStrike" kern="1200" cap="none" spc="0" normalizeH="0" baseline="0" noProof="0" dirty="0">
                <a:ln>
                  <a:noFill/>
                </a:ln>
                <a:solidFill>
                  <a:prstClr val="black"/>
                </a:solidFill>
                <a:effectLst/>
                <a:uLnTx/>
                <a:uFillTx/>
                <a:latin typeface="Calibri"/>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kerja</a:t>
            </a:r>
            <a:r>
              <a:rPr kumimoji="0" lang="en-ID" sz="1600" b="0" i="0" u="none" strike="noStrike" kern="1200" cap="none" spc="0" normalizeH="0" baseline="0" noProof="0" dirty="0">
                <a:ln>
                  <a:noFill/>
                </a:ln>
                <a:solidFill>
                  <a:prstClr val="black"/>
                </a:solidFill>
                <a:effectLst/>
                <a:uLnTx/>
                <a:uFillTx/>
                <a:latin typeface="Calibri"/>
                <a:ea typeface="+mn-ea"/>
                <a:cs typeface="+mn-cs"/>
              </a:rPr>
              <a:t> </a:t>
            </a:r>
            <a:r>
              <a:rPr kumimoji="0" lang="en-ID" sz="1600" b="0" i="0" u="none" strike="noStrike" kern="1200" cap="none" spc="0" normalizeH="0" baseline="0" noProof="0" dirty="0" err="1">
                <a:ln>
                  <a:noFill/>
                </a:ln>
                <a:solidFill>
                  <a:prstClr val="black"/>
                </a:solidFill>
                <a:effectLst/>
                <a:uLnTx/>
                <a:uFillTx/>
                <a:latin typeface="Calibri"/>
                <a:ea typeface="+mn-ea"/>
                <a:cs typeface="+mn-cs"/>
              </a:rPr>
              <a:t>asing</a:t>
            </a:r>
            <a:r>
              <a:rPr kumimoji="0" lang="en-ID" sz="1600" b="0" i="0" u="none" strike="noStrike" kern="1200" cap="none" spc="0" normalizeH="0" baseline="0" noProof="0" dirty="0">
                <a:ln>
                  <a:noFill/>
                </a:ln>
                <a:solidFill>
                  <a:prstClr val="black"/>
                </a:solidFill>
                <a:effectLst/>
                <a:uLnTx/>
                <a:uFillTx/>
                <a:latin typeface="Calibri"/>
                <a:ea typeface="+mn-ea"/>
                <a:cs typeface="+mn-cs"/>
              </a:rPr>
              <a:t>.</a:t>
            </a:r>
          </a:p>
        </p:txBody>
      </p:sp>
      <p:graphicFrame>
        <p:nvGraphicFramePr>
          <p:cNvPr id="33" name="Table 60">
            <a:extLst>
              <a:ext uri="{FF2B5EF4-FFF2-40B4-BE49-F238E27FC236}">
                <a16:creationId xmlns:a16="http://schemas.microsoft.com/office/drawing/2014/main" id="{151FB339-2482-614D-B6B1-0DD362314427}"/>
              </a:ext>
            </a:extLst>
          </p:cNvPr>
          <p:cNvGraphicFramePr>
            <a:graphicFrameLocks noGrp="1"/>
          </p:cNvGraphicFramePr>
          <p:nvPr/>
        </p:nvGraphicFramePr>
        <p:xfrm>
          <a:off x="6715666" y="3520215"/>
          <a:ext cx="4834091" cy="2804160"/>
        </p:xfrm>
        <a:graphic>
          <a:graphicData uri="http://schemas.openxmlformats.org/drawingml/2006/table">
            <a:tbl>
              <a:tblPr firstRow="1" bandRow="1">
                <a:tableStyleId>{5C22544A-7EE6-4342-B048-85BDC9FD1C3A}</a:tableStyleId>
              </a:tblPr>
              <a:tblGrid>
                <a:gridCol w="2825397">
                  <a:extLst>
                    <a:ext uri="{9D8B030D-6E8A-4147-A177-3AD203B41FA5}">
                      <a16:colId xmlns:a16="http://schemas.microsoft.com/office/drawing/2014/main" val="2252956488"/>
                    </a:ext>
                  </a:extLst>
                </a:gridCol>
                <a:gridCol w="1010513">
                  <a:extLst>
                    <a:ext uri="{9D8B030D-6E8A-4147-A177-3AD203B41FA5}">
                      <a16:colId xmlns:a16="http://schemas.microsoft.com/office/drawing/2014/main" val="655038262"/>
                    </a:ext>
                  </a:extLst>
                </a:gridCol>
                <a:gridCol w="998181">
                  <a:extLst>
                    <a:ext uri="{9D8B030D-6E8A-4147-A177-3AD203B41FA5}">
                      <a16:colId xmlns:a16="http://schemas.microsoft.com/office/drawing/2014/main" val="3246144193"/>
                    </a:ext>
                  </a:extLst>
                </a:gridCol>
              </a:tblGrid>
              <a:tr h="370840">
                <a:tc>
                  <a:txBody>
                    <a:bodyPr/>
                    <a:lstStyle/>
                    <a:p>
                      <a:r>
                        <a:rPr lang="en-US" sz="1600" dirty="0"/>
                        <a:t>Data </a:t>
                      </a:r>
                      <a:r>
                        <a:rPr lang="en-US" sz="1600" dirty="0" err="1"/>
                        <a:t>Ctt</a:t>
                      </a:r>
                      <a:r>
                        <a:rPr lang="en-US" sz="1600" dirty="0"/>
                        <a:t>. </a:t>
                      </a:r>
                      <a:r>
                        <a:rPr lang="en-US" sz="1600" dirty="0" err="1"/>
                        <a:t>Pengalaman</a:t>
                      </a:r>
                      <a:endParaRPr lang="en-US" sz="1600" dirty="0"/>
                    </a:p>
                  </a:txBody>
                  <a:tcPr/>
                </a:tc>
                <a:tc>
                  <a:txBody>
                    <a:bodyPr/>
                    <a:lstStyle/>
                    <a:p>
                      <a:r>
                        <a:rPr lang="en-US" sz="1600" dirty="0"/>
                        <a:t>Kuali.</a:t>
                      </a:r>
                    </a:p>
                    <a:p>
                      <a:r>
                        <a:rPr lang="en-US" sz="1600" dirty="0"/>
                        <a:t>Kecil</a:t>
                      </a:r>
                    </a:p>
                  </a:txBody>
                  <a:tcPr/>
                </a:tc>
                <a:tc>
                  <a:txBody>
                    <a:bodyPr/>
                    <a:lstStyle/>
                    <a:p>
                      <a:r>
                        <a:rPr lang="en-US" sz="1600" dirty="0"/>
                        <a:t>Lain-</a:t>
                      </a:r>
                      <a:r>
                        <a:rPr lang="en-US" sz="1600" dirty="0" err="1"/>
                        <a:t>nya</a:t>
                      </a:r>
                      <a:endParaRPr lang="en-US" sz="1600" dirty="0"/>
                    </a:p>
                  </a:txBody>
                  <a:tcPr/>
                </a:tc>
                <a:extLst>
                  <a:ext uri="{0D108BD9-81ED-4DB2-BD59-A6C34878D82A}">
                    <a16:rowId xmlns:a16="http://schemas.microsoft.com/office/drawing/2014/main" val="2069280114"/>
                  </a:ext>
                </a:extLst>
              </a:tr>
              <a:tr h="3708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ID" sz="1600" b="0" i="0" u="none" strike="noStrike" cap="none" dirty="0">
                          <a:solidFill>
                            <a:schemeClr val="dk1"/>
                          </a:solidFill>
                          <a:effectLst/>
                          <a:latin typeface="+mn-lt"/>
                          <a:ea typeface="+mn-ea"/>
                          <a:cs typeface="+mn-cs"/>
                          <a:sym typeface="Arial"/>
                        </a:rPr>
                        <a:t>Nama </a:t>
                      </a:r>
                      <a:r>
                        <a:rPr lang="en-ID" sz="1600" b="0" i="0" u="none" strike="noStrike" cap="none" dirty="0" err="1">
                          <a:solidFill>
                            <a:schemeClr val="dk1"/>
                          </a:solidFill>
                          <a:effectLst/>
                          <a:latin typeface="+mn-lt"/>
                          <a:ea typeface="+mn-ea"/>
                          <a:cs typeface="+mn-cs"/>
                          <a:sym typeface="Arial"/>
                        </a:rPr>
                        <a:t>paket</a:t>
                      </a:r>
                      <a:r>
                        <a:rPr lang="en-ID" sz="1600" b="0" i="0" u="none" strike="noStrike" cap="none" dirty="0">
                          <a:solidFill>
                            <a:schemeClr val="dk1"/>
                          </a:solidFill>
                          <a:effectLst/>
                          <a:latin typeface="+mn-lt"/>
                          <a:ea typeface="+mn-ea"/>
                          <a:cs typeface="+mn-cs"/>
                          <a:sym typeface="Arial"/>
                        </a:rPr>
                        <a:t> </a:t>
                      </a:r>
                      <a:r>
                        <a:rPr lang="en-ID" sz="1600" b="0" i="0" u="none" strike="noStrike" cap="none" dirty="0" err="1">
                          <a:solidFill>
                            <a:schemeClr val="dk1"/>
                          </a:solidFill>
                          <a:effectLst/>
                          <a:latin typeface="+mn-lt"/>
                          <a:ea typeface="+mn-ea"/>
                          <a:cs typeface="+mn-cs"/>
                          <a:sym typeface="Arial"/>
                        </a:rPr>
                        <a:t>pekerjaan</a:t>
                      </a:r>
                      <a:r>
                        <a:rPr lang="en-ID" sz="1600" b="0" i="0" u="none" strike="noStrike" cap="none" dirty="0">
                          <a:solidFill>
                            <a:schemeClr val="dk1"/>
                          </a:solidFill>
                          <a:effectLst/>
                          <a:latin typeface="+mn-lt"/>
                          <a:ea typeface="+mn-ea"/>
                          <a:cs typeface="+mn-cs"/>
                          <a:sym typeface="Arial"/>
                        </a:rPr>
                        <a:t>; </a:t>
                      </a:r>
                      <a:endParaRPr lang="en-ID" sz="1600" dirty="0">
                        <a:effectLst/>
                      </a:endParaRPr>
                    </a:p>
                  </a:txBody>
                  <a:tcPr/>
                </a:tc>
                <a:tc>
                  <a:txBody>
                    <a:bodyPr/>
                    <a:lstStyle/>
                    <a:p>
                      <a:pPr algn="ctr"/>
                      <a:r>
                        <a:rPr lang="en-US" sz="1600" b="0" dirty="0"/>
                        <a:t>√</a:t>
                      </a:r>
                    </a:p>
                  </a:txBody>
                  <a:tcPr/>
                </a:tc>
                <a:tc>
                  <a:txBody>
                    <a:bodyPr/>
                    <a:lstStyle/>
                    <a:p>
                      <a:pPr algn="ctr"/>
                      <a:r>
                        <a:rPr lang="en-US" sz="1600" b="0" dirty="0"/>
                        <a:t>√</a:t>
                      </a:r>
                    </a:p>
                  </a:txBody>
                  <a:tcPr/>
                </a:tc>
                <a:extLst>
                  <a:ext uri="{0D108BD9-81ED-4DB2-BD59-A6C34878D82A}">
                    <a16:rowId xmlns:a16="http://schemas.microsoft.com/office/drawing/2014/main" val="3538239355"/>
                  </a:ext>
                </a:extLst>
              </a:tr>
              <a:tr h="370840">
                <a:tc>
                  <a:txBody>
                    <a:bodyPr/>
                    <a:lstStyle/>
                    <a:p>
                      <a:r>
                        <a:rPr lang="en-US" sz="1600" dirty="0"/>
                        <a:t>Nama </a:t>
                      </a:r>
                      <a:r>
                        <a:rPr lang="en-US" sz="1600" dirty="0" err="1"/>
                        <a:t>pengguna</a:t>
                      </a:r>
                      <a:r>
                        <a:rPr lang="en-US" sz="1600" dirty="0"/>
                        <a:t> </a:t>
                      </a:r>
                      <a:r>
                        <a:rPr lang="en-US" sz="1600" dirty="0" err="1"/>
                        <a:t>jasa</a:t>
                      </a:r>
                      <a:endParaRPr lang="en-US" sz="1600" dirty="0"/>
                    </a:p>
                  </a:txBody>
                  <a:tcPr/>
                </a:tc>
                <a:tc>
                  <a:txBody>
                    <a:bodyPr/>
                    <a:lstStyle/>
                    <a:p>
                      <a:pPr algn="ctr"/>
                      <a:r>
                        <a:rPr lang="en-US" sz="1600" b="0" dirty="0"/>
                        <a:t>√</a:t>
                      </a:r>
                    </a:p>
                  </a:txBody>
                  <a:tcPr/>
                </a:tc>
                <a:tc>
                  <a:txBody>
                    <a:bodyPr/>
                    <a:lstStyle/>
                    <a:p>
                      <a:pPr algn="ctr"/>
                      <a:r>
                        <a:rPr lang="en-US" sz="1600" b="0" dirty="0"/>
                        <a:t>√</a:t>
                      </a:r>
                    </a:p>
                  </a:txBody>
                  <a:tcPr/>
                </a:tc>
                <a:extLst>
                  <a:ext uri="{0D108BD9-81ED-4DB2-BD59-A6C34878D82A}">
                    <a16:rowId xmlns:a16="http://schemas.microsoft.com/office/drawing/2014/main" val="2113726635"/>
                  </a:ext>
                </a:extLst>
              </a:tr>
              <a:tr h="370840">
                <a:tc>
                  <a:txBody>
                    <a:bodyPr/>
                    <a:lstStyle/>
                    <a:p>
                      <a:r>
                        <a:rPr lang="en-US" sz="1600" dirty="0" err="1"/>
                        <a:t>Thn</a:t>
                      </a:r>
                      <a:r>
                        <a:rPr lang="en-US" sz="1600" dirty="0"/>
                        <a:t> </a:t>
                      </a:r>
                      <a:r>
                        <a:rPr lang="en-US" sz="1600" dirty="0" err="1"/>
                        <a:t>pelaksanaan</a:t>
                      </a:r>
                      <a:r>
                        <a:rPr lang="en-US" sz="1600" dirty="0"/>
                        <a:t> </a:t>
                      </a:r>
                      <a:r>
                        <a:rPr lang="en-US" sz="1600" dirty="0" err="1"/>
                        <a:t>pekerjaan</a:t>
                      </a:r>
                      <a:endParaRPr lang="en-US" sz="1600" dirty="0"/>
                    </a:p>
                  </a:txBody>
                  <a:tcPr/>
                </a:tc>
                <a:tc>
                  <a:txBody>
                    <a:bodyPr/>
                    <a:lstStyle/>
                    <a:p>
                      <a:pPr algn="ctr"/>
                      <a:r>
                        <a:rPr lang="en-US" sz="1600" b="0" dirty="0"/>
                        <a:t>√</a:t>
                      </a:r>
                    </a:p>
                  </a:txBody>
                  <a:tcPr/>
                </a:tc>
                <a:tc>
                  <a:txBody>
                    <a:bodyPr/>
                    <a:lstStyle/>
                    <a:p>
                      <a:pPr algn="ctr"/>
                      <a:r>
                        <a:rPr lang="en-US" sz="1600" b="0" dirty="0"/>
                        <a:t>√</a:t>
                      </a:r>
                    </a:p>
                  </a:txBody>
                  <a:tcPr/>
                </a:tc>
                <a:extLst>
                  <a:ext uri="{0D108BD9-81ED-4DB2-BD59-A6C34878D82A}">
                    <a16:rowId xmlns:a16="http://schemas.microsoft.com/office/drawing/2014/main" val="2295043904"/>
                  </a:ext>
                </a:extLst>
              </a:tr>
              <a:tr h="370840">
                <a:tc>
                  <a:txBody>
                    <a:bodyPr/>
                    <a:lstStyle/>
                    <a:p>
                      <a:r>
                        <a:rPr lang="en-US" sz="1600" dirty="0"/>
                        <a:t>Nilai </a:t>
                      </a:r>
                      <a:r>
                        <a:rPr lang="en-US" sz="1600" dirty="0" err="1"/>
                        <a:t>Pekerjaan</a:t>
                      </a:r>
                      <a:endParaRPr lang="en-US" sz="1600" dirty="0"/>
                    </a:p>
                  </a:txBody>
                  <a:tcPr/>
                </a:tc>
                <a:tc>
                  <a:txBody>
                    <a:bodyPr/>
                    <a:lstStyle/>
                    <a:p>
                      <a:pPr algn="ctr"/>
                      <a:r>
                        <a:rPr lang="en-US" sz="1600" b="0" dirty="0"/>
                        <a:t>√</a:t>
                      </a:r>
                    </a:p>
                  </a:txBody>
                  <a:tcPr/>
                </a:tc>
                <a:tc>
                  <a:txBody>
                    <a:bodyPr/>
                    <a:lstStyle/>
                    <a:p>
                      <a:pPr algn="ctr"/>
                      <a:r>
                        <a:rPr lang="en-US" sz="1600" b="0" dirty="0"/>
                        <a:t>√</a:t>
                      </a:r>
                    </a:p>
                  </a:txBody>
                  <a:tcPr/>
                </a:tc>
                <a:extLst>
                  <a:ext uri="{0D108BD9-81ED-4DB2-BD59-A6C34878D82A}">
                    <a16:rowId xmlns:a16="http://schemas.microsoft.com/office/drawing/2014/main" val="1289877790"/>
                  </a:ext>
                </a:extLst>
              </a:tr>
              <a:tr h="370840">
                <a:tc>
                  <a:txBody>
                    <a:bodyPr/>
                    <a:lstStyle/>
                    <a:p>
                      <a:r>
                        <a:rPr lang="en-US" sz="1600" dirty="0"/>
                        <a:t>BASTP</a:t>
                      </a:r>
                    </a:p>
                  </a:txBody>
                  <a:tcPr/>
                </a:tc>
                <a:tc>
                  <a:txBody>
                    <a:bodyPr/>
                    <a:lstStyle/>
                    <a:p>
                      <a:pPr algn="ctr"/>
                      <a:r>
                        <a:rPr lang="en-US" sz="1600" b="0" dirty="0"/>
                        <a:t>√</a:t>
                      </a:r>
                    </a:p>
                  </a:txBody>
                  <a:tcPr/>
                </a:tc>
                <a:tc>
                  <a:txBody>
                    <a:bodyPr/>
                    <a:lstStyle/>
                    <a:p>
                      <a:pPr algn="ctr"/>
                      <a:r>
                        <a:rPr lang="en-US" sz="1600" b="0" dirty="0"/>
                        <a:t>√</a:t>
                      </a:r>
                    </a:p>
                  </a:txBody>
                  <a:tcPr/>
                </a:tc>
                <a:extLst>
                  <a:ext uri="{0D108BD9-81ED-4DB2-BD59-A6C34878D82A}">
                    <a16:rowId xmlns:a16="http://schemas.microsoft.com/office/drawing/2014/main" val="963142756"/>
                  </a:ext>
                </a:extLst>
              </a:tr>
              <a:tr h="370840">
                <a:tc>
                  <a:txBody>
                    <a:bodyPr/>
                    <a:lstStyle/>
                    <a:p>
                      <a:r>
                        <a:rPr lang="en-US" sz="1600" dirty="0"/>
                        <a:t>Kinerja </a:t>
                      </a:r>
                      <a:r>
                        <a:rPr lang="en-US" sz="1600" dirty="0" err="1"/>
                        <a:t>Peny</a:t>
                      </a:r>
                      <a:r>
                        <a:rPr lang="en-US" sz="1600" dirty="0"/>
                        <a:t>. Jasa </a:t>
                      </a:r>
                      <a:r>
                        <a:rPr lang="en-US" sz="1600" dirty="0" err="1"/>
                        <a:t>Tahunan</a:t>
                      </a:r>
                      <a:endParaRPr lang="en-US" sz="1600" dirty="0"/>
                    </a:p>
                  </a:txBody>
                  <a:tcPr/>
                </a:tc>
                <a:tc>
                  <a:txBody>
                    <a:bodyPr/>
                    <a:lstStyle/>
                    <a:p>
                      <a:pPr algn="ctr"/>
                      <a:r>
                        <a:rPr lang="en-US" sz="1600" b="0" dirty="0"/>
                        <a:t>-</a:t>
                      </a:r>
                    </a:p>
                  </a:txBody>
                  <a:tcPr/>
                </a:tc>
                <a:tc>
                  <a:txBody>
                    <a:bodyPr/>
                    <a:lstStyle/>
                    <a:p>
                      <a:pPr algn="ctr"/>
                      <a:r>
                        <a:rPr lang="en-US" sz="1600" b="0" dirty="0"/>
                        <a:t>√</a:t>
                      </a:r>
                    </a:p>
                  </a:txBody>
                  <a:tcPr/>
                </a:tc>
                <a:extLst>
                  <a:ext uri="{0D108BD9-81ED-4DB2-BD59-A6C34878D82A}">
                    <a16:rowId xmlns:a16="http://schemas.microsoft.com/office/drawing/2014/main" val="2064153448"/>
                  </a:ext>
                </a:extLst>
              </a:tr>
            </a:tbl>
          </a:graphicData>
        </a:graphic>
      </p:graphicFrame>
    </p:spTree>
    <p:extLst>
      <p:ext uri="{BB962C8B-B14F-4D97-AF65-F5344CB8AC3E}">
        <p14:creationId xmlns:p14="http://schemas.microsoft.com/office/powerpoint/2010/main" val="3002609111"/>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2" presetClass="entr" presetSubtype="1" accel="20000" decel="80000" fill="hold" grpId="0" nodeType="withEffect">
                                  <p:stCondLst>
                                    <p:cond delay="250"/>
                                  </p:stCondLst>
                                  <p:childTnLst>
                                    <p:set>
                                      <p:cBhvr>
                                        <p:cTn id="9" dur="1" fill="hold">
                                          <p:stCondLst>
                                            <p:cond delay="0"/>
                                          </p:stCondLst>
                                        </p:cTn>
                                        <p:tgtEl>
                                          <p:spTgt spid="7"/>
                                        </p:tgtEl>
                                        <p:attrNameLst>
                                          <p:attrName>style.visibility</p:attrName>
                                        </p:attrNameLst>
                                      </p:cBhvr>
                                      <p:to>
                                        <p:strVal val="visible"/>
                                      </p:to>
                                    </p:set>
                                    <p:anim calcmode="lin" valueType="num">
                                      <p:cBhvr additive="base">
                                        <p:cTn id="10" dur="1000" fill="hold"/>
                                        <p:tgtEl>
                                          <p:spTgt spid="7"/>
                                        </p:tgtEl>
                                        <p:attrNameLst>
                                          <p:attrName>ppt_x</p:attrName>
                                        </p:attrNameLst>
                                      </p:cBhvr>
                                      <p:tavLst>
                                        <p:tav tm="0">
                                          <p:val>
                                            <p:strVal val="#ppt_x"/>
                                          </p:val>
                                        </p:tav>
                                        <p:tav tm="100000">
                                          <p:val>
                                            <p:strVal val="#ppt_x"/>
                                          </p:val>
                                        </p:tav>
                                      </p:tavLst>
                                    </p:anim>
                                    <p:anim calcmode="lin" valueType="num">
                                      <p:cBhvr additive="base">
                                        <p:cTn id="11" dur="1000" fill="hold"/>
                                        <p:tgtEl>
                                          <p:spTgt spid="7"/>
                                        </p:tgtEl>
                                        <p:attrNameLst>
                                          <p:attrName>ppt_y</p:attrName>
                                        </p:attrNameLst>
                                      </p:cBhvr>
                                      <p:tavLst>
                                        <p:tav tm="0">
                                          <p:val>
                                            <p:strVal val="0-#ppt_h/2"/>
                                          </p:val>
                                        </p:tav>
                                        <p:tav tm="100000">
                                          <p:val>
                                            <p:strVal val="#ppt_y"/>
                                          </p:val>
                                        </p:tav>
                                      </p:tavLst>
                                    </p:anim>
                                  </p:childTnLst>
                                </p:cTn>
                              </p:par>
                              <p:par>
                                <p:cTn id="12" presetID="10" presetClass="entr" presetSubtype="0" fill="hold" nodeType="withEffect">
                                  <p:stCondLst>
                                    <p:cond delay="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5" name="Picture Placeholder 2" descr="A picture containing indoor&#10;&#10;Description automatically generated">
            <a:extLst>
              <a:ext uri="{FF2B5EF4-FFF2-40B4-BE49-F238E27FC236}">
                <a16:creationId xmlns:a16="http://schemas.microsoft.com/office/drawing/2014/main" id="{20403547-53ED-6A4E-A89D-32A1FCB64B60}"/>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7938" y="0"/>
            <a:ext cx="122047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Graphic 21">
            <a:extLst>
              <a:ext uri="{FF2B5EF4-FFF2-40B4-BE49-F238E27FC236}">
                <a16:creationId xmlns:a16="http://schemas.microsoft.com/office/drawing/2014/main" id="{169C437B-9E02-7B40-8395-402AF84D85CC}"/>
              </a:ext>
            </a:extLst>
          </p:cNvPr>
          <p:cNvSpPr/>
          <p:nvPr/>
        </p:nvSpPr>
        <p:spPr>
          <a:xfrm>
            <a:off x="0" y="3959225"/>
            <a:ext cx="2316163" cy="2898775"/>
          </a:xfrm>
          <a:custGeom>
            <a:avLst/>
            <a:gdLst>
              <a:gd name="connsiteX0" fmla="*/ 966121 w 3087570"/>
              <a:gd name="connsiteY0" fmla="*/ 1168813 h 3865721"/>
              <a:gd name="connsiteX1" fmla="*/ 0 w 3087570"/>
              <a:gd name="connsiteY1" fmla="*/ 0 h 3865721"/>
              <a:gd name="connsiteX2" fmla="*/ 0 w 3087570"/>
              <a:gd name="connsiteY2" fmla="*/ 3865721 h 3865721"/>
              <a:gd name="connsiteX3" fmla="*/ 2580132 w 3087570"/>
              <a:gd name="connsiteY3" fmla="*/ 3865721 h 3865721"/>
              <a:gd name="connsiteX4" fmla="*/ 2762155 w 3087570"/>
              <a:gd name="connsiteY4" fmla="*/ 1512284 h 3865721"/>
              <a:gd name="connsiteX5" fmla="*/ 966121 w 3087570"/>
              <a:gd name="connsiteY5" fmla="*/ 1168813 h 3865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7570" h="3865721">
                <a:moveTo>
                  <a:pt x="966121" y="1168813"/>
                </a:moveTo>
                <a:cubicBezTo>
                  <a:pt x="510635" y="966978"/>
                  <a:pt x="191072" y="427863"/>
                  <a:pt x="0" y="0"/>
                </a:cubicBezTo>
                <a:lnTo>
                  <a:pt x="0" y="3865721"/>
                </a:lnTo>
                <a:lnTo>
                  <a:pt x="2580132" y="3865721"/>
                </a:lnTo>
                <a:cubicBezTo>
                  <a:pt x="3452241" y="3246120"/>
                  <a:pt x="2982659" y="1852041"/>
                  <a:pt x="2762155" y="1512284"/>
                </a:cubicBezTo>
                <a:cubicBezTo>
                  <a:pt x="2478024" y="1074134"/>
                  <a:pt x="1767554" y="1524095"/>
                  <a:pt x="966121" y="1168813"/>
                </a:cubicBezTo>
                <a:close/>
              </a:path>
            </a:pathLst>
          </a:custGeom>
          <a:solidFill>
            <a:schemeClr val="bg2">
              <a:lumMod val="75000"/>
              <a:alpha val="10000"/>
            </a:schemeClr>
          </a:solidFill>
          <a:ln w="9525" cap="flat">
            <a:noFill/>
            <a:prstDash val="solid"/>
            <a:miter/>
          </a:ln>
        </p:spPr>
        <p:txBody>
          <a:bodyPr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sp>
        <p:nvSpPr>
          <p:cNvPr id="36869" name="object 4">
            <a:extLst>
              <a:ext uri="{FF2B5EF4-FFF2-40B4-BE49-F238E27FC236}">
                <a16:creationId xmlns:a16="http://schemas.microsoft.com/office/drawing/2014/main" id="{C6F08A22-2B3E-494E-9AA8-8043C9194628}"/>
              </a:ext>
            </a:extLst>
          </p:cNvPr>
          <p:cNvSpPr>
            <a:spLocks noChangeArrowheads="1"/>
          </p:cNvSpPr>
          <p:nvPr/>
        </p:nvSpPr>
        <p:spPr bwMode="auto">
          <a:xfrm>
            <a:off x="10345738" y="-14288"/>
            <a:ext cx="1846262" cy="776288"/>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grpSp>
        <p:nvGrpSpPr>
          <p:cNvPr id="21" name="Oval 20">
            <a:extLst>
              <a:ext uri="{FF2B5EF4-FFF2-40B4-BE49-F238E27FC236}">
                <a16:creationId xmlns:a16="http://schemas.microsoft.com/office/drawing/2014/main" id="{E9C94BA4-9547-D046-89DA-A6D5268DB6CC}"/>
              </a:ext>
            </a:extLst>
          </p:cNvPr>
          <p:cNvGrpSpPr>
            <a:grpSpLocks/>
          </p:cNvGrpSpPr>
          <p:nvPr/>
        </p:nvGrpSpPr>
        <p:grpSpPr bwMode="auto">
          <a:xfrm>
            <a:off x="-1092200" y="-887413"/>
            <a:ext cx="4940300" cy="4724401"/>
            <a:chOff x="-1200" y="2584"/>
            <a:chExt cx="3112" cy="2976"/>
          </a:xfrm>
        </p:grpSpPr>
        <p:pic>
          <p:nvPicPr>
            <p:cNvPr id="36876" name="Oval 20">
              <a:extLst>
                <a:ext uri="{FF2B5EF4-FFF2-40B4-BE49-F238E27FC236}">
                  <a16:creationId xmlns:a16="http://schemas.microsoft.com/office/drawing/2014/main" id="{38D57C8F-7A03-C743-95E0-1B2479F66577}"/>
                </a:ext>
              </a:extLst>
            </p:cNvPr>
            <p:cNvPicPr>
              <a:picLocks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200" y="2584"/>
              <a:ext cx="3112"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77" name="Text Box 3">
              <a:extLst>
                <a:ext uri="{FF2B5EF4-FFF2-40B4-BE49-F238E27FC236}">
                  <a16:creationId xmlns:a16="http://schemas.microsoft.com/office/drawing/2014/main" id="{6C041DD7-9EAD-B148-8289-85863033EFE0}"/>
                </a:ext>
              </a:extLst>
            </p:cNvPr>
            <p:cNvSpPr txBox="1">
              <a:spLocks noChangeArrowheads="1"/>
            </p:cNvSpPr>
            <p:nvPr/>
          </p:nvSpPr>
          <p:spPr bwMode="auto">
            <a:xfrm>
              <a:off x="-743" y="3019"/>
              <a:ext cx="2195" cy="2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altLang="en-US" sz="13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grpSp>
      <p:sp>
        <p:nvSpPr>
          <p:cNvPr id="7" name="Rectangle: Rounded Corners 6">
            <a:extLst>
              <a:ext uri="{FF2B5EF4-FFF2-40B4-BE49-F238E27FC236}">
                <a16:creationId xmlns:a16="http://schemas.microsoft.com/office/drawing/2014/main" id="{F0BBB341-DCD4-C345-B99C-09A2D8F875AC}"/>
              </a:ext>
            </a:extLst>
          </p:cNvPr>
          <p:cNvSpPr/>
          <p:nvPr/>
        </p:nvSpPr>
        <p:spPr>
          <a:xfrm>
            <a:off x="398463" y="671513"/>
            <a:ext cx="11422062" cy="5773737"/>
          </a:xfrm>
          <a:prstGeom prst="roundRect">
            <a:avLst>
              <a:gd name="adj" fmla="val 1875"/>
            </a:avLst>
          </a:prstGeom>
          <a:solidFill>
            <a:schemeClr val="bg1"/>
          </a:solidFill>
          <a:ln>
            <a:noFill/>
          </a:ln>
          <a:effectLst>
            <a:outerShdw blurRad="266700" dist="508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a:ea typeface="+mn-ea"/>
              <a:cs typeface="+mn-cs"/>
            </a:endParaRPr>
          </a:p>
        </p:txBody>
      </p:sp>
      <p:sp>
        <p:nvSpPr>
          <p:cNvPr id="36874" name="Text Placeholder 17">
            <a:extLst>
              <a:ext uri="{FF2B5EF4-FFF2-40B4-BE49-F238E27FC236}">
                <a16:creationId xmlns:a16="http://schemas.microsoft.com/office/drawing/2014/main" id="{ED9C183E-B261-544C-9F46-3408F07460D2}"/>
              </a:ext>
            </a:extLst>
          </p:cNvPr>
          <p:cNvSpPr txBox="1">
            <a:spLocks noChangeArrowheads="1"/>
          </p:cNvSpPr>
          <p:nvPr/>
        </p:nvSpPr>
        <p:spPr bwMode="auto">
          <a:xfrm>
            <a:off x="1619251" y="737088"/>
            <a:ext cx="7996237"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kumimoji="0" lang="id-ID" altLang="en-US" sz="2800" b="1" i="0" u="none" strike="noStrike" kern="1200" cap="none" spc="0" normalizeH="0" baseline="0" noProof="0" dirty="0">
                <a:ln>
                  <a:noFill/>
                </a:ln>
                <a:solidFill>
                  <a:srgbClr val="FBB21A"/>
                </a:solidFill>
                <a:effectLst/>
                <a:uLnTx/>
                <a:uFillTx/>
                <a:latin typeface="Century Gothic" panose="020B0502020202020204" pitchFamily="34" charset="0"/>
                <a:ea typeface="+mn-ea"/>
                <a:cs typeface="+mn-cs"/>
              </a:rPr>
              <a:t>SANKSI</a:t>
            </a:r>
            <a:endParaRPr kumimoji="0" lang="en-US" altLang="en-US" sz="2800" b="1" i="0" u="none" strike="noStrike" kern="1200" cap="none" spc="0" normalizeH="0" baseline="0" noProof="0" dirty="0">
              <a:ln>
                <a:noFill/>
              </a:ln>
              <a:solidFill>
                <a:srgbClr val="FBB21A"/>
              </a:solidFill>
              <a:effectLst/>
              <a:uLnTx/>
              <a:uFillTx/>
              <a:latin typeface="Century Gothic" panose="020B0502020202020204" pitchFamily="34" charset="0"/>
              <a:ea typeface="+mn-ea"/>
              <a:cs typeface="Arial" panose="020B0604020202020204" pitchFamily="34" charset="0"/>
            </a:endParaRPr>
          </a:p>
        </p:txBody>
      </p:sp>
      <p:cxnSp>
        <p:nvCxnSpPr>
          <p:cNvPr id="20" name="Straight Connector 19">
            <a:extLst>
              <a:ext uri="{FF2B5EF4-FFF2-40B4-BE49-F238E27FC236}">
                <a16:creationId xmlns:a16="http://schemas.microsoft.com/office/drawing/2014/main" id="{FBBBCCF1-EE3C-E044-8DB2-704145662CA7}"/>
              </a:ext>
            </a:extLst>
          </p:cNvPr>
          <p:cNvCxnSpPr>
            <a:cxnSpLocks/>
          </p:cNvCxnSpPr>
          <p:nvPr/>
        </p:nvCxnSpPr>
        <p:spPr>
          <a:xfrm>
            <a:off x="9256163" y="6526125"/>
            <a:ext cx="2539769" cy="0"/>
          </a:xfrm>
          <a:prstGeom prst="line">
            <a:avLst/>
          </a:prstGeom>
          <a:ln w="38100">
            <a:solidFill>
              <a:srgbClr val="FFC001"/>
            </a:solidFill>
          </a:ln>
        </p:spPr>
        <p:style>
          <a:lnRef idx="1">
            <a:schemeClr val="accent1"/>
          </a:lnRef>
          <a:fillRef idx="0">
            <a:schemeClr val="accent1"/>
          </a:fillRef>
          <a:effectRef idx="0">
            <a:schemeClr val="accent1"/>
          </a:effectRef>
          <a:fontRef idx="minor">
            <a:schemeClr val="tx1"/>
          </a:fontRef>
        </p:style>
      </p:cxnSp>
      <p:sp>
        <p:nvSpPr>
          <p:cNvPr id="34" name="Parallelogram 33">
            <a:extLst>
              <a:ext uri="{FF2B5EF4-FFF2-40B4-BE49-F238E27FC236}">
                <a16:creationId xmlns:a16="http://schemas.microsoft.com/office/drawing/2014/main" id="{C55A2120-4121-6F4D-8A27-F7162750391F}"/>
              </a:ext>
            </a:extLst>
          </p:cNvPr>
          <p:cNvSpPr/>
          <p:nvPr/>
        </p:nvSpPr>
        <p:spPr>
          <a:xfrm>
            <a:off x="104203" y="1152639"/>
            <a:ext cx="7842143" cy="4450612"/>
          </a:xfrm>
          <a:prstGeom prst="parallelogram">
            <a:avLst>
              <a:gd name="adj" fmla="val 13576"/>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rtlCol="0" anchor="t"/>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ID" sz="1800" b="0" i="0" u="none" strike="noStrike" kern="1200" cap="none" spc="0" normalizeH="0" baseline="0" noProof="0" dirty="0">
                <a:ln>
                  <a:noFill/>
                </a:ln>
                <a:solidFill>
                  <a:prstClr val="white"/>
                </a:solidFill>
                <a:effectLst/>
                <a:uLnTx/>
                <a:uFillTx/>
                <a:latin typeface="Calibri"/>
                <a:ea typeface="+mn-ea"/>
                <a:cs typeface="+mn-cs"/>
              </a:rPr>
              <a:t> </a:t>
            </a:r>
          </a:p>
        </p:txBody>
      </p:sp>
      <p:sp>
        <p:nvSpPr>
          <p:cNvPr id="35" name="Rectangle 34">
            <a:extLst>
              <a:ext uri="{FF2B5EF4-FFF2-40B4-BE49-F238E27FC236}">
                <a16:creationId xmlns:a16="http://schemas.microsoft.com/office/drawing/2014/main" id="{916576C2-0E9F-4043-A12E-5C7B34BF060B}"/>
              </a:ext>
            </a:extLst>
          </p:cNvPr>
          <p:cNvSpPr/>
          <p:nvPr/>
        </p:nvSpPr>
        <p:spPr>
          <a:xfrm>
            <a:off x="738690" y="1254287"/>
            <a:ext cx="6573170" cy="4247317"/>
          </a:xfrm>
          <a:prstGeom prst="rect">
            <a:avLst/>
          </a:prstGeom>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ID" sz="1800" b="1"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Setiap</a:t>
            </a:r>
            <a:r>
              <a:rPr kumimoji="0" lang="en-ID"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1"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Pelaku</a:t>
            </a:r>
            <a:r>
              <a:rPr kumimoji="0" lang="en-ID"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Usaha </a:t>
            </a:r>
            <a:r>
              <a:rPr kumimoji="0" lang="en-ID" sz="1800" b="1"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dapat</a:t>
            </a:r>
            <a:r>
              <a:rPr kumimoji="0" lang="en-ID"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1"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dikenai</a:t>
            </a:r>
            <a:r>
              <a:rPr kumimoji="0" lang="en-ID"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1"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sanksi</a:t>
            </a:r>
            <a:r>
              <a:rPr kumimoji="0" lang="en-ID"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1"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administratif</a:t>
            </a:r>
            <a:r>
              <a:rPr kumimoji="0" lang="en-ID"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1"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atas</a:t>
            </a:r>
            <a:r>
              <a:rPr kumimoji="0" lang="en-ID"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1"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pelanggaran</a:t>
            </a:r>
            <a:r>
              <a:rPr kumimoji="0" lang="en-ID"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1"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terhadap</a:t>
            </a:r>
            <a:r>
              <a:rPr kumimoji="0" lang="en-ID"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1"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kewajiban</a:t>
            </a:r>
            <a:r>
              <a:rPr kumimoji="0" lang="en-ID"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melaporkan</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setiap</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penggantian</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tenaga</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kerja</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konstruksi</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memenuhi</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persyaratan</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minimal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jumlah</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peralatan</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utama</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untuk</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setiap</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subklasifikasi</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memiliki</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dan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memperpanjang</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SBU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Konstruksi</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bagi</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BUJK; </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memiliki</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dan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memperpanjang</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SKK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Konstruksi</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bagi</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tenaga</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kerja</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konstruksi</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menyampaikan</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Laporan</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Kegiatan</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Usaha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Tahunan</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melalui</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aplikasi</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usaha</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jasa</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konstruksi</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Sistem</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Informasi</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jasa</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konstruksi</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terintegrasi</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melakukan</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pencatatan</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pengalaman</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badan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usaha</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dan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usaha</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orang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perseorangan</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memenuhi</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ketentuan</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yang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dipersyaratkan</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bagi</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kantor</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perwakilan</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BUJKA dan BUJK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Penanaman</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Modal </a:t>
            </a:r>
            <a:r>
              <a:rPr kumimoji="0" lang="en-ID" sz="1800" b="0"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Asing</a:t>
            </a:r>
            <a:r>
              <a:rPr kumimoji="0" lang="en-ID"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p>
        </p:txBody>
      </p:sp>
      <p:sp>
        <p:nvSpPr>
          <p:cNvPr id="36" name="Parallelogram 35">
            <a:extLst>
              <a:ext uri="{FF2B5EF4-FFF2-40B4-BE49-F238E27FC236}">
                <a16:creationId xmlns:a16="http://schemas.microsoft.com/office/drawing/2014/main" id="{CCAA738E-F1D4-004C-85CE-E08D44E11C20}"/>
              </a:ext>
            </a:extLst>
          </p:cNvPr>
          <p:cNvSpPr/>
          <p:nvPr/>
        </p:nvSpPr>
        <p:spPr>
          <a:xfrm>
            <a:off x="7733653" y="1152640"/>
            <a:ext cx="4062567" cy="2917475"/>
          </a:xfrm>
          <a:prstGeom prst="parallelogram">
            <a:avLst>
              <a:gd name="adj" fmla="val 13576"/>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lIns="36000" tIns="36000" rIns="36000" rtlCol="0" anchor="t"/>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ID" sz="1800" b="0" i="0" u="none" strike="noStrike" kern="1200" cap="none" spc="0" normalizeH="0" baseline="0" noProof="0" dirty="0">
                <a:ln>
                  <a:noFill/>
                </a:ln>
                <a:solidFill>
                  <a:prstClr val="white"/>
                </a:solidFill>
                <a:effectLst/>
                <a:uLnTx/>
                <a:uFillTx/>
                <a:latin typeface="Calibri"/>
                <a:ea typeface="+mn-ea"/>
                <a:cs typeface="+mn-cs"/>
              </a:rPr>
              <a:t> </a:t>
            </a:r>
          </a:p>
        </p:txBody>
      </p:sp>
      <p:sp>
        <p:nvSpPr>
          <p:cNvPr id="37" name="Rectangle 36">
            <a:extLst>
              <a:ext uri="{FF2B5EF4-FFF2-40B4-BE49-F238E27FC236}">
                <a16:creationId xmlns:a16="http://schemas.microsoft.com/office/drawing/2014/main" id="{20E3E42B-C272-644C-9EE7-A7788EBD7476}"/>
              </a:ext>
            </a:extLst>
          </p:cNvPr>
          <p:cNvSpPr/>
          <p:nvPr/>
        </p:nvSpPr>
        <p:spPr>
          <a:xfrm>
            <a:off x="8303840" y="1207793"/>
            <a:ext cx="2963428" cy="2862322"/>
          </a:xfrm>
          <a:prstGeom prst="rect">
            <a:avLst/>
          </a:prstGeom>
        </p:spPr>
        <p:txBody>
          <a:bodyPr wrap="square">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ID" sz="1800" b="1"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Sanksi</a:t>
            </a:r>
            <a:r>
              <a:rPr kumimoji="0" lang="en-ID"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kumimoji="0" lang="en-ID" sz="1800" b="1"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administratif</a:t>
            </a:r>
            <a:r>
              <a:rPr kumimoji="0" lang="en-ID"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kumimoji="0" lang="en-ID" sz="1800" b="1"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berupa</a:t>
            </a:r>
            <a:r>
              <a:rPr kumimoji="0" lang="en-ID"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p>
          <a:p>
            <a:pPr marL="342900" marR="0" lvl="0" indent="-342900" algn="l" defTabSz="457200" rtl="0" eaLnBrk="0" fontAlgn="base" latinLnBrk="0" hangingPunct="0">
              <a:lnSpc>
                <a:spcPct val="100000"/>
              </a:lnSpc>
              <a:spcBef>
                <a:spcPct val="0"/>
              </a:spcBef>
              <a:spcAft>
                <a:spcPct val="0"/>
              </a:spcAft>
              <a:buClrTx/>
              <a:buSzTx/>
              <a:buFont typeface="+mj-lt"/>
              <a:buAutoNum type="alphaLcPeriod"/>
              <a:tabLst/>
              <a:defRPr/>
            </a:pPr>
            <a:r>
              <a:rPr kumimoji="0" lang="en-ID"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peringatan</a:t>
            </a:r>
            <a:r>
              <a:rPr kumimoji="0" lang="en-ID"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a:t>
            </a:r>
          </a:p>
          <a:p>
            <a:pPr marL="342900" marR="0" lvl="0" indent="-342900" algn="l" defTabSz="457200" rtl="0" eaLnBrk="0" fontAlgn="base" latinLnBrk="0" hangingPunct="0">
              <a:lnSpc>
                <a:spcPct val="100000"/>
              </a:lnSpc>
              <a:spcBef>
                <a:spcPct val="0"/>
              </a:spcBef>
              <a:spcAft>
                <a:spcPct val="0"/>
              </a:spcAft>
              <a:buClrTx/>
              <a:buSzTx/>
              <a:buFont typeface="+mj-lt"/>
              <a:buAutoNum type="alphaLcPeriod"/>
              <a:tabLst/>
              <a:defRPr/>
            </a:pPr>
            <a:r>
              <a:rPr kumimoji="0" lang="en-ID"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pengenaan</a:t>
            </a:r>
            <a:r>
              <a:rPr kumimoji="0" lang="en-ID"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denda</a:t>
            </a:r>
            <a:r>
              <a:rPr kumimoji="0" lang="en-ID"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administratif</a:t>
            </a:r>
            <a:r>
              <a:rPr kumimoji="0" lang="en-ID"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a:t>
            </a:r>
          </a:p>
          <a:p>
            <a:pPr marL="342900" marR="0" lvl="0" indent="-342900" algn="l" defTabSz="457200" rtl="0" eaLnBrk="0" fontAlgn="base" latinLnBrk="0" hangingPunct="0">
              <a:lnSpc>
                <a:spcPct val="100000"/>
              </a:lnSpc>
              <a:spcBef>
                <a:spcPct val="0"/>
              </a:spcBef>
              <a:spcAft>
                <a:spcPct val="0"/>
              </a:spcAft>
              <a:buClrTx/>
              <a:buSzTx/>
              <a:buFont typeface="+mj-lt"/>
              <a:buAutoNum type="alphaLcPeriod"/>
              <a:tabLst/>
              <a:defRPr/>
            </a:pPr>
            <a:r>
              <a:rPr kumimoji="0" lang="en-ID"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penghentian</a:t>
            </a:r>
            <a:r>
              <a:rPr kumimoji="0" lang="en-ID"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sementara</a:t>
            </a:r>
            <a:r>
              <a:rPr kumimoji="0" lang="en-ID"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kegiatan</a:t>
            </a:r>
            <a:r>
              <a:rPr kumimoji="0" lang="en-ID"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berusaha</a:t>
            </a:r>
            <a:r>
              <a:rPr kumimoji="0" lang="en-ID"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a:t>
            </a:r>
          </a:p>
          <a:p>
            <a:pPr marL="342900" marR="0" lvl="0" indent="-342900" algn="l" defTabSz="457200" rtl="0" eaLnBrk="0" fontAlgn="base" latinLnBrk="0" hangingPunct="0">
              <a:lnSpc>
                <a:spcPct val="100000"/>
              </a:lnSpc>
              <a:spcBef>
                <a:spcPct val="0"/>
              </a:spcBef>
              <a:spcAft>
                <a:spcPct val="0"/>
              </a:spcAft>
              <a:buClrTx/>
              <a:buSzTx/>
              <a:buFont typeface="+mj-lt"/>
              <a:buAutoNum type="alphaLcPeriod"/>
              <a:tabLst/>
              <a:defRPr/>
            </a:pPr>
            <a:r>
              <a:rPr kumimoji="0" lang="en-ID"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daftar </a:t>
            </a:r>
            <a:r>
              <a:rPr kumimoji="0" lang="en-ID"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hitam</a:t>
            </a:r>
            <a:r>
              <a:rPr kumimoji="0" lang="en-ID"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dan/</a:t>
            </a:r>
            <a:r>
              <a:rPr kumimoji="0" lang="en-ID"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atau</a:t>
            </a:r>
            <a:endParaRPr kumimoji="0" lang="en-ID"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42900" marR="0" lvl="0" indent="-342900" algn="l" defTabSz="457200" rtl="0" eaLnBrk="0" fontAlgn="base" latinLnBrk="0" hangingPunct="0">
              <a:lnSpc>
                <a:spcPct val="100000"/>
              </a:lnSpc>
              <a:spcBef>
                <a:spcPct val="0"/>
              </a:spcBef>
              <a:spcAft>
                <a:spcPct val="0"/>
              </a:spcAft>
              <a:buClrTx/>
              <a:buSzTx/>
              <a:buFont typeface="+mj-lt"/>
              <a:buAutoNum type="alphaLcPeriod"/>
              <a:tabLst/>
              <a:defRPr/>
            </a:pPr>
            <a:r>
              <a:rPr kumimoji="0" lang="en-ID"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pencabutan</a:t>
            </a:r>
            <a:r>
              <a:rPr kumimoji="0" lang="en-ID"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Perizinan</a:t>
            </a:r>
            <a:r>
              <a:rPr kumimoji="0" lang="en-ID"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kumimoji="0" lang="en-ID"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Berusaha</a:t>
            </a:r>
            <a:r>
              <a:rPr kumimoji="0" lang="en-ID"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a:t>
            </a:r>
          </a:p>
        </p:txBody>
      </p:sp>
      <p:sp>
        <p:nvSpPr>
          <p:cNvPr id="38" name="Rectangular Callout 37">
            <a:extLst>
              <a:ext uri="{FF2B5EF4-FFF2-40B4-BE49-F238E27FC236}">
                <a16:creationId xmlns:a16="http://schemas.microsoft.com/office/drawing/2014/main" id="{7B1049C9-DBE1-B049-9778-6039E57D145F}"/>
              </a:ext>
            </a:extLst>
          </p:cNvPr>
          <p:cNvSpPr/>
          <p:nvPr/>
        </p:nvSpPr>
        <p:spPr>
          <a:xfrm>
            <a:off x="7733654" y="4167003"/>
            <a:ext cx="4062566" cy="1722354"/>
          </a:xfrm>
          <a:prstGeom prst="wedgeRectCallout">
            <a:avLst>
              <a:gd name="adj1" fmla="val 22180"/>
              <a:gd name="adj2" fmla="val -6556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ID" sz="1600" b="0" i="0" u="none" strike="noStrike" kern="1200" cap="none" spc="0" normalizeH="0" baseline="0" noProof="0" dirty="0" err="1">
                <a:ln>
                  <a:noFill/>
                </a:ln>
                <a:solidFill>
                  <a:prstClr val="white"/>
                </a:solidFill>
                <a:effectLst/>
                <a:uLnTx/>
                <a:uFillTx/>
                <a:latin typeface="Calibri"/>
                <a:ea typeface="+mn-ea"/>
                <a:cs typeface="+mn-cs"/>
              </a:rPr>
              <a:t>Huruf</a:t>
            </a:r>
            <a:r>
              <a:rPr kumimoji="0" lang="en-ID" sz="1600" b="0" i="0" u="none" strike="noStrike" kern="1200" cap="none" spc="0" normalizeH="0" baseline="0" noProof="0" dirty="0">
                <a:ln>
                  <a:noFill/>
                </a:ln>
                <a:solidFill>
                  <a:prstClr val="white"/>
                </a:solidFill>
                <a:effectLst/>
                <a:uLnTx/>
                <a:uFillTx/>
                <a:latin typeface="Calibri"/>
                <a:ea typeface="+mn-ea"/>
                <a:cs typeface="+mn-cs"/>
              </a:rPr>
              <a:t> </a:t>
            </a:r>
            <a:r>
              <a:rPr kumimoji="0" lang="en-ID" sz="1600" b="1" i="0" u="none" strike="noStrike" kern="1200" cap="none" spc="0" normalizeH="0" baseline="0" noProof="0" dirty="0">
                <a:ln>
                  <a:noFill/>
                </a:ln>
                <a:solidFill>
                  <a:prstClr val="white"/>
                </a:solidFill>
                <a:effectLst/>
                <a:uLnTx/>
                <a:uFillTx/>
                <a:latin typeface="Calibri"/>
                <a:ea typeface="+mn-ea"/>
                <a:cs typeface="+mn-cs"/>
              </a:rPr>
              <a:t>a </a:t>
            </a:r>
            <a:r>
              <a:rPr kumimoji="0" lang="en-ID" sz="1600" b="0" i="0" u="none" strike="noStrike" kern="1200" cap="none" spc="0" normalizeH="0" baseline="0" noProof="0" dirty="0" err="1">
                <a:ln>
                  <a:noFill/>
                </a:ln>
                <a:solidFill>
                  <a:prstClr val="white"/>
                </a:solidFill>
                <a:effectLst/>
                <a:uLnTx/>
                <a:uFillTx/>
                <a:latin typeface="Calibri"/>
                <a:ea typeface="+mn-ea"/>
                <a:cs typeface="+mn-cs"/>
              </a:rPr>
              <a:t>s.d.</a:t>
            </a:r>
            <a:r>
              <a:rPr kumimoji="0" lang="en-ID" sz="1600" b="0" i="0" u="none" strike="noStrike" kern="1200" cap="none" spc="0" normalizeH="0" baseline="0" noProof="0" dirty="0">
                <a:ln>
                  <a:noFill/>
                </a:ln>
                <a:solidFill>
                  <a:prstClr val="white"/>
                </a:solidFill>
                <a:effectLst/>
                <a:uLnTx/>
                <a:uFillTx/>
                <a:latin typeface="Calibri"/>
                <a:ea typeface="+mn-ea"/>
                <a:cs typeface="+mn-cs"/>
              </a:rPr>
              <a:t> </a:t>
            </a:r>
            <a:r>
              <a:rPr kumimoji="0" lang="en-ID" sz="1600" b="1" i="0" u="none" strike="noStrike" kern="1200" cap="none" spc="0" normalizeH="0" baseline="0" noProof="0" dirty="0">
                <a:ln>
                  <a:noFill/>
                </a:ln>
                <a:solidFill>
                  <a:prstClr val="white"/>
                </a:solidFill>
                <a:effectLst/>
                <a:uLnTx/>
                <a:uFillTx/>
                <a:latin typeface="Calibri"/>
                <a:ea typeface="+mn-ea"/>
                <a:cs typeface="+mn-cs"/>
              </a:rPr>
              <a:t>d</a:t>
            </a:r>
            <a:r>
              <a:rPr kumimoji="0" lang="en-ID" sz="1600" b="0" i="0" u="none" strike="noStrike" kern="1200" cap="none" spc="0" normalizeH="0" baseline="0" noProof="0" dirty="0">
                <a:ln>
                  <a:noFill/>
                </a:ln>
                <a:solidFill>
                  <a:prstClr val="white"/>
                </a:solidFill>
                <a:effectLst/>
                <a:uLnTx/>
                <a:uFillTx/>
                <a:latin typeface="Calibri"/>
                <a:ea typeface="+mn-ea"/>
                <a:cs typeface="+mn-cs"/>
              </a:rPr>
              <a:t> </a:t>
            </a:r>
            <a:r>
              <a:rPr kumimoji="0" lang="en-ID" sz="1600" b="0" i="0" u="none" strike="noStrike" kern="1200" cap="none" spc="0" normalizeH="0" baseline="0" noProof="0" dirty="0" err="1">
                <a:ln>
                  <a:noFill/>
                </a:ln>
                <a:solidFill>
                  <a:prstClr val="white"/>
                </a:solidFill>
                <a:effectLst/>
                <a:uLnTx/>
                <a:uFillTx/>
                <a:latin typeface="Calibri"/>
                <a:ea typeface="+mn-ea"/>
                <a:cs typeface="+mn-cs"/>
              </a:rPr>
              <a:t>diberikan</a:t>
            </a:r>
            <a:r>
              <a:rPr kumimoji="0" lang="en-ID" sz="1600" b="0" i="0" u="none" strike="noStrike" kern="1200" cap="none" spc="0" normalizeH="0" baseline="0" noProof="0" dirty="0">
                <a:ln>
                  <a:noFill/>
                </a:ln>
                <a:solidFill>
                  <a:prstClr val="white"/>
                </a:solidFill>
                <a:effectLst/>
                <a:uLnTx/>
                <a:uFillTx/>
                <a:latin typeface="Calibri"/>
                <a:ea typeface="+mn-ea"/>
                <a:cs typeface="+mn-cs"/>
              </a:rPr>
              <a:t> oleh </a:t>
            </a:r>
            <a:r>
              <a:rPr kumimoji="0" lang="en-ID" sz="1600" b="0" i="0" u="none" strike="noStrike" kern="1200" cap="none" spc="0" normalizeH="0" baseline="0" noProof="0" dirty="0" err="1">
                <a:ln>
                  <a:noFill/>
                </a:ln>
                <a:solidFill>
                  <a:prstClr val="white"/>
                </a:solidFill>
                <a:effectLst/>
                <a:uLnTx/>
                <a:uFillTx/>
                <a:latin typeface="Calibri"/>
                <a:ea typeface="+mn-ea"/>
                <a:cs typeface="+mn-cs"/>
              </a:rPr>
              <a:t>menteri</a:t>
            </a:r>
            <a:r>
              <a:rPr kumimoji="0" lang="en-ID" sz="1600" b="0" i="0" u="none" strike="noStrike" kern="1200" cap="none" spc="0" normalizeH="0" baseline="0" noProof="0" dirty="0">
                <a:ln>
                  <a:noFill/>
                </a:ln>
                <a:solidFill>
                  <a:prstClr val="white"/>
                </a:solidFill>
                <a:effectLst/>
                <a:uLnTx/>
                <a:uFillTx/>
                <a:latin typeface="Calibri"/>
                <a:ea typeface="+mn-ea"/>
                <a:cs typeface="+mn-cs"/>
              </a:rPr>
              <a:t> PUPR</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ID" sz="1600" b="0" i="0" u="none" strike="noStrike" kern="1200" cap="none" spc="0" normalizeH="0" baseline="0" noProof="0" dirty="0" err="1">
                <a:ln>
                  <a:noFill/>
                </a:ln>
                <a:solidFill>
                  <a:prstClr val="white"/>
                </a:solidFill>
                <a:effectLst/>
                <a:uLnTx/>
                <a:uFillTx/>
                <a:latin typeface="Calibri"/>
                <a:ea typeface="+mn-ea"/>
                <a:cs typeface="+mn-cs"/>
              </a:rPr>
              <a:t>Huruf</a:t>
            </a:r>
            <a:r>
              <a:rPr kumimoji="0" lang="en-ID" sz="1600" b="0" i="0" u="none" strike="noStrike" kern="1200" cap="none" spc="0" normalizeH="0" baseline="0" noProof="0" dirty="0">
                <a:ln>
                  <a:noFill/>
                </a:ln>
                <a:solidFill>
                  <a:prstClr val="white"/>
                </a:solidFill>
                <a:effectLst/>
                <a:uLnTx/>
                <a:uFillTx/>
                <a:latin typeface="Calibri"/>
                <a:ea typeface="+mn-ea"/>
                <a:cs typeface="+mn-cs"/>
              </a:rPr>
              <a:t> </a:t>
            </a:r>
            <a:r>
              <a:rPr kumimoji="0" lang="en-ID" sz="1600" b="1" i="0" u="none" strike="noStrike" kern="1200" cap="none" spc="0" normalizeH="0" baseline="0" noProof="0" dirty="0">
                <a:ln>
                  <a:noFill/>
                </a:ln>
                <a:solidFill>
                  <a:prstClr val="white"/>
                </a:solidFill>
                <a:effectLst/>
                <a:uLnTx/>
                <a:uFillTx/>
                <a:latin typeface="Calibri"/>
                <a:ea typeface="+mn-ea"/>
                <a:cs typeface="+mn-cs"/>
              </a:rPr>
              <a:t>e</a:t>
            </a:r>
            <a:r>
              <a:rPr kumimoji="0" lang="en-ID" sz="1600" b="0" i="0" u="none" strike="noStrike" kern="1200" cap="none" spc="0" normalizeH="0" baseline="0" noProof="0" dirty="0">
                <a:ln>
                  <a:noFill/>
                </a:ln>
                <a:solidFill>
                  <a:prstClr val="white"/>
                </a:solidFill>
                <a:effectLst/>
                <a:uLnTx/>
                <a:uFillTx/>
                <a:latin typeface="Calibri"/>
                <a:ea typeface="+mn-ea"/>
                <a:cs typeface="+mn-cs"/>
              </a:rPr>
              <a:t> </a:t>
            </a:r>
            <a:r>
              <a:rPr kumimoji="0" lang="en-ID" sz="1600" b="0" i="0" u="none" strike="noStrike" kern="1200" cap="none" spc="0" normalizeH="0" baseline="0" noProof="0" dirty="0" err="1">
                <a:ln>
                  <a:noFill/>
                </a:ln>
                <a:solidFill>
                  <a:prstClr val="white"/>
                </a:solidFill>
                <a:effectLst/>
                <a:uLnTx/>
                <a:uFillTx/>
                <a:latin typeface="Calibri"/>
                <a:ea typeface="+mn-ea"/>
                <a:cs typeface="+mn-cs"/>
              </a:rPr>
              <a:t>diberikan</a:t>
            </a:r>
            <a:r>
              <a:rPr kumimoji="0" lang="en-ID" sz="1600" b="0" i="0" u="none" strike="noStrike" kern="1200" cap="none" spc="0" normalizeH="0" baseline="0" noProof="0" dirty="0">
                <a:ln>
                  <a:noFill/>
                </a:ln>
                <a:solidFill>
                  <a:prstClr val="white"/>
                </a:solidFill>
                <a:effectLst/>
                <a:uLnTx/>
                <a:uFillTx/>
                <a:latin typeface="Calibri"/>
                <a:ea typeface="+mn-ea"/>
                <a:cs typeface="+mn-cs"/>
              </a:rPr>
              <a:t> oleh </a:t>
            </a:r>
            <a:r>
              <a:rPr kumimoji="0" lang="en-ID" sz="1600" b="0" i="0" u="none" strike="noStrike" kern="1200" cap="none" spc="0" normalizeH="0" baseline="0" noProof="0" dirty="0" err="1">
                <a:ln>
                  <a:noFill/>
                </a:ln>
                <a:solidFill>
                  <a:prstClr val="white"/>
                </a:solidFill>
                <a:effectLst/>
                <a:uLnTx/>
                <a:uFillTx/>
                <a:latin typeface="Calibri"/>
                <a:ea typeface="+mn-ea"/>
                <a:cs typeface="+mn-cs"/>
              </a:rPr>
              <a:t>lembaga</a:t>
            </a:r>
            <a:r>
              <a:rPr kumimoji="0" lang="en-ID" sz="1600" b="0" i="0" u="none" strike="noStrike" kern="1200" cap="none" spc="0" normalizeH="0" baseline="0" noProof="0" dirty="0">
                <a:ln>
                  <a:noFill/>
                </a:ln>
                <a:solidFill>
                  <a:prstClr val="white"/>
                </a:solidFill>
                <a:effectLst/>
                <a:uLnTx/>
                <a:uFillTx/>
                <a:latin typeface="Calibri"/>
                <a:ea typeface="+mn-ea"/>
                <a:cs typeface="+mn-cs"/>
              </a:rPr>
              <a:t> OSS </a:t>
            </a:r>
            <a:r>
              <a:rPr kumimoji="0" lang="en-ID" sz="1600" b="0" i="0" u="none" strike="noStrike" kern="1200" cap="none" spc="0" normalizeH="0" baseline="0" noProof="0" dirty="0" err="1">
                <a:ln>
                  <a:noFill/>
                </a:ln>
                <a:solidFill>
                  <a:prstClr val="white"/>
                </a:solidFill>
                <a:effectLst/>
                <a:uLnTx/>
                <a:uFillTx/>
                <a:latin typeface="Calibri"/>
                <a:ea typeface="+mn-ea"/>
                <a:cs typeface="+mn-cs"/>
              </a:rPr>
              <a:t>atas</a:t>
            </a:r>
            <a:r>
              <a:rPr kumimoji="0" lang="en-ID" sz="1600" b="0" i="0" u="none" strike="noStrike" kern="1200" cap="none" spc="0" normalizeH="0" baseline="0" noProof="0" dirty="0">
                <a:ln>
                  <a:noFill/>
                </a:ln>
                <a:solidFill>
                  <a:prstClr val="white"/>
                </a:solidFill>
                <a:effectLst/>
                <a:uLnTx/>
                <a:uFillTx/>
                <a:latin typeface="Calibri"/>
                <a:ea typeface="+mn-ea"/>
                <a:cs typeface="+mn-cs"/>
              </a:rPr>
              <a:t> </a:t>
            </a:r>
            <a:r>
              <a:rPr kumimoji="0" lang="en-ID" sz="1600" b="0" i="0" u="none" strike="noStrike" kern="1200" cap="none" spc="0" normalizeH="0" baseline="0" noProof="0" dirty="0" err="1">
                <a:ln>
                  <a:noFill/>
                </a:ln>
                <a:solidFill>
                  <a:prstClr val="white"/>
                </a:solidFill>
                <a:effectLst/>
                <a:uLnTx/>
                <a:uFillTx/>
                <a:latin typeface="Calibri"/>
                <a:ea typeface="+mn-ea"/>
                <a:cs typeface="+mn-cs"/>
              </a:rPr>
              <a:t>rekomendasi</a:t>
            </a:r>
            <a:r>
              <a:rPr kumimoji="0" lang="en-ID" sz="1600" b="0" i="0" u="none" strike="noStrike" kern="1200" cap="none" spc="0" normalizeH="0" baseline="0" noProof="0" dirty="0">
                <a:ln>
                  <a:noFill/>
                </a:ln>
                <a:solidFill>
                  <a:prstClr val="white"/>
                </a:solidFill>
                <a:effectLst/>
                <a:uLnTx/>
                <a:uFillTx/>
                <a:latin typeface="Calibri"/>
                <a:ea typeface="+mn-ea"/>
                <a:cs typeface="+mn-cs"/>
              </a:rPr>
              <a:t> </a:t>
            </a:r>
            <a:r>
              <a:rPr kumimoji="0" lang="en-ID" sz="1600" b="0" i="0" u="none" strike="noStrike" kern="1200" cap="none" spc="0" normalizeH="0" baseline="0" noProof="0" dirty="0" err="1">
                <a:ln>
                  <a:noFill/>
                </a:ln>
                <a:solidFill>
                  <a:prstClr val="white"/>
                </a:solidFill>
                <a:effectLst/>
                <a:uLnTx/>
                <a:uFillTx/>
                <a:latin typeface="Calibri"/>
                <a:ea typeface="+mn-ea"/>
                <a:cs typeface="+mn-cs"/>
              </a:rPr>
              <a:t>menteri</a:t>
            </a:r>
            <a:r>
              <a:rPr kumimoji="0" lang="en-ID" sz="1600" b="0" i="0" u="none" strike="noStrike" kern="1200" cap="none" spc="0" normalizeH="0" baseline="0" noProof="0" dirty="0">
                <a:ln>
                  <a:noFill/>
                </a:ln>
                <a:solidFill>
                  <a:prstClr val="white"/>
                </a:solidFill>
                <a:effectLst/>
                <a:uLnTx/>
                <a:uFillTx/>
                <a:latin typeface="Calibri"/>
                <a:ea typeface="+mn-ea"/>
                <a:cs typeface="+mn-cs"/>
              </a:rPr>
              <a:t> PUPR</a:t>
            </a:r>
          </a:p>
          <a:p>
            <a:pPr marL="285750" marR="0" lvl="0" indent="-28575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ID" sz="1600" b="0" i="0" u="none" strike="noStrike" kern="1200" cap="none" spc="0" normalizeH="0" baseline="0" noProof="0" dirty="0" err="1">
                <a:ln>
                  <a:noFill/>
                </a:ln>
                <a:solidFill>
                  <a:prstClr val="white"/>
                </a:solidFill>
                <a:effectLst/>
                <a:uLnTx/>
                <a:uFillTx/>
                <a:latin typeface="Calibri"/>
                <a:ea typeface="+mn-ea"/>
                <a:cs typeface="+mn-cs"/>
              </a:rPr>
              <a:t>Pencabutan</a:t>
            </a:r>
            <a:r>
              <a:rPr kumimoji="0" lang="en-ID" sz="1600" b="0" i="0" u="none" strike="noStrike" kern="1200" cap="none" spc="0" normalizeH="0" baseline="0" noProof="0" dirty="0">
                <a:ln>
                  <a:noFill/>
                </a:ln>
                <a:solidFill>
                  <a:prstClr val="white"/>
                </a:solidFill>
                <a:effectLst/>
                <a:uLnTx/>
                <a:uFillTx/>
                <a:latin typeface="Calibri"/>
                <a:ea typeface="+mn-ea"/>
                <a:cs typeface="+mn-cs"/>
              </a:rPr>
              <a:t> </a:t>
            </a:r>
            <a:r>
              <a:rPr kumimoji="0" lang="en-ID" sz="1600" b="0" i="0" u="none" strike="noStrike" kern="1200" cap="none" spc="0" normalizeH="0" baseline="0" noProof="0" dirty="0" err="1">
                <a:ln>
                  <a:noFill/>
                </a:ln>
                <a:solidFill>
                  <a:prstClr val="white"/>
                </a:solidFill>
                <a:effectLst/>
                <a:uLnTx/>
                <a:uFillTx/>
                <a:latin typeface="Calibri"/>
                <a:ea typeface="+mn-ea"/>
                <a:cs typeface="+mn-cs"/>
              </a:rPr>
              <a:t>perizinan</a:t>
            </a:r>
            <a:r>
              <a:rPr kumimoji="0" lang="en-ID" sz="1600" b="0" i="0" u="none" strike="noStrike" kern="1200" cap="none" spc="0" normalizeH="0" baseline="0" noProof="0" dirty="0">
                <a:ln>
                  <a:noFill/>
                </a:ln>
                <a:solidFill>
                  <a:prstClr val="white"/>
                </a:solidFill>
                <a:effectLst/>
                <a:uLnTx/>
                <a:uFillTx/>
                <a:latin typeface="Calibri"/>
                <a:ea typeface="+mn-ea"/>
                <a:cs typeface="+mn-cs"/>
              </a:rPr>
              <a:t> </a:t>
            </a:r>
            <a:r>
              <a:rPr kumimoji="0" lang="en-ID" sz="1600" b="0" i="0" u="none" strike="noStrike" kern="1200" cap="none" spc="0" normalizeH="0" baseline="0" noProof="0" dirty="0" err="1">
                <a:ln>
                  <a:noFill/>
                </a:ln>
                <a:solidFill>
                  <a:prstClr val="white"/>
                </a:solidFill>
                <a:effectLst/>
                <a:uLnTx/>
                <a:uFillTx/>
                <a:latin typeface="Calibri"/>
                <a:ea typeface="+mn-ea"/>
                <a:cs typeface="+mn-cs"/>
              </a:rPr>
              <a:t>dipublikasikan</a:t>
            </a:r>
            <a:r>
              <a:rPr kumimoji="0" lang="en-ID" sz="1600" b="0" i="0" u="none" strike="noStrike" kern="1200" cap="none" spc="0" normalizeH="0" baseline="0" noProof="0" dirty="0">
                <a:ln>
                  <a:noFill/>
                </a:ln>
                <a:solidFill>
                  <a:prstClr val="white"/>
                </a:solidFill>
                <a:effectLst/>
                <a:uLnTx/>
                <a:uFillTx/>
                <a:latin typeface="Calibri"/>
                <a:ea typeface="+mn-ea"/>
                <a:cs typeface="+mn-cs"/>
              </a:rPr>
              <a:t> di OSS dan AUJK</a:t>
            </a:r>
            <a:endParaRPr kumimoji="0" lang="en-US" sz="16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36872" name="Picture 23" descr="A group of people wearing helmets&#10;&#10;Description automatically generated with medium confidence">
            <a:extLst>
              <a:ext uri="{FF2B5EF4-FFF2-40B4-BE49-F238E27FC236}">
                <a16:creationId xmlns:a16="http://schemas.microsoft.com/office/drawing/2014/main" id="{8CE44DEB-227A-F740-B1BD-3902D086E36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9303857" y="4366175"/>
            <a:ext cx="3330575" cy="333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1195402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1" accel="20000" decel="80000" fill="hold" grpId="0" nodeType="withEffect">
                                  <p:stCondLst>
                                    <p:cond delay="2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ppt_x"/>
                                          </p:val>
                                        </p:tav>
                                        <p:tav tm="100000">
                                          <p:val>
                                            <p:strVal val="#ppt_x"/>
                                          </p:val>
                                        </p:tav>
                                      </p:tavLst>
                                    </p:anim>
                                    <p:anim calcmode="lin" valueType="num">
                                      <p:cBhvr additive="base">
                                        <p:cTn id="8" dur="1000" fill="hold"/>
                                        <p:tgtEl>
                                          <p:spTgt spid="7"/>
                                        </p:tgtEl>
                                        <p:attrNameLst>
                                          <p:attrName>ppt_y</p:attrName>
                                        </p:attrNameLst>
                                      </p:cBhvr>
                                      <p:tavLst>
                                        <p:tav tm="0">
                                          <p:val>
                                            <p:strVal val="0-#ppt_h/2"/>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DCA718B4-DAF6-4B86-9F29-34EDBB98BEB6}"/>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50" name="Rectangle 149">
            <a:extLst>
              <a:ext uri="{FF2B5EF4-FFF2-40B4-BE49-F238E27FC236}">
                <a16:creationId xmlns:a16="http://schemas.microsoft.com/office/drawing/2014/main" id="{8AA2187C-FF14-D4D6-2D9B-6AE16C6F5E60}"/>
              </a:ext>
            </a:extLst>
          </p:cNvPr>
          <p:cNvSpPr/>
          <p:nvPr/>
        </p:nvSpPr>
        <p:spPr>
          <a:xfrm>
            <a:off x="0" y="0"/>
            <a:ext cx="12192000" cy="6858000"/>
          </a:xfrm>
          <a:prstGeom prst="rect">
            <a:avLst/>
          </a:prstGeom>
          <a:gradFill>
            <a:gsLst>
              <a:gs pos="0">
                <a:schemeClr val="bg1"/>
              </a:gs>
              <a:gs pos="100000">
                <a:srgbClr val="1E3267">
                  <a:alpha val="75949"/>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5" name="Rectangle: Single Corner Rounded 4">
            <a:extLst>
              <a:ext uri="{FF2B5EF4-FFF2-40B4-BE49-F238E27FC236}">
                <a16:creationId xmlns:a16="http://schemas.microsoft.com/office/drawing/2014/main" id="{6B7EFB90-D2F5-99CF-0A50-57E9FAA78EFB}"/>
              </a:ext>
            </a:extLst>
          </p:cNvPr>
          <p:cNvSpPr/>
          <p:nvPr/>
        </p:nvSpPr>
        <p:spPr>
          <a:xfrm flipH="1" flipV="1">
            <a:off x="6096000" y="-2"/>
            <a:ext cx="6096000" cy="6634559"/>
          </a:xfrm>
          <a:prstGeom prst="round1Rect">
            <a:avLst/>
          </a:prstGeom>
          <a:solidFill>
            <a:schemeClr val="bg1"/>
          </a:solidFill>
          <a:ln>
            <a:noFill/>
          </a:ln>
          <a:effectLst>
            <a:outerShdw blurRad="508000" dist="127000" dir="81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4" name="Slide Number Placeholder 3">
            <a:extLst>
              <a:ext uri="{FF2B5EF4-FFF2-40B4-BE49-F238E27FC236}">
                <a16:creationId xmlns:a16="http://schemas.microsoft.com/office/drawing/2014/main" id="{C061FF23-803C-4EDE-E3BE-3E4E51FF3F9A}"/>
              </a:ext>
            </a:extLst>
          </p:cNvPr>
          <p:cNvSpPr>
            <a:spLocks noGrp="1"/>
          </p:cNvSpPr>
          <p:nvPr>
            <p:ph type="sldNum" sz="quarter" idx="12"/>
          </p:nvPr>
        </p:nvSpPr>
        <p:spPr/>
        <p:txBody>
          <a:bodyPr/>
          <a:lstStyle/>
          <a:p>
            <a:fld id="{BC5A0E4C-AEED-4EAC-B96D-5DCBA748C5AA}" type="slidenum">
              <a:rPr lang="en-ID" smtClean="0">
                <a:solidFill>
                  <a:schemeClr val="bg1"/>
                </a:solidFill>
                <a:latin typeface="Century Gothic" panose="020B0502020202020204" pitchFamily="34" charset="0"/>
              </a:rPr>
              <a:t>25</a:t>
            </a:fld>
            <a:endParaRPr lang="en-ID" dirty="0">
              <a:solidFill>
                <a:schemeClr val="bg1"/>
              </a:solidFill>
              <a:latin typeface="Century Gothic" panose="020B0502020202020204" pitchFamily="34" charset="0"/>
            </a:endParaRPr>
          </a:p>
        </p:txBody>
      </p:sp>
      <p:sp>
        <p:nvSpPr>
          <p:cNvPr id="44" name="TextBox 43">
            <a:extLst>
              <a:ext uri="{FF2B5EF4-FFF2-40B4-BE49-F238E27FC236}">
                <a16:creationId xmlns:a16="http://schemas.microsoft.com/office/drawing/2014/main" id="{AFED2EA2-2DEC-8A40-9802-3DBAFF6A3EA0}"/>
              </a:ext>
            </a:extLst>
          </p:cNvPr>
          <p:cNvSpPr txBox="1"/>
          <p:nvPr/>
        </p:nvSpPr>
        <p:spPr>
          <a:xfrm>
            <a:off x="533037" y="1690257"/>
            <a:ext cx="419049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F0000"/>
                </a:solidFill>
                <a:effectLst/>
                <a:uLnTx/>
                <a:uFillTx/>
                <a:latin typeface="Century Gothic" panose="020B0502020202020204" pitchFamily="34" charset="0"/>
              </a:rPr>
              <a:t>Trust</a:t>
            </a:r>
            <a:r>
              <a:rPr kumimoji="0" lang="en-US" sz="2400" b="1" i="1" u="none" strike="noStrike" kern="1200" cap="none" spc="0" normalizeH="0" baseline="0" noProof="0" dirty="0">
                <a:ln>
                  <a:noFill/>
                </a:ln>
                <a:solidFill>
                  <a:prstClr val="black"/>
                </a:solidFill>
                <a:effectLst/>
                <a:uLnTx/>
                <a:uFillTx/>
                <a:latin typeface="Century Gothic" panose="020B0502020202020204" pitchFamily="34" charset="0"/>
              </a:rPr>
              <a:t> </a:t>
            </a:r>
            <a:r>
              <a:rPr kumimoji="0" lang="en-US" sz="2400" b="1" i="0" u="none" strike="noStrike" kern="1200" cap="none" spc="0" normalizeH="0" baseline="0" noProof="0" dirty="0">
                <a:ln>
                  <a:noFill/>
                </a:ln>
                <a:solidFill>
                  <a:prstClr val="black"/>
                </a:solidFill>
                <a:effectLst/>
                <a:uLnTx/>
                <a:uFillTx/>
                <a:latin typeface="Century Gothic" panose="020B0502020202020204" pitchFamily="34" charset="0"/>
              </a:rPr>
              <a:t>-  PERIZINAN</a:t>
            </a:r>
          </a:p>
        </p:txBody>
      </p:sp>
      <p:sp>
        <p:nvSpPr>
          <p:cNvPr id="45" name="TextBox 44">
            <a:extLst>
              <a:ext uri="{FF2B5EF4-FFF2-40B4-BE49-F238E27FC236}">
                <a16:creationId xmlns:a16="http://schemas.microsoft.com/office/drawing/2014/main" id="{BDA1423F-87DD-A144-9631-0F135901D29B}"/>
              </a:ext>
            </a:extLst>
          </p:cNvPr>
          <p:cNvSpPr txBox="1"/>
          <p:nvPr/>
        </p:nvSpPr>
        <p:spPr>
          <a:xfrm>
            <a:off x="533036" y="3501279"/>
            <a:ext cx="419049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F0000"/>
                </a:solidFill>
                <a:effectLst/>
                <a:uLnTx/>
                <a:uFillTx/>
                <a:latin typeface="Century Gothic" panose="020B0502020202020204" pitchFamily="34" charset="0"/>
              </a:rPr>
              <a:t>Verify</a:t>
            </a:r>
            <a:r>
              <a:rPr kumimoji="0" lang="en-US" sz="2400" b="1" i="1" u="none" strike="noStrike" kern="1200" cap="none" spc="0" normalizeH="0" baseline="0" noProof="0" dirty="0">
                <a:ln>
                  <a:noFill/>
                </a:ln>
                <a:solidFill>
                  <a:prstClr val="black"/>
                </a:solidFill>
                <a:effectLst/>
                <a:uLnTx/>
                <a:uFillTx/>
                <a:latin typeface="Century Gothic" panose="020B0502020202020204" pitchFamily="34" charset="0"/>
              </a:rPr>
              <a:t> </a:t>
            </a:r>
            <a:r>
              <a:rPr kumimoji="0" lang="en-US" sz="2400" b="1" i="0" u="none" strike="noStrike" kern="1200" cap="none" spc="0" normalizeH="0" baseline="0" noProof="0" dirty="0">
                <a:ln>
                  <a:noFill/>
                </a:ln>
                <a:solidFill>
                  <a:prstClr val="black"/>
                </a:solidFill>
                <a:effectLst/>
                <a:uLnTx/>
                <a:uFillTx/>
                <a:latin typeface="Century Gothic" panose="020B0502020202020204" pitchFamily="34" charset="0"/>
              </a:rPr>
              <a:t>- PENGAWASAN</a:t>
            </a:r>
          </a:p>
        </p:txBody>
      </p:sp>
      <p:sp>
        <p:nvSpPr>
          <p:cNvPr id="46" name="TextBox 45">
            <a:extLst>
              <a:ext uri="{FF2B5EF4-FFF2-40B4-BE49-F238E27FC236}">
                <a16:creationId xmlns:a16="http://schemas.microsoft.com/office/drawing/2014/main" id="{310DE8E7-7169-7D4D-AF18-2F628DA6D602}"/>
              </a:ext>
            </a:extLst>
          </p:cNvPr>
          <p:cNvSpPr txBox="1"/>
          <p:nvPr/>
        </p:nvSpPr>
        <p:spPr>
          <a:xfrm>
            <a:off x="1485537" y="2151922"/>
            <a:ext cx="4190498"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800" b="0" i="0" u="none" strike="noStrike" kern="1200" cap="none" spc="0" normalizeH="0" baseline="0" noProof="0" dirty="0" err="1">
                <a:ln>
                  <a:noFill/>
                </a:ln>
                <a:solidFill>
                  <a:prstClr val="black"/>
                </a:solidFill>
                <a:effectLst/>
                <a:uLnTx/>
                <a:uFillTx/>
                <a:latin typeface="Century Gothic" panose="020B0502020202020204" pitchFamily="34" charset="0"/>
              </a:rPr>
              <a:t>Pemerintah</a:t>
            </a:r>
            <a:r>
              <a:rPr kumimoji="0" lang="en-ID" sz="1800" b="0" i="0" u="none" strike="noStrike" kern="1200" cap="none" spc="0" normalizeH="0" baseline="0" noProof="0" dirty="0">
                <a:ln>
                  <a:noFill/>
                </a:ln>
                <a:solidFill>
                  <a:prstClr val="black"/>
                </a:solidFill>
                <a:effectLst/>
                <a:uLnTx/>
                <a:uFillTx/>
                <a:latin typeface="Century Gothic" panose="020B0502020202020204" pitchFamily="34" charset="0"/>
              </a:rPr>
              <a:t> </a:t>
            </a:r>
            <a:r>
              <a:rPr kumimoji="0" lang="en-ID" sz="1800" b="0" i="0" u="none" strike="noStrike" kern="1200" cap="none" spc="0" normalizeH="0" baseline="0" noProof="0" dirty="0" err="1">
                <a:ln>
                  <a:noFill/>
                </a:ln>
                <a:solidFill>
                  <a:prstClr val="black"/>
                </a:solidFill>
                <a:effectLst/>
                <a:uLnTx/>
                <a:uFillTx/>
                <a:latin typeface="Century Gothic" panose="020B0502020202020204" pitchFamily="34" charset="0"/>
              </a:rPr>
              <a:t>memberikan</a:t>
            </a:r>
            <a:r>
              <a:rPr kumimoji="0" lang="en-ID" sz="1800" b="0" i="0" u="none" strike="noStrike" kern="1200" cap="none" spc="0" normalizeH="0" baseline="0" noProof="0" dirty="0">
                <a:ln>
                  <a:noFill/>
                </a:ln>
                <a:solidFill>
                  <a:prstClr val="black"/>
                </a:solidFill>
                <a:effectLst/>
                <a:uLnTx/>
                <a:uFillTx/>
                <a:latin typeface="Century Gothic" panose="020B0502020202020204" pitchFamily="34" charset="0"/>
              </a:rPr>
              <a:t> </a:t>
            </a:r>
            <a:r>
              <a:rPr kumimoji="0" lang="en-ID" sz="1800" b="0" i="0" u="none" strike="noStrike" kern="1200" cap="none" spc="0" normalizeH="0" baseline="0" noProof="0" dirty="0" err="1">
                <a:ln>
                  <a:noFill/>
                </a:ln>
                <a:solidFill>
                  <a:prstClr val="black"/>
                </a:solidFill>
                <a:effectLst/>
                <a:uLnTx/>
                <a:uFillTx/>
                <a:latin typeface="Century Gothic" panose="020B0502020202020204" pitchFamily="34" charset="0"/>
              </a:rPr>
              <a:t>kepercayaan</a:t>
            </a:r>
            <a:r>
              <a:rPr kumimoji="0" lang="en-ID" sz="1800" b="0" i="0" u="none" strike="noStrike" kern="1200" cap="none" spc="0" normalizeH="0" baseline="0" noProof="0" dirty="0">
                <a:ln>
                  <a:noFill/>
                </a:ln>
                <a:solidFill>
                  <a:prstClr val="black"/>
                </a:solidFill>
                <a:effectLst/>
                <a:uLnTx/>
                <a:uFillTx/>
                <a:latin typeface="Century Gothic" panose="020B0502020202020204" pitchFamily="34" charset="0"/>
              </a:rPr>
              <a:t> </a:t>
            </a:r>
            <a:r>
              <a:rPr kumimoji="0" lang="en-ID" sz="1800" b="0" i="0" u="none" strike="noStrike" kern="1200" cap="none" spc="0" normalizeH="0" baseline="0" noProof="0" dirty="0" err="1">
                <a:ln>
                  <a:noFill/>
                </a:ln>
                <a:solidFill>
                  <a:prstClr val="black"/>
                </a:solidFill>
                <a:effectLst/>
                <a:uLnTx/>
                <a:uFillTx/>
                <a:latin typeface="Century Gothic" panose="020B0502020202020204" pitchFamily="34" charset="0"/>
              </a:rPr>
              <a:t>kepada</a:t>
            </a:r>
            <a:r>
              <a:rPr kumimoji="0" lang="en-ID" sz="1800" b="0" i="0" u="none" strike="noStrike" kern="1200" cap="none" spc="0" normalizeH="0" baseline="0" noProof="0" dirty="0">
                <a:ln>
                  <a:noFill/>
                </a:ln>
                <a:solidFill>
                  <a:prstClr val="black"/>
                </a:solidFill>
                <a:effectLst/>
                <a:uLnTx/>
                <a:uFillTx/>
                <a:latin typeface="Century Gothic" panose="020B0502020202020204" pitchFamily="34" charset="0"/>
              </a:rPr>
              <a:t> </a:t>
            </a:r>
            <a:r>
              <a:rPr kumimoji="0" lang="en-ID" sz="1800" b="0" i="0" u="none" strike="noStrike" kern="1200" cap="none" spc="0" normalizeH="0" baseline="0" noProof="0" dirty="0" err="1">
                <a:ln>
                  <a:noFill/>
                </a:ln>
                <a:solidFill>
                  <a:prstClr val="black"/>
                </a:solidFill>
                <a:effectLst/>
                <a:uLnTx/>
                <a:uFillTx/>
                <a:latin typeface="Century Gothic" panose="020B0502020202020204" pitchFamily="34" charset="0"/>
              </a:rPr>
              <a:t>pelaku</a:t>
            </a:r>
            <a:r>
              <a:rPr kumimoji="0" lang="en-ID" sz="1800" b="0" i="0" u="none" strike="noStrike" kern="1200" cap="none" spc="0" normalizeH="0" baseline="0" noProof="0" dirty="0">
                <a:ln>
                  <a:noFill/>
                </a:ln>
                <a:solidFill>
                  <a:prstClr val="black"/>
                </a:solidFill>
                <a:effectLst/>
                <a:uLnTx/>
                <a:uFillTx/>
                <a:latin typeface="Century Gothic" panose="020B0502020202020204" pitchFamily="34" charset="0"/>
              </a:rPr>
              <a:t> </a:t>
            </a:r>
            <a:r>
              <a:rPr kumimoji="0" lang="en-ID" sz="1800" b="0" i="0" u="none" strike="noStrike" kern="1200" cap="none" spc="0" normalizeH="0" baseline="0" noProof="0" dirty="0" err="1">
                <a:ln>
                  <a:noFill/>
                </a:ln>
                <a:solidFill>
                  <a:prstClr val="black"/>
                </a:solidFill>
                <a:effectLst/>
                <a:uLnTx/>
                <a:uFillTx/>
                <a:latin typeface="Century Gothic" panose="020B0502020202020204" pitchFamily="34" charset="0"/>
              </a:rPr>
              <a:t>usaha</a:t>
            </a:r>
            <a:r>
              <a:rPr kumimoji="0" lang="en-ID" sz="1800" b="0" i="0" u="none" strike="noStrike" kern="1200" cap="none" spc="0" normalizeH="0" baseline="0" noProof="0" dirty="0">
                <a:ln>
                  <a:noFill/>
                </a:ln>
                <a:solidFill>
                  <a:prstClr val="black"/>
                </a:solidFill>
                <a:effectLst/>
                <a:uLnTx/>
                <a:uFillTx/>
                <a:latin typeface="Century Gothic" panose="020B0502020202020204" pitchFamily="34" charset="0"/>
              </a:rPr>
              <a:t> </a:t>
            </a:r>
            <a:r>
              <a:rPr kumimoji="0" lang="en-ID" sz="1800" b="0" i="0" u="none" strike="noStrike" kern="1200" cap="none" spc="0" normalizeH="0" baseline="0" noProof="0" dirty="0" err="1">
                <a:ln>
                  <a:noFill/>
                </a:ln>
                <a:solidFill>
                  <a:prstClr val="black"/>
                </a:solidFill>
                <a:effectLst/>
                <a:uLnTx/>
                <a:uFillTx/>
                <a:latin typeface="Century Gothic" panose="020B0502020202020204" pitchFamily="34" charset="0"/>
              </a:rPr>
              <a:t>dengan</a:t>
            </a:r>
            <a:r>
              <a:rPr kumimoji="0" lang="en-ID" sz="1800" b="0" i="0" u="none" strike="noStrike" kern="1200" cap="none" spc="0" normalizeH="0" baseline="0" noProof="0" dirty="0">
                <a:ln>
                  <a:noFill/>
                </a:ln>
                <a:solidFill>
                  <a:prstClr val="black"/>
                </a:solidFill>
                <a:effectLst/>
                <a:uLnTx/>
                <a:uFillTx/>
                <a:latin typeface="Century Gothic" panose="020B0502020202020204" pitchFamily="34" charset="0"/>
              </a:rPr>
              <a:t> </a:t>
            </a:r>
            <a:r>
              <a:rPr kumimoji="0" lang="en-ID" sz="1800" b="0" i="0" u="none" strike="noStrike" kern="1200" cap="none" spc="0" normalizeH="0" baseline="0" noProof="0" dirty="0" err="1">
                <a:ln>
                  <a:noFill/>
                </a:ln>
                <a:solidFill>
                  <a:prstClr val="black"/>
                </a:solidFill>
                <a:effectLst/>
                <a:uLnTx/>
                <a:uFillTx/>
                <a:latin typeface="Century Gothic" panose="020B0502020202020204" pitchFamily="34" charset="0"/>
              </a:rPr>
              <a:t>mempermudah</a:t>
            </a:r>
            <a:r>
              <a:rPr kumimoji="0" lang="en-ID" sz="1800" b="0" i="0" u="none" strike="noStrike" kern="1200" cap="none" spc="0" normalizeH="0" baseline="0" noProof="0" dirty="0">
                <a:ln>
                  <a:noFill/>
                </a:ln>
                <a:solidFill>
                  <a:prstClr val="black"/>
                </a:solidFill>
                <a:effectLst/>
                <a:uLnTx/>
                <a:uFillTx/>
                <a:latin typeface="Century Gothic" panose="020B0502020202020204" pitchFamily="34" charset="0"/>
              </a:rPr>
              <a:t> proses </a:t>
            </a:r>
            <a:r>
              <a:rPr kumimoji="0" lang="en-ID" sz="1800" b="0" i="0" u="none" strike="noStrike" kern="1200" cap="none" spc="0" normalizeH="0" baseline="0" noProof="0" dirty="0" err="1">
                <a:ln>
                  <a:noFill/>
                </a:ln>
                <a:solidFill>
                  <a:prstClr val="black"/>
                </a:solidFill>
                <a:effectLst/>
                <a:uLnTx/>
                <a:uFillTx/>
                <a:latin typeface="Century Gothic" panose="020B0502020202020204" pitchFamily="34" charset="0"/>
              </a:rPr>
              <a:t>perizinan</a:t>
            </a:r>
            <a:r>
              <a:rPr kumimoji="0" lang="en-ID" sz="1800" b="0" i="0" u="none" strike="noStrike" kern="1200" cap="none" spc="0" normalizeH="0" baseline="0" noProof="0" dirty="0">
                <a:ln>
                  <a:noFill/>
                </a:ln>
                <a:solidFill>
                  <a:prstClr val="black"/>
                </a:solidFill>
                <a:effectLst/>
                <a:uLnTx/>
                <a:uFillTx/>
                <a:latin typeface="Century Gothic" panose="020B0502020202020204" pitchFamily="34" charset="0"/>
              </a:rPr>
              <a:t> </a:t>
            </a:r>
            <a:r>
              <a:rPr kumimoji="0" lang="en-ID" sz="1800" b="0" i="0" u="none" strike="noStrike" kern="1200" cap="none" spc="0" normalizeH="0" baseline="0" noProof="0" dirty="0" err="1">
                <a:ln>
                  <a:noFill/>
                </a:ln>
                <a:solidFill>
                  <a:prstClr val="black"/>
                </a:solidFill>
                <a:effectLst/>
                <a:uLnTx/>
                <a:uFillTx/>
                <a:latin typeface="Century Gothic" panose="020B0502020202020204" pitchFamily="34" charset="0"/>
              </a:rPr>
              <a:t>berusaha</a:t>
            </a:r>
            <a:r>
              <a:rPr kumimoji="0" lang="en-ID" sz="1800" b="0" i="0" u="none" strike="noStrike" kern="1200" cap="none" spc="0" normalizeH="0" baseline="0" noProof="0" dirty="0">
                <a:ln>
                  <a:noFill/>
                </a:ln>
                <a:solidFill>
                  <a:prstClr val="black"/>
                </a:solidFill>
                <a:effectLst/>
                <a:uLnTx/>
                <a:uFillTx/>
                <a:latin typeface="Century Gothic" panose="020B0502020202020204" pitchFamily="34" charset="0"/>
              </a:rPr>
              <a:t> </a:t>
            </a:r>
            <a:endParaRPr kumimoji="0" lang="en-ID" sz="240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7" name="TextBox 46">
            <a:extLst>
              <a:ext uri="{FF2B5EF4-FFF2-40B4-BE49-F238E27FC236}">
                <a16:creationId xmlns:a16="http://schemas.microsoft.com/office/drawing/2014/main" id="{B0D068E3-7F8C-7444-9C38-978C5E1E8AAA}"/>
              </a:ext>
            </a:extLst>
          </p:cNvPr>
          <p:cNvSpPr txBox="1"/>
          <p:nvPr/>
        </p:nvSpPr>
        <p:spPr>
          <a:xfrm>
            <a:off x="1485536" y="4055682"/>
            <a:ext cx="4190498"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800" b="0" i="0" u="none" strike="noStrike" kern="1200" cap="none" spc="0" normalizeH="0" baseline="0" noProof="0" dirty="0" err="1">
                <a:ln>
                  <a:noFill/>
                </a:ln>
                <a:solidFill>
                  <a:prstClr val="black"/>
                </a:solidFill>
                <a:effectLst/>
                <a:uLnTx/>
                <a:uFillTx/>
                <a:latin typeface="Century Gothic" panose="020B0502020202020204" pitchFamily="34" charset="0"/>
              </a:rPr>
              <a:t>Kemudahan</a:t>
            </a:r>
            <a:r>
              <a:rPr kumimoji="0" lang="en-ID" sz="1800" b="0" i="0" u="none" strike="noStrike" kern="1200" cap="none" spc="0" normalizeH="0" baseline="0" noProof="0" dirty="0">
                <a:ln>
                  <a:noFill/>
                </a:ln>
                <a:solidFill>
                  <a:prstClr val="black"/>
                </a:solidFill>
                <a:effectLst/>
                <a:uLnTx/>
                <a:uFillTx/>
                <a:latin typeface="Century Gothic" panose="020B0502020202020204" pitchFamily="34" charset="0"/>
              </a:rPr>
              <a:t> </a:t>
            </a:r>
            <a:r>
              <a:rPr kumimoji="0" lang="en-ID" sz="1800" b="0" i="0" u="none" strike="noStrike" kern="1200" cap="none" spc="0" normalizeH="0" baseline="0" noProof="0" dirty="0" err="1">
                <a:ln>
                  <a:noFill/>
                </a:ln>
                <a:solidFill>
                  <a:prstClr val="black"/>
                </a:solidFill>
                <a:effectLst/>
                <a:uLnTx/>
                <a:uFillTx/>
                <a:latin typeface="Century Gothic" panose="020B0502020202020204" pitchFamily="34" charset="0"/>
              </a:rPr>
              <a:t>pemberian</a:t>
            </a:r>
            <a:r>
              <a:rPr kumimoji="0" lang="en-ID" sz="1800" b="0" i="0" u="none" strike="noStrike" kern="1200" cap="none" spc="0" normalizeH="0" baseline="0" noProof="0" dirty="0">
                <a:ln>
                  <a:noFill/>
                </a:ln>
                <a:solidFill>
                  <a:prstClr val="black"/>
                </a:solidFill>
                <a:effectLst/>
                <a:uLnTx/>
                <a:uFillTx/>
                <a:latin typeface="Century Gothic" panose="020B0502020202020204" pitchFamily="34" charset="0"/>
              </a:rPr>
              <a:t> </a:t>
            </a:r>
            <a:r>
              <a:rPr kumimoji="0" lang="en-ID" sz="1800" b="0" i="0" u="none" strike="noStrike" kern="1200" cap="none" spc="0" normalizeH="0" baseline="0" noProof="0" dirty="0" err="1">
                <a:ln>
                  <a:noFill/>
                </a:ln>
                <a:solidFill>
                  <a:prstClr val="black"/>
                </a:solidFill>
                <a:effectLst/>
                <a:uLnTx/>
                <a:uFillTx/>
                <a:latin typeface="Century Gothic" panose="020B0502020202020204" pitchFamily="34" charset="0"/>
              </a:rPr>
              <a:t>perizinan</a:t>
            </a:r>
            <a:r>
              <a:rPr kumimoji="0" lang="en-ID" sz="1800" b="0" i="0" u="none" strike="noStrike" kern="1200" cap="none" spc="0" normalizeH="0" baseline="0" noProof="0" dirty="0">
                <a:ln>
                  <a:noFill/>
                </a:ln>
                <a:solidFill>
                  <a:prstClr val="black"/>
                </a:solidFill>
                <a:effectLst/>
                <a:uLnTx/>
                <a:uFillTx/>
                <a:latin typeface="Century Gothic" panose="020B0502020202020204" pitchFamily="34" charset="0"/>
              </a:rPr>
              <a:t> </a:t>
            </a:r>
            <a:r>
              <a:rPr kumimoji="0" lang="en-ID" sz="1800" b="0" i="0" u="none" strike="noStrike" kern="1200" cap="none" spc="0" normalizeH="0" baseline="0" noProof="0" dirty="0" err="1">
                <a:ln>
                  <a:noFill/>
                </a:ln>
                <a:solidFill>
                  <a:prstClr val="black"/>
                </a:solidFill>
                <a:effectLst/>
                <a:uLnTx/>
                <a:uFillTx/>
                <a:latin typeface="Century Gothic" panose="020B0502020202020204" pitchFamily="34" charset="0"/>
              </a:rPr>
              <a:t>berusaha</a:t>
            </a:r>
            <a:r>
              <a:rPr kumimoji="0" lang="en-ID" sz="1800" b="0" i="0" u="none" strike="noStrike" kern="1200" cap="none" spc="0" normalizeH="0" baseline="0" noProof="0" dirty="0">
                <a:ln>
                  <a:noFill/>
                </a:ln>
                <a:solidFill>
                  <a:prstClr val="black"/>
                </a:solidFill>
                <a:effectLst/>
                <a:uLnTx/>
                <a:uFillTx/>
                <a:latin typeface="Century Gothic" panose="020B0502020202020204" pitchFamily="34" charset="0"/>
              </a:rPr>
              <a:t> </a:t>
            </a:r>
            <a:r>
              <a:rPr kumimoji="0" lang="en-ID" sz="1800" b="0" i="0" u="none" strike="noStrike" kern="1200" cap="none" spc="0" normalizeH="0" baseline="0" noProof="0" dirty="0" err="1">
                <a:ln>
                  <a:noFill/>
                </a:ln>
                <a:solidFill>
                  <a:prstClr val="black"/>
                </a:solidFill>
                <a:effectLst/>
                <a:uLnTx/>
                <a:uFillTx/>
                <a:latin typeface="Century Gothic" panose="020B0502020202020204" pitchFamily="34" charset="0"/>
              </a:rPr>
              <a:t>diikuti</a:t>
            </a:r>
            <a:r>
              <a:rPr kumimoji="0" lang="en-ID" sz="1800" b="0" i="0" u="none" strike="noStrike" kern="1200" cap="none" spc="0" normalizeH="0" baseline="0" noProof="0" dirty="0">
                <a:ln>
                  <a:noFill/>
                </a:ln>
                <a:solidFill>
                  <a:prstClr val="black"/>
                </a:solidFill>
                <a:effectLst/>
                <a:uLnTx/>
                <a:uFillTx/>
                <a:latin typeface="Century Gothic" panose="020B0502020202020204" pitchFamily="34" charset="0"/>
              </a:rPr>
              <a:t> </a:t>
            </a:r>
            <a:r>
              <a:rPr kumimoji="0" lang="en-ID" sz="1800" b="0" i="0" u="none" strike="noStrike" kern="1200" cap="none" spc="0" normalizeH="0" baseline="0" noProof="0" dirty="0" err="1">
                <a:ln>
                  <a:noFill/>
                </a:ln>
                <a:solidFill>
                  <a:prstClr val="black"/>
                </a:solidFill>
                <a:effectLst/>
                <a:uLnTx/>
                <a:uFillTx/>
                <a:latin typeface="Century Gothic" panose="020B0502020202020204" pitchFamily="34" charset="0"/>
              </a:rPr>
              <a:t>dengan</a:t>
            </a:r>
            <a:r>
              <a:rPr kumimoji="0" lang="en-ID" sz="1800" b="0" i="0" u="none" strike="noStrike" kern="1200" cap="none" spc="0" normalizeH="0" baseline="0" noProof="0" dirty="0">
                <a:ln>
                  <a:noFill/>
                </a:ln>
                <a:solidFill>
                  <a:prstClr val="black"/>
                </a:solidFill>
                <a:effectLst/>
                <a:uLnTx/>
                <a:uFillTx/>
                <a:latin typeface="Century Gothic" panose="020B0502020202020204" pitchFamily="34" charset="0"/>
              </a:rPr>
              <a:t> </a:t>
            </a:r>
            <a:r>
              <a:rPr kumimoji="0" lang="en-ID" sz="1800" b="0" i="0" u="none" strike="noStrike" kern="1200" cap="none" spc="0" normalizeH="0" baseline="0" noProof="0" dirty="0" err="1">
                <a:ln>
                  <a:noFill/>
                </a:ln>
                <a:solidFill>
                  <a:prstClr val="black"/>
                </a:solidFill>
                <a:effectLst/>
                <a:uLnTx/>
                <a:uFillTx/>
                <a:latin typeface="Century Gothic" panose="020B0502020202020204" pitchFamily="34" charset="0"/>
              </a:rPr>
              <a:t>pelaksanaan</a:t>
            </a:r>
            <a:r>
              <a:rPr kumimoji="0" lang="en-ID" sz="1800" b="0" i="0" u="none" strike="noStrike" kern="1200" cap="none" spc="0" normalizeH="0" baseline="0" noProof="0" dirty="0">
                <a:ln>
                  <a:noFill/>
                </a:ln>
                <a:solidFill>
                  <a:prstClr val="black"/>
                </a:solidFill>
                <a:effectLst/>
                <a:uLnTx/>
                <a:uFillTx/>
                <a:latin typeface="Century Gothic" panose="020B0502020202020204" pitchFamily="34" charset="0"/>
              </a:rPr>
              <a:t> </a:t>
            </a:r>
            <a:r>
              <a:rPr kumimoji="0" lang="en-ID" sz="1800" b="0" i="0" u="none" strike="noStrike" kern="1200" cap="none" spc="0" normalizeH="0" baseline="0" noProof="0" dirty="0" err="1">
                <a:ln>
                  <a:noFill/>
                </a:ln>
                <a:solidFill>
                  <a:prstClr val="black"/>
                </a:solidFill>
                <a:effectLst/>
                <a:uLnTx/>
                <a:uFillTx/>
                <a:latin typeface="Century Gothic" panose="020B0502020202020204" pitchFamily="34" charset="0"/>
              </a:rPr>
              <a:t>pengawasan</a:t>
            </a:r>
            <a:r>
              <a:rPr kumimoji="0" lang="en-ID" sz="1800" b="0" i="0" u="none" strike="noStrike" kern="1200" cap="none" spc="0" normalizeH="0" baseline="0" noProof="0" dirty="0">
                <a:ln>
                  <a:noFill/>
                </a:ln>
                <a:solidFill>
                  <a:prstClr val="black"/>
                </a:solidFill>
                <a:effectLst/>
                <a:uLnTx/>
                <a:uFillTx/>
                <a:latin typeface="Century Gothic" panose="020B0502020202020204" pitchFamily="34" charset="0"/>
              </a:rPr>
              <a:t> oleh </a:t>
            </a:r>
            <a:r>
              <a:rPr kumimoji="0" lang="en-ID" sz="1800" b="0" i="0" u="none" strike="noStrike" kern="1200" cap="none" spc="0" normalizeH="0" baseline="0" noProof="0" dirty="0" err="1">
                <a:ln>
                  <a:noFill/>
                </a:ln>
                <a:solidFill>
                  <a:prstClr val="black"/>
                </a:solidFill>
                <a:effectLst/>
                <a:uLnTx/>
                <a:uFillTx/>
                <a:latin typeface="Century Gothic" panose="020B0502020202020204" pitchFamily="34" charset="0"/>
              </a:rPr>
              <a:t>pemerintah</a:t>
            </a:r>
            <a:r>
              <a:rPr kumimoji="0" lang="en-ID" sz="1800" b="0" i="0" u="none" strike="noStrike" kern="1200" cap="none" spc="0" normalizeH="0" baseline="0" noProof="0" dirty="0">
                <a:ln>
                  <a:noFill/>
                </a:ln>
                <a:solidFill>
                  <a:prstClr val="black"/>
                </a:solidFill>
                <a:effectLst/>
                <a:uLnTx/>
                <a:uFillTx/>
                <a:latin typeface="Century Gothic" panose="020B0502020202020204" pitchFamily="34" charset="0"/>
              </a:rPr>
              <a:t> </a:t>
            </a:r>
          </a:p>
        </p:txBody>
      </p:sp>
      <p:cxnSp>
        <p:nvCxnSpPr>
          <p:cNvPr id="48" name="Straight Connector 47">
            <a:extLst>
              <a:ext uri="{FF2B5EF4-FFF2-40B4-BE49-F238E27FC236}">
                <a16:creationId xmlns:a16="http://schemas.microsoft.com/office/drawing/2014/main" id="{07CF28F8-7B86-F342-9397-0612B1894E85}"/>
              </a:ext>
            </a:extLst>
          </p:cNvPr>
          <p:cNvCxnSpPr>
            <a:cxnSpLocks/>
          </p:cNvCxnSpPr>
          <p:nvPr/>
        </p:nvCxnSpPr>
        <p:spPr>
          <a:xfrm>
            <a:off x="533036" y="2151922"/>
            <a:ext cx="5004885" cy="0"/>
          </a:xfrm>
          <a:prstGeom prst="line">
            <a:avLst/>
          </a:prstGeom>
          <a:ln w="38100">
            <a:solidFill>
              <a:srgbClr val="1E3267"/>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9187E32-EA77-A64C-B141-F75281674E91}"/>
              </a:ext>
            </a:extLst>
          </p:cNvPr>
          <p:cNvCxnSpPr>
            <a:cxnSpLocks/>
          </p:cNvCxnSpPr>
          <p:nvPr/>
        </p:nvCxnSpPr>
        <p:spPr>
          <a:xfrm>
            <a:off x="533035" y="3976381"/>
            <a:ext cx="5004885" cy="0"/>
          </a:xfrm>
          <a:prstGeom prst="line">
            <a:avLst/>
          </a:prstGeom>
          <a:ln w="38100">
            <a:solidFill>
              <a:srgbClr val="1E3267"/>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B9071BDD-C86B-2146-A984-1606ED314161}"/>
              </a:ext>
            </a:extLst>
          </p:cNvPr>
          <p:cNvSpPr/>
          <p:nvPr/>
        </p:nvSpPr>
        <p:spPr>
          <a:xfrm>
            <a:off x="283099" y="696795"/>
            <a:ext cx="5639685" cy="461665"/>
          </a:xfrm>
          <a:prstGeom prst="rect">
            <a:avLst/>
          </a:prstGeom>
        </p:spPr>
        <p:txBody>
          <a:bodyPr wrap="non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Ø"/>
              <a:tabLst/>
              <a:defRPr/>
            </a:pPr>
            <a:r>
              <a:rPr kumimoji="0" lang="en-ID" sz="2400" b="1" i="0" u="none" strike="noStrike" kern="1200" cap="none" spc="0" normalizeH="0" baseline="0" noProof="0" dirty="0">
                <a:ln>
                  <a:noFill/>
                </a:ln>
                <a:solidFill>
                  <a:prstClr val="black"/>
                </a:solidFill>
                <a:effectLst/>
                <a:uLnTx/>
                <a:uFillTx/>
                <a:latin typeface="Century Gothic" panose="020B0502020202020204" pitchFamily="34" charset="0"/>
              </a:rPr>
              <a:t>KEMUDAHAN PERIZINAN BERUSAHA</a:t>
            </a:r>
          </a:p>
        </p:txBody>
      </p:sp>
      <p:sp>
        <p:nvSpPr>
          <p:cNvPr id="51" name="Rectangle 50">
            <a:extLst>
              <a:ext uri="{FF2B5EF4-FFF2-40B4-BE49-F238E27FC236}">
                <a16:creationId xmlns:a16="http://schemas.microsoft.com/office/drawing/2014/main" id="{8E320799-556E-E245-ADBE-C70F894F69C4}"/>
              </a:ext>
            </a:extLst>
          </p:cNvPr>
          <p:cNvSpPr/>
          <p:nvPr/>
        </p:nvSpPr>
        <p:spPr>
          <a:xfrm>
            <a:off x="160509" y="5478351"/>
            <a:ext cx="5392935" cy="923330"/>
          </a:xfrm>
          <a:prstGeom prst="rect">
            <a:avLst/>
          </a:prstGeom>
          <a:solidFill>
            <a:srgbClr val="1E3267"/>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chemeClr val="bg1"/>
                </a:solidFill>
                <a:effectLst/>
                <a:uLnTx/>
                <a:uFillTx/>
                <a:latin typeface="Century Gothic" panose="020B0502020202020204" pitchFamily="34" charset="0"/>
              </a:rPr>
              <a:t>Pelaksanaan</a:t>
            </a:r>
            <a:r>
              <a:rPr kumimoji="0" lang="en-US" sz="1800" b="0" i="0" u="none" strike="noStrike" kern="1200" cap="none" spc="0" normalizeH="0" baseline="0" noProof="0" dirty="0">
                <a:ln>
                  <a:noFill/>
                </a:ln>
                <a:solidFill>
                  <a:schemeClr val="bg1"/>
                </a:solidFill>
                <a:effectLst/>
                <a:uLnTx/>
                <a:uFillTx/>
                <a:latin typeface="Century Gothic" panose="020B0502020202020204" pitchFamily="34" charset="0"/>
              </a:rPr>
              <a:t> </a:t>
            </a:r>
            <a:r>
              <a:rPr kumimoji="0" lang="en-US" sz="1800" b="0" i="0" u="none" strike="noStrike" kern="1200" cap="none" spc="0" normalizeH="0" baseline="0" noProof="0" dirty="0" err="1">
                <a:ln>
                  <a:noFill/>
                </a:ln>
                <a:solidFill>
                  <a:schemeClr val="bg1"/>
                </a:solidFill>
                <a:effectLst/>
                <a:uLnTx/>
                <a:uFillTx/>
                <a:latin typeface="Century Gothic" panose="020B0502020202020204" pitchFamily="34" charset="0"/>
              </a:rPr>
              <a:t>pengawasan</a:t>
            </a:r>
            <a:r>
              <a:rPr kumimoji="0" lang="en-US" sz="1800" b="0" i="0" u="none" strike="noStrike" kern="1200" cap="none" spc="0" normalizeH="0" baseline="0" noProof="0" dirty="0">
                <a:ln>
                  <a:noFill/>
                </a:ln>
                <a:solidFill>
                  <a:schemeClr val="bg1"/>
                </a:solidFill>
                <a:effectLst/>
                <a:uLnTx/>
                <a:uFillTx/>
                <a:latin typeface="Century Gothic" panose="020B0502020202020204" pitchFamily="34" charset="0"/>
              </a:rPr>
              <a:t> </a:t>
            </a:r>
            <a:r>
              <a:rPr kumimoji="0" lang="en-US" sz="1800" b="0" i="0" u="none" strike="noStrike" kern="1200" cap="none" spc="0" normalizeH="0" baseline="0" noProof="0" dirty="0" err="1">
                <a:ln>
                  <a:noFill/>
                </a:ln>
                <a:solidFill>
                  <a:schemeClr val="bg1"/>
                </a:solidFill>
                <a:effectLst/>
                <a:uLnTx/>
                <a:uFillTx/>
                <a:latin typeface="Century Gothic" panose="020B0502020202020204" pitchFamily="34" charset="0"/>
              </a:rPr>
              <a:t>dilakukan</a:t>
            </a:r>
            <a:r>
              <a:rPr kumimoji="0" lang="en-US" sz="1800" b="0" i="0" u="none" strike="noStrike" kern="1200" cap="none" spc="0" normalizeH="0" baseline="0" noProof="0" dirty="0">
                <a:ln>
                  <a:noFill/>
                </a:ln>
                <a:solidFill>
                  <a:schemeClr val="bg1"/>
                </a:solidFill>
                <a:effectLst/>
                <a:uLnTx/>
                <a:uFillTx/>
                <a:latin typeface="Century Gothic" panose="020B0502020202020204" pitchFamily="34" charset="0"/>
              </a:rPr>
              <a:t> </a:t>
            </a:r>
            <a:r>
              <a:rPr kumimoji="0" lang="en-US" sz="1800" b="0" i="0" u="none" strike="noStrike" kern="1200" cap="none" spc="0" normalizeH="0" baseline="0" noProof="0" dirty="0" err="1">
                <a:ln>
                  <a:noFill/>
                </a:ln>
                <a:solidFill>
                  <a:schemeClr val="bg1"/>
                </a:solidFill>
                <a:effectLst/>
                <a:uLnTx/>
                <a:uFillTx/>
                <a:latin typeface="Century Gothic" panose="020B0502020202020204" pitchFamily="34" charset="0"/>
              </a:rPr>
              <a:t>sesuai</a:t>
            </a:r>
            <a:r>
              <a:rPr kumimoji="0" lang="en-US" sz="1800" b="0" i="0" u="none" strike="noStrike" kern="1200" cap="none" spc="0" normalizeH="0" baseline="0" noProof="0" dirty="0">
                <a:ln>
                  <a:noFill/>
                </a:ln>
                <a:solidFill>
                  <a:schemeClr val="bg1"/>
                </a:solidFill>
                <a:effectLst/>
                <a:uLnTx/>
                <a:uFillTx/>
                <a:latin typeface="Century Gothic" panose="020B0502020202020204" pitchFamily="34" charset="0"/>
              </a:rPr>
              <a:t> </a:t>
            </a:r>
            <a:r>
              <a:rPr kumimoji="0" lang="en-US" sz="1800" b="0" i="0" u="none" strike="noStrike" kern="1200" cap="none" spc="0" normalizeH="0" baseline="0" noProof="0" dirty="0" err="1">
                <a:ln>
                  <a:noFill/>
                </a:ln>
                <a:solidFill>
                  <a:schemeClr val="bg1"/>
                </a:solidFill>
                <a:effectLst/>
                <a:uLnTx/>
                <a:uFillTx/>
                <a:latin typeface="Century Gothic" panose="020B0502020202020204" pitchFamily="34" charset="0"/>
              </a:rPr>
              <a:t>kewenangan</a:t>
            </a:r>
            <a:r>
              <a:rPr kumimoji="0" lang="en-US" sz="1800" b="0" i="0" u="none" strike="noStrike" kern="1200" cap="none" spc="0" normalizeH="0" baseline="0" noProof="0" dirty="0">
                <a:ln>
                  <a:noFill/>
                </a:ln>
                <a:solidFill>
                  <a:schemeClr val="bg1"/>
                </a:solidFill>
                <a:effectLst/>
                <a:uLnTx/>
                <a:uFillTx/>
                <a:latin typeface="Century Gothic" panose="020B0502020202020204" pitchFamily="34" charset="0"/>
              </a:rPr>
              <a:t> </a:t>
            </a:r>
            <a:r>
              <a:rPr kumimoji="0" lang="en-US" sz="1800" b="0" i="0" u="none" strike="noStrike" kern="1200" cap="none" spc="0" normalizeH="0" baseline="0" noProof="0" dirty="0" err="1">
                <a:ln>
                  <a:noFill/>
                </a:ln>
                <a:solidFill>
                  <a:schemeClr val="bg1"/>
                </a:solidFill>
                <a:effectLst/>
                <a:uLnTx/>
                <a:uFillTx/>
                <a:latin typeface="Century Gothic" panose="020B0502020202020204" pitchFamily="34" charset="0"/>
              </a:rPr>
              <a:t>secara</a:t>
            </a:r>
            <a:r>
              <a:rPr kumimoji="0" lang="en-US" sz="1800" b="0" i="0" u="none" strike="noStrike" kern="1200" cap="none" spc="0" normalizeH="0" baseline="0" noProof="0" dirty="0">
                <a:ln>
                  <a:noFill/>
                </a:ln>
                <a:solidFill>
                  <a:schemeClr val="bg1"/>
                </a:solidFill>
                <a:effectLst/>
                <a:uLnTx/>
                <a:uFillTx/>
                <a:latin typeface="Century Gothic" panose="020B0502020202020204" pitchFamily="34" charset="0"/>
              </a:rPr>
              <a:t> TERKOORDINASI </a:t>
            </a:r>
            <a:r>
              <a:rPr kumimoji="0" lang="en-US" sz="1800" b="0" i="0" u="none" strike="noStrike" kern="1200" cap="none" spc="0" normalizeH="0" baseline="0" noProof="0" dirty="0" err="1">
                <a:ln>
                  <a:noFill/>
                </a:ln>
                <a:solidFill>
                  <a:schemeClr val="bg1"/>
                </a:solidFill>
                <a:effectLst/>
                <a:uLnTx/>
                <a:uFillTx/>
                <a:latin typeface="Century Gothic" panose="020B0502020202020204" pitchFamily="34" charset="0"/>
              </a:rPr>
              <a:t>antara</a:t>
            </a:r>
            <a:r>
              <a:rPr kumimoji="0" lang="en-US" sz="1800" b="0" i="0" u="none" strike="noStrike" kern="1200" cap="none" spc="0" normalizeH="0" baseline="0" noProof="0" dirty="0">
                <a:ln>
                  <a:noFill/>
                </a:ln>
                <a:solidFill>
                  <a:schemeClr val="bg1"/>
                </a:solidFill>
                <a:effectLst/>
                <a:uLnTx/>
                <a:uFillTx/>
                <a:latin typeface="Century Gothic" panose="020B0502020202020204" pitchFamily="34" charset="0"/>
              </a:rPr>
              <a:t> </a:t>
            </a:r>
            <a:r>
              <a:rPr kumimoji="0" lang="en-US" sz="1800" b="0" i="0" u="none" strike="noStrike" kern="1200" cap="none" spc="0" normalizeH="0" baseline="0" noProof="0" dirty="0" err="1">
                <a:ln>
                  <a:noFill/>
                </a:ln>
                <a:solidFill>
                  <a:schemeClr val="bg1"/>
                </a:solidFill>
                <a:effectLst/>
                <a:uLnTx/>
                <a:uFillTx/>
                <a:latin typeface="Century Gothic" panose="020B0502020202020204" pitchFamily="34" charset="0"/>
              </a:rPr>
              <a:t>Pemerintah</a:t>
            </a:r>
            <a:r>
              <a:rPr kumimoji="0" lang="en-US" sz="1800" b="0" i="0" u="none" strike="noStrike" kern="1200" cap="none" spc="0" normalizeH="0" baseline="0" noProof="0" dirty="0">
                <a:ln>
                  <a:noFill/>
                </a:ln>
                <a:solidFill>
                  <a:schemeClr val="bg1"/>
                </a:solidFill>
                <a:effectLst/>
                <a:uLnTx/>
                <a:uFillTx/>
                <a:latin typeface="Century Gothic" panose="020B0502020202020204" pitchFamily="34" charset="0"/>
              </a:rPr>
              <a:t> Pusat dan </a:t>
            </a:r>
            <a:r>
              <a:rPr kumimoji="0" lang="en-US" sz="1800" b="0" i="0" u="none" strike="noStrike" kern="1200" cap="none" spc="0" normalizeH="0" baseline="0" noProof="0" dirty="0" err="1">
                <a:ln>
                  <a:noFill/>
                </a:ln>
                <a:solidFill>
                  <a:schemeClr val="bg1"/>
                </a:solidFill>
                <a:effectLst/>
                <a:uLnTx/>
                <a:uFillTx/>
                <a:latin typeface="Century Gothic" panose="020B0502020202020204" pitchFamily="34" charset="0"/>
              </a:rPr>
              <a:t>Pemerintah</a:t>
            </a:r>
            <a:r>
              <a:rPr kumimoji="0" lang="en-US" sz="1800" b="0" i="0" u="none" strike="noStrike" kern="1200" cap="none" spc="0" normalizeH="0" baseline="0" noProof="0" dirty="0">
                <a:ln>
                  <a:noFill/>
                </a:ln>
                <a:solidFill>
                  <a:schemeClr val="bg1"/>
                </a:solidFill>
                <a:effectLst/>
                <a:uLnTx/>
                <a:uFillTx/>
                <a:latin typeface="Century Gothic" panose="020B0502020202020204" pitchFamily="34" charset="0"/>
              </a:rPr>
              <a:t> Daerah</a:t>
            </a:r>
          </a:p>
        </p:txBody>
      </p:sp>
      <p:sp>
        <p:nvSpPr>
          <p:cNvPr id="52" name="TextBox 51">
            <a:extLst>
              <a:ext uri="{FF2B5EF4-FFF2-40B4-BE49-F238E27FC236}">
                <a16:creationId xmlns:a16="http://schemas.microsoft.com/office/drawing/2014/main" id="{9D4B747B-2860-3346-9F93-A7BE7C0C857A}"/>
              </a:ext>
            </a:extLst>
          </p:cNvPr>
          <p:cNvSpPr txBox="1"/>
          <p:nvPr/>
        </p:nvSpPr>
        <p:spPr>
          <a:xfrm>
            <a:off x="457423" y="2613587"/>
            <a:ext cx="8122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entury Gothic" panose="020B0502020202020204" pitchFamily="34" charset="0"/>
              </a:rPr>
              <a:t>but</a:t>
            </a:r>
          </a:p>
        </p:txBody>
      </p:sp>
      <p:graphicFrame>
        <p:nvGraphicFramePr>
          <p:cNvPr id="53" name="Diagram 52">
            <a:extLst>
              <a:ext uri="{FF2B5EF4-FFF2-40B4-BE49-F238E27FC236}">
                <a16:creationId xmlns:a16="http://schemas.microsoft.com/office/drawing/2014/main" id="{206294FE-CC26-FD4E-8107-D1D0D5FA3642}"/>
              </a:ext>
            </a:extLst>
          </p:cNvPr>
          <p:cNvGraphicFramePr/>
          <p:nvPr>
            <p:extLst>
              <p:ext uri="{D42A27DB-BD31-4B8C-83A1-F6EECF244321}">
                <p14:modId xmlns:p14="http://schemas.microsoft.com/office/powerpoint/2010/main" val="440683307"/>
              </p:ext>
            </p:extLst>
          </p:nvPr>
        </p:nvGraphicFramePr>
        <p:xfrm>
          <a:off x="6780675" y="2135125"/>
          <a:ext cx="5314447" cy="384111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4" name="TextBox 53">
            <a:extLst>
              <a:ext uri="{FF2B5EF4-FFF2-40B4-BE49-F238E27FC236}">
                <a16:creationId xmlns:a16="http://schemas.microsoft.com/office/drawing/2014/main" id="{838BAA2E-F789-D04F-BC24-22C98360C6A2}"/>
              </a:ext>
            </a:extLst>
          </p:cNvPr>
          <p:cNvSpPr txBox="1"/>
          <p:nvPr/>
        </p:nvSpPr>
        <p:spPr>
          <a:xfrm>
            <a:off x="7608712" y="1662593"/>
            <a:ext cx="3658374"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rPr>
              <a:t>PP 22 </a:t>
            </a:r>
            <a:r>
              <a:rPr kumimoji="0" lang="en-US" sz="1800" b="0" i="0" u="none" strike="noStrike" kern="1200" cap="none" spc="0" normalizeH="0" baseline="0" noProof="0" dirty="0" err="1">
                <a:ln>
                  <a:noFill/>
                </a:ln>
                <a:solidFill>
                  <a:prstClr val="black"/>
                </a:solidFill>
                <a:effectLst/>
                <a:uLnTx/>
                <a:uFillTx/>
                <a:latin typeface="Century Gothic" panose="020B0502020202020204" pitchFamily="34" charset="0"/>
              </a:rPr>
              <a:t>Tahun</a:t>
            </a: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rPr>
              <a:t> 2020 </a:t>
            </a:r>
            <a:r>
              <a:rPr kumimoji="0" lang="en-US" sz="1800" b="0" i="0" u="none" strike="noStrike" kern="1200" cap="none" spc="0" normalizeH="0" baseline="0" noProof="0" dirty="0" err="1">
                <a:ln>
                  <a:noFill/>
                </a:ln>
                <a:solidFill>
                  <a:prstClr val="black"/>
                </a:solidFill>
                <a:effectLst/>
                <a:uLnTx/>
                <a:uFillTx/>
                <a:latin typeface="Century Gothic" panose="020B0502020202020204" pitchFamily="34" charset="0"/>
              </a:rPr>
              <a:t>Pasal</a:t>
            </a: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rPr>
              <a:t> 129-13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rPr>
              <a:t>PP 22 </a:t>
            </a:r>
            <a:r>
              <a:rPr kumimoji="0" lang="en-US" sz="1800" b="0" i="0" u="none" strike="noStrike" kern="1200" cap="none" spc="0" normalizeH="0" baseline="0" noProof="0" dirty="0" err="1">
                <a:ln>
                  <a:noFill/>
                </a:ln>
                <a:solidFill>
                  <a:prstClr val="black"/>
                </a:solidFill>
                <a:effectLst/>
                <a:uLnTx/>
                <a:uFillTx/>
                <a:latin typeface="Century Gothic" panose="020B0502020202020204" pitchFamily="34" charset="0"/>
              </a:rPr>
              <a:t>Tahun</a:t>
            </a: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rPr>
              <a:t> 2020 </a:t>
            </a:r>
            <a:r>
              <a:rPr kumimoji="0" lang="en-US" sz="1800" b="0" i="0" u="none" strike="noStrike" kern="1200" cap="none" spc="0" normalizeH="0" baseline="0" noProof="0" dirty="0" err="1">
                <a:ln>
                  <a:noFill/>
                </a:ln>
                <a:solidFill>
                  <a:prstClr val="black"/>
                </a:solidFill>
                <a:effectLst/>
                <a:uLnTx/>
                <a:uFillTx/>
                <a:latin typeface="Century Gothic" panose="020B0502020202020204" pitchFamily="34" charset="0"/>
              </a:rPr>
              <a:t>Pasal</a:t>
            </a: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rPr>
              <a:t> 132-135</a:t>
            </a:r>
          </a:p>
        </p:txBody>
      </p:sp>
      <p:sp>
        <p:nvSpPr>
          <p:cNvPr id="55" name="TextBox 54">
            <a:extLst>
              <a:ext uri="{FF2B5EF4-FFF2-40B4-BE49-F238E27FC236}">
                <a16:creationId xmlns:a16="http://schemas.microsoft.com/office/drawing/2014/main" id="{0D406D28-7B5E-9847-BFCC-BA9659D71988}"/>
              </a:ext>
            </a:extLst>
          </p:cNvPr>
          <p:cNvSpPr txBox="1"/>
          <p:nvPr/>
        </p:nvSpPr>
        <p:spPr>
          <a:xfrm>
            <a:off x="6917543" y="720099"/>
            <a:ext cx="499135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entury Gothic" panose="020B0502020202020204" pitchFamily="34" charset="0"/>
              </a:rPr>
              <a:t>PENGAWASAN OLEH GUBERNUR, BUPATI/WALIKOTA</a:t>
            </a:r>
          </a:p>
        </p:txBody>
      </p:sp>
      <p:sp>
        <p:nvSpPr>
          <p:cNvPr id="56" name="TextBox 55">
            <a:extLst>
              <a:ext uri="{FF2B5EF4-FFF2-40B4-BE49-F238E27FC236}">
                <a16:creationId xmlns:a16="http://schemas.microsoft.com/office/drawing/2014/main" id="{0E9C1604-5120-BB4A-AB65-CCF724A14010}"/>
              </a:ext>
            </a:extLst>
          </p:cNvPr>
          <p:cNvSpPr txBox="1"/>
          <p:nvPr/>
        </p:nvSpPr>
        <p:spPr>
          <a:xfrm>
            <a:off x="7380213" y="5855116"/>
            <a:ext cx="4115369" cy="646331"/>
          </a:xfrm>
          <a:prstGeom prst="rect">
            <a:avLst/>
          </a:prstGeom>
          <a:solidFill>
            <a:srgbClr val="FEB813"/>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entury Gothic" panose="020B0502020202020204" pitchFamily="34" charset="0"/>
              </a:rPr>
              <a:t>NSPK PEMERINTAH PUSA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prstClr val="black"/>
                </a:solidFill>
                <a:latin typeface="Century Gothic" panose="020B0502020202020204" pitchFamily="34" charset="0"/>
              </a:rPr>
              <a:t>PERMEN PUPR NO 1 TAHUN 2023</a:t>
            </a:r>
            <a:endParaRPr kumimoji="0" lang="en-US" sz="1800" b="1"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8" name="Rectangle: Rounded Corners 23">
            <a:extLst>
              <a:ext uri="{FF2B5EF4-FFF2-40B4-BE49-F238E27FC236}">
                <a16:creationId xmlns:a16="http://schemas.microsoft.com/office/drawing/2014/main" id="{D4962520-DB99-FD4B-9E6C-8EC01395B5DD}"/>
              </a:ext>
            </a:extLst>
          </p:cNvPr>
          <p:cNvSpPr/>
          <p:nvPr/>
        </p:nvSpPr>
        <p:spPr>
          <a:xfrm>
            <a:off x="608166" y="147350"/>
            <a:ext cx="10975667" cy="416166"/>
          </a:xfrm>
          <a:prstGeom prst="roundRect">
            <a:avLst/>
          </a:prstGeom>
          <a:solidFill>
            <a:srgbClr val="F9B916"/>
          </a:solidFill>
        </p:spPr>
        <p:style>
          <a:lnRef idx="0">
            <a:schemeClr val="accent4"/>
          </a:lnRef>
          <a:fillRef idx="3">
            <a:schemeClr val="accent4"/>
          </a:fillRef>
          <a:effectRef idx="3">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1E3267"/>
                </a:solidFill>
                <a:effectLst/>
                <a:uLnTx/>
                <a:uFillTx/>
                <a:latin typeface="Century Gothic" panose="020B0502020202020204" pitchFamily="34" charset="0"/>
                <a:ea typeface="Tahoma" panose="020B0604030504040204" pitchFamily="34" charset="0"/>
                <a:cs typeface="Tahoma" panose="020B0604030504040204" pitchFamily="34" charset="0"/>
              </a:rPr>
              <a:t>PENGAWASAN OLEH GUBERNUR BUPATI/WALIKOTA SESUAI KEWENANGANNYA</a:t>
            </a:r>
            <a:endParaRPr kumimoji="0" lang="en-ID" sz="2000" b="0" i="0" u="none" strike="noStrike" kern="1200" cap="none" spc="0" normalizeH="0" baseline="0" noProof="0" dirty="0">
              <a:ln>
                <a:noFill/>
              </a:ln>
              <a:solidFill>
                <a:srgbClr val="1E3267"/>
              </a:solidFill>
              <a:effectLst/>
              <a:uLnTx/>
              <a:uFillTx/>
              <a:latin typeface="Century Gothic" panose="020B0502020202020204" pitchFamily="34" charset="0"/>
            </a:endParaRPr>
          </a:p>
        </p:txBody>
      </p:sp>
    </p:spTree>
    <p:extLst>
      <p:ext uri="{BB962C8B-B14F-4D97-AF65-F5344CB8AC3E}">
        <p14:creationId xmlns:p14="http://schemas.microsoft.com/office/powerpoint/2010/main" val="10448221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A1791D6-7D7D-FC12-0495-D61B3BA20033}"/>
              </a:ext>
            </a:extLst>
          </p:cNvPr>
          <p:cNvSpPr>
            <a:spLocks noGrp="1"/>
          </p:cNvSpPr>
          <p:nvPr>
            <p:ph type="sldNum" sz="quarter" idx="12"/>
          </p:nvPr>
        </p:nvSpPr>
        <p:spPr/>
        <p:txBody>
          <a:bodyPr/>
          <a:lstStyle/>
          <a:p>
            <a:fld id="{420B1099-E721-E54F-9A56-8FD715DAFF88}" type="slidenum">
              <a:rPr lang="en-US" smtClean="0"/>
              <a:t>26</a:t>
            </a:fld>
            <a:endParaRPr lang="en-US"/>
          </a:p>
        </p:txBody>
      </p:sp>
      <p:sp>
        <p:nvSpPr>
          <p:cNvPr id="4" name="TextBox 3">
            <a:extLst>
              <a:ext uri="{FF2B5EF4-FFF2-40B4-BE49-F238E27FC236}">
                <a16:creationId xmlns:a16="http://schemas.microsoft.com/office/drawing/2014/main" id="{AF4AE7AE-5783-4D17-340B-136DC8E1D780}"/>
              </a:ext>
            </a:extLst>
          </p:cNvPr>
          <p:cNvSpPr txBox="1"/>
          <p:nvPr/>
        </p:nvSpPr>
        <p:spPr>
          <a:xfrm>
            <a:off x="-1003299" y="-994460"/>
            <a:ext cx="9169400" cy="9202519"/>
          </a:xfrm>
          <a:prstGeom prst="rect">
            <a:avLst/>
          </a:prstGeom>
          <a:noFill/>
        </p:spPr>
        <p:txBody>
          <a:bodyPr wrap="square" lIns="0" tIns="0" rIns="0" rtlCol="0" anchor="ctr">
            <a:spAutoFit/>
          </a:bodyPr>
          <a:lstStyle/>
          <a:p>
            <a:r>
              <a:rPr lang="id-ID" sz="59500" b="1" dirty="0">
                <a:blipFill dpi="0" rotWithShape="1">
                  <a:blip r:embed="rId2">
                    <a:alphaModFix amt="32000"/>
                  </a:blip>
                  <a:srcRect/>
                  <a:stretch>
                    <a:fillRect/>
                  </a:stretch>
                </a:blipFill>
                <a:latin typeface="Impact" panose="020B0806030902050204" pitchFamily="34" charset="0"/>
                <a:ea typeface="Hiragino Kaku Gothic StdN W8" panose="020B0800000000000000" pitchFamily="34" charset="-128"/>
                <a:cs typeface="Arial" panose="020B0604020202020204" pitchFamily="34" charset="0"/>
              </a:rPr>
              <a:t>03</a:t>
            </a:r>
          </a:p>
        </p:txBody>
      </p:sp>
      <p:sp>
        <p:nvSpPr>
          <p:cNvPr id="7" name="Rectangle 6">
            <a:extLst>
              <a:ext uri="{FF2B5EF4-FFF2-40B4-BE49-F238E27FC236}">
                <a16:creationId xmlns:a16="http://schemas.microsoft.com/office/drawing/2014/main" id="{1AC55671-5DDB-EEE4-92AC-61E7BA6585F3}"/>
              </a:ext>
            </a:extLst>
          </p:cNvPr>
          <p:cNvSpPr/>
          <p:nvPr/>
        </p:nvSpPr>
        <p:spPr>
          <a:xfrm>
            <a:off x="5226050" y="1228483"/>
            <a:ext cx="6965949" cy="252035"/>
          </a:xfrm>
          <a:prstGeom prst="rect">
            <a:avLst/>
          </a:prstGeom>
          <a:solidFill>
            <a:srgbClr val="1E32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TextBox 7">
            <a:extLst>
              <a:ext uri="{FF2B5EF4-FFF2-40B4-BE49-F238E27FC236}">
                <a16:creationId xmlns:a16="http://schemas.microsoft.com/office/drawing/2014/main" id="{194C30AD-FC66-8EA5-30E1-8BFD79017C33}"/>
              </a:ext>
            </a:extLst>
          </p:cNvPr>
          <p:cNvSpPr txBox="1"/>
          <p:nvPr/>
        </p:nvSpPr>
        <p:spPr>
          <a:xfrm>
            <a:off x="5903913" y="2044005"/>
            <a:ext cx="5880100" cy="1107996"/>
          </a:xfrm>
          <a:prstGeom prst="rect">
            <a:avLst/>
          </a:prstGeom>
          <a:noFill/>
        </p:spPr>
        <p:txBody>
          <a:bodyPr wrap="square" lIns="0" tIns="0" rIns="0" bIns="0" rtlCol="0" anchor="ctr">
            <a:spAutoFit/>
          </a:bodyPr>
          <a:lstStyle/>
          <a:p>
            <a:pPr lvl="0">
              <a:defRPr/>
            </a:pPr>
            <a:r>
              <a:rPr lang="en-US" sz="3600" b="1" dirty="0" err="1">
                <a:solidFill>
                  <a:schemeClr val="accent1">
                    <a:lumMod val="50000"/>
                  </a:schemeClr>
                </a:solidFill>
                <a:latin typeface="Century Gothic" charset="0"/>
                <a:ea typeface="Century Gothic" charset="0"/>
                <a:cs typeface="Century Gothic" charset="0"/>
              </a:rPr>
              <a:t>PERATURAN</a:t>
            </a:r>
            <a:r>
              <a:rPr lang="en-US" sz="3600" b="1" dirty="0">
                <a:solidFill>
                  <a:schemeClr val="accent1">
                    <a:lumMod val="50000"/>
                  </a:schemeClr>
                </a:solidFill>
                <a:latin typeface="Century Gothic" charset="0"/>
                <a:ea typeface="Century Gothic" charset="0"/>
                <a:cs typeface="Century Gothic" charset="0"/>
              </a:rPr>
              <a:t> </a:t>
            </a:r>
            <a:r>
              <a:rPr lang="id-ID" sz="3600" b="1" dirty="0">
                <a:solidFill>
                  <a:schemeClr val="accent1">
                    <a:lumMod val="50000"/>
                  </a:schemeClr>
                </a:solidFill>
                <a:latin typeface="Century Gothic" charset="0"/>
                <a:ea typeface="Century Gothic" charset="0"/>
                <a:cs typeface="Century Gothic" charset="0"/>
              </a:rPr>
              <a:t>MENTERI PUPR</a:t>
            </a:r>
            <a:r>
              <a:rPr lang="en-US" sz="3600" b="1" dirty="0">
                <a:solidFill>
                  <a:schemeClr val="accent1">
                    <a:lumMod val="50000"/>
                  </a:schemeClr>
                </a:solidFill>
                <a:latin typeface="Century Gothic" charset="0"/>
                <a:ea typeface="Century Gothic" charset="0"/>
                <a:cs typeface="Century Gothic" charset="0"/>
              </a:rPr>
              <a:t> NO.</a:t>
            </a:r>
            <a:r>
              <a:rPr lang="id-ID" sz="3600" b="1" dirty="0">
                <a:solidFill>
                  <a:schemeClr val="accent1">
                    <a:lumMod val="50000"/>
                  </a:schemeClr>
                </a:solidFill>
                <a:latin typeface="Century Gothic" charset="0"/>
                <a:ea typeface="Century Gothic" charset="0"/>
                <a:cs typeface="Century Gothic" charset="0"/>
              </a:rPr>
              <a:t>1</a:t>
            </a:r>
            <a:r>
              <a:rPr lang="en-US" sz="3600" b="1" dirty="0">
                <a:solidFill>
                  <a:schemeClr val="accent1">
                    <a:lumMod val="50000"/>
                  </a:schemeClr>
                </a:solidFill>
                <a:latin typeface="Century Gothic" charset="0"/>
                <a:ea typeface="Century Gothic" charset="0"/>
                <a:cs typeface="Century Gothic" charset="0"/>
              </a:rPr>
              <a:t> TAHUN 202</a:t>
            </a:r>
            <a:r>
              <a:rPr lang="id-ID" sz="3600" b="1" dirty="0">
                <a:solidFill>
                  <a:schemeClr val="accent1">
                    <a:lumMod val="50000"/>
                  </a:schemeClr>
                </a:solidFill>
                <a:latin typeface="Century Gothic" charset="0"/>
                <a:ea typeface="Century Gothic" charset="0"/>
                <a:cs typeface="Century Gothic" charset="0"/>
              </a:rPr>
              <a:t>3</a:t>
            </a:r>
            <a:endParaRPr lang="en-US" sz="3600" b="1" dirty="0">
              <a:solidFill>
                <a:schemeClr val="accent1">
                  <a:lumMod val="50000"/>
                </a:schemeClr>
              </a:solidFill>
              <a:latin typeface="Century Gothic" charset="0"/>
              <a:ea typeface="Century Gothic" charset="0"/>
              <a:cs typeface="Century Gothic" charset="0"/>
            </a:endParaRPr>
          </a:p>
        </p:txBody>
      </p:sp>
      <p:pic>
        <p:nvPicPr>
          <p:cNvPr id="9" name="Picture 8">
            <a:extLst>
              <a:ext uri="{FF2B5EF4-FFF2-40B4-BE49-F238E27FC236}">
                <a16:creationId xmlns:a16="http://schemas.microsoft.com/office/drawing/2014/main" id="{37481281-597B-1215-D940-21CC27FB689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085631" y="6159181"/>
            <a:ext cx="2106369" cy="698819"/>
          </a:xfrm>
          <a:prstGeom prst="rect">
            <a:avLst/>
          </a:prstGeom>
        </p:spPr>
      </p:pic>
      <p:pic>
        <p:nvPicPr>
          <p:cNvPr id="10" name="Picture 9" descr="Text, logo&#10;&#10;Description automatically generated">
            <a:extLst>
              <a:ext uri="{FF2B5EF4-FFF2-40B4-BE49-F238E27FC236}">
                <a16:creationId xmlns:a16="http://schemas.microsoft.com/office/drawing/2014/main" id="{98F27504-C8FF-E7B3-C944-4B80D9C7276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6207" y="5857175"/>
            <a:ext cx="2305163" cy="876866"/>
          </a:xfrm>
          <a:prstGeom prst="rect">
            <a:avLst/>
          </a:prstGeom>
        </p:spPr>
      </p:pic>
    </p:spTree>
    <p:extLst>
      <p:ext uri="{BB962C8B-B14F-4D97-AF65-F5344CB8AC3E}">
        <p14:creationId xmlns:p14="http://schemas.microsoft.com/office/powerpoint/2010/main" val="39208862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alphaModFix amt="16721"/>
            <a:lum/>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02821B42-FF45-C944-86AA-C36B73158E2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447044" y="174323"/>
            <a:ext cx="1589283" cy="527268"/>
          </a:xfrm>
          <a:prstGeom prst="rect">
            <a:avLst/>
          </a:prstGeom>
        </p:spPr>
      </p:pic>
      <p:grpSp>
        <p:nvGrpSpPr>
          <p:cNvPr id="20" name="Google Shape;2750;p61">
            <a:extLst>
              <a:ext uri="{FF2B5EF4-FFF2-40B4-BE49-F238E27FC236}">
                <a16:creationId xmlns:a16="http://schemas.microsoft.com/office/drawing/2014/main" id="{13795844-05CC-0E4D-8650-2AA0AE65EE6B}"/>
              </a:ext>
            </a:extLst>
          </p:cNvPr>
          <p:cNvGrpSpPr/>
          <p:nvPr/>
        </p:nvGrpSpPr>
        <p:grpSpPr>
          <a:xfrm>
            <a:off x="8249929" y="1306530"/>
            <a:ext cx="4545660" cy="5723689"/>
            <a:chOff x="4722841" y="238125"/>
            <a:chExt cx="191559" cy="234966"/>
          </a:xfrm>
        </p:grpSpPr>
        <p:grpSp>
          <p:nvGrpSpPr>
            <p:cNvPr id="21" name="Google Shape;2751;p61">
              <a:extLst>
                <a:ext uri="{FF2B5EF4-FFF2-40B4-BE49-F238E27FC236}">
                  <a16:creationId xmlns:a16="http://schemas.microsoft.com/office/drawing/2014/main" id="{AC425543-7E3B-FB42-BC4F-CF9FD8703BDC}"/>
                </a:ext>
              </a:extLst>
            </p:cNvPr>
            <p:cNvGrpSpPr/>
            <p:nvPr/>
          </p:nvGrpSpPr>
          <p:grpSpPr>
            <a:xfrm>
              <a:off x="4818100" y="238125"/>
              <a:ext cx="96300" cy="179775"/>
              <a:chOff x="2798800" y="238125"/>
              <a:chExt cx="96300" cy="179775"/>
            </a:xfrm>
          </p:grpSpPr>
          <p:sp>
            <p:nvSpPr>
              <p:cNvPr id="46" name="Google Shape;2752;p61">
                <a:extLst>
                  <a:ext uri="{FF2B5EF4-FFF2-40B4-BE49-F238E27FC236}">
                    <a16:creationId xmlns:a16="http://schemas.microsoft.com/office/drawing/2014/main" id="{0C0916BC-E1BC-5D45-B282-47E50C7F2711}"/>
                  </a:ext>
                </a:extLst>
              </p:cNvPr>
              <p:cNvSpPr/>
              <p:nvPr/>
            </p:nvSpPr>
            <p:spPr>
              <a:xfrm>
                <a:off x="2798800" y="238125"/>
                <a:ext cx="96300" cy="55725"/>
              </a:xfrm>
              <a:custGeom>
                <a:avLst/>
                <a:gdLst/>
                <a:ahLst/>
                <a:cxnLst/>
                <a:rect l="l" t="t" r="r" b="b"/>
                <a:pathLst>
                  <a:path w="3852" h="2229" extrusionOk="0">
                    <a:moveTo>
                      <a:pt x="1926" y="0"/>
                    </a:moveTo>
                    <a:lnTo>
                      <a:pt x="0" y="1111"/>
                    </a:lnTo>
                    <a:lnTo>
                      <a:pt x="1926" y="2229"/>
                    </a:lnTo>
                    <a:lnTo>
                      <a:pt x="3852" y="1111"/>
                    </a:lnTo>
                    <a:lnTo>
                      <a:pt x="1926" y="0"/>
                    </a:lnTo>
                    <a:close/>
                  </a:path>
                </a:pathLst>
              </a:custGeom>
              <a:solidFill>
                <a:srgbClr val="E3E9ED"/>
              </a:solidFill>
              <a:ln>
                <a:noFill/>
              </a:ln>
            </p:spPr>
            <p:txBody>
              <a:bodyPr spcFirstLastPara="1" wrap="square" lIns="116594" tIns="116594" rIns="116594" bIns="116594" anchor="ctr" anchorCtr="0">
                <a:noAutofit/>
              </a:bodyPr>
              <a:lstStyle/>
              <a:p>
                <a:pPr marL="0" marR="0" lvl="0" indent="0" algn="l" defTabSz="767942" rtl="0" eaLnBrk="1" fontAlgn="auto" latinLnBrk="0" hangingPunct="1">
                  <a:lnSpc>
                    <a:spcPct val="100000"/>
                  </a:lnSpc>
                  <a:spcBef>
                    <a:spcPts val="0"/>
                  </a:spcBef>
                  <a:spcAft>
                    <a:spcPts val="0"/>
                  </a:spcAft>
                  <a:buClrTx/>
                  <a:buSzTx/>
                  <a:buFontTx/>
                  <a:buNone/>
                  <a:tabLst/>
                  <a:defRPr/>
                </a:pPr>
                <a:endParaRPr kumimoji="0" sz="1403" b="0" i="0" u="none" strike="noStrike" kern="1200" cap="none" spc="0" normalizeH="0" baseline="0" noProof="0">
                  <a:ln>
                    <a:noFill/>
                  </a:ln>
                  <a:solidFill>
                    <a:prstClr val="black"/>
                  </a:solidFill>
                  <a:effectLst/>
                  <a:uLnTx/>
                  <a:uFillTx/>
                  <a:latin typeface="Montserrat" pitchFamily="2" charset="77"/>
                  <a:ea typeface="Century Gothic" charset="0"/>
                  <a:cs typeface="Century Gothic" charset="0"/>
                </a:endParaRPr>
              </a:p>
            </p:txBody>
          </p:sp>
          <p:sp>
            <p:nvSpPr>
              <p:cNvPr id="47" name="Google Shape;2753;p61">
                <a:extLst>
                  <a:ext uri="{FF2B5EF4-FFF2-40B4-BE49-F238E27FC236}">
                    <a16:creationId xmlns:a16="http://schemas.microsoft.com/office/drawing/2014/main" id="{7C5748B0-FFA3-374C-A0C5-5681AD5C17CC}"/>
                  </a:ext>
                </a:extLst>
              </p:cNvPr>
              <p:cNvSpPr/>
              <p:nvPr/>
            </p:nvSpPr>
            <p:spPr>
              <a:xfrm>
                <a:off x="2798800" y="265875"/>
                <a:ext cx="48175" cy="152025"/>
              </a:xfrm>
              <a:custGeom>
                <a:avLst/>
                <a:gdLst/>
                <a:ahLst/>
                <a:cxnLst/>
                <a:rect l="l" t="t" r="r" b="b"/>
                <a:pathLst>
                  <a:path w="1927" h="6081" extrusionOk="0">
                    <a:moveTo>
                      <a:pt x="0" y="1"/>
                    </a:moveTo>
                    <a:lnTo>
                      <a:pt x="0" y="4970"/>
                    </a:lnTo>
                    <a:lnTo>
                      <a:pt x="1926" y="6081"/>
                    </a:lnTo>
                    <a:lnTo>
                      <a:pt x="1926" y="1119"/>
                    </a:lnTo>
                    <a:lnTo>
                      <a:pt x="0" y="1"/>
                    </a:lnTo>
                    <a:close/>
                  </a:path>
                </a:pathLst>
              </a:custGeom>
              <a:solidFill>
                <a:srgbClr val="BAC8D3"/>
              </a:solidFill>
              <a:ln>
                <a:noFill/>
              </a:ln>
            </p:spPr>
            <p:txBody>
              <a:bodyPr spcFirstLastPara="1" wrap="square" lIns="116594" tIns="116594" rIns="116594" bIns="116594" anchor="ctr" anchorCtr="0">
                <a:noAutofit/>
              </a:bodyPr>
              <a:lstStyle/>
              <a:p>
                <a:pPr marL="0" marR="0" lvl="0" indent="0" algn="l" defTabSz="767942" rtl="0" eaLnBrk="1" fontAlgn="auto" latinLnBrk="0" hangingPunct="1">
                  <a:lnSpc>
                    <a:spcPct val="100000"/>
                  </a:lnSpc>
                  <a:spcBef>
                    <a:spcPts val="0"/>
                  </a:spcBef>
                  <a:spcAft>
                    <a:spcPts val="0"/>
                  </a:spcAft>
                  <a:buClrTx/>
                  <a:buSzTx/>
                  <a:buFontTx/>
                  <a:buNone/>
                  <a:tabLst/>
                  <a:defRPr/>
                </a:pPr>
                <a:endParaRPr kumimoji="0" sz="1403" b="0" i="0" u="none" strike="noStrike" kern="1200" cap="none" spc="0" normalizeH="0" baseline="0" noProof="0">
                  <a:ln>
                    <a:noFill/>
                  </a:ln>
                  <a:solidFill>
                    <a:prstClr val="black"/>
                  </a:solidFill>
                  <a:effectLst/>
                  <a:uLnTx/>
                  <a:uFillTx/>
                  <a:latin typeface="Montserrat" pitchFamily="2" charset="77"/>
                  <a:ea typeface="Century Gothic" charset="0"/>
                  <a:cs typeface="Century Gothic" charset="0"/>
                </a:endParaRPr>
              </a:p>
            </p:txBody>
          </p:sp>
          <p:sp>
            <p:nvSpPr>
              <p:cNvPr id="48" name="Google Shape;2754;p61">
                <a:extLst>
                  <a:ext uri="{FF2B5EF4-FFF2-40B4-BE49-F238E27FC236}">
                    <a16:creationId xmlns:a16="http://schemas.microsoft.com/office/drawing/2014/main" id="{FE3227F9-6988-A649-81B6-110984C98F38}"/>
                  </a:ext>
                </a:extLst>
              </p:cNvPr>
              <p:cNvSpPr/>
              <p:nvPr/>
            </p:nvSpPr>
            <p:spPr>
              <a:xfrm>
                <a:off x="2846950" y="265875"/>
                <a:ext cx="48150" cy="152025"/>
              </a:xfrm>
              <a:custGeom>
                <a:avLst/>
                <a:gdLst/>
                <a:ahLst/>
                <a:cxnLst/>
                <a:rect l="l" t="t" r="r" b="b"/>
                <a:pathLst>
                  <a:path w="1926" h="6081" extrusionOk="0">
                    <a:moveTo>
                      <a:pt x="1926" y="1"/>
                    </a:moveTo>
                    <a:lnTo>
                      <a:pt x="0" y="1119"/>
                    </a:lnTo>
                    <a:lnTo>
                      <a:pt x="0" y="6081"/>
                    </a:lnTo>
                    <a:lnTo>
                      <a:pt x="1926" y="4970"/>
                    </a:lnTo>
                    <a:lnTo>
                      <a:pt x="1926" y="1"/>
                    </a:lnTo>
                    <a:close/>
                  </a:path>
                </a:pathLst>
              </a:custGeom>
              <a:solidFill>
                <a:srgbClr val="A5B7C6"/>
              </a:solidFill>
              <a:ln>
                <a:noFill/>
              </a:ln>
            </p:spPr>
            <p:txBody>
              <a:bodyPr spcFirstLastPara="1" wrap="square" lIns="116594" tIns="116594" rIns="116594" bIns="116594" anchor="ctr" anchorCtr="0">
                <a:noAutofit/>
              </a:bodyPr>
              <a:lstStyle/>
              <a:p>
                <a:pPr marL="0" marR="0" lvl="0" indent="0" algn="l" defTabSz="767942" rtl="0" eaLnBrk="1" fontAlgn="auto" latinLnBrk="0" hangingPunct="1">
                  <a:lnSpc>
                    <a:spcPct val="100000"/>
                  </a:lnSpc>
                  <a:spcBef>
                    <a:spcPts val="0"/>
                  </a:spcBef>
                  <a:spcAft>
                    <a:spcPts val="0"/>
                  </a:spcAft>
                  <a:buClrTx/>
                  <a:buSzTx/>
                  <a:buFontTx/>
                  <a:buNone/>
                  <a:tabLst/>
                  <a:defRPr/>
                </a:pPr>
                <a:endParaRPr kumimoji="0" sz="1403" b="0" i="0" u="none" strike="noStrike" kern="1200" cap="none" spc="0" normalizeH="0" baseline="0" noProof="0">
                  <a:ln>
                    <a:noFill/>
                  </a:ln>
                  <a:solidFill>
                    <a:prstClr val="black"/>
                  </a:solidFill>
                  <a:effectLst/>
                  <a:uLnTx/>
                  <a:uFillTx/>
                  <a:latin typeface="Montserrat" pitchFamily="2" charset="77"/>
                  <a:ea typeface="Century Gothic" charset="0"/>
                  <a:cs typeface="Century Gothic" charset="0"/>
                </a:endParaRPr>
              </a:p>
            </p:txBody>
          </p:sp>
        </p:grpSp>
        <p:grpSp>
          <p:nvGrpSpPr>
            <p:cNvPr id="22" name="Google Shape;2755;p61">
              <a:extLst>
                <a:ext uri="{FF2B5EF4-FFF2-40B4-BE49-F238E27FC236}">
                  <a16:creationId xmlns:a16="http://schemas.microsoft.com/office/drawing/2014/main" id="{088A5568-C751-7945-BA6F-707475309D59}"/>
                </a:ext>
              </a:extLst>
            </p:cNvPr>
            <p:cNvGrpSpPr/>
            <p:nvPr/>
          </p:nvGrpSpPr>
          <p:grpSpPr>
            <a:xfrm>
              <a:off x="4769812" y="311347"/>
              <a:ext cx="96300" cy="134375"/>
              <a:chOff x="2698550" y="350800"/>
              <a:chExt cx="96300" cy="134375"/>
            </a:xfrm>
          </p:grpSpPr>
          <p:sp>
            <p:nvSpPr>
              <p:cNvPr id="43" name="Google Shape;2756;p61">
                <a:extLst>
                  <a:ext uri="{FF2B5EF4-FFF2-40B4-BE49-F238E27FC236}">
                    <a16:creationId xmlns:a16="http://schemas.microsoft.com/office/drawing/2014/main" id="{97326C42-C4D5-0A44-AC49-05A0BDE0A994}"/>
                  </a:ext>
                </a:extLst>
              </p:cNvPr>
              <p:cNvSpPr/>
              <p:nvPr/>
            </p:nvSpPr>
            <p:spPr>
              <a:xfrm>
                <a:off x="2698550" y="350800"/>
                <a:ext cx="96300" cy="55575"/>
              </a:xfrm>
              <a:custGeom>
                <a:avLst/>
                <a:gdLst/>
                <a:ahLst/>
                <a:cxnLst/>
                <a:rect l="l" t="t" r="r" b="b"/>
                <a:pathLst>
                  <a:path w="3852" h="2223" extrusionOk="0">
                    <a:moveTo>
                      <a:pt x="1926" y="1"/>
                    </a:moveTo>
                    <a:lnTo>
                      <a:pt x="0" y="1111"/>
                    </a:lnTo>
                    <a:lnTo>
                      <a:pt x="1926" y="2222"/>
                    </a:lnTo>
                    <a:lnTo>
                      <a:pt x="3852" y="1111"/>
                    </a:lnTo>
                    <a:lnTo>
                      <a:pt x="1926" y="1"/>
                    </a:lnTo>
                    <a:close/>
                  </a:path>
                </a:pathLst>
              </a:custGeom>
              <a:solidFill>
                <a:srgbClr val="E3E9ED"/>
              </a:solidFill>
              <a:ln>
                <a:noFill/>
              </a:ln>
            </p:spPr>
            <p:txBody>
              <a:bodyPr spcFirstLastPara="1" wrap="square" lIns="116594" tIns="116594" rIns="116594" bIns="116594" anchor="ctr" anchorCtr="0">
                <a:noAutofit/>
              </a:bodyPr>
              <a:lstStyle/>
              <a:p>
                <a:pPr marL="0" marR="0" lvl="0" indent="0" algn="l" defTabSz="767942" rtl="0" eaLnBrk="1" fontAlgn="auto" latinLnBrk="0" hangingPunct="1">
                  <a:lnSpc>
                    <a:spcPct val="100000"/>
                  </a:lnSpc>
                  <a:spcBef>
                    <a:spcPts val="0"/>
                  </a:spcBef>
                  <a:spcAft>
                    <a:spcPts val="0"/>
                  </a:spcAft>
                  <a:buClrTx/>
                  <a:buSzTx/>
                  <a:buFontTx/>
                  <a:buNone/>
                  <a:tabLst/>
                  <a:defRPr/>
                </a:pPr>
                <a:endParaRPr kumimoji="0" sz="1403" b="0" i="0" u="none" strike="noStrike" kern="1200" cap="none" spc="0" normalizeH="0" baseline="0" noProof="0">
                  <a:ln>
                    <a:noFill/>
                  </a:ln>
                  <a:solidFill>
                    <a:prstClr val="black"/>
                  </a:solidFill>
                  <a:effectLst/>
                  <a:uLnTx/>
                  <a:uFillTx/>
                  <a:latin typeface="Montserrat" pitchFamily="2" charset="77"/>
                  <a:ea typeface="Century Gothic" charset="0"/>
                  <a:cs typeface="Century Gothic" charset="0"/>
                </a:endParaRPr>
              </a:p>
            </p:txBody>
          </p:sp>
          <p:sp>
            <p:nvSpPr>
              <p:cNvPr id="44" name="Google Shape;2757;p61">
                <a:extLst>
                  <a:ext uri="{FF2B5EF4-FFF2-40B4-BE49-F238E27FC236}">
                    <a16:creationId xmlns:a16="http://schemas.microsoft.com/office/drawing/2014/main" id="{1A494DD8-BB97-A649-A501-33B2222D16A9}"/>
                  </a:ext>
                </a:extLst>
              </p:cNvPr>
              <p:cNvSpPr/>
              <p:nvPr/>
            </p:nvSpPr>
            <p:spPr>
              <a:xfrm>
                <a:off x="2698550" y="378575"/>
                <a:ext cx="48150" cy="106600"/>
              </a:xfrm>
              <a:custGeom>
                <a:avLst/>
                <a:gdLst/>
                <a:ahLst/>
                <a:cxnLst/>
                <a:rect l="l" t="t" r="r" b="b"/>
                <a:pathLst>
                  <a:path w="1926" h="4264" extrusionOk="0">
                    <a:moveTo>
                      <a:pt x="0" y="0"/>
                    </a:moveTo>
                    <a:lnTo>
                      <a:pt x="0" y="3152"/>
                    </a:lnTo>
                    <a:lnTo>
                      <a:pt x="1926" y="4263"/>
                    </a:lnTo>
                    <a:lnTo>
                      <a:pt x="1926" y="1111"/>
                    </a:lnTo>
                    <a:lnTo>
                      <a:pt x="0" y="0"/>
                    </a:lnTo>
                    <a:close/>
                  </a:path>
                </a:pathLst>
              </a:custGeom>
              <a:solidFill>
                <a:srgbClr val="BAC8D3"/>
              </a:solidFill>
              <a:ln>
                <a:noFill/>
              </a:ln>
            </p:spPr>
            <p:txBody>
              <a:bodyPr spcFirstLastPara="1" wrap="square" lIns="116594" tIns="116594" rIns="116594" bIns="116594" anchor="ctr" anchorCtr="0">
                <a:noAutofit/>
              </a:bodyPr>
              <a:lstStyle/>
              <a:p>
                <a:pPr marL="0" marR="0" lvl="0" indent="0" algn="l" defTabSz="767942" rtl="0" eaLnBrk="1" fontAlgn="auto" latinLnBrk="0" hangingPunct="1">
                  <a:lnSpc>
                    <a:spcPct val="100000"/>
                  </a:lnSpc>
                  <a:spcBef>
                    <a:spcPts val="0"/>
                  </a:spcBef>
                  <a:spcAft>
                    <a:spcPts val="0"/>
                  </a:spcAft>
                  <a:buClrTx/>
                  <a:buSzTx/>
                  <a:buFontTx/>
                  <a:buNone/>
                  <a:tabLst/>
                  <a:defRPr/>
                </a:pPr>
                <a:endParaRPr kumimoji="0" sz="1403" b="0" i="0" u="none" strike="noStrike" kern="1200" cap="none" spc="0" normalizeH="0" baseline="0" noProof="0">
                  <a:ln>
                    <a:noFill/>
                  </a:ln>
                  <a:solidFill>
                    <a:prstClr val="black"/>
                  </a:solidFill>
                  <a:effectLst/>
                  <a:uLnTx/>
                  <a:uFillTx/>
                  <a:latin typeface="Montserrat" pitchFamily="2" charset="77"/>
                  <a:ea typeface="Century Gothic" charset="0"/>
                  <a:cs typeface="Century Gothic" charset="0"/>
                </a:endParaRPr>
              </a:p>
            </p:txBody>
          </p:sp>
          <p:sp>
            <p:nvSpPr>
              <p:cNvPr id="45" name="Google Shape;2758;p61">
                <a:extLst>
                  <a:ext uri="{FF2B5EF4-FFF2-40B4-BE49-F238E27FC236}">
                    <a16:creationId xmlns:a16="http://schemas.microsoft.com/office/drawing/2014/main" id="{F7452D6D-D63C-6E41-AC36-1D8AD09E3225}"/>
                  </a:ext>
                </a:extLst>
              </p:cNvPr>
              <p:cNvSpPr/>
              <p:nvPr/>
            </p:nvSpPr>
            <p:spPr>
              <a:xfrm>
                <a:off x="2746675" y="378575"/>
                <a:ext cx="48175" cy="106600"/>
              </a:xfrm>
              <a:custGeom>
                <a:avLst/>
                <a:gdLst/>
                <a:ahLst/>
                <a:cxnLst/>
                <a:rect l="l" t="t" r="r" b="b"/>
                <a:pathLst>
                  <a:path w="1927" h="4264" extrusionOk="0">
                    <a:moveTo>
                      <a:pt x="1927" y="0"/>
                    </a:moveTo>
                    <a:lnTo>
                      <a:pt x="1" y="1111"/>
                    </a:lnTo>
                    <a:lnTo>
                      <a:pt x="1" y="4263"/>
                    </a:lnTo>
                    <a:lnTo>
                      <a:pt x="1927" y="3152"/>
                    </a:lnTo>
                    <a:lnTo>
                      <a:pt x="1927" y="0"/>
                    </a:lnTo>
                    <a:close/>
                  </a:path>
                </a:pathLst>
              </a:custGeom>
              <a:solidFill>
                <a:srgbClr val="A5B7C6"/>
              </a:solidFill>
              <a:ln>
                <a:noFill/>
              </a:ln>
            </p:spPr>
            <p:txBody>
              <a:bodyPr spcFirstLastPara="1" wrap="square" lIns="116594" tIns="116594" rIns="116594" bIns="116594" anchor="ctr" anchorCtr="0">
                <a:noAutofit/>
              </a:bodyPr>
              <a:lstStyle/>
              <a:p>
                <a:pPr marL="0" marR="0" lvl="0" indent="0" algn="l" defTabSz="767942" rtl="0" eaLnBrk="1" fontAlgn="auto" latinLnBrk="0" hangingPunct="1">
                  <a:lnSpc>
                    <a:spcPct val="100000"/>
                  </a:lnSpc>
                  <a:spcBef>
                    <a:spcPts val="0"/>
                  </a:spcBef>
                  <a:spcAft>
                    <a:spcPts val="0"/>
                  </a:spcAft>
                  <a:buClrTx/>
                  <a:buSzTx/>
                  <a:buFontTx/>
                  <a:buNone/>
                  <a:tabLst/>
                  <a:defRPr/>
                </a:pPr>
                <a:endParaRPr kumimoji="0" sz="1403" b="0" i="0" u="none" strike="noStrike" kern="1200" cap="none" spc="0" normalizeH="0" baseline="0" noProof="0">
                  <a:ln>
                    <a:noFill/>
                  </a:ln>
                  <a:solidFill>
                    <a:prstClr val="black"/>
                  </a:solidFill>
                  <a:effectLst/>
                  <a:uLnTx/>
                  <a:uFillTx/>
                  <a:latin typeface="Montserrat" pitchFamily="2" charset="77"/>
                  <a:ea typeface="Century Gothic" charset="0"/>
                  <a:cs typeface="Century Gothic" charset="0"/>
                </a:endParaRPr>
              </a:p>
            </p:txBody>
          </p:sp>
        </p:grpSp>
        <p:grpSp>
          <p:nvGrpSpPr>
            <p:cNvPr id="23" name="Google Shape;2759;p61">
              <a:extLst>
                <a:ext uri="{FF2B5EF4-FFF2-40B4-BE49-F238E27FC236}">
                  <a16:creationId xmlns:a16="http://schemas.microsoft.com/office/drawing/2014/main" id="{8C500A08-DD1B-E243-B81D-F72CA0525E22}"/>
                </a:ext>
              </a:extLst>
            </p:cNvPr>
            <p:cNvGrpSpPr/>
            <p:nvPr/>
          </p:nvGrpSpPr>
          <p:grpSpPr>
            <a:xfrm>
              <a:off x="4722841" y="379141"/>
              <a:ext cx="96125" cy="93950"/>
              <a:chOff x="2615975" y="444575"/>
              <a:chExt cx="96125" cy="93950"/>
            </a:xfrm>
          </p:grpSpPr>
          <p:sp>
            <p:nvSpPr>
              <p:cNvPr id="36" name="Google Shape;2760;p61">
                <a:extLst>
                  <a:ext uri="{FF2B5EF4-FFF2-40B4-BE49-F238E27FC236}">
                    <a16:creationId xmlns:a16="http://schemas.microsoft.com/office/drawing/2014/main" id="{B945FC8D-82D9-344E-9E22-033ADA2F745E}"/>
                  </a:ext>
                </a:extLst>
              </p:cNvPr>
              <p:cNvSpPr/>
              <p:nvPr/>
            </p:nvSpPr>
            <p:spPr>
              <a:xfrm>
                <a:off x="2615975" y="444575"/>
                <a:ext cx="96125" cy="55725"/>
              </a:xfrm>
              <a:custGeom>
                <a:avLst/>
                <a:gdLst/>
                <a:ahLst/>
                <a:cxnLst/>
                <a:rect l="l" t="t" r="r" b="b"/>
                <a:pathLst>
                  <a:path w="3845" h="2229" extrusionOk="0">
                    <a:moveTo>
                      <a:pt x="1926" y="0"/>
                    </a:moveTo>
                    <a:lnTo>
                      <a:pt x="0" y="1118"/>
                    </a:lnTo>
                    <a:lnTo>
                      <a:pt x="1926" y="2229"/>
                    </a:lnTo>
                    <a:lnTo>
                      <a:pt x="3844" y="1118"/>
                    </a:lnTo>
                    <a:lnTo>
                      <a:pt x="1926" y="0"/>
                    </a:lnTo>
                    <a:close/>
                  </a:path>
                </a:pathLst>
              </a:custGeom>
              <a:solidFill>
                <a:srgbClr val="E3E9ED"/>
              </a:solidFill>
              <a:ln>
                <a:noFill/>
              </a:ln>
            </p:spPr>
            <p:txBody>
              <a:bodyPr spcFirstLastPara="1" wrap="square" lIns="116594" tIns="116594" rIns="116594" bIns="116594" anchor="ctr" anchorCtr="0">
                <a:noAutofit/>
              </a:bodyPr>
              <a:lstStyle/>
              <a:p>
                <a:pPr marL="0" marR="0" lvl="0" indent="0" algn="l" defTabSz="767942" rtl="0" eaLnBrk="1" fontAlgn="auto" latinLnBrk="0" hangingPunct="1">
                  <a:lnSpc>
                    <a:spcPct val="100000"/>
                  </a:lnSpc>
                  <a:spcBef>
                    <a:spcPts val="0"/>
                  </a:spcBef>
                  <a:spcAft>
                    <a:spcPts val="0"/>
                  </a:spcAft>
                  <a:buClrTx/>
                  <a:buSzTx/>
                  <a:buFontTx/>
                  <a:buNone/>
                  <a:tabLst/>
                  <a:defRPr/>
                </a:pPr>
                <a:endParaRPr kumimoji="0" sz="1403" b="0" i="0" u="none" strike="noStrike" kern="1200" cap="none" spc="0" normalizeH="0" baseline="0" noProof="0">
                  <a:ln>
                    <a:noFill/>
                  </a:ln>
                  <a:solidFill>
                    <a:prstClr val="black"/>
                  </a:solidFill>
                  <a:effectLst/>
                  <a:uLnTx/>
                  <a:uFillTx/>
                  <a:latin typeface="Montserrat" pitchFamily="2" charset="77"/>
                  <a:ea typeface="Century Gothic" charset="0"/>
                  <a:cs typeface="Century Gothic" charset="0"/>
                </a:endParaRPr>
              </a:p>
            </p:txBody>
          </p:sp>
          <p:sp>
            <p:nvSpPr>
              <p:cNvPr id="41" name="Google Shape;2761;p61">
                <a:extLst>
                  <a:ext uri="{FF2B5EF4-FFF2-40B4-BE49-F238E27FC236}">
                    <a16:creationId xmlns:a16="http://schemas.microsoft.com/office/drawing/2014/main" id="{962158F6-F63D-E74B-BF36-C71567F32747}"/>
                  </a:ext>
                </a:extLst>
              </p:cNvPr>
              <p:cNvSpPr/>
              <p:nvPr/>
            </p:nvSpPr>
            <p:spPr>
              <a:xfrm>
                <a:off x="2615975" y="472525"/>
                <a:ext cx="48150" cy="66000"/>
              </a:xfrm>
              <a:custGeom>
                <a:avLst/>
                <a:gdLst/>
                <a:ahLst/>
                <a:cxnLst/>
                <a:rect l="l" t="t" r="r" b="b"/>
                <a:pathLst>
                  <a:path w="1926" h="2640" extrusionOk="0">
                    <a:moveTo>
                      <a:pt x="0" y="0"/>
                    </a:moveTo>
                    <a:lnTo>
                      <a:pt x="0" y="1529"/>
                    </a:lnTo>
                    <a:lnTo>
                      <a:pt x="1926" y="2640"/>
                    </a:lnTo>
                    <a:lnTo>
                      <a:pt x="1926" y="1111"/>
                    </a:lnTo>
                    <a:lnTo>
                      <a:pt x="0" y="0"/>
                    </a:lnTo>
                    <a:close/>
                  </a:path>
                </a:pathLst>
              </a:custGeom>
              <a:solidFill>
                <a:srgbClr val="BAC8D3"/>
              </a:solidFill>
              <a:ln>
                <a:noFill/>
              </a:ln>
            </p:spPr>
            <p:txBody>
              <a:bodyPr spcFirstLastPara="1" wrap="square" lIns="116594" tIns="116594" rIns="116594" bIns="116594" anchor="ctr" anchorCtr="0">
                <a:noAutofit/>
              </a:bodyPr>
              <a:lstStyle/>
              <a:p>
                <a:pPr marL="0" marR="0" lvl="0" indent="0" algn="l" defTabSz="767942" rtl="0" eaLnBrk="1" fontAlgn="auto" latinLnBrk="0" hangingPunct="1">
                  <a:lnSpc>
                    <a:spcPct val="100000"/>
                  </a:lnSpc>
                  <a:spcBef>
                    <a:spcPts val="0"/>
                  </a:spcBef>
                  <a:spcAft>
                    <a:spcPts val="0"/>
                  </a:spcAft>
                  <a:buClrTx/>
                  <a:buSzTx/>
                  <a:buFontTx/>
                  <a:buNone/>
                  <a:tabLst/>
                  <a:defRPr/>
                </a:pPr>
                <a:endParaRPr kumimoji="0" sz="1403" b="0" i="0" u="none" strike="noStrike" kern="1200" cap="none" spc="0" normalizeH="0" baseline="0" noProof="0">
                  <a:ln>
                    <a:noFill/>
                  </a:ln>
                  <a:solidFill>
                    <a:prstClr val="black"/>
                  </a:solidFill>
                  <a:effectLst/>
                  <a:uLnTx/>
                  <a:uFillTx/>
                  <a:latin typeface="Montserrat" pitchFamily="2" charset="77"/>
                  <a:ea typeface="Century Gothic" charset="0"/>
                  <a:cs typeface="Century Gothic" charset="0"/>
                </a:endParaRPr>
              </a:p>
            </p:txBody>
          </p:sp>
          <p:sp>
            <p:nvSpPr>
              <p:cNvPr id="42" name="Google Shape;2762;p61">
                <a:extLst>
                  <a:ext uri="{FF2B5EF4-FFF2-40B4-BE49-F238E27FC236}">
                    <a16:creationId xmlns:a16="http://schemas.microsoft.com/office/drawing/2014/main" id="{D0F03007-A31A-8541-A2DB-1159902283C0}"/>
                  </a:ext>
                </a:extLst>
              </p:cNvPr>
              <p:cNvSpPr/>
              <p:nvPr/>
            </p:nvSpPr>
            <p:spPr>
              <a:xfrm>
                <a:off x="2664100" y="472525"/>
                <a:ext cx="48000" cy="66000"/>
              </a:xfrm>
              <a:custGeom>
                <a:avLst/>
                <a:gdLst/>
                <a:ahLst/>
                <a:cxnLst/>
                <a:rect l="l" t="t" r="r" b="b"/>
                <a:pathLst>
                  <a:path w="1920" h="2640" extrusionOk="0">
                    <a:moveTo>
                      <a:pt x="1919" y="0"/>
                    </a:moveTo>
                    <a:lnTo>
                      <a:pt x="1" y="1111"/>
                    </a:lnTo>
                    <a:lnTo>
                      <a:pt x="1" y="2640"/>
                    </a:lnTo>
                    <a:lnTo>
                      <a:pt x="1919" y="1529"/>
                    </a:lnTo>
                    <a:lnTo>
                      <a:pt x="1919" y="0"/>
                    </a:lnTo>
                    <a:close/>
                  </a:path>
                </a:pathLst>
              </a:custGeom>
              <a:solidFill>
                <a:srgbClr val="A5B7C6"/>
              </a:solidFill>
              <a:ln>
                <a:noFill/>
              </a:ln>
            </p:spPr>
            <p:txBody>
              <a:bodyPr spcFirstLastPara="1" wrap="square" lIns="116594" tIns="116594" rIns="116594" bIns="116594" anchor="ctr" anchorCtr="0">
                <a:noAutofit/>
              </a:bodyPr>
              <a:lstStyle/>
              <a:p>
                <a:pPr marL="0" marR="0" lvl="0" indent="0" algn="l" defTabSz="767942" rtl="0" eaLnBrk="1" fontAlgn="auto" latinLnBrk="0" hangingPunct="1">
                  <a:lnSpc>
                    <a:spcPct val="100000"/>
                  </a:lnSpc>
                  <a:spcBef>
                    <a:spcPts val="0"/>
                  </a:spcBef>
                  <a:spcAft>
                    <a:spcPts val="0"/>
                  </a:spcAft>
                  <a:buClrTx/>
                  <a:buSzTx/>
                  <a:buFontTx/>
                  <a:buNone/>
                  <a:tabLst/>
                  <a:defRPr/>
                </a:pPr>
                <a:endParaRPr kumimoji="0" sz="1403" b="0" i="0" u="none" strike="noStrike" kern="1200" cap="none" spc="0" normalizeH="0" baseline="0" noProof="0">
                  <a:ln>
                    <a:noFill/>
                  </a:ln>
                  <a:solidFill>
                    <a:prstClr val="black"/>
                  </a:solidFill>
                  <a:effectLst/>
                  <a:uLnTx/>
                  <a:uFillTx/>
                  <a:latin typeface="Montserrat" pitchFamily="2" charset="77"/>
                  <a:ea typeface="Century Gothic" charset="0"/>
                  <a:cs typeface="Century Gothic" charset="0"/>
                </a:endParaRPr>
              </a:p>
            </p:txBody>
          </p:sp>
        </p:grpSp>
      </p:grpSp>
      <p:sp>
        <p:nvSpPr>
          <p:cNvPr id="49" name="Google Shape;642;p21">
            <a:extLst>
              <a:ext uri="{FF2B5EF4-FFF2-40B4-BE49-F238E27FC236}">
                <a16:creationId xmlns:a16="http://schemas.microsoft.com/office/drawing/2014/main" id="{F0D72084-1A3C-C346-ADD4-2733401023BD}"/>
              </a:ext>
            </a:extLst>
          </p:cNvPr>
          <p:cNvSpPr txBox="1">
            <a:spLocks/>
          </p:cNvSpPr>
          <p:nvPr/>
        </p:nvSpPr>
        <p:spPr>
          <a:xfrm>
            <a:off x="470160" y="2551458"/>
            <a:ext cx="5260657" cy="1755083"/>
          </a:xfrm>
          <a:prstGeom prst="rect">
            <a:avLst/>
          </a:prstGeom>
          <a:noFill/>
          <a:ln>
            <a:noFill/>
          </a:ln>
        </p:spPr>
        <p:txBody>
          <a:bodyPr spcFirstLastPara="1" wrap="square" lIns="116594" tIns="116594" rIns="116594" bIns="116594"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434343"/>
              </a:buClr>
              <a:buSzPts val="1800"/>
              <a:buFont typeface="Arvo"/>
              <a:buChar char="●"/>
              <a:defRPr sz="1800" b="0" i="0" u="none" strike="noStrike" cap="none">
                <a:solidFill>
                  <a:srgbClr val="434343"/>
                </a:solidFill>
                <a:latin typeface="Arvo"/>
                <a:ea typeface="Arvo"/>
                <a:cs typeface="Arvo"/>
                <a:sym typeface="Arvo"/>
              </a:defRPr>
            </a:lvl1pPr>
            <a:lvl2pPr marL="914400" marR="0" lvl="1"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2pPr>
            <a:lvl3pPr marL="1371600" marR="0" lvl="2"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3pPr>
            <a:lvl4pPr marL="1828800" marR="0" lvl="3"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4pPr>
            <a:lvl5pPr marL="2286000" marR="0" lvl="4"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5pPr>
            <a:lvl6pPr marL="2743200" marR="0" lvl="5"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6pPr>
            <a:lvl7pPr marL="3200400" marR="0" lvl="6"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7pPr>
            <a:lvl8pPr marL="3657600" marR="0" lvl="7"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8pPr>
            <a:lvl9pPr marL="4114800" marR="0" lvl="8" indent="-317500" algn="l" rtl="0">
              <a:lnSpc>
                <a:spcPct val="115000"/>
              </a:lnSpc>
              <a:spcBef>
                <a:spcPts val="1600"/>
              </a:spcBef>
              <a:spcAft>
                <a:spcPts val="1600"/>
              </a:spcAft>
              <a:buClr>
                <a:srgbClr val="434343"/>
              </a:buClr>
              <a:buSzPts val="1400"/>
              <a:buFont typeface="Arvo"/>
              <a:buChar char="■"/>
              <a:defRPr sz="1400" b="0" i="0" u="none" strike="noStrike" cap="none">
                <a:solidFill>
                  <a:srgbClr val="434343"/>
                </a:solidFill>
                <a:latin typeface="Arvo"/>
                <a:ea typeface="Arvo"/>
                <a:cs typeface="Arvo"/>
                <a:sym typeface="Arvo"/>
              </a:defRPr>
            </a:lvl9pPr>
          </a:lstStyle>
          <a:p>
            <a:pPr marL="0" marR="0" lvl="0" indent="0" algn="l" defTabSz="1166200" rtl="0" eaLnBrk="1" fontAlgn="auto" latinLnBrk="0" hangingPunct="1">
              <a:lnSpc>
                <a:spcPct val="100000"/>
              </a:lnSpc>
              <a:spcBef>
                <a:spcPts val="0"/>
              </a:spcBef>
              <a:spcAft>
                <a:spcPts val="0"/>
              </a:spcAft>
              <a:buClr>
                <a:srgbClr val="434343"/>
              </a:buClr>
              <a:buSzPts val="1800"/>
              <a:buFont typeface="Arvo"/>
              <a:buNone/>
              <a:tabLst/>
              <a:defRPr/>
            </a:pPr>
            <a:r>
              <a:rPr kumimoji="0" lang="en-US" sz="1800" b="1" i="0" u="none" strike="noStrike" kern="0" cap="none" spc="0" normalizeH="0" baseline="0" noProof="0" dirty="0">
                <a:ln>
                  <a:noFill/>
                </a:ln>
                <a:solidFill>
                  <a:srgbClr val="1D3166"/>
                </a:solidFill>
                <a:effectLst/>
                <a:uLnTx/>
                <a:uFillTx/>
                <a:latin typeface="Montserrat" pitchFamily="2" charset="77"/>
                <a:ea typeface="Century Gothic" charset="0"/>
                <a:cs typeface="Century Gothic" charset="0"/>
                <a:sym typeface="Arvo"/>
              </a:rPr>
              <a:t>TERTIB PENYELENGGARAAN</a:t>
            </a:r>
          </a:p>
          <a:p>
            <a:pPr marL="342900" marR="0" lvl="0" indent="-342900" algn="l" defTabSz="1166200" rtl="0" eaLnBrk="1" fontAlgn="auto" latinLnBrk="0" hangingPunct="1">
              <a:lnSpc>
                <a:spcPct val="100000"/>
              </a:lnSpc>
              <a:spcBef>
                <a:spcPts val="0"/>
              </a:spcBef>
              <a:spcAft>
                <a:spcPts val="383"/>
              </a:spcAft>
              <a:buClr>
                <a:srgbClr val="1D3166"/>
              </a:buClr>
              <a:buSzPct val="100000"/>
              <a:buFont typeface="+mj-lt"/>
              <a:buAutoNum type="arabicPeriod"/>
              <a:tabLst/>
              <a:defRPr/>
            </a:pP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proses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pemilih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Penyedia</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Jasa;</a:t>
            </a:r>
          </a:p>
          <a:p>
            <a:pPr marL="342900" marR="0" lvl="0" indent="-342900" algn="l" defTabSz="1166200" rtl="0" eaLnBrk="1" fontAlgn="auto" latinLnBrk="0" hangingPunct="1">
              <a:lnSpc>
                <a:spcPct val="100000"/>
              </a:lnSpc>
              <a:spcBef>
                <a:spcPts val="0"/>
              </a:spcBef>
              <a:spcAft>
                <a:spcPts val="383"/>
              </a:spcAft>
              <a:buClr>
                <a:srgbClr val="1D3166"/>
              </a:buClr>
              <a:buSzPct val="100000"/>
              <a:buFont typeface="+mj-lt"/>
              <a:buAutoNum type="arabicPeriod"/>
              <a:tabLst/>
              <a:defRPr/>
            </a:pP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penyusun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dan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pelaksana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Kontrak</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Kerja</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Konstruksi</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a:t>
            </a:r>
          </a:p>
          <a:p>
            <a:pPr marL="342900" marR="0" lvl="0" indent="-342900" algn="l" defTabSz="1166200" rtl="0" eaLnBrk="1" fontAlgn="auto" latinLnBrk="0" hangingPunct="1">
              <a:lnSpc>
                <a:spcPct val="100000"/>
              </a:lnSpc>
              <a:spcBef>
                <a:spcPts val="0"/>
              </a:spcBef>
              <a:spcAft>
                <a:spcPts val="383"/>
              </a:spcAft>
              <a:buClr>
                <a:srgbClr val="1D3166"/>
              </a:buClr>
              <a:buSzPct val="100000"/>
              <a:buFont typeface="+mj-lt"/>
              <a:buAutoNum type="arabicPeriod"/>
              <a:tabLst/>
              <a:defRPr/>
            </a:pP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penerap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Standar</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K4;</a:t>
            </a:r>
          </a:p>
          <a:p>
            <a:pPr marL="342900" marR="0" lvl="0" indent="-342900" algn="l" defTabSz="1166200" rtl="0" eaLnBrk="1" fontAlgn="auto" latinLnBrk="0" hangingPunct="1">
              <a:lnSpc>
                <a:spcPct val="100000"/>
              </a:lnSpc>
              <a:spcBef>
                <a:spcPts val="0"/>
              </a:spcBef>
              <a:spcAft>
                <a:spcPts val="383"/>
              </a:spcAft>
              <a:buClr>
                <a:srgbClr val="1D3166"/>
              </a:buClr>
              <a:buSzPct val="100000"/>
              <a:buFont typeface="+mj-lt"/>
              <a:buAutoNum type="arabicPeriod"/>
              <a:tabLst/>
              <a:defRPr/>
            </a:pP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penerap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manajeme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mutu</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konstruksi</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dan</a:t>
            </a:r>
          </a:p>
          <a:p>
            <a:pPr marL="342900" marR="0" lvl="0" indent="-342900" algn="l" defTabSz="1166200" rtl="0" eaLnBrk="1" fontAlgn="auto" latinLnBrk="0" hangingPunct="1">
              <a:lnSpc>
                <a:spcPct val="100000"/>
              </a:lnSpc>
              <a:spcBef>
                <a:spcPts val="0"/>
              </a:spcBef>
              <a:spcAft>
                <a:spcPts val="383"/>
              </a:spcAft>
              <a:buClr>
                <a:srgbClr val="1D3166"/>
              </a:buClr>
              <a:buSzPct val="100000"/>
              <a:buFont typeface="+mj-lt"/>
              <a:buAutoNum type="arabicPeriod"/>
              <a:tabLst/>
              <a:defRPr/>
            </a:pP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pengelola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dan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pengguna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material,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peralat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dan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teknologi</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konstruksi</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a:t>
            </a:r>
          </a:p>
          <a:p>
            <a:pPr marL="342900" marR="0" lvl="0" indent="-342900" algn="l" defTabSz="1166200" rtl="0" eaLnBrk="1" fontAlgn="auto" latinLnBrk="0" hangingPunct="1">
              <a:lnSpc>
                <a:spcPct val="100000"/>
              </a:lnSpc>
              <a:spcBef>
                <a:spcPts val="0"/>
              </a:spcBef>
              <a:spcAft>
                <a:spcPts val="383"/>
              </a:spcAft>
              <a:buClr>
                <a:srgbClr val="1D3166"/>
              </a:buClr>
              <a:buSzPct val="100000"/>
              <a:buFont typeface="+mj-lt"/>
              <a:buAutoNum type="arabicPeriod"/>
              <a:tabLst/>
              <a:defRPr/>
            </a:pPr>
            <a:r>
              <a:rPr kumimoji="0" lang="en-US" sz="1400" b="1" i="0" u="none" strike="noStrike" kern="0" cap="none" spc="0" normalizeH="0" baseline="0" noProof="0" dirty="0" err="1">
                <a:ln>
                  <a:noFill/>
                </a:ln>
                <a:solidFill>
                  <a:srgbClr val="C00000"/>
                </a:solidFill>
                <a:effectLst/>
                <a:uLnTx/>
                <a:uFillTx/>
                <a:latin typeface="Montserrat Medium" pitchFamily="2" charset="77"/>
                <a:ea typeface="Century Gothic" charset="0"/>
                <a:cs typeface="Century Gothic" charset="0"/>
                <a:sym typeface="Arvo"/>
              </a:rPr>
              <a:t>pengelolaan</a:t>
            </a:r>
            <a:r>
              <a:rPr kumimoji="0" lang="en-US" sz="1400" b="1" i="0" u="none" strike="noStrike" kern="0" cap="none" spc="0" normalizeH="0" baseline="0" noProof="0" dirty="0">
                <a:ln>
                  <a:noFill/>
                </a:ln>
                <a:solidFill>
                  <a:srgbClr val="C00000"/>
                </a:solidFill>
                <a:effectLst/>
                <a:uLnTx/>
                <a:uFillTx/>
                <a:latin typeface="Montserrat Medium" pitchFamily="2" charset="77"/>
                <a:ea typeface="Century Gothic" charset="0"/>
                <a:cs typeface="Century Gothic" charset="0"/>
                <a:sym typeface="Arvo"/>
              </a:rPr>
              <a:t> dan </a:t>
            </a:r>
            <a:r>
              <a:rPr kumimoji="0" lang="en-US" sz="1400" b="1" i="0" u="none" strike="noStrike" kern="0" cap="none" spc="0" normalizeH="0" baseline="0" noProof="0" dirty="0" err="1">
                <a:ln>
                  <a:noFill/>
                </a:ln>
                <a:solidFill>
                  <a:srgbClr val="C00000"/>
                </a:solidFill>
                <a:effectLst/>
                <a:uLnTx/>
                <a:uFillTx/>
                <a:latin typeface="Montserrat Medium" pitchFamily="2" charset="77"/>
                <a:ea typeface="Century Gothic" charset="0"/>
                <a:cs typeface="Century Gothic" charset="0"/>
                <a:sym typeface="Arvo"/>
              </a:rPr>
              <a:t>pemanfaatan</a:t>
            </a:r>
            <a:r>
              <a:rPr kumimoji="0" lang="en-US" sz="1400" b="1" i="0" u="none" strike="noStrike" kern="0" cap="none" spc="0" normalizeH="0" baseline="0" noProof="0" dirty="0">
                <a:ln>
                  <a:noFill/>
                </a:ln>
                <a:solidFill>
                  <a:srgbClr val="C00000"/>
                </a:solidFill>
                <a:effectLst/>
                <a:uLnTx/>
                <a:uFillTx/>
                <a:latin typeface="Montserrat Medium" pitchFamily="2" charset="77"/>
                <a:ea typeface="Century Gothic" charset="0"/>
                <a:cs typeface="Century Gothic" charset="0"/>
                <a:sym typeface="Arvo"/>
              </a:rPr>
              <a:t> </a:t>
            </a:r>
            <a:r>
              <a:rPr kumimoji="0" lang="en-US" sz="1400" b="1" i="0" u="none" strike="noStrike" kern="0" cap="none" spc="0" normalizeH="0" baseline="0" noProof="0" dirty="0" err="1">
                <a:ln>
                  <a:noFill/>
                </a:ln>
                <a:solidFill>
                  <a:srgbClr val="C00000"/>
                </a:solidFill>
                <a:effectLst/>
                <a:uLnTx/>
                <a:uFillTx/>
                <a:latin typeface="Montserrat Medium" pitchFamily="2" charset="77"/>
                <a:ea typeface="Century Gothic" charset="0"/>
                <a:cs typeface="Century Gothic" charset="0"/>
                <a:sym typeface="Arvo"/>
              </a:rPr>
              <a:t>sumber</a:t>
            </a:r>
            <a:r>
              <a:rPr kumimoji="0" lang="en-US" sz="1400" b="1" i="0" u="none" strike="noStrike" kern="0" cap="none" spc="0" normalizeH="0" baseline="0" noProof="0" dirty="0">
                <a:ln>
                  <a:noFill/>
                </a:ln>
                <a:solidFill>
                  <a:srgbClr val="C00000"/>
                </a:solidFill>
                <a:effectLst/>
                <a:uLnTx/>
                <a:uFillTx/>
                <a:latin typeface="Montserrat Medium" pitchFamily="2" charset="77"/>
                <a:ea typeface="Century Gothic" charset="0"/>
                <a:cs typeface="Century Gothic" charset="0"/>
                <a:sym typeface="Arvo"/>
              </a:rPr>
              <a:t> material </a:t>
            </a:r>
            <a:r>
              <a:rPr kumimoji="0" lang="en-US" sz="1400" b="1" i="0" u="none" strike="noStrike" kern="0" cap="none" spc="0" normalizeH="0" baseline="0" noProof="0" dirty="0" err="1">
                <a:ln>
                  <a:noFill/>
                </a:ln>
                <a:solidFill>
                  <a:srgbClr val="C00000"/>
                </a:solidFill>
                <a:effectLst/>
                <a:uLnTx/>
                <a:uFillTx/>
                <a:latin typeface="Montserrat Medium" pitchFamily="2" charset="77"/>
                <a:ea typeface="Century Gothic" charset="0"/>
                <a:cs typeface="Century Gothic" charset="0"/>
                <a:sym typeface="Arvo"/>
              </a:rPr>
              <a:t>konstruksi</a:t>
            </a:r>
            <a:r>
              <a:rPr kumimoji="0" lang="en-US" sz="1400" b="1" i="0" u="none" strike="noStrike" kern="0" cap="none" spc="0" normalizeH="0" baseline="0" noProof="0" dirty="0">
                <a:ln>
                  <a:noFill/>
                </a:ln>
                <a:solidFill>
                  <a:srgbClr val="C00000"/>
                </a:solidFill>
                <a:effectLst/>
                <a:uLnTx/>
                <a:uFillTx/>
                <a:latin typeface="Montserrat Medium" pitchFamily="2" charset="77"/>
                <a:ea typeface="Century Gothic" charset="0"/>
                <a:cs typeface="Century Gothic" charset="0"/>
                <a:sym typeface="Arvo"/>
              </a:rPr>
              <a:t>*</a:t>
            </a:r>
          </a:p>
          <a:p>
            <a:pPr marL="342900" marR="0" lvl="0" indent="-342900" algn="l" defTabSz="1166200" rtl="0" eaLnBrk="1" fontAlgn="auto" latinLnBrk="0" hangingPunct="1">
              <a:lnSpc>
                <a:spcPct val="100000"/>
              </a:lnSpc>
              <a:spcBef>
                <a:spcPts val="0"/>
              </a:spcBef>
              <a:spcAft>
                <a:spcPts val="383"/>
              </a:spcAft>
              <a:buClr>
                <a:srgbClr val="1D3166"/>
              </a:buClr>
              <a:buSzPct val="100000"/>
              <a:buFont typeface="+mj-lt"/>
              <a:buAutoNum type="arabicPeriod"/>
              <a:tabLst/>
              <a:defRPr/>
            </a:pPr>
            <a:endPar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endParaRPr>
          </a:p>
        </p:txBody>
      </p:sp>
      <p:sp>
        <p:nvSpPr>
          <p:cNvPr id="50" name="Oval 49">
            <a:extLst>
              <a:ext uri="{FF2B5EF4-FFF2-40B4-BE49-F238E27FC236}">
                <a16:creationId xmlns:a16="http://schemas.microsoft.com/office/drawing/2014/main" id="{4ED2A755-D9DB-FD46-B8CF-22161A37A229}"/>
              </a:ext>
            </a:extLst>
          </p:cNvPr>
          <p:cNvSpPr/>
          <p:nvPr/>
        </p:nvSpPr>
        <p:spPr>
          <a:xfrm>
            <a:off x="10797290" y="2005202"/>
            <a:ext cx="966428" cy="966428"/>
          </a:xfrm>
          <a:prstGeom prst="ellipse">
            <a:avLst/>
          </a:prstGeom>
          <a:solidFill>
            <a:srgbClr val="1D31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7942" rtl="0" eaLnBrk="1" fontAlgn="auto" latinLnBrk="0" hangingPunct="1">
              <a:lnSpc>
                <a:spcPct val="100000"/>
              </a:lnSpc>
              <a:spcBef>
                <a:spcPts val="0"/>
              </a:spcBef>
              <a:spcAft>
                <a:spcPts val="0"/>
              </a:spcAft>
              <a:buClrTx/>
              <a:buSzTx/>
              <a:buFontTx/>
              <a:buNone/>
              <a:tabLst/>
              <a:defRPr/>
            </a:pPr>
            <a:r>
              <a:rPr kumimoji="0" lang="en-US" sz="5611" b="1" i="0" u="none" strike="noStrike" kern="1200" cap="none" spc="0" normalizeH="0" baseline="0" noProof="0" dirty="0">
                <a:ln>
                  <a:noFill/>
                </a:ln>
                <a:solidFill>
                  <a:prstClr val="white"/>
                </a:solidFill>
                <a:effectLst/>
                <a:uLnTx/>
                <a:uFillTx/>
                <a:latin typeface="Montserrat" pitchFamily="2" charset="77"/>
                <a:ea typeface="Century Gothic" charset="0"/>
                <a:cs typeface="Century Gothic" charset="0"/>
              </a:rPr>
              <a:t>1</a:t>
            </a:r>
          </a:p>
        </p:txBody>
      </p:sp>
      <p:grpSp>
        <p:nvGrpSpPr>
          <p:cNvPr id="51" name="Group 50">
            <a:extLst>
              <a:ext uri="{FF2B5EF4-FFF2-40B4-BE49-F238E27FC236}">
                <a16:creationId xmlns:a16="http://schemas.microsoft.com/office/drawing/2014/main" id="{DA11D9E5-CA7B-0749-939B-25D2B4A62E8C}"/>
              </a:ext>
            </a:extLst>
          </p:cNvPr>
          <p:cNvGrpSpPr/>
          <p:nvPr/>
        </p:nvGrpSpPr>
        <p:grpSpPr>
          <a:xfrm>
            <a:off x="10372720" y="1302338"/>
            <a:ext cx="591965" cy="1290524"/>
            <a:chOff x="9597104" y="1306710"/>
            <a:chExt cx="512465" cy="1117209"/>
          </a:xfrm>
        </p:grpSpPr>
        <p:sp>
          <p:nvSpPr>
            <p:cNvPr id="52" name="Google Shape;253;p12">
              <a:extLst>
                <a:ext uri="{FF2B5EF4-FFF2-40B4-BE49-F238E27FC236}">
                  <a16:creationId xmlns:a16="http://schemas.microsoft.com/office/drawing/2014/main" id="{36C5F650-3790-974F-8AF6-C372E598B450}"/>
                </a:ext>
              </a:extLst>
            </p:cNvPr>
            <p:cNvSpPr/>
            <p:nvPr/>
          </p:nvSpPr>
          <p:spPr>
            <a:xfrm>
              <a:off x="9730070" y="1493257"/>
              <a:ext cx="180812" cy="355207"/>
            </a:xfrm>
            <a:custGeom>
              <a:avLst/>
              <a:gdLst/>
              <a:ahLst/>
              <a:cxnLst/>
              <a:rect l="l" t="t" r="r" b="b"/>
              <a:pathLst>
                <a:path w="169617" h="333215" extrusionOk="0">
                  <a:moveTo>
                    <a:pt x="97114" y="257806"/>
                  </a:moveTo>
                  <a:cubicBezTo>
                    <a:pt x="82065" y="284512"/>
                    <a:pt x="63834" y="309299"/>
                    <a:pt x="42822" y="331624"/>
                  </a:cubicBezTo>
                  <a:cubicBezTo>
                    <a:pt x="36916" y="338482"/>
                    <a:pt x="-8137" y="321242"/>
                    <a:pt x="1293" y="316384"/>
                  </a:cubicBezTo>
                  <a:cubicBezTo>
                    <a:pt x="10722" y="311527"/>
                    <a:pt x="40250" y="270283"/>
                    <a:pt x="55109" y="242851"/>
                  </a:cubicBezTo>
                  <a:cubicBezTo>
                    <a:pt x="67549" y="210057"/>
                    <a:pt x="78074" y="176568"/>
                    <a:pt x="86637" y="142553"/>
                  </a:cubicBezTo>
                  <a:cubicBezTo>
                    <a:pt x="96162" y="108930"/>
                    <a:pt x="103972" y="59590"/>
                    <a:pt x="110735" y="36349"/>
                  </a:cubicBezTo>
                  <a:cubicBezTo>
                    <a:pt x="114326" y="18843"/>
                    <a:pt x="127870" y="5080"/>
                    <a:pt x="145311" y="1202"/>
                  </a:cubicBezTo>
                  <a:cubicBezTo>
                    <a:pt x="161503" y="-2513"/>
                    <a:pt x="172076" y="1869"/>
                    <a:pt x="169123" y="21586"/>
                  </a:cubicBezTo>
                  <a:cubicBezTo>
                    <a:pt x="163885" y="56066"/>
                    <a:pt x="136929" y="189988"/>
                    <a:pt x="97114" y="257806"/>
                  </a:cubicBezTo>
                  <a:close/>
                </a:path>
              </a:pathLst>
            </a:custGeom>
            <a:solidFill>
              <a:srgbClr val="FFCEA9"/>
            </a:solidFill>
            <a:ln>
              <a:noFill/>
            </a:ln>
          </p:spPr>
          <p:txBody>
            <a:bodyPr spcFirstLastPara="1" wrap="square" lIns="155459" tIns="77708" rIns="155459" bIns="77708"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3061" b="0" i="0" u="none" strike="noStrike" kern="0" cap="none" spc="0" normalizeH="0" baseline="0" noProof="0">
                <a:ln>
                  <a:noFill/>
                </a:ln>
                <a:solidFill>
                  <a:srgbClr val="000000"/>
                </a:solidFill>
                <a:effectLst/>
                <a:uLnTx/>
                <a:uFillTx/>
                <a:latin typeface="Montserrat" pitchFamily="2" charset="77"/>
                <a:ea typeface="Calibri"/>
                <a:cs typeface="Calibri"/>
                <a:sym typeface="Calibri"/>
              </a:endParaRPr>
            </a:p>
          </p:txBody>
        </p:sp>
        <p:sp>
          <p:nvSpPr>
            <p:cNvPr id="53" name="Google Shape;254;p12">
              <a:extLst>
                <a:ext uri="{FF2B5EF4-FFF2-40B4-BE49-F238E27FC236}">
                  <a16:creationId xmlns:a16="http://schemas.microsoft.com/office/drawing/2014/main" id="{FCBAD167-983A-CD41-9802-FCB43D5DDD18}"/>
                </a:ext>
              </a:extLst>
            </p:cNvPr>
            <p:cNvSpPr/>
            <p:nvPr/>
          </p:nvSpPr>
          <p:spPr>
            <a:xfrm>
              <a:off x="9746383" y="2327542"/>
              <a:ext cx="124393" cy="96377"/>
            </a:xfrm>
            <a:custGeom>
              <a:avLst/>
              <a:gdLst/>
              <a:ahLst/>
              <a:cxnLst/>
              <a:rect l="l" t="t" r="r" b="b"/>
              <a:pathLst>
                <a:path w="116692" h="90410" extrusionOk="0">
                  <a:moveTo>
                    <a:pt x="107433" y="2"/>
                  </a:moveTo>
                  <a:cubicBezTo>
                    <a:pt x="93527" y="11337"/>
                    <a:pt x="72857" y="955"/>
                    <a:pt x="71810" y="2003"/>
                  </a:cubicBezTo>
                  <a:cubicBezTo>
                    <a:pt x="55417" y="17271"/>
                    <a:pt x="38177" y="31616"/>
                    <a:pt x="20184" y="44960"/>
                  </a:cubicBezTo>
                  <a:cubicBezTo>
                    <a:pt x="11421" y="51818"/>
                    <a:pt x="-2105" y="61057"/>
                    <a:pt x="277" y="74202"/>
                  </a:cubicBezTo>
                  <a:cubicBezTo>
                    <a:pt x="4753" y="97824"/>
                    <a:pt x="42472" y="90585"/>
                    <a:pt x="56665" y="83727"/>
                  </a:cubicBezTo>
                  <a:cubicBezTo>
                    <a:pt x="70857" y="76869"/>
                    <a:pt x="82573" y="64677"/>
                    <a:pt x="96003" y="56200"/>
                  </a:cubicBezTo>
                  <a:cubicBezTo>
                    <a:pt x="105528" y="50199"/>
                    <a:pt x="115053" y="47151"/>
                    <a:pt x="116577" y="34959"/>
                  </a:cubicBezTo>
                  <a:cubicBezTo>
                    <a:pt x="117720" y="27244"/>
                    <a:pt x="110100" y="-284"/>
                    <a:pt x="107433" y="2"/>
                  </a:cubicBezTo>
                  <a:close/>
                </a:path>
              </a:pathLst>
            </a:custGeom>
            <a:solidFill>
              <a:srgbClr val="38226D"/>
            </a:solidFill>
            <a:ln>
              <a:noFill/>
            </a:ln>
          </p:spPr>
          <p:txBody>
            <a:bodyPr spcFirstLastPara="1" wrap="square" lIns="155459" tIns="77708" rIns="155459" bIns="77708"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3061" b="0" i="0" u="none" strike="noStrike" kern="0" cap="none" spc="0" normalizeH="0" baseline="0" noProof="0">
                <a:ln>
                  <a:noFill/>
                </a:ln>
                <a:solidFill>
                  <a:srgbClr val="000000"/>
                </a:solidFill>
                <a:effectLst/>
                <a:uLnTx/>
                <a:uFillTx/>
                <a:latin typeface="Montserrat" pitchFamily="2" charset="77"/>
                <a:ea typeface="Calibri"/>
                <a:cs typeface="Calibri"/>
                <a:sym typeface="Calibri"/>
              </a:endParaRPr>
            </a:p>
          </p:txBody>
        </p:sp>
        <p:sp>
          <p:nvSpPr>
            <p:cNvPr id="54" name="Google Shape;255;p12">
              <a:extLst>
                <a:ext uri="{FF2B5EF4-FFF2-40B4-BE49-F238E27FC236}">
                  <a16:creationId xmlns:a16="http://schemas.microsoft.com/office/drawing/2014/main" id="{99B82DD4-5A16-B943-B1D0-19C53B4836B8}"/>
                </a:ext>
              </a:extLst>
            </p:cNvPr>
            <p:cNvSpPr/>
            <p:nvPr/>
          </p:nvSpPr>
          <p:spPr>
            <a:xfrm>
              <a:off x="9747490" y="2359223"/>
              <a:ext cx="123865" cy="64608"/>
            </a:xfrm>
            <a:custGeom>
              <a:avLst/>
              <a:gdLst/>
              <a:ahLst/>
              <a:cxnLst/>
              <a:rect l="l" t="t" r="r" b="b"/>
              <a:pathLst>
                <a:path w="116196" h="60608" extrusionOk="0">
                  <a:moveTo>
                    <a:pt x="115919" y="0"/>
                  </a:moveTo>
                  <a:cubicBezTo>
                    <a:pt x="114110" y="11621"/>
                    <a:pt x="104775" y="14764"/>
                    <a:pt x="95250" y="20765"/>
                  </a:cubicBezTo>
                  <a:cubicBezTo>
                    <a:pt x="81534" y="29242"/>
                    <a:pt x="69437" y="41529"/>
                    <a:pt x="55245" y="48673"/>
                  </a:cubicBezTo>
                  <a:cubicBezTo>
                    <a:pt x="41053" y="55817"/>
                    <a:pt x="9239" y="62008"/>
                    <a:pt x="0" y="45149"/>
                  </a:cubicBezTo>
                  <a:cubicBezTo>
                    <a:pt x="5048" y="67913"/>
                    <a:pt x="42101" y="60770"/>
                    <a:pt x="56198" y="53626"/>
                  </a:cubicBezTo>
                  <a:cubicBezTo>
                    <a:pt x="70295" y="46482"/>
                    <a:pt x="82106" y="34576"/>
                    <a:pt x="95536" y="26099"/>
                  </a:cubicBezTo>
                  <a:cubicBezTo>
                    <a:pt x="105061" y="20098"/>
                    <a:pt x="114586" y="17050"/>
                    <a:pt x="116110" y="4858"/>
                  </a:cubicBezTo>
                  <a:cubicBezTo>
                    <a:pt x="116272" y="3239"/>
                    <a:pt x="116205" y="1600"/>
                    <a:pt x="115919" y="0"/>
                  </a:cubicBezTo>
                  <a:close/>
                </a:path>
              </a:pathLst>
            </a:custGeom>
            <a:solidFill>
              <a:srgbClr val="757B89"/>
            </a:solidFill>
            <a:ln>
              <a:noFill/>
            </a:ln>
          </p:spPr>
          <p:txBody>
            <a:bodyPr spcFirstLastPara="1" wrap="square" lIns="155459" tIns="77708" rIns="155459" bIns="77708"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3061" b="0" i="0" u="none" strike="noStrike" kern="0" cap="none" spc="0" normalizeH="0" baseline="0" noProof="0">
                <a:ln>
                  <a:noFill/>
                </a:ln>
                <a:solidFill>
                  <a:srgbClr val="000000"/>
                </a:solidFill>
                <a:effectLst/>
                <a:uLnTx/>
                <a:uFillTx/>
                <a:latin typeface="Montserrat" pitchFamily="2" charset="77"/>
                <a:ea typeface="Calibri"/>
                <a:cs typeface="Calibri"/>
                <a:sym typeface="Calibri"/>
              </a:endParaRPr>
            </a:p>
          </p:txBody>
        </p:sp>
        <p:sp>
          <p:nvSpPr>
            <p:cNvPr id="55" name="Google Shape;256;p12">
              <a:extLst>
                <a:ext uri="{FF2B5EF4-FFF2-40B4-BE49-F238E27FC236}">
                  <a16:creationId xmlns:a16="http://schemas.microsoft.com/office/drawing/2014/main" id="{4F54758F-0B8C-6340-ABC9-77C449EA4B54}"/>
                </a:ext>
              </a:extLst>
            </p:cNvPr>
            <p:cNvSpPr/>
            <p:nvPr/>
          </p:nvSpPr>
          <p:spPr>
            <a:xfrm>
              <a:off x="9597104" y="2240865"/>
              <a:ext cx="124365" cy="92813"/>
            </a:xfrm>
            <a:custGeom>
              <a:avLst/>
              <a:gdLst/>
              <a:ahLst/>
              <a:cxnLst/>
              <a:rect l="l" t="t" r="r" b="b"/>
              <a:pathLst>
                <a:path w="116665" h="87067" extrusionOk="0">
                  <a:moveTo>
                    <a:pt x="105833" y="64"/>
                  </a:moveTo>
                  <a:cubicBezTo>
                    <a:pt x="91831" y="11398"/>
                    <a:pt x="67733" y="-984"/>
                    <a:pt x="66305" y="64"/>
                  </a:cubicBezTo>
                  <a:cubicBezTo>
                    <a:pt x="51722" y="14780"/>
                    <a:pt x="36329" y="28677"/>
                    <a:pt x="20204" y="41688"/>
                  </a:cubicBezTo>
                  <a:cubicBezTo>
                    <a:pt x="11440" y="48546"/>
                    <a:pt x="-2180" y="57690"/>
                    <a:pt x="296" y="70930"/>
                  </a:cubicBezTo>
                  <a:cubicBezTo>
                    <a:pt x="4678" y="94456"/>
                    <a:pt x="42492" y="87217"/>
                    <a:pt x="56684" y="80455"/>
                  </a:cubicBezTo>
                  <a:cubicBezTo>
                    <a:pt x="70876" y="73692"/>
                    <a:pt x="82592" y="61405"/>
                    <a:pt x="96022" y="52927"/>
                  </a:cubicBezTo>
                  <a:cubicBezTo>
                    <a:pt x="105547" y="47022"/>
                    <a:pt x="115072" y="43879"/>
                    <a:pt x="116597" y="31782"/>
                  </a:cubicBezTo>
                  <a:cubicBezTo>
                    <a:pt x="117549" y="23495"/>
                    <a:pt x="108310" y="-698"/>
                    <a:pt x="105833" y="64"/>
                  </a:cubicBezTo>
                  <a:close/>
                </a:path>
              </a:pathLst>
            </a:custGeom>
            <a:solidFill>
              <a:srgbClr val="38226D"/>
            </a:solidFill>
            <a:ln>
              <a:noFill/>
            </a:ln>
          </p:spPr>
          <p:txBody>
            <a:bodyPr spcFirstLastPara="1" wrap="square" lIns="155459" tIns="77708" rIns="155459" bIns="77708"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3061" b="0" i="0" u="none" strike="noStrike" kern="0" cap="none" spc="0" normalizeH="0" baseline="0" noProof="0">
                <a:ln>
                  <a:noFill/>
                </a:ln>
                <a:solidFill>
                  <a:srgbClr val="000000"/>
                </a:solidFill>
                <a:effectLst/>
                <a:uLnTx/>
                <a:uFillTx/>
                <a:latin typeface="Montserrat" pitchFamily="2" charset="77"/>
                <a:ea typeface="Calibri"/>
                <a:cs typeface="Calibri"/>
                <a:sym typeface="Calibri"/>
              </a:endParaRPr>
            </a:p>
          </p:txBody>
        </p:sp>
        <p:sp>
          <p:nvSpPr>
            <p:cNvPr id="56" name="Google Shape;257;p12">
              <a:extLst>
                <a:ext uri="{FF2B5EF4-FFF2-40B4-BE49-F238E27FC236}">
                  <a16:creationId xmlns:a16="http://schemas.microsoft.com/office/drawing/2014/main" id="{57871867-D9D3-BE40-B8F7-A66A5803B82E}"/>
                </a:ext>
              </a:extLst>
            </p:cNvPr>
            <p:cNvSpPr/>
            <p:nvPr/>
          </p:nvSpPr>
          <p:spPr>
            <a:xfrm>
              <a:off x="9597419" y="2270277"/>
              <a:ext cx="123800" cy="64608"/>
            </a:xfrm>
            <a:custGeom>
              <a:avLst/>
              <a:gdLst/>
              <a:ahLst/>
              <a:cxnLst/>
              <a:rect l="l" t="t" r="r" b="b"/>
              <a:pathLst>
                <a:path w="116135" h="60608" extrusionOk="0">
                  <a:moveTo>
                    <a:pt x="115919" y="0"/>
                  </a:moveTo>
                  <a:cubicBezTo>
                    <a:pt x="114014" y="11621"/>
                    <a:pt x="104680" y="14764"/>
                    <a:pt x="95155" y="20765"/>
                  </a:cubicBezTo>
                  <a:cubicBezTo>
                    <a:pt x="81439" y="29242"/>
                    <a:pt x="69437" y="41529"/>
                    <a:pt x="55150" y="48673"/>
                  </a:cubicBezTo>
                  <a:cubicBezTo>
                    <a:pt x="40862" y="55817"/>
                    <a:pt x="9239" y="62008"/>
                    <a:pt x="0" y="45149"/>
                  </a:cubicBezTo>
                  <a:cubicBezTo>
                    <a:pt x="4953" y="67913"/>
                    <a:pt x="42101" y="60770"/>
                    <a:pt x="56198" y="53626"/>
                  </a:cubicBezTo>
                  <a:cubicBezTo>
                    <a:pt x="70295" y="46482"/>
                    <a:pt x="82010" y="34576"/>
                    <a:pt x="95536" y="26099"/>
                  </a:cubicBezTo>
                  <a:cubicBezTo>
                    <a:pt x="105061" y="20098"/>
                    <a:pt x="114586" y="17050"/>
                    <a:pt x="116110" y="4858"/>
                  </a:cubicBezTo>
                  <a:cubicBezTo>
                    <a:pt x="116177" y="3238"/>
                    <a:pt x="116110" y="1610"/>
                    <a:pt x="115919" y="0"/>
                  </a:cubicBezTo>
                  <a:close/>
                </a:path>
              </a:pathLst>
            </a:custGeom>
            <a:solidFill>
              <a:srgbClr val="757B89"/>
            </a:solidFill>
            <a:ln>
              <a:noFill/>
            </a:ln>
          </p:spPr>
          <p:txBody>
            <a:bodyPr spcFirstLastPara="1" wrap="square" lIns="155459" tIns="77708" rIns="155459" bIns="77708"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3061" b="0" i="0" u="none" strike="noStrike" kern="0" cap="none" spc="0" normalizeH="0" baseline="0" noProof="0">
                <a:ln>
                  <a:noFill/>
                </a:ln>
                <a:solidFill>
                  <a:srgbClr val="000000"/>
                </a:solidFill>
                <a:effectLst/>
                <a:uLnTx/>
                <a:uFillTx/>
                <a:latin typeface="Montserrat" pitchFamily="2" charset="77"/>
                <a:ea typeface="Calibri"/>
                <a:cs typeface="Calibri"/>
                <a:sym typeface="Calibri"/>
              </a:endParaRPr>
            </a:p>
          </p:txBody>
        </p:sp>
        <p:sp>
          <p:nvSpPr>
            <p:cNvPr id="57" name="Google Shape;258;p12">
              <a:extLst>
                <a:ext uri="{FF2B5EF4-FFF2-40B4-BE49-F238E27FC236}">
                  <a16:creationId xmlns:a16="http://schemas.microsoft.com/office/drawing/2014/main" id="{97AF16C4-98F4-C847-B92A-D0E7AB836214}"/>
                </a:ext>
              </a:extLst>
            </p:cNvPr>
            <p:cNvSpPr/>
            <p:nvPr/>
          </p:nvSpPr>
          <p:spPr>
            <a:xfrm>
              <a:off x="9628339" y="1813846"/>
              <a:ext cx="435600" cy="526591"/>
            </a:xfrm>
            <a:custGeom>
              <a:avLst/>
              <a:gdLst/>
              <a:ahLst/>
              <a:cxnLst/>
              <a:rect l="l" t="t" r="r" b="b"/>
              <a:pathLst>
                <a:path w="408631" h="493987" extrusionOk="0">
                  <a:moveTo>
                    <a:pt x="405429" y="33455"/>
                  </a:moveTo>
                  <a:cubicBezTo>
                    <a:pt x="420955" y="130325"/>
                    <a:pt x="377902" y="166805"/>
                    <a:pt x="321990" y="187094"/>
                  </a:cubicBezTo>
                  <a:cubicBezTo>
                    <a:pt x="281890" y="201857"/>
                    <a:pt x="224264" y="224622"/>
                    <a:pt x="224264" y="224622"/>
                  </a:cubicBezTo>
                  <a:cubicBezTo>
                    <a:pt x="224264" y="224622"/>
                    <a:pt x="225121" y="245863"/>
                    <a:pt x="225502" y="293583"/>
                  </a:cubicBezTo>
                  <a:cubicBezTo>
                    <a:pt x="225978" y="335588"/>
                    <a:pt x="220359" y="489036"/>
                    <a:pt x="220359" y="489036"/>
                  </a:cubicBezTo>
                  <a:cubicBezTo>
                    <a:pt x="206862" y="495799"/>
                    <a:pt x="190936" y="495627"/>
                    <a:pt x="177591" y="488560"/>
                  </a:cubicBezTo>
                  <a:cubicBezTo>
                    <a:pt x="177591" y="488560"/>
                    <a:pt x="155017" y="371021"/>
                    <a:pt x="150255" y="318062"/>
                  </a:cubicBezTo>
                  <a:cubicBezTo>
                    <a:pt x="143778" y="246149"/>
                    <a:pt x="132729" y="199095"/>
                    <a:pt x="136348" y="183665"/>
                  </a:cubicBezTo>
                  <a:cubicBezTo>
                    <a:pt x="139587" y="170044"/>
                    <a:pt x="218168" y="131372"/>
                    <a:pt x="243123" y="110703"/>
                  </a:cubicBezTo>
                  <a:lnTo>
                    <a:pt x="78531" y="165853"/>
                  </a:lnTo>
                  <a:cubicBezTo>
                    <a:pt x="81789" y="183703"/>
                    <a:pt x="83380" y="201810"/>
                    <a:pt x="83294" y="219955"/>
                  </a:cubicBezTo>
                  <a:cubicBezTo>
                    <a:pt x="81770" y="277105"/>
                    <a:pt x="78627" y="400453"/>
                    <a:pt x="78627" y="400453"/>
                  </a:cubicBezTo>
                  <a:cubicBezTo>
                    <a:pt x="78627" y="400453"/>
                    <a:pt x="56053" y="416741"/>
                    <a:pt x="36812" y="400453"/>
                  </a:cubicBezTo>
                  <a:cubicBezTo>
                    <a:pt x="36812" y="400453"/>
                    <a:pt x="-4622" y="156137"/>
                    <a:pt x="427" y="124229"/>
                  </a:cubicBezTo>
                  <a:cubicBezTo>
                    <a:pt x="5189" y="93558"/>
                    <a:pt x="150255" y="30788"/>
                    <a:pt x="175782" y="9167"/>
                  </a:cubicBezTo>
                  <a:cubicBezTo>
                    <a:pt x="184802" y="1843"/>
                    <a:pt x="196499" y="-1308"/>
                    <a:pt x="207976" y="499"/>
                  </a:cubicBezTo>
                  <a:close/>
                </a:path>
              </a:pathLst>
            </a:custGeom>
            <a:solidFill>
              <a:schemeClr val="accent1"/>
            </a:solidFill>
            <a:ln>
              <a:noFill/>
            </a:ln>
          </p:spPr>
          <p:txBody>
            <a:bodyPr spcFirstLastPara="1" wrap="square" lIns="155459" tIns="77708" rIns="155459" bIns="77708"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3061" b="0" i="0" u="none" strike="noStrike" kern="0" cap="none" spc="0" normalizeH="0" baseline="0" noProof="0">
                <a:ln>
                  <a:noFill/>
                </a:ln>
                <a:solidFill>
                  <a:srgbClr val="000000"/>
                </a:solidFill>
                <a:effectLst/>
                <a:uLnTx/>
                <a:uFillTx/>
                <a:latin typeface="Montserrat" pitchFamily="2" charset="77"/>
                <a:ea typeface="Calibri"/>
                <a:cs typeface="Calibri"/>
                <a:sym typeface="Calibri"/>
              </a:endParaRPr>
            </a:p>
          </p:txBody>
        </p:sp>
        <p:sp>
          <p:nvSpPr>
            <p:cNvPr id="58" name="Google Shape;259;p12">
              <a:extLst>
                <a:ext uri="{FF2B5EF4-FFF2-40B4-BE49-F238E27FC236}">
                  <a16:creationId xmlns:a16="http://schemas.microsoft.com/office/drawing/2014/main" id="{B5CC3D10-0E4F-8B4B-BFB7-0E3AFC5F8E07}"/>
                </a:ext>
              </a:extLst>
            </p:cNvPr>
            <p:cNvSpPr/>
            <p:nvPr/>
          </p:nvSpPr>
          <p:spPr>
            <a:xfrm>
              <a:off x="9890538" y="1460726"/>
              <a:ext cx="137041" cy="133329"/>
            </a:xfrm>
            <a:custGeom>
              <a:avLst/>
              <a:gdLst/>
              <a:ahLst/>
              <a:cxnLst/>
              <a:rect l="l" t="t" r="r" b="b"/>
              <a:pathLst>
                <a:path w="128556" h="125075" extrusionOk="0">
                  <a:moveTo>
                    <a:pt x="102220" y="0"/>
                  </a:moveTo>
                  <a:cubicBezTo>
                    <a:pt x="102220" y="0"/>
                    <a:pt x="99838" y="46196"/>
                    <a:pt x="100886" y="50292"/>
                  </a:cubicBezTo>
                  <a:cubicBezTo>
                    <a:pt x="101934" y="54388"/>
                    <a:pt x="122032" y="67913"/>
                    <a:pt x="127937" y="72676"/>
                  </a:cubicBezTo>
                  <a:cubicBezTo>
                    <a:pt x="133843" y="77438"/>
                    <a:pt x="96029" y="114776"/>
                    <a:pt x="77645" y="123253"/>
                  </a:cubicBezTo>
                  <a:cubicBezTo>
                    <a:pt x="59262" y="131731"/>
                    <a:pt x="1445" y="109442"/>
                    <a:pt x="112" y="80867"/>
                  </a:cubicBezTo>
                  <a:cubicBezTo>
                    <a:pt x="-1222" y="52292"/>
                    <a:pt x="9637" y="28289"/>
                    <a:pt x="19162" y="27051"/>
                  </a:cubicBezTo>
                  <a:cubicBezTo>
                    <a:pt x="28687" y="25813"/>
                    <a:pt x="102220" y="0"/>
                    <a:pt x="102220" y="0"/>
                  </a:cubicBezTo>
                  <a:close/>
                </a:path>
              </a:pathLst>
            </a:custGeom>
            <a:solidFill>
              <a:srgbClr val="FFCEA9"/>
            </a:solidFill>
            <a:ln>
              <a:noFill/>
            </a:ln>
          </p:spPr>
          <p:txBody>
            <a:bodyPr spcFirstLastPara="1" wrap="square" lIns="155459" tIns="77708" rIns="155459" bIns="77708"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3061" b="0" i="0" u="none" strike="noStrike" kern="0" cap="none" spc="0" normalizeH="0" baseline="0" noProof="0">
                <a:ln>
                  <a:noFill/>
                </a:ln>
                <a:solidFill>
                  <a:srgbClr val="000000"/>
                </a:solidFill>
                <a:effectLst/>
                <a:uLnTx/>
                <a:uFillTx/>
                <a:latin typeface="Montserrat" pitchFamily="2" charset="77"/>
                <a:ea typeface="Calibri"/>
                <a:cs typeface="Calibri"/>
                <a:sym typeface="Calibri"/>
              </a:endParaRPr>
            </a:p>
          </p:txBody>
        </p:sp>
        <p:sp>
          <p:nvSpPr>
            <p:cNvPr id="59" name="Google Shape;260;p12">
              <a:extLst>
                <a:ext uri="{FF2B5EF4-FFF2-40B4-BE49-F238E27FC236}">
                  <a16:creationId xmlns:a16="http://schemas.microsoft.com/office/drawing/2014/main" id="{DA89613D-A253-BF49-B8C6-F07C25CBC59F}"/>
                </a:ext>
              </a:extLst>
            </p:cNvPr>
            <p:cNvSpPr/>
            <p:nvPr/>
          </p:nvSpPr>
          <p:spPr>
            <a:xfrm>
              <a:off x="9842294" y="1479409"/>
              <a:ext cx="222367" cy="434017"/>
            </a:xfrm>
            <a:custGeom>
              <a:avLst/>
              <a:gdLst/>
              <a:ahLst/>
              <a:cxnLst/>
              <a:rect l="l" t="t" r="r" b="b"/>
              <a:pathLst>
                <a:path w="208599" h="407146" extrusionOk="0">
                  <a:moveTo>
                    <a:pt x="152620" y="40673"/>
                  </a:moveTo>
                  <a:cubicBezTo>
                    <a:pt x="152620" y="40673"/>
                    <a:pt x="119187" y="90584"/>
                    <a:pt x="72419" y="95251"/>
                  </a:cubicBezTo>
                  <a:cubicBezTo>
                    <a:pt x="57751" y="80773"/>
                    <a:pt x="56417" y="28576"/>
                    <a:pt x="76801" y="12574"/>
                  </a:cubicBezTo>
                  <a:cubicBezTo>
                    <a:pt x="76801" y="12574"/>
                    <a:pt x="57751" y="-2571"/>
                    <a:pt x="45178" y="382"/>
                  </a:cubicBezTo>
                  <a:cubicBezTo>
                    <a:pt x="31481" y="8783"/>
                    <a:pt x="21327" y="21888"/>
                    <a:pt x="16603" y="37244"/>
                  </a:cubicBezTo>
                  <a:cubicBezTo>
                    <a:pt x="4658" y="71536"/>
                    <a:pt x="-923" y="107721"/>
                    <a:pt x="124" y="144019"/>
                  </a:cubicBezTo>
                  <a:cubicBezTo>
                    <a:pt x="886" y="192977"/>
                    <a:pt x="124" y="316707"/>
                    <a:pt x="124" y="316707"/>
                  </a:cubicBezTo>
                  <a:cubicBezTo>
                    <a:pt x="5620" y="346271"/>
                    <a:pt x="23556" y="372047"/>
                    <a:pt x="49369" y="387478"/>
                  </a:cubicBezTo>
                  <a:cubicBezTo>
                    <a:pt x="83068" y="406490"/>
                    <a:pt x="122740" y="411976"/>
                    <a:pt x="160335" y="402813"/>
                  </a:cubicBezTo>
                  <a:cubicBezTo>
                    <a:pt x="183957" y="397289"/>
                    <a:pt x="192720" y="383763"/>
                    <a:pt x="200911" y="366904"/>
                  </a:cubicBezTo>
                  <a:cubicBezTo>
                    <a:pt x="198816" y="332614"/>
                    <a:pt x="185195" y="262129"/>
                    <a:pt x="190910" y="218790"/>
                  </a:cubicBezTo>
                  <a:cubicBezTo>
                    <a:pt x="196625" y="175451"/>
                    <a:pt x="205769" y="143447"/>
                    <a:pt x="208150" y="108586"/>
                  </a:cubicBezTo>
                  <a:cubicBezTo>
                    <a:pt x="210532" y="73724"/>
                    <a:pt x="203483" y="74391"/>
                    <a:pt x="186052" y="62009"/>
                  </a:cubicBezTo>
                  <a:cubicBezTo>
                    <a:pt x="175442" y="54092"/>
                    <a:pt x="164269" y="46962"/>
                    <a:pt x="152620" y="40673"/>
                  </a:cubicBezTo>
                  <a:close/>
                </a:path>
              </a:pathLst>
            </a:custGeom>
            <a:solidFill>
              <a:srgbClr val="F4F4F4"/>
            </a:solidFill>
            <a:ln>
              <a:noFill/>
            </a:ln>
          </p:spPr>
          <p:txBody>
            <a:bodyPr spcFirstLastPara="1" wrap="square" lIns="155459" tIns="77708" rIns="155459" bIns="77708"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3061" b="0" i="0" u="none" strike="noStrike" kern="0" cap="none" spc="0" normalizeH="0" baseline="0" noProof="0">
                <a:ln>
                  <a:noFill/>
                </a:ln>
                <a:solidFill>
                  <a:srgbClr val="000000"/>
                </a:solidFill>
                <a:effectLst/>
                <a:uLnTx/>
                <a:uFillTx/>
                <a:latin typeface="Montserrat" pitchFamily="2" charset="77"/>
                <a:ea typeface="Calibri"/>
                <a:cs typeface="Calibri"/>
                <a:sym typeface="Calibri"/>
              </a:endParaRPr>
            </a:p>
          </p:txBody>
        </p:sp>
        <p:sp>
          <p:nvSpPr>
            <p:cNvPr id="60" name="Google Shape;261;p12">
              <a:extLst>
                <a:ext uri="{FF2B5EF4-FFF2-40B4-BE49-F238E27FC236}">
                  <a16:creationId xmlns:a16="http://schemas.microsoft.com/office/drawing/2014/main" id="{2E8FA6B9-919E-FA43-9128-C725290F5F21}"/>
                </a:ext>
              </a:extLst>
            </p:cNvPr>
            <p:cNvSpPr/>
            <p:nvPr/>
          </p:nvSpPr>
          <p:spPr>
            <a:xfrm>
              <a:off x="9885063" y="1322425"/>
              <a:ext cx="147680" cy="179819"/>
            </a:xfrm>
            <a:custGeom>
              <a:avLst/>
              <a:gdLst/>
              <a:ahLst/>
              <a:cxnLst/>
              <a:rect l="l" t="t" r="r" b="b"/>
              <a:pathLst>
                <a:path w="138537" h="168686" extrusionOk="0">
                  <a:moveTo>
                    <a:pt x="2962" y="60969"/>
                  </a:moveTo>
                  <a:lnTo>
                    <a:pt x="2962" y="60969"/>
                  </a:lnTo>
                  <a:cubicBezTo>
                    <a:pt x="8486" y="25155"/>
                    <a:pt x="34204" y="-1896"/>
                    <a:pt x="71161" y="104"/>
                  </a:cubicBezTo>
                  <a:cubicBezTo>
                    <a:pt x="110299" y="2083"/>
                    <a:pt x="140427" y="35416"/>
                    <a:pt x="138445" y="74557"/>
                  </a:cubicBezTo>
                  <a:cubicBezTo>
                    <a:pt x="137321" y="96813"/>
                    <a:pt x="125806" y="117248"/>
                    <a:pt x="107356" y="129739"/>
                  </a:cubicBezTo>
                  <a:cubicBezTo>
                    <a:pt x="106032" y="135172"/>
                    <a:pt x="104117" y="140443"/>
                    <a:pt x="101641" y="145456"/>
                  </a:cubicBezTo>
                  <a:cubicBezTo>
                    <a:pt x="88592" y="160696"/>
                    <a:pt x="49063" y="170125"/>
                    <a:pt x="37728" y="168506"/>
                  </a:cubicBezTo>
                  <a:cubicBezTo>
                    <a:pt x="23907" y="167251"/>
                    <a:pt x="12249" y="157706"/>
                    <a:pt x="8296" y="144408"/>
                  </a:cubicBezTo>
                  <a:cubicBezTo>
                    <a:pt x="-3610" y="116309"/>
                    <a:pt x="-86" y="78685"/>
                    <a:pt x="2962" y="60969"/>
                  </a:cubicBezTo>
                  <a:close/>
                </a:path>
              </a:pathLst>
            </a:custGeom>
            <a:solidFill>
              <a:srgbClr val="FFCEA9"/>
            </a:solidFill>
            <a:ln>
              <a:noFill/>
            </a:ln>
          </p:spPr>
          <p:txBody>
            <a:bodyPr spcFirstLastPara="1" wrap="square" lIns="155459" tIns="77708" rIns="155459" bIns="77708"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3061" b="0" i="0" u="none" strike="noStrike" kern="0" cap="none" spc="0" normalizeH="0" baseline="0" noProof="0">
                <a:ln>
                  <a:noFill/>
                </a:ln>
                <a:solidFill>
                  <a:srgbClr val="000000"/>
                </a:solidFill>
                <a:effectLst/>
                <a:uLnTx/>
                <a:uFillTx/>
                <a:latin typeface="Montserrat" pitchFamily="2" charset="77"/>
                <a:ea typeface="Calibri"/>
                <a:cs typeface="Calibri"/>
                <a:sym typeface="Calibri"/>
              </a:endParaRPr>
            </a:p>
          </p:txBody>
        </p:sp>
        <p:sp>
          <p:nvSpPr>
            <p:cNvPr id="61" name="Google Shape;262;p12">
              <a:extLst>
                <a:ext uri="{FF2B5EF4-FFF2-40B4-BE49-F238E27FC236}">
                  <a16:creationId xmlns:a16="http://schemas.microsoft.com/office/drawing/2014/main" id="{41CFD916-AD3C-BA43-A166-E7668AF94B53}"/>
                </a:ext>
              </a:extLst>
            </p:cNvPr>
            <p:cNvSpPr/>
            <p:nvPr/>
          </p:nvSpPr>
          <p:spPr>
            <a:xfrm>
              <a:off x="9890580" y="1306710"/>
              <a:ext cx="155848" cy="154016"/>
            </a:xfrm>
            <a:custGeom>
              <a:avLst/>
              <a:gdLst/>
              <a:ahLst/>
              <a:cxnLst/>
              <a:rect l="l" t="t" r="r" b="b"/>
              <a:pathLst>
                <a:path w="146199" h="144480" extrusionOk="0">
                  <a:moveTo>
                    <a:pt x="102179" y="144481"/>
                  </a:moveTo>
                  <a:lnTo>
                    <a:pt x="102179" y="144481"/>
                  </a:lnTo>
                  <a:lnTo>
                    <a:pt x="98750" y="113239"/>
                  </a:lnTo>
                  <a:cubicBezTo>
                    <a:pt x="98750" y="113239"/>
                    <a:pt x="124277" y="47135"/>
                    <a:pt x="63984" y="59899"/>
                  </a:cubicBezTo>
                  <a:cubicBezTo>
                    <a:pt x="24169" y="68281"/>
                    <a:pt x="14168" y="71900"/>
                    <a:pt x="2072" y="45135"/>
                  </a:cubicBezTo>
                  <a:cubicBezTo>
                    <a:pt x="-10025" y="18370"/>
                    <a:pt x="32647" y="-5538"/>
                    <a:pt x="83415" y="1129"/>
                  </a:cubicBezTo>
                  <a:cubicBezTo>
                    <a:pt x="119648" y="4934"/>
                    <a:pt x="146928" y="35857"/>
                    <a:pt x="146185" y="72281"/>
                  </a:cubicBezTo>
                  <a:cubicBezTo>
                    <a:pt x="144851" y="91903"/>
                    <a:pt x="139612" y="131717"/>
                    <a:pt x="102179" y="144481"/>
                  </a:cubicBezTo>
                  <a:close/>
                </a:path>
              </a:pathLst>
            </a:custGeom>
            <a:solidFill>
              <a:srgbClr val="3A2C6D"/>
            </a:solidFill>
            <a:ln>
              <a:noFill/>
            </a:ln>
          </p:spPr>
          <p:txBody>
            <a:bodyPr spcFirstLastPara="1" wrap="square" lIns="155459" tIns="77708" rIns="155459" bIns="77708"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3061" b="0" i="0" u="none" strike="noStrike" kern="0" cap="none" spc="0" normalizeH="0" baseline="0" noProof="0">
                <a:ln>
                  <a:noFill/>
                </a:ln>
                <a:solidFill>
                  <a:srgbClr val="000000"/>
                </a:solidFill>
                <a:effectLst/>
                <a:uLnTx/>
                <a:uFillTx/>
                <a:latin typeface="Montserrat" pitchFamily="2" charset="77"/>
                <a:ea typeface="Calibri"/>
                <a:cs typeface="Calibri"/>
                <a:sym typeface="Calibri"/>
              </a:endParaRPr>
            </a:p>
          </p:txBody>
        </p:sp>
        <p:sp>
          <p:nvSpPr>
            <p:cNvPr id="62" name="Google Shape;263;p12">
              <a:extLst>
                <a:ext uri="{FF2B5EF4-FFF2-40B4-BE49-F238E27FC236}">
                  <a16:creationId xmlns:a16="http://schemas.microsoft.com/office/drawing/2014/main" id="{96E53DE5-643D-2942-9B60-E266DA5593C6}"/>
                </a:ext>
              </a:extLst>
            </p:cNvPr>
            <p:cNvSpPr/>
            <p:nvPr/>
          </p:nvSpPr>
          <p:spPr>
            <a:xfrm>
              <a:off x="9818667" y="1479816"/>
              <a:ext cx="71785" cy="104481"/>
            </a:xfrm>
            <a:custGeom>
              <a:avLst/>
              <a:gdLst/>
              <a:ahLst/>
              <a:cxnLst/>
              <a:rect l="l" t="t" r="r" b="b"/>
              <a:pathLst>
                <a:path w="67341" h="98012" extrusionOk="0">
                  <a:moveTo>
                    <a:pt x="24289" y="98012"/>
                  </a:moveTo>
                  <a:cubicBezTo>
                    <a:pt x="15097" y="97573"/>
                    <a:pt x="6410" y="93657"/>
                    <a:pt x="0" y="87058"/>
                  </a:cubicBezTo>
                  <a:cubicBezTo>
                    <a:pt x="1334" y="70009"/>
                    <a:pt x="23241" y="4858"/>
                    <a:pt x="67342" y="0"/>
                  </a:cubicBezTo>
                  <a:cubicBezTo>
                    <a:pt x="55350" y="8451"/>
                    <a:pt x="45844" y="19962"/>
                    <a:pt x="39814" y="33338"/>
                  </a:cubicBezTo>
                  <a:cubicBezTo>
                    <a:pt x="32994" y="54469"/>
                    <a:pt x="27813" y="76090"/>
                    <a:pt x="24289" y="98012"/>
                  </a:cubicBezTo>
                  <a:close/>
                </a:path>
              </a:pathLst>
            </a:custGeom>
            <a:solidFill>
              <a:srgbClr val="EDEDED"/>
            </a:solidFill>
            <a:ln>
              <a:noFill/>
            </a:ln>
          </p:spPr>
          <p:txBody>
            <a:bodyPr spcFirstLastPara="1" wrap="square" lIns="155459" tIns="77708" rIns="155459" bIns="77708"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3061" b="0" i="0" u="none" strike="noStrike" kern="0" cap="none" spc="0" normalizeH="0" baseline="0" noProof="0">
                <a:ln>
                  <a:noFill/>
                </a:ln>
                <a:solidFill>
                  <a:srgbClr val="000000"/>
                </a:solidFill>
                <a:effectLst/>
                <a:uLnTx/>
                <a:uFillTx/>
                <a:latin typeface="Montserrat" pitchFamily="2" charset="77"/>
                <a:ea typeface="Calibri"/>
                <a:cs typeface="Calibri"/>
                <a:sym typeface="Calibri"/>
              </a:endParaRPr>
            </a:p>
          </p:txBody>
        </p:sp>
        <p:grpSp>
          <p:nvGrpSpPr>
            <p:cNvPr id="63" name="Google Shape;295;p12">
              <a:extLst>
                <a:ext uri="{FF2B5EF4-FFF2-40B4-BE49-F238E27FC236}">
                  <a16:creationId xmlns:a16="http://schemas.microsoft.com/office/drawing/2014/main" id="{1244A95A-EE28-DC46-A435-A5D65C7BDF7B}"/>
                </a:ext>
              </a:extLst>
            </p:cNvPr>
            <p:cNvGrpSpPr/>
            <p:nvPr/>
          </p:nvGrpSpPr>
          <p:grpSpPr>
            <a:xfrm>
              <a:off x="9613818" y="1752300"/>
              <a:ext cx="352733" cy="267337"/>
              <a:chOff x="6621095" y="1452181"/>
              <a:chExt cx="330894" cy="250785"/>
            </a:xfrm>
          </p:grpSpPr>
          <p:sp>
            <p:nvSpPr>
              <p:cNvPr id="66" name="Google Shape;296;p12">
                <a:extLst>
                  <a:ext uri="{FF2B5EF4-FFF2-40B4-BE49-F238E27FC236}">
                    <a16:creationId xmlns:a16="http://schemas.microsoft.com/office/drawing/2014/main" id="{A67B7825-6EFE-E04B-838A-97DDBB3ED23E}"/>
                  </a:ext>
                </a:extLst>
              </p:cNvPr>
              <p:cNvSpPr/>
              <p:nvPr/>
            </p:nvSpPr>
            <p:spPr>
              <a:xfrm>
                <a:off x="6648789" y="1521520"/>
                <a:ext cx="303199" cy="174500"/>
              </a:xfrm>
              <a:custGeom>
                <a:avLst/>
                <a:gdLst/>
                <a:ahLst/>
                <a:cxnLst/>
                <a:rect l="l" t="t" r="r" b="b"/>
                <a:pathLst>
                  <a:path w="303199" h="174500" extrusionOk="0">
                    <a:moveTo>
                      <a:pt x="0" y="63249"/>
                    </a:moveTo>
                    <a:lnTo>
                      <a:pt x="107878" y="860"/>
                    </a:lnTo>
                    <a:cubicBezTo>
                      <a:pt x="109779" y="-287"/>
                      <a:pt x="112155" y="-287"/>
                      <a:pt x="114056" y="860"/>
                    </a:cubicBezTo>
                    <a:lnTo>
                      <a:pt x="303200" y="110302"/>
                    </a:lnTo>
                    <a:lnTo>
                      <a:pt x="192280" y="174501"/>
                    </a:lnTo>
                    <a:close/>
                  </a:path>
                </a:pathLst>
              </a:custGeom>
              <a:solidFill>
                <a:srgbClr val="F4F4F4"/>
              </a:solidFill>
              <a:ln>
                <a:noFill/>
              </a:ln>
            </p:spPr>
            <p:txBody>
              <a:bodyPr spcFirstLastPara="1" wrap="square" lIns="155459" tIns="77708" rIns="155459" bIns="77708"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3061" b="0" i="0" u="none" strike="noStrike" kern="0" cap="none" spc="0" normalizeH="0" baseline="0" noProof="0">
                  <a:ln>
                    <a:noFill/>
                  </a:ln>
                  <a:solidFill>
                    <a:srgbClr val="000000"/>
                  </a:solidFill>
                  <a:effectLst/>
                  <a:uLnTx/>
                  <a:uFillTx/>
                  <a:latin typeface="Montserrat" pitchFamily="2" charset="77"/>
                  <a:ea typeface="Calibri"/>
                  <a:cs typeface="Calibri"/>
                  <a:sym typeface="Calibri"/>
                </a:endParaRPr>
              </a:p>
            </p:txBody>
          </p:sp>
          <p:sp>
            <p:nvSpPr>
              <p:cNvPr id="67" name="Google Shape;297;p12">
                <a:extLst>
                  <a:ext uri="{FF2B5EF4-FFF2-40B4-BE49-F238E27FC236}">
                    <a16:creationId xmlns:a16="http://schemas.microsoft.com/office/drawing/2014/main" id="{0A08525B-A96A-3A43-9682-8DC0E4F85A47}"/>
                  </a:ext>
                </a:extLst>
              </p:cNvPr>
              <p:cNvSpPr/>
              <p:nvPr/>
            </p:nvSpPr>
            <p:spPr>
              <a:xfrm>
                <a:off x="6790409" y="1564671"/>
                <a:ext cx="79173" cy="45815"/>
              </a:xfrm>
              <a:custGeom>
                <a:avLst/>
                <a:gdLst/>
                <a:ahLst/>
                <a:cxnLst/>
                <a:rect l="l" t="t" r="r" b="b"/>
                <a:pathLst>
                  <a:path w="79173" h="45815" extrusionOk="0">
                    <a:moveTo>
                      <a:pt x="79174" y="29242"/>
                    </a:moveTo>
                    <a:lnTo>
                      <a:pt x="50660" y="45815"/>
                    </a:lnTo>
                    <a:lnTo>
                      <a:pt x="0" y="16478"/>
                    </a:lnTo>
                    <a:lnTo>
                      <a:pt x="28514" y="0"/>
                    </a:lnTo>
                    <a:lnTo>
                      <a:pt x="79174" y="29242"/>
                    </a:lnTo>
                    <a:close/>
                  </a:path>
                </a:pathLst>
              </a:custGeom>
              <a:solidFill>
                <a:srgbClr val="000000">
                  <a:alpha val="14900"/>
                </a:srgbClr>
              </a:solidFill>
              <a:ln>
                <a:noFill/>
              </a:ln>
            </p:spPr>
            <p:txBody>
              <a:bodyPr spcFirstLastPara="1" wrap="square" lIns="155459" tIns="77708" rIns="155459" bIns="77708"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3061" b="0" i="0" u="none" strike="noStrike" kern="0" cap="none" spc="0" normalizeH="0" baseline="0" noProof="0">
                  <a:ln>
                    <a:noFill/>
                  </a:ln>
                  <a:solidFill>
                    <a:srgbClr val="000000"/>
                  </a:solidFill>
                  <a:effectLst/>
                  <a:uLnTx/>
                  <a:uFillTx/>
                  <a:latin typeface="Montserrat" pitchFamily="2" charset="77"/>
                  <a:ea typeface="Calibri"/>
                  <a:cs typeface="Calibri"/>
                  <a:sym typeface="Calibri"/>
                </a:endParaRPr>
              </a:p>
            </p:txBody>
          </p:sp>
          <p:sp>
            <p:nvSpPr>
              <p:cNvPr id="68" name="Google Shape;298;p12">
                <a:extLst>
                  <a:ext uri="{FF2B5EF4-FFF2-40B4-BE49-F238E27FC236}">
                    <a16:creationId xmlns:a16="http://schemas.microsoft.com/office/drawing/2014/main" id="{233A0FCA-DE5D-4345-A9A7-9C43E267F396}"/>
                  </a:ext>
                </a:extLst>
              </p:cNvPr>
              <p:cNvSpPr/>
              <p:nvPr/>
            </p:nvSpPr>
            <p:spPr>
              <a:xfrm>
                <a:off x="6648780" y="1584674"/>
                <a:ext cx="303209" cy="118292"/>
              </a:xfrm>
              <a:custGeom>
                <a:avLst/>
                <a:gdLst/>
                <a:ahLst/>
                <a:cxnLst/>
                <a:rect l="l" t="t" r="r" b="b"/>
                <a:pathLst>
                  <a:path w="303209" h="118292" extrusionOk="0">
                    <a:moveTo>
                      <a:pt x="303209" y="47149"/>
                    </a:moveTo>
                    <a:lnTo>
                      <a:pt x="303209" y="49721"/>
                    </a:lnTo>
                    <a:cubicBezTo>
                      <a:pt x="303237" y="53440"/>
                      <a:pt x="301279" y="56892"/>
                      <a:pt x="298076" y="58769"/>
                    </a:cubicBezTo>
                    <a:lnTo>
                      <a:pt x="197517" y="116872"/>
                    </a:lnTo>
                    <a:cubicBezTo>
                      <a:pt x="194323" y="118766"/>
                      <a:pt x="190350" y="118766"/>
                      <a:pt x="187157" y="116872"/>
                    </a:cubicBezTo>
                    <a:lnTo>
                      <a:pt x="5237" y="12097"/>
                    </a:lnTo>
                    <a:cubicBezTo>
                      <a:pt x="1863" y="10147"/>
                      <a:pt x="-153" y="6475"/>
                      <a:pt x="9" y="2572"/>
                    </a:cubicBezTo>
                    <a:lnTo>
                      <a:pt x="9" y="0"/>
                    </a:lnTo>
                    <a:lnTo>
                      <a:pt x="192289" y="111252"/>
                    </a:lnTo>
                    <a:close/>
                  </a:path>
                </a:pathLst>
              </a:custGeom>
              <a:solidFill>
                <a:srgbClr val="E5E5E5"/>
              </a:solidFill>
              <a:ln>
                <a:noFill/>
              </a:ln>
            </p:spPr>
            <p:txBody>
              <a:bodyPr spcFirstLastPara="1" wrap="square" lIns="155459" tIns="77708" rIns="155459" bIns="77708"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3061" b="0" i="0" u="none" strike="noStrike" kern="0" cap="none" spc="0" normalizeH="0" baseline="0" noProof="0">
                  <a:ln>
                    <a:noFill/>
                  </a:ln>
                  <a:solidFill>
                    <a:srgbClr val="000000"/>
                  </a:solidFill>
                  <a:effectLst/>
                  <a:uLnTx/>
                  <a:uFillTx/>
                  <a:latin typeface="Montserrat" pitchFamily="2" charset="77"/>
                  <a:ea typeface="Calibri"/>
                  <a:cs typeface="Calibri"/>
                  <a:sym typeface="Calibri"/>
                </a:endParaRPr>
              </a:p>
            </p:txBody>
          </p:sp>
          <p:sp>
            <p:nvSpPr>
              <p:cNvPr id="69" name="Google Shape;299;p12">
                <a:extLst>
                  <a:ext uri="{FF2B5EF4-FFF2-40B4-BE49-F238E27FC236}">
                    <a16:creationId xmlns:a16="http://schemas.microsoft.com/office/drawing/2014/main" id="{C5EC783C-0624-5946-B5B8-85E852AAFE9A}"/>
                  </a:ext>
                </a:extLst>
              </p:cNvPr>
              <p:cNvSpPr/>
              <p:nvPr/>
            </p:nvSpPr>
            <p:spPr>
              <a:xfrm>
                <a:off x="6621095" y="1454086"/>
                <a:ext cx="217122" cy="244320"/>
              </a:xfrm>
              <a:custGeom>
                <a:avLst/>
                <a:gdLst/>
                <a:ahLst/>
                <a:cxnLst/>
                <a:rect l="l" t="t" r="r" b="b"/>
                <a:pathLst>
                  <a:path w="217122" h="244320" extrusionOk="0">
                    <a:moveTo>
                      <a:pt x="217123" y="243459"/>
                    </a:moveTo>
                    <a:cubicBezTo>
                      <a:pt x="213644" y="244834"/>
                      <a:pt x="209728" y="244552"/>
                      <a:pt x="206478" y="242697"/>
                    </a:cubicBezTo>
                    <a:lnTo>
                      <a:pt x="25888" y="137922"/>
                    </a:lnTo>
                    <a:cubicBezTo>
                      <a:pt x="22695" y="136081"/>
                      <a:pt x="20499" y="132899"/>
                      <a:pt x="19900" y="129254"/>
                    </a:cubicBezTo>
                    <a:lnTo>
                      <a:pt x="36" y="10763"/>
                    </a:lnTo>
                    <a:cubicBezTo>
                      <a:pt x="-12" y="10097"/>
                      <a:pt x="-12" y="9429"/>
                      <a:pt x="36" y="8763"/>
                    </a:cubicBezTo>
                    <a:cubicBezTo>
                      <a:pt x="26" y="5457"/>
                      <a:pt x="1366" y="2291"/>
                      <a:pt x="3743" y="0"/>
                    </a:cubicBezTo>
                    <a:lnTo>
                      <a:pt x="191935" y="108871"/>
                    </a:lnTo>
                    <a:cubicBezTo>
                      <a:pt x="194226" y="110281"/>
                      <a:pt x="195813" y="112601"/>
                      <a:pt x="196307" y="115252"/>
                    </a:cubicBezTo>
                    <a:close/>
                  </a:path>
                </a:pathLst>
              </a:custGeom>
              <a:solidFill>
                <a:srgbClr val="F4F4F4"/>
              </a:solidFill>
              <a:ln>
                <a:noFill/>
              </a:ln>
            </p:spPr>
            <p:txBody>
              <a:bodyPr spcFirstLastPara="1" wrap="square" lIns="155459" tIns="77708" rIns="155459" bIns="77708"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3061" b="0" i="0" u="none" strike="noStrike" kern="0" cap="none" spc="0" normalizeH="0" baseline="0" noProof="0">
                  <a:ln>
                    <a:noFill/>
                  </a:ln>
                  <a:solidFill>
                    <a:srgbClr val="000000"/>
                  </a:solidFill>
                  <a:effectLst/>
                  <a:uLnTx/>
                  <a:uFillTx/>
                  <a:latin typeface="Montserrat" pitchFamily="2" charset="77"/>
                  <a:ea typeface="Calibri"/>
                  <a:cs typeface="Calibri"/>
                  <a:sym typeface="Calibri"/>
                </a:endParaRPr>
              </a:p>
            </p:txBody>
          </p:sp>
          <p:sp>
            <p:nvSpPr>
              <p:cNvPr id="70" name="Google Shape;300;p12">
                <a:extLst>
                  <a:ext uri="{FF2B5EF4-FFF2-40B4-BE49-F238E27FC236}">
                    <a16:creationId xmlns:a16="http://schemas.microsoft.com/office/drawing/2014/main" id="{7F98EA58-21F2-E54E-9417-B84391BE3C9D}"/>
                  </a:ext>
                </a:extLst>
              </p:cNvPr>
              <p:cNvSpPr/>
              <p:nvPr/>
            </p:nvSpPr>
            <p:spPr>
              <a:xfrm>
                <a:off x="6624647" y="1452181"/>
                <a:ext cx="216421" cy="245364"/>
              </a:xfrm>
              <a:custGeom>
                <a:avLst/>
                <a:gdLst/>
                <a:ahLst/>
                <a:cxnLst/>
                <a:rect l="l" t="t" r="r" b="b"/>
                <a:pathLst>
                  <a:path w="216421" h="245364" extrusionOk="0">
                    <a:moveTo>
                      <a:pt x="216422" y="243840"/>
                    </a:moveTo>
                    <a:lnTo>
                      <a:pt x="215186" y="244602"/>
                    </a:lnTo>
                    <a:lnTo>
                      <a:pt x="213570" y="245364"/>
                    </a:lnTo>
                    <a:lnTo>
                      <a:pt x="192090" y="117157"/>
                    </a:lnTo>
                    <a:cubicBezTo>
                      <a:pt x="191596" y="114506"/>
                      <a:pt x="190008" y="112186"/>
                      <a:pt x="187718" y="110776"/>
                    </a:cubicBezTo>
                    <a:lnTo>
                      <a:pt x="0" y="1905"/>
                    </a:lnTo>
                    <a:cubicBezTo>
                      <a:pt x="694" y="1117"/>
                      <a:pt x="1530" y="471"/>
                      <a:pt x="2471" y="0"/>
                    </a:cubicBezTo>
                    <a:lnTo>
                      <a:pt x="191044" y="109061"/>
                    </a:lnTo>
                    <a:cubicBezTo>
                      <a:pt x="193373" y="110453"/>
                      <a:pt x="194998" y="112774"/>
                      <a:pt x="195512" y="115443"/>
                    </a:cubicBezTo>
                    <a:close/>
                  </a:path>
                </a:pathLst>
              </a:custGeom>
              <a:solidFill>
                <a:srgbClr val="E5E5E5"/>
              </a:solidFill>
              <a:ln>
                <a:noFill/>
              </a:ln>
            </p:spPr>
            <p:txBody>
              <a:bodyPr spcFirstLastPara="1" wrap="square" lIns="155459" tIns="77708" rIns="155459" bIns="77708"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3061" b="0" i="0" u="none" strike="noStrike" kern="0" cap="none" spc="0" normalizeH="0" baseline="0" noProof="0">
                  <a:ln>
                    <a:noFill/>
                  </a:ln>
                  <a:solidFill>
                    <a:srgbClr val="000000"/>
                  </a:solidFill>
                  <a:effectLst/>
                  <a:uLnTx/>
                  <a:uFillTx/>
                  <a:latin typeface="Montserrat" pitchFamily="2" charset="77"/>
                  <a:ea typeface="Calibri"/>
                  <a:cs typeface="Calibri"/>
                  <a:sym typeface="Calibri"/>
                </a:endParaRPr>
              </a:p>
            </p:txBody>
          </p:sp>
        </p:grpSp>
        <p:sp>
          <p:nvSpPr>
            <p:cNvPr id="64" name="Google Shape;301;p12">
              <a:extLst>
                <a:ext uri="{FF2B5EF4-FFF2-40B4-BE49-F238E27FC236}">
                  <a16:creationId xmlns:a16="http://schemas.microsoft.com/office/drawing/2014/main" id="{A37512BD-D536-094E-AD3A-B1D9240F8A69}"/>
                </a:ext>
              </a:extLst>
            </p:cNvPr>
            <p:cNvSpPr/>
            <p:nvPr/>
          </p:nvSpPr>
          <p:spPr>
            <a:xfrm>
              <a:off x="9934712" y="1550916"/>
              <a:ext cx="168373" cy="470813"/>
            </a:xfrm>
            <a:custGeom>
              <a:avLst/>
              <a:gdLst/>
              <a:ahLst/>
              <a:cxnLst/>
              <a:rect l="l" t="t" r="r" b="b"/>
              <a:pathLst>
                <a:path w="157949" h="441664" extrusionOk="0">
                  <a:moveTo>
                    <a:pt x="12203" y="371070"/>
                  </a:moveTo>
                  <a:cubicBezTo>
                    <a:pt x="20680" y="365574"/>
                    <a:pt x="29462" y="360555"/>
                    <a:pt x="38492" y="356021"/>
                  </a:cubicBezTo>
                  <a:cubicBezTo>
                    <a:pt x="46960" y="353439"/>
                    <a:pt x="54656" y="348791"/>
                    <a:pt x="60876" y="342495"/>
                  </a:cubicBezTo>
                  <a:cubicBezTo>
                    <a:pt x="69162" y="334399"/>
                    <a:pt x="82593" y="304395"/>
                    <a:pt x="92118" y="274391"/>
                  </a:cubicBezTo>
                  <a:cubicBezTo>
                    <a:pt x="101785" y="240846"/>
                    <a:pt x="105624" y="205889"/>
                    <a:pt x="103452" y="171045"/>
                  </a:cubicBezTo>
                  <a:cubicBezTo>
                    <a:pt x="99357" y="129516"/>
                    <a:pt x="84402" y="71318"/>
                    <a:pt x="80593" y="47220"/>
                  </a:cubicBezTo>
                  <a:cubicBezTo>
                    <a:pt x="76782" y="23122"/>
                    <a:pt x="84498" y="13692"/>
                    <a:pt x="95642" y="4929"/>
                  </a:cubicBezTo>
                  <a:cubicBezTo>
                    <a:pt x="108691" y="-5453"/>
                    <a:pt x="126789" y="-881"/>
                    <a:pt x="136409" y="32647"/>
                  </a:cubicBezTo>
                  <a:cubicBezTo>
                    <a:pt x="148810" y="79078"/>
                    <a:pt x="156030" y="126740"/>
                    <a:pt x="157935" y="174760"/>
                  </a:cubicBezTo>
                  <a:cubicBezTo>
                    <a:pt x="158269" y="210341"/>
                    <a:pt x="152773" y="245736"/>
                    <a:pt x="141648" y="279535"/>
                  </a:cubicBezTo>
                  <a:cubicBezTo>
                    <a:pt x="131656" y="308501"/>
                    <a:pt x="118226" y="336161"/>
                    <a:pt x="101643" y="361926"/>
                  </a:cubicBezTo>
                  <a:cubicBezTo>
                    <a:pt x="97071" y="369737"/>
                    <a:pt x="95547" y="376595"/>
                    <a:pt x="88498" y="392406"/>
                  </a:cubicBezTo>
                  <a:cubicBezTo>
                    <a:pt x="81745" y="408237"/>
                    <a:pt x="71258" y="422191"/>
                    <a:pt x="57923" y="433078"/>
                  </a:cubicBezTo>
                  <a:cubicBezTo>
                    <a:pt x="46112" y="441555"/>
                    <a:pt x="40587" y="442603"/>
                    <a:pt x="37825" y="441079"/>
                  </a:cubicBezTo>
                  <a:cubicBezTo>
                    <a:pt x="35063" y="439555"/>
                    <a:pt x="35063" y="435364"/>
                    <a:pt x="40016" y="430887"/>
                  </a:cubicBezTo>
                  <a:cubicBezTo>
                    <a:pt x="48341" y="424391"/>
                    <a:pt x="55437" y="416457"/>
                    <a:pt x="60971" y="407456"/>
                  </a:cubicBezTo>
                  <a:cubicBezTo>
                    <a:pt x="60971" y="407456"/>
                    <a:pt x="50684" y="417743"/>
                    <a:pt x="44017" y="423362"/>
                  </a:cubicBezTo>
                  <a:cubicBezTo>
                    <a:pt x="38044" y="428354"/>
                    <a:pt x="31443" y="432545"/>
                    <a:pt x="24395" y="435840"/>
                  </a:cubicBezTo>
                  <a:cubicBezTo>
                    <a:pt x="17537" y="438888"/>
                    <a:pt x="8012" y="433078"/>
                    <a:pt x="12870" y="428411"/>
                  </a:cubicBezTo>
                  <a:cubicBezTo>
                    <a:pt x="17727" y="423743"/>
                    <a:pt x="22395" y="421553"/>
                    <a:pt x="32491" y="413076"/>
                  </a:cubicBezTo>
                  <a:cubicBezTo>
                    <a:pt x="37701" y="408580"/>
                    <a:pt x="42369" y="403503"/>
                    <a:pt x="46398" y="397931"/>
                  </a:cubicBezTo>
                  <a:cubicBezTo>
                    <a:pt x="39521" y="403208"/>
                    <a:pt x="32225" y="407922"/>
                    <a:pt x="24585" y="412028"/>
                  </a:cubicBezTo>
                  <a:cubicBezTo>
                    <a:pt x="18632" y="415685"/>
                    <a:pt x="11755" y="417533"/>
                    <a:pt x="4773" y="417362"/>
                  </a:cubicBezTo>
                  <a:cubicBezTo>
                    <a:pt x="1154" y="417362"/>
                    <a:pt x="-3228" y="412218"/>
                    <a:pt x="3535" y="407265"/>
                  </a:cubicBezTo>
                  <a:cubicBezTo>
                    <a:pt x="12879" y="402417"/>
                    <a:pt x="21604" y="396473"/>
                    <a:pt x="29538" y="389549"/>
                  </a:cubicBezTo>
                  <a:cubicBezTo>
                    <a:pt x="37063" y="382119"/>
                    <a:pt x="41254" y="375833"/>
                    <a:pt x="39063" y="375642"/>
                  </a:cubicBezTo>
                  <a:cubicBezTo>
                    <a:pt x="36873" y="375452"/>
                    <a:pt x="32872" y="380214"/>
                    <a:pt x="24109" y="382976"/>
                  </a:cubicBezTo>
                  <a:cubicBezTo>
                    <a:pt x="15346" y="385739"/>
                    <a:pt x="5917" y="382976"/>
                    <a:pt x="5059" y="378404"/>
                  </a:cubicBezTo>
                  <a:cubicBezTo>
                    <a:pt x="4202" y="373832"/>
                    <a:pt x="4011" y="375261"/>
                    <a:pt x="12203" y="371070"/>
                  </a:cubicBezTo>
                  <a:close/>
                </a:path>
              </a:pathLst>
            </a:custGeom>
            <a:solidFill>
              <a:srgbClr val="FFCEA9"/>
            </a:solidFill>
            <a:ln>
              <a:noFill/>
            </a:ln>
          </p:spPr>
          <p:txBody>
            <a:bodyPr spcFirstLastPara="1" wrap="square" lIns="155459" tIns="77708" rIns="155459" bIns="77708"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3061" b="0" i="0" u="none" strike="noStrike" kern="0" cap="none" spc="0" normalizeH="0" baseline="0" noProof="0">
                <a:ln>
                  <a:noFill/>
                </a:ln>
                <a:solidFill>
                  <a:srgbClr val="000000"/>
                </a:solidFill>
                <a:effectLst/>
                <a:uLnTx/>
                <a:uFillTx/>
                <a:latin typeface="Montserrat" pitchFamily="2" charset="77"/>
                <a:ea typeface="Calibri"/>
                <a:cs typeface="Calibri"/>
                <a:sym typeface="Calibri"/>
              </a:endParaRPr>
            </a:p>
          </p:txBody>
        </p:sp>
        <p:sp>
          <p:nvSpPr>
            <p:cNvPr id="65" name="Google Shape;302;p12">
              <a:extLst>
                <a:ext uri="{FF2B5EF4-FFF2-40B4-BE49-F238E27FC236}">
                  <a16:creationId xmlns:a16="http://schemas.microsoft.com/office/drawing/2014/main" id="{1DEB80AB-8218-DB42-A0C9-BE4501B9C34A}"/>
                </a:ext>
              </a:extLst>
            </p:cNvPr>
            <p:cNvSpPr/>
            <p:nvPr/>
          </p:nvSpPr>
          <p:spPr>
            <a:xfrm>
              <a:off x="10012602" y="1547216"/>
              <a:ext cx="96967" cy="131500"/>
            </a:xfrm>
            <a:custGeom>
              <a:avLst/>
              <a:gdLst/>
              <a:ahLst/>
              <a:cxnLst/>
              <a:rect l="l" t="t" r="r" b="b"/>
              <a:pathLst>
                <a:path w="90963" h="123358" extrusionOk="0">
                  <a:moveTo>
                    <a:pt x="90964" y="98317"/>
                  </a:moveTo>
                  <a:cubicBezTo>
                    <a:pt x="90964" y="98317"/>
                    <a:pt x="58007" y="131083"/>
                    <a:pt x="19050" y="121653"/>
                  </a:cubicBezTo>
                  <a:cubicBezTo>
                    <a:pt x="13525" y="117843"/>
                    <a:pt x="0" y="41358"/>
                    <a:pt x="0" y="41358"/>
                  </a:cubicBezTo>
                  <a:cubicBezTo>
                    <a:pt x="0" y="41358"/>
                    <a:pt x="0" y="-1029"/>
                    <a:pt x="32480" y="19"/>
                  </a:cubicBezTo>
                  <a:cubicBezTo>
                    <a:pt x="64961" y="1067"/>
                    <a:pt x="90964" y="98317"/>
                    <a:pt x="90964" y="98317"/>
                  </a:cubicBezTo>
                  <a:close/>
                </a:path>
              </a:pathLst>
            </a:custGeom>
            <a:solidFill>
              <a:srgbClr val="EDEDED"/>
            </a:solidFill>
            <a:ln>
              <a:noFill/>
            </a:ln>
          </p:spPr>
          <p:txBody>
            <a:bodyPr spcFirstLastPara="1" wrap="square" lIns="155459" tIns="77708" rIns="155459" bIns="77708"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3061" b="0" i="0" u="none" strike="noStrike" kern="0" cap="none" spc="0" normalizeH="0" baseline="0" noProof="0">
                <a:ln>
                  <a:noFill/>
                </a:ln>
                <a:solidFill>
                  <a:srgbClr val="000000"/>
                </a:solidFill>
                <a:effectLst/>
                <a:uLnTx/>
                <a:uFillTx/>
                <a:latin typeface="Montserrat" pitchFamily="2" charset="77"/>
                <a:ea typeface="Calibri"/>
                <a:cs typeface="Calibri"/>
                <a:sym typeface="Calibri"/>
              </a:endParaRPr>
            </a:p>
          </p:txBody>
        </p:sp>
      </p:grpSp>
      <p:pic>
        <p:nvPicPr>
          <p:cNvPr id="71" name="Picture 70">
            <a:extLst>
              <a:ext uri="{FF2B5EF4-FFF2-40B4-BE49-F238E27FC236}">
                <a16:creationId xmlns:a16="http://schemas.microsoft.com/office/drawing/2014/main" id="{839855EA-FD9A-944E-8917-0DBFDD58AD40}"/>
              </a:ext>
            </a:extLst>
          </p:cNvPr>
          <p:cNvPicPr>
            <a:picLocks noChangeAspect="1"/>
          </p:cNvPicPr>
          <p:nvPr/>
        </p:nvPicPr>
        <p:blipFill>
          <a:blip r:embed="rId6"/>
          <a:stretch>
            <a:fillRect/>
          </a:stretch>
        </p:blipFill>
        <p:spPr>
          <a:xfrm>
            <a:off x="8199436" y="4960179"/>
            <a:ext cx="1268944" cy="828153"/>
          </a:xfrm>
          <a:prstGeom prst="rect">
            <a:avLst/>
          </a:prstGeom>
        </p:spPr>
      </p:pic>
      <p:sp>
        <p:nvSpPr>
          <p:cNvPr id="72" name="Oval 71">
            <a:extLst>
              <a:ext uri="{FF2B5EF4-FFF2-40B4-BE49-F238E27FC236}">
                <a16:creationId xmlns:a16="http://schemas.microsoft.com/office/drawing/2014/main" id="{1F07359A-A25D-414B-AD00-455FB01D0BDB}"/>
              </a:ext>
            </a:extLst>
          </p:cNvPr>
          <p:cNvSpPr/>
          <p:nvPr/>
        </p:nvSpPr>
        <p:spPr>
          <a:xfrm>
            <a:off x="8843298" y="5788332"/>
            <a:ext cx="966428" cy="966428"/>
          </a:xfrm>
          <a:prstGeom prst="ellipse">
            <a:avLst/>
          </a:prstGeom>
          <a:solidFill>
            <a:srgbClr val="1D31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7942" rtl="0" eaLnBrk="1" fontAlgn="auto" latinLnBrk="0" hangingPunct="1">
              <a:lnSpc>
                <a:spcPct val="100000"/>
              </a:lnSpc>
              <a:spcBef>
                <a:spcPts val="0"/>
              </a:spcBef>
              <a:spcAft>
                <a:spcPts val="0"/>
              </a:spcAft>
              <a:buClrTx/>
              <a:buSzTx/>
              <a:buFontTx/>
              <a:buNone/>
              <a:tabLst/>
              <a:defRPr/>
            </a:pPr>
            <a:r>
              <a:rPr kumimoji="0" lang="en-US" sz="5611" b="1" i="0" u="none" strike="noStrike" kern="1200" cap="none" spc="0" normalizeH="0" baseline="0" noProof="0" dirty="0">
                <a:ln>
                  <a:noFill/>
                </a:ln>
                <a:solidFill>
                  <a:prstClr val="white"/>
                </a:solidFill>
                <a:effectLst/>
                <a:uLnTx/>
                <a:uFillTx/>
                <a:latin typeface="Montserrat" pitchFamily="2" charset="77"/>
                <a:ea typeface="Century Gothic" charset="0"/>
                <a:cs typeface="Century Gothic" charset="0"/>
              </a:rPr>
              <a:t>3</a:t>
            </a:r>
          </a:p>
        </p:txBody>
      </p:sp>
      <p:grpSp>
        <p:nvGrpSpPr>
          <p:cNvPr id="73" name="Google Shape;6523;p41">
            <a:extLst>
              <a:ext uri="{FF2B5EF4-FFF2-40B4-BE49-F238E27FC236}">
                <a16:creationId xmlns:a16="http://schemas.microsoft.com/office/drawing/2014/main" id="{4945742B-789E-2543-98C4-8CE433A9A3D6}"/>
              </a:ext>
            </a:extLst>
          </p:cNvPr>
          <p:cNvGrpSpPr/>
          <p:nvPr/>
        </p:nvGrpSpPr>
        <p:grpSpPr>
          <a:xfrm>
            <a:off x="9399119" y="3028944"/>
            <a:ext cx="1304391" cy="1137346"/>
            <a:chOff x="4002200" y="2278875"/>
            <a:chExt cx="1936725" cy="1688700"/>
          </a:xfrm>
        </p:grpSpPr>
        <p:sp>
          <p:nvSpPr>
            <p:cNvPr id="74" name="Google Shape;6524;p41">
              <a:extLst>
                <a:ext uri="{FF2B5EF4-FFF2-40B4-BE49-F238E27FC236}">
                  <a16:creationId xmlns:a16="http://schemas.microsoft.com/office/drawing/2014/main" id="{E6FCC8FA-4905-5A41-98FF-D7696E81AB64}"/>
                </a:ext>
              </a:extLst>
            </p:cNvPr>
            <p:cNvSpPr/>
            <p:nvPr/>
          </p:nvSpPr>
          <p:spPr>
            <a:xfrm>
              <a:off x="4512375" y="3258625"/>
              <a:ext cx="1232625" cy="708950"/>
            </a:xfrm>
            <a:custGeom>
              <a:avLst/>
              <a:gdLst/>
              <a:ahLst/>
              <a:cxnLst/>
              <a:rect l="l" t="t" r="r" b="b"/>
              <a:pathLst>
                <a:path w="49305" h="28358" extrusionOk="0">
                  <a:moveTo>
                    <a:pt x="32081" y="0"/>
                  </a:moveTo>
                  <a:cubicBezTo>
                    <a:pt x="31878" y="0"/>
                    <a:pt x="31676" y="45"/>
                    <a:pt x="31522" y="133"/>
                  </a:cubicBezTo>
                  <a:lnTo>
                    <a:pt x="307" y="18154"/>
                  </a:lnTo>
                  <a:cubicBezTo>
                    <a:pt x="0" y="18331"/>
                    <a:pt x="0" y="18621"/>
                    <a:pt x="307" y="18799"/>
                  </a:cubicBezTo>
                  <a:lnTo>
                    <a:pt x="16635" y="28222"/>
                  </a:lnTo>
                  <a:cubicBezTo>
                    <a:pt x="16789" y="28313"/>
                    <a:pt x="16993" y="28358"/>
                    <a:pt x="17196" y="28358"/>
                  </a:cubicBezTo>
                  <a:cubicBezTo>
                    <a:pt x="17397" y="28358"/>
                    <a:pt x="17598" y="28314"/>
                    <a:pt x="17751" y="28225"/>
                  </a:cubicBezTo>
                  <a:lnTo>
                    <a:pt x="48997" y="10222"/>
                  </a:lnTo>
                  <a:cubicBezTo>
                    <a:pt x="49305" y="10045"/>
                    <a:pt x="49305" y="9754"/>
                    <a:pt x="48997" y="9577"/>
                  </a:cubicBezTo>
                  <a:lnTo>
                    <a:pt x="32639" y="133"/>
                  </a:lnTo>
                  <a:cubicBezTo>
                    <a:pt x="32485" y="45"/>
                    <a:pt x="32283" y="0"/>
                    <a:pt x="32081" y="0"/>
                  </a:cubicBezTo>
                  <a:close/>
                </a:path>
              </a:pathLst>
            </a:custGeom>
            <a:solidFill>
              <a:srgbClr val="E0E0E0"/>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75" name="Google Shape;6525;p41">
              <a:extLst>
                <a:ext uri="{FF2B5EF4-FFF2-40B4-BE49-F238E27FC236}">
                  <a16:creationId xmlns:a16="http://schemas.microsoft.com/office/drawing/2014/main" id="{8187F406-0104-0142-82BD-F6F69BFC5029}"/>
                </a:ext>
              </a:extLst>
            </p:cNvPr>
            <p:cNvSpPr/>
            <p:nvPr/>
          </p:nvSpPr>
          <p:spPr>
            <a:xfrm>
              <a:off x="5715175" y="3173825"/>
              <a:ext cx="165400" cy="173800"/>
            </a:xfrm>
            <a:custGeom>
              <a:avLst/>
              <a:gdLst/>
              <a:ahLst/>
              <a:cxnLst/>
              <a:rect l="l" t="t" r="r" b="b"/>
              <a:pathLst>
                <a:path w="6616" h="6952" extrusionOk="0">
                  <a:moveTo>
                    <a:pt x="4477" y="0"/>
                  </a:moveTo>
                  <a:cubicBezTo>
                    <a:pt x="3506" y="0"/>
                    <a:pt x="2365" y="493"/>
                    <a:pt x="1377" y="1849"/>
                  </a:cubicBezTo>
                  <a:cubicBezTo>
                    <a:pt x="1" y="3733"/>
                    <a:pt x="151" y="6935"/>
                    <a:pt x="196" y="6952"/>
                  </a:cubicBezTo>
                  <a:lnTo>
                    <a:pt x="1612" y="6470"/>
                  </a:lnTo>
                  <a:cubicBezTo>
                    <a:pt x="2012" y="4320"/>
                    <a:pt x="3691" y="3140"/>
                    <a:pt x="5042" y="2464"/>
                  </a:cubicBezTo>
                  <a:cubicBezTo>
                    <a:pt x="6390" y="1791"/>
                    <a:pt x="6615" y="665"/>
                    <a:pt x="5520" y="204"/>
                  </a:cubicBezTo>
                  <a:cubicBezTo>
                    <a:pt x="5211" y="75"/>
                    <a:pt x="4857" y="0"/>
                    <a:pt x="4477" y="0"/>
                  </a:cubicBez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76" name="Google Shape;6526;p41">
              <a:extLst>
                <a:ext uri="{FF2B5EF4-FFF2-40B4-BE49-F238E27FC236}">
                  <a16:creationId xmlns:a16="http://schemas.microsoft.com/office/drawing/2014/main" id="{BAA5097E-552B-174D-83FB-59BD3CA54D87}"/>
                </a:ext>
              </a:extLst>
            </p:cNvPr>
            <p:cNvSpPr/>
            <p:nvPr/>
          </p:nvSpPr>
          <p:spPr>
            <a:xfrm>
              <a:off x="5719375" y="3173800"/>
              <a:ext cx="151225" cy="173825"/>
            </a:xfrm>
            <a:custGeom>
              <a:avLst/>
              <a:gdLst/>
              <a:ahLst/>
              <a:cxnLst/>
              <a:rect l="l" t="t" r="r" b="b"/>
              <a:pathLst>
                <a:path w="6049" h="6953" extrusionOk="0">
                  <a:moveTo>
                    <a:pt x="4308" y="0"/>
                  </a:moveTo>
                  <a:cubicBezTo>
                    <a:pt x="3339" y="0"/>
                    <a:pt x="2198" y="496"/>
                    <a:pt x="1209" y="1850"/>
                  </a:cubicBezTo>
                  <a:cubicBezTo>
                    <a:pt x="168" y="3273"/>
                    <a:pt x="1" y="5451"/>
                    <a:pt x="1" y="6438"/>
                  </a:cubicBezTo>
                  <a:cubicBezTo>
                    <a:pt x="1" y="6755"/>
                    <a:pt x="17" y="6949"/>
                    <a:pt x="28" y="6953"/>
                  </a:cubicBezTo>
                  <a:lnTo>
                    <a:pt x="1444" y="6471"/>
                  </a:lnTo>
                  <a:cubicBezTo>
                    <a:pt x="1844" y="4321"/>
                    <a:pt x="3523" y="3141"/>
                    <a:pt x="4874" y="2465"/>
                  </a:cubicBezTo>
                  <a:cubicBezTo>
                    <a:pt x="5645" y="2079"/>
                    <a:pt x="6048" y="1547"/>
                    <a:pt x="6048" y="1076"/>
                  </a:cubicBezTo>
                  <a:cubicBezTo>
                    <a:pt x="6048" y="721"/>
                    <a:pt x="5820" y="403"/>
                    <a:pt x="5352" y="205"/>
                  </a:cubicBezTo>
                  <a:cubicBezTo>
                    <a:pt x="5041" y="75"/>
                    <a:pt x="4686" y="0"/>
                    <a:pt x="4308" y="0"/>
                  </a:cubicBez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77" name="Google Shape;6527;p41">
              <a:extLst>
                <a:ext uri="{FF2B5EF4-FFF2-40B4-BE49-F238E27FC236}">
                  <a16:creationId xmlns:a16="http://schemas.microsoft.com/office/drawing/2014/main" id="{1D9FEBF5-1526-BD4D-9DEC-8B164A102D63}"/>
                </a:ext>
              </a:extLst>
            </p:cNvPr>
            <p:cNvSpPr/>
            <p:nvPr/>
          </p:nvSpPr>
          <p:spPr>
            <a:xfrm>
              <a:off x="5730025" y="3185750"/>
              <a:ext cx="109075" cy="138500"/>
            </a:xfrm>
            <a:custGeom>
              <a:avLst/>
              <a:gdLst/>
              <a:ahLst/>
              <a:cxnLst/>
              <a:rect l="l" t="t" r="r" b="b"/>
              <a:pathLst>
                <a:path w="4363" h="5540" extrusionOk="0">
                  <a:moveTo>
                    <a:pt x="4249" y="1"/>
                  </a:moveTo>
                  <a:cubicBezTo>
                    <a:pt x="4240" y="1"/>
                    <a:pt x="4232" y="2"/>
                    <a:pt x="4223" y="4"/>
                  </a:cubicBezTo>
                  <a:cubicBezTo>
                    <a:pt x="2537" y="427"/>
                    <a:pt x="540" y="2072"/>
                    <a:pt x="8" y="5420"/>
                  </a:cubicBezTo>
                  <a:cubicBezTo>
                    <a:pt x="1" y="5475"/>
                    <a:pt x="38" y="5530"/>
                    <a:pt x="93" y="5536"/>
                  </a:cubicBezTo>
                  <a:cubicBezTo>
                    <a:pt x="100" y="5539"/>
                    <a:pt x="103" y="5539"/>
                    <a:pt x="110" y="5539"/>
                  </a:cubicBezTo>
                  <a:cubicBezTo>
                    <a:pt x="158" y="5539"/>
                    <a:pt x="202" y="5502"/>
                    <a:pt x="213" y="5451"/>
                  </a:cubicBezTo>
                  <a:cubicBezTo>
                    <a:pt x="728" y="2201"/>
                    <a:pt x="2650" y="612"/>
                    <a:pt x="4274" y="205"/>
                  </a:cubicBezTo>
                  <a:cubicBezTo>
                    <a:pt x="4329" y="191"/>
                    <a:pt x="4362" y="133"/>
                    <a:pt x="4349" y="79"/>
                  </a:cubicBezTo>
                  <a:cubicBezTo>
                    <a:pt x="4337" y="32"/>
                    <a:pt x="4296" y="1"/>
                    <a:pt x="4249" y="1"/>
                  </a:cubicBezTo>
                  <a:close/>
                </a:path>
              </a:pathLst>
            </a:custGeom>
            <a:solidFill>
              <a:srgbClr val="FFFFF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78" name="Google Shape;6528;p41">
              <a:extLst>
                <a:ext uri="{FF2B5EF4-FFF2-40B4-BE49-F238E27FC236}">
                  <a16:creationId xmlns:a16="http://schemas.microsoft.com/office/drawing/2014/main" id="{F01CC900-F7AC-EE40-B0D3-B6BA73CE5C69}"/>
                </a:ext>
              </a:extLst>
            </p:cNvPr>
            <p:cNvSpPr/>
            <p:nvPr/>
          </p:nvSpPr>
          <p:spPr>
            <a:xfrm>
              <a:off x="5720050" y="3268975"/>
              <a:ext cx="218875" cy="227200"/>
            </a:xfrm>
            <a:custGeom>
              <a:avLst/>
              <a:gdLst/>
              <a:ahLst/>
              <a:cxnLst/>
              <a:rect l="l" t="t" r="r" b="b"/>
              <a:pathLst>
                <a:path w="8755" h="9088" extrusionOk="0">
                  <a:moveTo>
                    <a:pt x="6171" y="0"/>
                  </a:moveTo>
                  <a:cubicBezTo>
                    <a:pt x="5424" y="0"/>
                    <a:pt x="4735" y="212"/>
                    <a:pt x="4205" y="449"/>
                  </a:cubicBezTo>
                  <a:cubicBezTo>
                    <a:pt x="3455" y="785"/>
                    <a:pt x="3342" y="1137"/>
                    <a:pt x="2484" y="1137"/>
                  </a:cubicBezTo>
                  <a:cubicBezTo>
                    <a:pt x="2382" y="1137"/>
                    <a:pt x="2269" y="1132"/>
                    <a:pt x="2144" y="1122"/>
                  </a:cubicBezTo>
                  <a:cubicBezTo>
                    <a:pt x="2070" y="1115"/>
                    <a:pt x="1998" y="1112"/>
                    <a:pt x="1926" y="1112"/>
                  </a:cubicBezTo>
                  <a:cubicBezTo>
                    <a:pt x="855" y="1112"/>
                    <a:pt x="71" y="1808"/>
                    <a:pt x="1" y="2480"/>
                  </a:cubicBezTo>
                  <a:lnTo>
                    <a:pt x="250" y="9088"/>
                  </a:lnTo>
                  <a:cubicBezTo>
                    <a:pt x="461" y="8245"/>
                    <a:pt x="1308" y="7689"/>
                    <a:pt x="2311" y="7596"/>
                  </a:cubicBezTo>
                  <a:cubicBezTo>
                    <a:pt x="3352" y="7504"/>
                    <a:pt x="4564" y="7402"/>
                    <a:pt x="4888" y="6521"/>
                  </a:cubicBezTo>
                  <a:cubicBezTo>
                    <a:pt x="5209" y="5641"/>
                    <a:pt x="4884" y="4450"/>
                    <a:pt x="5032" y="3866"/>
                  </a:cubicBezTo>
                  <a:cubicBezTo>
                    <a:pt x="5212" y="3160"/>
                    <a:pt x="5482" y="2736"/>
                    <a:pt x="6850" y="2306"/>
                  </a:cubicBezTo>
                  <a:cubicBezTo>
                    <a:pt x="8075" y="1924"/>
                    <a:pt x="8755" y="750"/>
                    <a:pt x="7519" y="255"/>
                  </a:cubicBezTo>
                  <a:cubicBezTo>
                    <a:pt x="7064" y="73"/>
                    <a:pt x="6608" y="0"/>
                    <a:pt x="6171" y="0"/>
                  </a:cubicBezTo>
                  <a:close/>
                </a:path>
              </a:pathLst>
            </a:custGeom>
            <a:solidFill>
              <a:schemeClr val="accent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79" name="Google Shape;6529;p41">
              <a:extLst>
                <a:ext uri="{FF2B5EF4-FFF2-40B4-BE49-F238E27FC236}">
                  <a16:creationId xmlns:a16="http://schemas.microsoft.com/office/drawing/2014/main" id="{ED58F977-F6F2-6147-BF0D-896DC0ECE502}"/>
                </a:ext>
              </a:extLst>
            </p:cNvPr>
            <p:cNvSpPr/>
            <p:nvPr/>
          </p:nvSpPr>
          <p:spPr>
            <a:xfrm>
              <a:off x="5723375" y="3284775"/>
              <a:ext cx="164625" cy="139900"/>
            </a:xfrm>
            <a:custGeom>
              <a:avLst/>
              <a:gdLst/>
              <a:ahLst/>
              <a:cxnLst/>
              <a:rect l="l" t="t" r="r" b="b"/>
              <a:pathLst>
                <a:path w="6585" h="5596" extrusionOk="0">
                  <a:moveTo>
                    <a:pt x="6477" y="1"/>
                  </a:moveTo>
                  <a:cubicBezTo>
                    <a:pt x="6473" y="1"/>
                    <a:pt x="6469" y="1"/>
                    <a:pt x="6465" y="2"/>
                  </a:cubicBezTo>
                  <a:cubicBezTo>
                    <a:pt x="5107" y="165"/>
                    <a:pt x="1018" y="2678"/>
                    <a:pt x="21" y="5459"/>
                  </a:cubicBezTo>
                  <a:cubicBezTo>
                    <a:pt x="0" y="5510"/>
                    <a:pt x="28" y="5572"/>
                    <a:pt x="82" y="5589"/>
                  </a:cubicBezTo>
                  <a:cubicBezTo>
                    <a:pt x="93" y="5592"/>
                    <a:pt x="107" y="5595"/>
                    <a:pt x="117" y="5595"/>
                  </a:cubicBezTo>
                  <a:cubicBezTo>
                    <a:pt x="161" y="5595"/>
                    <a:pt x="199" y="5568"/>
                    <a:pt x="216" y="5527"/>
                  </a:cubicBezTo>
                  <a:cubicBezTo>
                    <a:pt x="1188" y="2818"/>
                    <a:pt x="5168" y="364"/>
                    <a:pt x="6489" y="206"/>
                  </a:cubicBezTo>
                  <a:cubicBezTo>
                    <a:pt x="6543" y="200"/>
                    <a:pt x="6584" y="148"/>
                    <a:pt x="6578" y="94"/>
                  </a:cubicBezTo>
                  <a:cubicBezTo>
                    <a:pt x="6571" y="40"/>
                    <a:pt x="6529" y="1"/>
                    <a:pt x="6477" y="1"/>
                  </a:cubicBezTo>
                  <a:close/>
                </a:path>
              </a:pathLst>
            </a:custGeom>
            <a:solidFill>
              <a:srgbClr val="FFFFF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80" name="Google Shape;6530;p41">
              <a:extLst>
                <a:ext uri="{FF2B5EF4-FFF2-40B4-BE49-F238E27FC236}">
                  <a16:creationId xmlns:a16="http://schemas.microsoft.com/office/drawing/2014/main" id="{A71FA5B7-4612-B444-B83E-004EC7FF479C}"/>
                </a:ext>
              </a:extLst>
            </p:cNvPr>
            <p:cNvSpPr/>
            <p:nvPr/>
          </p:nvSpPr>
          <p:spPr>
            <a:xfrm>
              <a:off x="5738575" y="3319075"/>
              <a:ext cx="13925" cy="64900"/>
            </a:xfrm>
            <a:custGeom>
              <a:avLst/>
              <a:gdLst/>
              <a:ahLst/>
              <a:cxnLst/>
              <a:rect l="l" t="t" r="r" b="b"/>
              <a:pathLst>
                <a:path w="557" h="2596" extrusionOk="0">
                  <a:moveTo>
                    <a:pt x="444" y="0"/>
                  </a:moveTo>
                  <a:cubicBezTo>
                    <a:pt x="402" y="0"/>
                    <a:pt x="361" y="26"/>
                    <a:pt x="345" y="66"/>
                  </a:cubicBezTo>
                  <a:cubicBezTo>
                    <a:pt x="331" y="107"/>
                    <a:pt x="0" y="1039"/>
                    <a:pt x="342" y="2517"/>
                  </a:cubicBezTo>
                  <a:cubicBezTo>
                    <a:pt x="352" y="2561"/>
                    <a:pt x="392" y="2596"/>
                    <a:pt x="441" y="2596"/>
                  </a:cubicBezTo>
                  <a:cubicBezTo>
                    <a:pt x="447" y="2596"/>
                    <a:pt x="457" y="2596"/>
                    <a:pt x="465" y="2592"/>
                  </a:cubicBezTo>
                  <a:cubicBezTo>
                    <a:pt x="519" y="2579"/>
                    <a:pt x="553" y="2524"/>
                    <a:pt x="539" y="2470"/>
                  </a:cubicBezTo>
                  <a:cubicBezTo>
                    <a:pt x="216" y="1057"/>
                    <a:pt x="533" y="145"/>
                    <a:pt x="536" y="138"/>
                  </a:cubicBezTo>
                  <a:cubicBezTo>
                    <a:pt x="556" y="83"/>
                    <a:pt x="529" y="25"/>
                    <a:pt x="474" y="5"/>
                  </a:cubicBezTo>
                  <a:cubicBezTo>
                    <a:pt x="464" y="2"/>
                    <a:pt x="454" y="0"/>
                    <a:pt x="444" y="0"/>
                  </a:cubicBezTo>
                  <a:close/>
                </a:path>
              </a:pathLst>
            </a:custGeom>
            <a:solidFill>
              <a:srgbClr val="FFFFF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81" name="Google Shape;6531;p41">
              <a:extLst>
                <a:ext uri="{FF2B5EF4-FFF2-40B4-BE49-F238E27FC236}">
                  <a16:creationId xmlns:a16="http://schemas.microsoft.com/office/drawing/2014/main" id="{FBF58FB5-7E2C-EA44-AAED-1BE618F74EBD}"/>
                </a:ext>
              </a:extLst>
            </p:cNvPr>
            <p:cNvSpPr/>
            <p:nvPr/>
          </p:nvSpPr>
          <p:spPr>
            <a:xfrm>
              <a:off x="5729775" y="3398700"/>
              <a:ext cx="71200" cy="11300"/>
            </a:xfrm>
            <a:custGeom>
              <a:avLst/>
              <a:gdLst/>
              <a:ahLst/>
              <a:cxnLst/>
              <a:rect l="l" t="t" r="r" b="b"/>
              <a:pathLst>
                <a:path w="2848" h="452" extrusionOk="0">
                  <a:moveTo>
                    <a:pt x="1448" y="1"/>
                  </a:moveTo>
                  <a:cubicBezTo>
                    <a:pt x="960" y="1"/>
                    <a:pt x="436" y="59"/>
                    <a:pt x="72" y="257"/>
                  </a:cubicBezTo>
                  <a:cubicBezTo>
                    <a:pt x="21" y="285"/>
                    <a:pt x="1" y="346"/>
                    <a:pt x="28" y="397"/>
                  </a:cubicBezTo>
                  <a:cubicBezTo>
                    <a:pt x="48" y="431"/>
                    <a:pt x="83" y="452"/>
                    <a:pt x="120" y="452"/>
                  </a:cubicBezTo>
                  <a:cubicBezTo>
                    <a:pt x="138" y="452"/>
                    <a:pt x="154" y="449"/>
                    <a:pt x="168" y="438"/>
                  </a:cubicBezTo>
                  <a:cubicBezTo>
                    <a:pt x="495" y="260"/>
                    <a:pt x="980" y="208"/>
                    <a:pt x="1440" y="208"/>
                  </a:cubicBezTo>
                  <a:cubicBezTo>
                    <a:pt x="2100" y="208"/>
                    <a:pt x="2708" y="316"/>
                    <a:pt x="2718" y="318"/>
                  </a:cubicBezTo>
                  <a:cubicBezTo>
                    <a:pt x="2724" y="320"/>
                    <a:pt x="2730" y="320"/>
                    <a:pt x="2736" y="320"/>
                  </a:cubicBezTo>
                  <a:cubicBezTo>
                    <a:pt x="2784" y="320"/>
                    <a:pt x="2828" y="285"/>
                    <a:pt x="2837" y="236"/>
                  </a:cubicBezTo>
                  <a:cubicBezTo>
                    <a:pt x="2847" y="178"/>
                    <a:pt x="2809" y="124"/>
                    <a:pt x="2755" y="114"/>
                  </a:cubicBezTo>
                  <a:cubicBezTo>
                    <a:pt x="2712" y="108"/>
                    <a:pt x="2113" y="1"/>
                    <a:pt x="1448" y="1"/>
                  </a:cubicBezTo>
                  <a:close/>
                </a:path>
              </a:pathLst>
            </a:custGeom>
            <a:solidFill>
              <a:srgbClr val="FFFFF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82" name="Google Shape;6532;p41">
              <a:extLst>
                <a:ext uri="{FF2B5EF4-FFF2-40B4-BE49-F238E27FC236}">
                  <a16:creationId xmlns:a16="http://schemas.microsoft.com/office/drawing/2014/main" id="{1F81D233-3D13-7A4E-8B09-1F475AF2C3FF}"/>
                </a:ext>
              </a:extLst>
            </p:cNvPr>
            <p:cNvSpPr/>
            <p:nvPr/>
          </p:nvSpPr>
          <p:spPr>
            <a:xfrm>
              <a:off x="4446675" y="3190600"/>
              <a:ext cx="40475" cy="35025"/>
            </a:xfrm>
            <a:custGeom>
              <a:avLst/>
              <a:gdLst/>
              <a:ahLst/>
              <a:cxnLst/>
              <a:rect l="l" t="t" r="r" b="b"/>
              <a:pathLst>
                <a:path w="1619" h="1401" extrusionOk="0">
                  <a:moveTo>
                    <a:pt x="1618" y="1"/>
                  </a:moveTo>
                  <a:lnTo>
                    <a:pt x="0" y="468"/>
                  </a:lnTo>
                  <a:lnTo>
                    <a:pt x="1618" y="1400"/>
                  </a:lnTo>
                  <a:lnTo>
                    <a:pt x="1618" y="1"/>
                  </a:lnTo>
                  <a:close/>
                </a:path>
              </a:pathLst>
            </a:custGeom>
            <a:solidFill>
              <a:srgbClr val="000000"/>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83" name="Google Shape;6533;p41">
              <a:extLst>
                <a:ext uri="{FF2B5EF4-FFF2-40B4-BE49-F238E27FC236}">
                  <a16:creationId xmlns:a16="http://schemas.microsoft.com/office/drawing/2014/main" id="{534D81C8-1E60-AC42-9196-40001993737A}"/>
                </a:ext>
              </a:extLst>
            </p:cNvPr>
            <p:cNvSpPr/>
            <p:nvPr/>
          </p:nvSpPr>
          <p:spPr>
            <a:xfrm>
              <a:off x="4022425" y="3202300"/>
              <a:ext cx="222225" cy="165450"/>
            </a:xfrm>
            <a:custGeom>
              <a:avLst/>
              <a:gdLst/>
              <a:ahLst/>
              <a:cxnLst/>
              <a:rect l="l" t="t" r="r" b="b"/>
              <a:pathLst>
                <a:path w="8889" h="6618" extrusionOk="0">
                  <a:moveTo>
                    <a:pt x="1" y="0"/>
                  </a:moveTo>
                  <a:lnTo>
                    <a:pt x="1" y="1489"/>
                  </a:lnTo>
                  <a:lnTo>
                    <a:pt x="8888" y="6618"/>
                  </a:lnTo>
                  <a:lnTo>
                    <a:pt x="8888" y="5134"/>
                  </a:lnTo>
                  <a:lnTo>
                    <a:pt x="1" y="0"/>
                  </a:lnTo>
                  <a:close/>
                </a:path>
              </a:pathLst>
            </a:custGeom>
            <a:solidFill>
              <a:srgbClr val="000000"/>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84" name="Google Shape;6534;p41">
              <a:extLst>
                <a:ext uri="{FF2B5EF4-FFF2-40B4-BE49-F238E27FC236}">
                  <a16:creationId xmlns:a16="http://schemas.microsoft.com/office/drawing/2014/main" id="{7046C914-5E59-A343-912C-917AE2EFF86F}"/>
                </a:ext>
              </a:extLst>
            </p:cNvPr>
            <p:cNvSpPr/>
            <p:nvPr/>
          </p:nvSpPr>
          <p:spPr>
            <a:xfrm>
              <a:off x="4002200" y="2910650"/>
              <a:ext cx="222325" cy="431600"/>
            </a:xfrm>
            <a:custGeom>
              <a:avLst/>
              <a:gdLst/>
              <a:ahLst/>
              <a:cxnLst/>
              <a:rect l="l" t="t" r="r" b="b"/>
              <a:pathLst>
                <a:path w="8893" h="17264" extrusionOk="0">
                  <a:moveTo>
                    <a:pt x="1" y="0"/>
                  </a:moveTo>
                  <a:lnTo>
                    <a:pt x="1" y="12131"/>
                  </a:lnTo>
                  <a:lnTo>
                    <a:pt x="8892" y="17263"/>
                  </a:lnTo>
                  <a:lnTo>
                    <a:pt x="8892" y="5134"/>
                  </a:lnTo>
                  <a:lnTo>
                    <a:pt x="1" y="0"/>
                  </a:ln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85" name="Google Shape;6535;p41">
              <a:extLst>
                <a:ext uri="{FF2B5EF4-FFF2-40B4-BE49-F238E27FC236}">
                  <a16:creationId xmlns:a16="http://schemas.microsoft.com/office/drawing/2014/main" id="{FD5958DC-E4A6-2444-A54D-2CDB6A5A95B4}"/>
                </a:ext>
              </a:extLst>
            </p:cNvPr>
            <p:cNvSpPr/>
            <p:nvPr/>
          </p:nvSpPr>
          <p:spPr>
            <a:xfrm>
              <a:off x="4224500" y="2863975"/>
              <a:ext cx="302975" cy="478275"/>
            </a:xfrm>
            <a:custGeom>
              <a:avLst/>
              <a:gdLst/>
              <a:ahLst/>
              <a:cxnLst/>
              <a:rect l="l" t="t" r="r" b="b"/>
              <a:pathLst>
                <a:path w="12119" h="19131" extrusionOk="0">
                  <a:moveTo>
                    <a:pt x="12119" y="1"/>
                  </a:moveTo>
                  <a:lnTo>
                    <a:pt x="0" y="7001"/>
                  </a:lnTo>
                  <a:lnTo>
                    <a:pt x="0" y="19130"/>
                  </a:lnTo>
                  <a:lnTo>
                    <a:pt x="12119" y="12134"/>
                  </a:lnTo>
                  <a:lnTo>
                    <a:pt x="12119" y="1"/>
                  </a:lnTo>
                  <a:close/>
                </a:path>
              </a:pathLst>
            </a:custGeom>
            <a:solidFill>
              <a:srgbClr val="37474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86" name="Google Shape;6536;p41">
              <a:extLst>
                <a:ext uri="{FF2B5EF4-FFF2-40B4-BE49-F238E27FC236}">
                  <a16:creationId xmlns:a16="http://schemas.microsoft.com/office/drawing/2014/main" id="{99DEF089-43AC-3C43-B584-019B5545C26D}"/>
                </a:ext>
              </a:extLst>
            </p:cNvPr>
            <p:cNvSpPr/>
            <p:nvPr/>
          </p:nvSpPr>
          <p:spPr>
            <a:xfrm>
              <a:off x="4002200" y="2735675"/>
              <a:ext cx="525275" cy="303325"/>
            </a:xfrm>
            <a:custGeom>
              <a:avLst/>
              <a:gdLst/>
              <a:ahLst/>
              <a:cxnLst/>
              <a:rect l="l" t="t" r="r" b="b"/>
              <a:pathLst>
                <a:path w="21011" h="12133" extrusionOk="0">
                  <a:moveTo>
                    <a:pt x="12123" y="0"/>
                  </a:moveTo>
                  <a:lnTo>
                    <a:pt x="1" y="6999"/>
                  </a:lnTo>
                  <a:lnTo>
                    <a:pt x="8892" y="12133"/>
                  </a:lnTo>
                  <a:lnTo>
                    <a:pt x="21011" y="5133"/>
                  </a:lnTo>
                  <a:lnTo>
                    <a:pt x="12123" y="0"/>
                  </a:lnTo>
                  <a:close/>
                </a:path>
              </a:pathLst>
            </a:custGeom>
            <a:solidFill>
              <a:srgbClr val="455A6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87" name="Google Shape;6537;p41">
              <a:extLst>
                <a:ext uri="{FF2B5EF4-FFF2-40B4-BE49-F238E27FC236}">
                  <a16:creationId xmlns:a16="http://schemas.microsoft.com/office/drawing/2014/main" id="{A7626593-9793-4D40-A4C9-945B0E133FC2}"/>
                </a:ext>
              </a:extLst>
            </p:cNvPr>
            <p:cNvSpPr/>
            <p:nvPr/>
          </p:nvSpPr>
          <p:spPr>
            <a:xfrm>
              <a:off x="4244625" y="2898975"/>
              <a:ext cx="262725" cy="221700"/>
            </a:xfrm>
            <a:custGeom>
              <a:avLst/>
              <a:gdLst/>
              <a:ahLst/>
              <a:cxnLst/>
              <a:rect l="l" t="t" r="r" b="b"/>
              <a:pathLst>
                <a:path w="10509" h="8868" extrusionOk="0">
                  <a:moveTo>
                    <a:pt x="10509" y="1"/>
                  </a:moveTo>
                  <a:lnTo>
                    <a:pt x="0" y="6065"/>
                  </a:lnTo>
                  <a:lnTo>
                    <a:pt x="0" y="8867"/>
                  </a:lnTo>
                  <a:lnTo>
                    <a:pt x="10509" y="2802"/>
                  </a:lnTo>
                  <a:lnTo>
                    <a:pt x="10509" y="1"/>
                  </a:lnTo>
                  <a:close/>
                </a:path>
              </a:pathLst>
            </a:custGeom>
            <a:solidFill>
              <a:srgbClr val="455A6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88" name="Google Shape;6538;p41">
              <a:extLst>
                <a:ext uri="{FF2B5EF4-FFF2-40B4-BE49-F238E27FC236}">
                  <a16:creationId xmlns:a16="http://schemas.microsoft.com/office/drawing/2014/main" id="{E255348E-4623-0E41-BF8E-7EB97256DC8A}"/>
                </a:ext>
              </a:extLst>
            </p:cNvPr>
            <p:cNvSpPr/>
            <p:nvPr/>
          </p:nvSpPr>
          <p:spPr>
            <a:xfrm>
              <a:off x="4345625" y="2945650"/>
              <a:ext cx="80925" cy="53850"/>
            </a:xfrm>
            <a:custGeom>
              <a:avLst/>
              <a:gdLst/>
              <a:ahLst/>
              <a:cxnLst/>
              <a:rect l="l" t="t" r="r" b="b"/>
              <a:pathLst>
                <a:path w="3237" h="2154" extrusionOk="0">
                  <a:moveTo>
                    <a:pt x="3236" y="0"/>
                  </a:moveTo>
                  <a:lnTo>
                    <a:pt x="1" y="1867"/>
                  </a:lnTo>
                  <a:lnTo>
                    <a:pt x="1" y="2099"/>
                  </a:lnTo>
                  <a:cubicBezTo>
                    <a:pt x="1" y="2137"/>
                    <a:pt x="32" y="2154"/>
                    <a:pt x="83" y="2154"/>
                  </a:cubicBezTo>
                  <a:cubicBezTo>
                    <a:pt x="220" y="2154"/>
                    <a:pt x="520" y="2034"/>
                    <a:pt x="864" y="1836"/>
                  </a:cubicBezTo>
                  <a:lnTo>
                    <a:pt x="2373" y="966"/>
                  </a:lnTo>
                  <a:cubicBezTo>
                    <a:pt x="2847" y="689"/>
                    <a:pt x="3236" y="362"/>
                    <a:pt x="3236" y="235"/>
                  </a:cubicBezTo>
                  <a:lnTo>
                    <a:pt x="3236" y="0"/>
                  </a:lnTo>
                  <a:close/>
                </a:path>
              </a:pathLst>
            </a:custGeom>
            <a:solidFill>
              <a:srgbClr val="0A1216"/>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89" name="Google Shape;6539;p41">
              <a:extLst>
                <a:ext uri="{FF2B5EF4-FFF2-40B4-BE49-F238E27FC236}">
                  <a16:creationId xmlns:a16="http://schemas.microsoft.com/office/drawing/2014/main" id="{C63BA906-B450-7E43-BB82-481301D6C364}"/>
                </a:ext>
              </a:extLst>
            </p:cNvPr>
            <p:cNvSpPr/>
            <p:nvPr/>
          </p:nvSpPr>
          <p:spPr>
            <a:xfrm>
              <a:off x="4244625" y="2992325"/>
              <a:ext cx="262725" cy="221600"/>
            </a:xfrm>
            <a:custGeom>
              <a:avLst/>
              <a:gdLst/>
              <a:ahLst/>
              <a:cxnLst/>
              <a:rect l="l" t="t" r="r" b="b"/>
              <a:pathLst>
                <a:path w="10509" h="8864" extrusionOk="0">
                  <a:moveTo>
                    <a:pt x="10509" y="0"/>
                  </a:moveTo>
                  <a:lnTo>
                    <a:pt x="0" y="6065"/>
                  </a:lnTo>
                  <a:lnTo>
                    <a:pt x="0" y="8864"/>
                  </a:lnTo>
                  <a:lnTo>
                    <a:pt x="10509" y="2799"/>
                  </a:lnTo>
                  <a:lnTo>
                    <a:pt x="10509" y="0"/>
                  </a:lnTo>
                  <a:close/>
                </a:path>
              </a:pathLst>
            </a:custGeom>
            <a:solidFill>
              <a:srgbClr val="455A6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90" name="Google Shape;6540;p41">
              <a:extLst>
                <a:ext uri="{FF2B5EF4-FFF2-40B4-BE49-F238E27FC236}">
                  <a16:creationId xmlns:a16="http://schemas.microsoft.com/office/drawing/2014/main" id="{A438A1EF-83DB-F54B-BDCA-98EDB4C9BF12}"/>
                </a:ext>
              </a:extLst>
            </p:cNvPr>
            <p:cNvSpPr/>
            <p:nvPr/>
          </p:nvSpPr>
          <p:spPr>
            <a:xfrm>
              <a:off x="4345625" y="3080200"/>
              <a:ext cx="9425" cy="5475"/>
            </a:xfrm>
            <a:custGeom>
              <a:avLst/>
              <a:gdLst/>
              <a:ahLst/>
              <a:cxnLst/>
              <a:rect l="l" t="t" r="r" b="b"/>
              <a:pathLst>
                <a:path w="377" h="219" extrusionOk="0">
                  <a:moveTo>
                    <a:pt x="377" y="1"/>
                  </a:moveTo>
                  <a:lnTo>
                    <a:pt x="1" y="219"/>
                  </a:lnTo>
                  <a:lnTo>
                    <a:pt x="1" y="219"/>
                  </a:lnTo>
                  <a:close/>
                </a:path>
              </a:pathLst>
            </a:custGeom>
            <a:solidFill>
              <a:srgbClr val="080E11"/>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91" name="Google Shape;6541;p41">
              <a:extLst>
                <a:ext uri="{FF2B5EF4-FFF2-40B4-BE49-F238E27FC236}">
                  <a16:creationId xmlns:a16="http://schemas.microsoft.com/office/drawing/2014/main" id="{C4D59FE0-A450-6F45-8C2A-AAF4EEF5448B}"/>
                </a:ext>
              </a:extLst>
            </p:cNvPr>
            <p:cNvSpPr/>
            <p:nvPr/>
          </p:nvSpPr>
          <p:spPr>
            <a:xfrm>
              <a:off x="4345625" y="3038975"/>
              <a:ext cx="80925" cy="53800"/>
            </a:xfrm>
            <a:custGeom>
              <a:avLst/>
              <a:gdLst/>
              <a:ahLst/>
              <a:cxnLst/>
              <a:rect l="l" t="t" r="r" b="b"/>
              <a:pathLst>
                <a:path w="3237" h="2152" extrusionOk="0">
                  <a:moveTo>
                    <a:pt x="3236" y="1"/>
                  </a:moveTo>
                  <a:lnTo>
                    <a:pt x="377" y="1650"/>
                  </a:lnTo>
                  <a:lnTo>
                    <a:pt x="1" y="1868"/>
                  </a:lnTo>
                  <a:lnTo>
                    <a:pt x="1" y="2100"/>
                  </a:lnTo>
                  <a:cubicBezTo>
                    <a:pt x="1" y="2134"/>
                    <a:pt x="32" y="2151"/>
                    <a:pt x="83" y="2151"/>
                  </a:cubicBezTo>
                  <a:cubicBezTo>
                    <a:pt x="220" y="2151"/>
                    <a:pt x="520" y="2035"/>
                    <a:pt x="864" y="1837"/>
                  </a:cubicBezTo>
                  <a:lnTo>
                    <a:pt x="2373" y="963"/>
                  </a:lnTo>
                  <a:cubicBezTo>
                    <a:pt x="2847" y="691"/>
                    <a:pt x="3236" y="363"/>
                    <a:pt x="3236" y="233"/>
                  </a:cubicBezTo>
                  <a:lnTo>
                    <a:pt x="3236" y="1"/>
                  </a:lnTo>
                  <a:close/>
                </a:path>
              </a:pathLst>
            </a:custGeom>
            <a:solidFill>
              <a:srgbClr val="0A1216"/>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92" name="Google Shape;6542;p41">
              <a:extLst>
                <a:ext uri="{FF2B5EF4-FFF2-40B4-BE49-F238E27FC236}">
                  <a16:creationId xmlns:a16="http://schemas.microsoft.com/office/drawing/2014/main" id="{D6151E92-7F78-E044-B7D1-791A14534568}"/>
                </a:ext>
              </a:extLst>
            </p:cNvPr>
            <p:cNvSpPr/>
            <p:nvPr/>
          </p:nvSpPr>
          <p:spPr>
            <a:xfrm>
              <a:off x="4244625" y="3085650"/>
              <a:ext cx="262725" cy="221625"/>
            </a:xfrm>
            <a:custGeom>
              <a:avLst/>
              <a:gdLst/>
              <a:ahLst/>
              <a:cxnLst/>
              <a:rect l="l" t="t" r="r" b="b"/>
              <a:pathLst>
                <a:path w="10509" h="8865" extrusionOk="0">
                  <a:moveTo>
                    <a:pt x="10509" y="1"/>
                  </a:moveTo>
                  <a:lnTo>
                    <a:pt x="0" y="6065"/>
                  </a:lnTo>
                  <a:lnTo>
                    <a:pt x="0" y="8864"/>
                  </a:lnTo>
                  <a:lnTo>
                    <a:pt x="10509" y="2800"/>
                  </a:lnTo>
                  <a:lnTo>
                    <a:pt x="10509" y="1"/>
                  </a:lnTo>
                  <a:close/>
                </a:path>
              </a:pathLst>
            </a:custGeom>
            <a:solidFill>
              <a:srgbClr val="455A6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93" name="Google Shape;6543;p41">
              <a:extLst>
                <a:ext uri="{FF2B5EF4-FFF2-40B4-BE49-F238E27FC236}">
                  <a16:creationId xmlns:a16="http://schemas.microsoft.com/office/drawing/2014/main" id="{C597F051-25ED-2D4B-8E98-62C97FC1E600}"/>
                </a:ext>
              </a:extLst>
            </p:cNvPr>
            <p:cNvSpPr/>
            <p:nvPr/>
          </p:nvSpPr>
          <p:spPr>
            <a:xfrm>
              <a:off x="4345625" y="3177300"/>
              <a:ext cx="2950" cy="1625"/>
            </a:xfrm>
            <a:custGeom>
              <a:avLst/>
              <a:gdLst/>
              <a:ahLst/>
              <a:cxnLst/>
              <a:rect l="l" t="t" r="r" b="b"/>
              <a:pathLst>
                <a:path w="118" h="65" extrusionOk="0">
                  <a:moveTo>
                    <a:pt x="117" y="0"/>
                  </a:moveTo>
                  <a:lnTo>
                    <a:pt x="1" y="65"/>
                  </a:lnTo>
                  <a:lnTo>
                    <a:pt x="1" y="65"/>
                  </a:lnTo>
                  <a:close/>
                </a:path>
              </a:pathLst>
            </a:custGeom>
            <a:solidFill>
              <a:srgbClr val="080E11"/>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94" name="Google Shape;6544;p41">
              <a:extLst>
                <a:ext uri="{FF2B5EF4-FFF2-40B4-BE49-F238E27FC236}">
                  <a16:creationId xmlns:a16="http://schemas.microsoft.com/office/drawing/2014/main" id="{C3EBECF4-58F1-E942-8CD3-0A5BFB13D37D}"/>
                </a:ext>
              </a:extLst>
            </p:cNvPr>
            <p:cNvSpPr/>
            <p:nvPr/>
          </p:nvSpPr>
          <p:spPr>
            <a:xfrm>
              <a:off x="4345625" y="3132325"/>
              <a:ext cx="80925" cy="53775"/>
            </a:xfrm>
            <a:custGeom>
              <a:avLst/>
              <a:gdLst/>
              <a:ahLst/>
              <a:cxnLst/>
              <a:rect l="l" t="t" r="r" b="b"/>
              <a:pathLst>
                <a:path w="3237" h="2151" extrusionOk="0">
                  <a:moveTo>
                    <a:pt x="3236" y="0"/>
                  </a:moveTo>
                  <a:lnTo>
                    <a:pt x="117" y="1799"/>
                  </a:lnTo>
                  <a:lnTo>
                    <a:pt x="1" y="1864"/>
                  </a:lnTo>
                  <a:lnTo>
                    <a:pt x="1" y="2100"/>
                  </a:lnTo>
                  <a:cubicBezTo>
                    <a:pt x="1" y="2134"/>
                    <a:pt x="32" y="2151"/>
                    <a:pt x="83" y="2151"/>
                  </a:cubicBezTo>
                  <a:cubicBezTo>
                    <a:pt x="220" y="2151"/>
                    <a:pt x="520" y="2035"/>
                    <a:pt x="864" y="1834"/>
                  </a:cubicBezTo>
                  <a:lnTo>
                    <a:pt x="2373" y="963"/>
                  </a:lnTo>
                  <a:cubicBezTo>
                    <a:pt x="2847" y="687"/>
                    <a:pt x="3236" y="362"/>
                    <a:pt x="3236" y="233"/>
                  </a:cubicBezTo>
                  <a:lnTo>
                    <a:pt x="3236" y="0"/>
                  </a:lnTo>
                  <a:close/>
                </a:path>
              </a:pathLst>
            </a:custGeom>
            <a:solidFill>
              <a:srgbClr val="0A1216"/>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95" name="Google Shape;6545;p41">
              <a:extLst>
                <a:ext uri="{FF2B5EF4-FFF2-40B4-BE49-F238E27FC236}">
                  <a16:creationId xmlns:a16="http://schemas.microsoft.com/office/drawing/2014/main" id="{1F31EF66-AC78-AE42-B5B1-0FCCE54C10FB}"/>
                </a:ext>
              </a:extLst>
            </p:cNvPr>
            <p:cNvSpPr/>
            <p:nvPr/>
          </p:nvSpPr>
          <p:spPr>
            <a:xfrm>
              <a:off x="4244625" y="3318950"/>
              <a:ext cx="20225" cy="48800"/>
            </a:xfrm>
            <a:custGeom>
              <a:avLst/>
              <a:gdLst/>
              <a:ahLst/>
              <a:cxnLst/>
              <a:rect l="l" t="t" r="r" b="b"/>
              <a:pathLst>
                <a:path w="809" h="1952" extrusionOk="0">
                  <a:moveTo>
                    <a:pt x="809" y="0"/>
                  </a:moveTo>
                  <a:lnTo>
                    <a:pt x="0" y="468"/>
                  </a:lnTo>
                  <a:lnTo>
                    <a:pt x="0" y="1952"/>
                  </a:lnTo>
                  <a:lnTo>
                    <a:pt x="809" y="1488"/>
                  </a:lnTo>
                  <a:lnTo>
                    <a:pt x="809" y="0"/>
                  </a:ln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96" name="Google Shape;6546;p41">
              <a:extLst>
                <a:ext uri="{FF2B5EF4-FFF2-40B4-BE49-F238E27FC236}">
                  <a16:creationId xmlns:a16="http://schemas.microsoft.com/office/drawing/2014/main" id="{16DC4EA4-AD4D-C04F-A92A-FB1538A414C3}"/>
                </a:ext>
              </a:extLst>
            </p:cNvPr>
            <p:cNvSpPr/>
            <p:nvPr/>
          </p:nvSpPr>
          <p:spPr>
            <a:xfrm>
              <a:off x="4487125" y="3178900"/>
              <a:ext cx="20225" cy="46725"/>
            </a:xfrm>
            <a:custGeom>
              <a:avLst/>
              <a:gdLst/>
              <a:ahLst/>
              <a:cxnLst/>
              <a:rect l="l" t="t" r="r" b="b"/>
              <a:pathLst>
                <a:path w="809" h="1869" extrusionOk="0">
                  <a:moveTo>
                    <a:pt x="809" y="1"/>
                  </a:moveTo>
                  <a:lnTo>
                    <a:pt x="0" y="469"/>
                  </a:lnTo>
                  <a:lnTo>
                    <a:pt x="0" y="1868"/>
                  </a:lnTo>
                  <a:lnTo>
                    <a:pt x="809" y="1401"/>
                  </a:lnTo>
                  <a:lnTo>
                    <a:pt x="809" y="1"/>
                  </a:ln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97" name="Google Shape;6547;p41">
              <a:extLst>
                <a:ext uri="{FF2B5EF4-FFF2-40B4-BE49-F238E27FC236}">
                  <a16:creationId xmlns:a16="http://schemas.microsoft.com/office/drawing/2014/main" id="{B4BB05CA-2731-084C-9D52-ED8C9B45552E}"/>
                </a:ext>
              </a:extLst>
            </p:cNvPr>
            <p:cNvSpPr/>
            <p:nvPr/>
          </p:nvSpPr>
          <p:spPr>
            <a:xfrm>
              <a:off x="4039325" y="2843600"/>
              <a:ext cx="298850" cy="171175"/>
            </a:xfrm>
            <a:custGeom>
              <a:avLst/>
              <a:gdLst/>
              <a:ahLst/>
              <a:cxnLst/>
              <a:rect l="l" t="t" r="r" b="b"/>
              <a:pathLst>
                <a:path w="11954" h="6847" extrusionOk="0">
                  <a:moveTo>
                    <a:pt x="5057" y="0"/>
                  </a:moveTo>
                  <a:cubicBezTo>
                    <a:pt x="4995" y="0"/>
                    <a:pt x="4932" y="14"/>
                    <a:pt x="4884" y="41"/>
                  </a:cubicBezTo>
                  <a:lnTo>
                    <a:pt x="96" y="2805"/>
                  </a:lnTo>
                  <a:cubicBezTo>
                    <a:pt x="1" y="2860"/>
                    <a:pt x="1" y="2949"/>
                    <a:pt x="96" y="3004"/>
                  </a:cubicBezTo>
                  <a:lnTo>
                    <a:pt x="6680" y="6806"/>
                  </a:lnTo>
                  <a:cubicBezTo>
                    <a:pt x="6728" y="6833"/>
                    <a:pt x="6790" y="6846"/>
                    <a:pt x="6852" y="6846"/>
                  </a:cubicBezTo>
                  <a:cubicBezTo>
                    <a:pt x="6914" y="6846"/>
                    <a:pt x="6977" y="6833"/>
                    <a:pt x="7025" y="6806"/>
                  </a:cubicBezTo>
                  <a:lnTo>
                    <a:pt x="11857" y="4007"/>
                  </a:lnTo>
                  <a:cubicBezTo>
                    <a:pt x="11953" y="3952"/>
                    <a:pt x="11953" y="3864"/>
                    <a:pt x="11857" y="3809"/>
                  </a:cubicBezTo>
                  <a:lnTo>
                    <a:pt x="5229" y="41"/>
                  </a:lnTo>
                  <a:cubicBezTo>
                    <a:pt x="5182" y="14"/>
                    <a:pt x="5119" y="0"/>
                    <a:pt x="5057" y="0"/>
                  </a:cubicBezTo>
                  <a:close/>
                </a:path>
              </a:pathLst>
            </a:custGeom>
            <a:solidFill>
              <a:srgbClr val="E0E0E0"/>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98" name="Google Shape;6548;p41">
              <a:extLst>
                <a:ext uri="{FF2B5EF4-FFF2-40B4-BE49-F238E27FC236}">
                  <a16:creationId xmlns:a16="http://schemas.microsoft.com/office/drawing/2014/main" id="{76AE026C-55DA-4341-A5B9-888AC676390D}"/>
                </a:ext>
              </a:extLst>
            </p:cNvPr>
            <p:cNvSpPr/>
            <p:nvPr/>
          </p:nvSpPr>
          <p:spPr>
            <a:xfrm>
              <a:off x="4039250" y="2825975"/>
              <a:ext cx="299000" cy="188750"/>
            </a:xfrm>
            <a:custGeom>
              <a:avLst/>
              <a:gdLst/>
              <a:ahLst/>
              <a:cxnLst/>
              <a:rect l="l" t="t" r="r" b="b"/>
              <a:pathLst>
                <a:path w="11960" h="7550" extrusionOk="0">
                  <a:moveTo>
                    <a:pt x="5710" y="1"/>
                  </a:moveTo>
                  <a:cubicBezTo>
                    <a:pt x="5645" y="1"/>
                    <a:pt x="5581" y="16"/>
                    <a:pt x="5533" y="46"/>
                  </a:cubicBezTo>
                  <a:lnTo>
                    <a:pt x="95" y="3504"/>
                  </a:lnTo>
                  <a:cubicBezTo>
                    <a:pt x="0" y="3562"/>
                    <a:pt x="4" y="3654"/>
                    <a:pt x="99" y="3709"/>
                  </a:cubicBezTo>
                  <a:lnTo>
                    <a:pt x="6683" y="7511"/>
                  </a:lnTo>
                  <a:cubicBezTo>
                    <a:pt x="6728" y="7537"/>
                    <a:pt x="6787" y="7549"/>
                    <a:pt x="6846" y="7549"/>
                  </a:cubicBezTo>
                  <a:cubicBezTo>
                    <a:pt x="6911" y="7549"/>
                    <a:pt x="6976" y="7534"/>
                    <a:pt x="7024" y="7504"/>
                  </a:cubicBezTo>
                  <a:lnTo>
                    <a:pt x="11867" y="4384"/>
                  </a:lnTo>
                  <a:cubicBezTo>
                    <a:pt x="11959" y="4326"/>
                    <a:pt x="11956" y="4231"/>
                    <a:pt x="11860" y="4176"/>
                  </a:cubicBezTo>
                  <a:lnTo>
                    <a:pt x="7915" y="1879"/>
                  </a:lnTo>
                  <a:cubicBezTo>
                    <a:pt x="7820" y="1825"/>
                    <a:pt x="7785" y="1702"/>
                    <a:pt x="7833" y="1603"/>
                  </a:cubicBezTo>
                  <a:lnTo>
                    <a:pt x="7915" y="1446"/>
                  </a:lnTo>
                  <a:cubicBezTo>
                    <a:pt x="7963" y="1350"/>
                    <a:pt x="7929" y="1224"/>
                    <a:pt x="7833" y="1169"/>
                  </a:cubicBezTo>
                  <a:lnTo>
                    <a:pt x="5874" y="40"/>
                  </a:lnTo>
                  <a:cubicBezTo>
                    <a:pt x="5828" y="13"/>
                    <a:pt x="5769" y="1"/>
                    <a:pt x="5710" y="1"/>
                  </a:cubicBezTo>
                  <a:close/>
                </a:path>
              </a:pathLst>
            </a:custGeom>
            <a:solidFill>
              <a:srgbClr val="F5F5F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99" name="Google Shape;6549;p41">
              <a:extLst>
                <a:ext uri="{FF2B5EF4-FFF2-40B4-BE49-F238E27FC236}">
                  <a16:creationId xmlns:a16="http://schemas.microsoft.com/office/drawing/2014/main" id="{1487560B-88CB-8A4B-B54E-DB7A0E0FFA1E}"/>
                </a:ext>
              </a:extLst>
            </p:cNvPr>
            <p:cNvSpPr/>
            <p:nvPr/>
          </p:nvSpPr>
          <p:spPr>
            <a:xfrm>
              <a:off x="4319100" y="2562700"/>
              <a:ext cx="158825" cy="292600"/>
            </a:xfrm>
            <a:custGeom>
              <a:avLst/>
              <a:gdLst/>
              <a:ahLst/>
              <a:cxnLst/>
              <a:rect l="l" t="t" r="r" b="b"/>
              <a:pathLst>
                <a:path w="6353" h="11704" extrusionOk="0">
                  <a:moveTo>
                    <a:pt x="163" y="0"/>
                  </a:moveTo>
                  <a:cubicBezTo>
                    <a:pt x="148" y="0"/>
                    <a:pt x="135" y="4"/>
                    <a:pt x="123" y="11"/>
                  </a:cubicBezTo>
                  <a:cubicBezTo>
                    <a:pt x="96" y="28"/>
                    <a:pt x="0" y="83"/>
                    <a:pt x="0" y="83"/>
                  </a:cubicBezTo>
                  <a:lnTo>
                    <a:pt x="79" y="7898"/>
                  </a:lnTo>
                  <a:cubicBezTo>
                    <a:pt x="79" y="7997"/>
                    <a:pt x="148" y="8120"/>
                    <a:pt x="236" y="8172"/>
                  </a:cubicBezTo>
                  <a:lnTo>
                    <a:pt x="6353" y="11704"/>
                  </a:lnTo>
                  <a:lnTo>
                    <a:pt x="6353" y="3553"/>
                  </a:lnTo>
                  <a:lnTo>
                    <a:pt x="236" y="21"/>
                  </a:lnTo>
                  <a:cubicBezTo>
                    <a:pt x="210" y="7"/>
                    <a:pt x="185" y="0"/>
                    <a:pt x="163" y="0"/>
                  </a:cubicBez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00" name="Google Shape;6550;p41">
              <a:extLst>
                <a:ext uri="{FF2B5EF4-FFF2-40B4-BE49-F238E27FC236}">
                  <a16:creationId xmlns:a16="http://schemas.microsoft.com/office/drawing/2014/main" id="{C32547D2-77DE-EA4E-AA51-6A0A55D10CE0}"/>
                </a:ext>
              </a:extLst>
            </p:cNvPr>
            <p:cNvSpPr/>
            <p:nvPr/>
          </p:nvSpPr>
          <p:spPr>
            <a:xfrm>
              <a:off x="4319100" y="2562700"/>
              <a:ext cx="156425" cy="89200"/>
            </a:xfrm>
            <a:custGeom>
              <a:avLst/>
              <a:gdLst/>
              <a:ahLst/>
              <a:cxnLst/>
              <a:rect l="l" t="t" r="r" b="b"/>
              <a:pathLst>
                <a:path w="6257" h="3568" extrusionOk="0">
                  <a:moveTo>
                    <a:pt x="16" y="74"/>
                  </a:moveTo>
                  <a:lnTo>
                    <a:pt x="16" y="74"/>
                  </a:lnTo>
                  <a:cubicBezTo>
                    <a:pt x="11" y="76"/>
                    <a:pt x="6" y="79"/>
                    <a:pt x="0" y="83"/>
                  </a:cubicBezTo>
                  <a:cubicBezTo>
                    <a:pt x="0" y="83"/>
                    <a:pt x="7" y="79"/>
                    <a:pt x="16" y="74"/>
                  </a:cubicBezTo>
                  <a:close/>
                  <a:moveTo>
                    <a:pt x="164" y="1"/>
                  </a:moveTo>
                  <a:cubicBezTo>
                    <a:pt x="151" y="1"/>
                    <a:pt x="137" y="4"/>
                    <a:pt x="123" y="11"/>
                  </a:cubicBezTo>
                  <a:cubicBezTo>
                    <a:pt x="103" y="23"/>
                    <a:pt x="45" y="57"/>
                    <a:pt x="16" y="74"/>
                  </a:cubicBezTo>
                  <a:lnTo>
                    <a:pt x="16" y="74"/>
                  </a:lnTo>
                  <a:cubicBezTo>
                    <a:pt x="25" y="70"/>
                    <a:pt x="35" y="69"/>
                    <a:pt x="45" y="69"/>
                  </a:cubicBezTo>
                  <a:cubicBezTo>
                    <a:pt x="69" y="69"/>
                    <a:pt x="93" y="75"/>
                    <a:pt x="117" y="89"/>
                  </a:cubicBezTo>
                  <a:lnTo>
                    <a:pt x="6137" y="3567"/>
                  </a:lnTo>
                  <a:lnTo>
                    <a:pt x="6257" y="3499"/>
                  </a:lnTo>
                  <a:lnTo>
                    <a:pt x="236" y="21"/>
                  </a:lnTo>
                  <a:cubicBezTo>
                    <a:pt x="209" y="7"/>
                    <a:pt x="185" y="1"/>
                    <a:pt x="164" y="1"/>
                  </a:cubicBezTo>
                  <a:close/>
                </a:path>
              </a:pathLst>
            </a:custGeom>
            <a:solidFill>
              <a:schemeClr val="accent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01" name="Google Shape;6551;p41">
              <a:extLst>
                <a:ext uri="{FF2B5EF4-FFF2-40B4-BE49-F238E27FC236}">
                  <a16:creationId xmlns:a16="http://schemas.microsoft.com/office/drawing/2014/main" id="{1BC14ABD-C1EB-5B42-B5D3-311BB2FFE934}"/>
                </a:ext>
              </a:extLst>
            </p:cNvPr>
            <p:cNvSpPr/>
            <p:nvPr/>
          </p:nvSpPr>
          <p:spPr>
            <a:xfrm>
              <a:off x="4318075" y="2564425"/>
              <a:ext cx="156950" cy="292600"/>
            </a:xfrm>
            <a:custGeom>
              <a:avLst/>
              <a:gdLst/>
              <a:ahLst/>
              <a:cxnLst/>
              <a:rect l="l" t="t" r="r" b="b"/>
              <a:pathLst>
                <a:path w="6278" h="11704" extrusionOk="0">
                  <a:moveTo>
                    <a:pt x="89" y="1"/>
                  </a:moveTo>
                  <a:cubicBezTo>
                    <a:pt x="36" y="1"/>
                    <a:pt x="0" y="42"/>
                    <a:pt x="0" y="113"/>
                  </a:cubicBezTo>
                  <a:lnTo>
                    <a:pt x="0" y="7898"/>
                  </a:lnTo>
                  <a:cubicBezTo>
                    <a:pt x="0" y="7997"/>
                    <a:pt x="69" y="8120"/>
                    <a:pt x="158" y="8170"/>
                  </a:cubicBezTo>
                  <a:lnTo>
                    <a:pt x="6277" y="11703"/>
                  </a:lnTo>
                  <a:lnTo>
                    <a:pt x="6274" y="3553"/>
                  </a:lnTo>
                  <a:lnTo>
                    <a:pt x="158" y="20"/>
                  </a:lnTo>
                  <a:cubicBezTo>
                    <a:pt x="133" y="7"/>
                    <a:pt x="109" y="1"/>
                    <a:pt x="89" y="1"/>
                  </a:cubicBez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02" name="Google Shape;6552;p41">
              <a:extLst>
                <a:ext uri="{FF2B5EF4-FFF2-40B4-BE49-F238E27FC236}">
                  <a16:creationId xmlns:a16="http://schemas.microsoft.com/office/drawing/2014/main" id="{41098B29-74A0-904C-8544-DD564C894DD5}"/>
                </a:ext>
              </a:extLst>
            </p:cNvPr>
            <p:cNvSpPr/>
            <p:nvPr/>
          </p:nvSpPr>
          <p:spPr>
            <a:xfrm>
              <a:off x="4318075" y="2564400"/>
              <a:ext cx="154475" cy="98250"/>
            </a:xfrm>
            <a:custGeom>
              <a:avLst/>
              <a:gdLst/>
              <a:ahLst/>
              <a:cxnLst/>
              <a:rect l="l" t="t" r="r" b="b"/>
              <a:pathLst>
                <a:path w="6179" h="3930" extrusionOk="0">
                  <a:moveTo>
                    <a:pt x="86" y="1"/>
                  </a:moveTo>
                  <a:cubicBezTo>
                    <a:pt x="35" y="1"/>
                    <a:pt x="0" y="42"/>
                    <a:pt x="0" y="114"/>
                  </a:cubicBezTo>
                  <a:lnTo>
                    <a:pt x="0" y="247"/>
                  </a:lnTo>
                  <a:lnTo>
                    <a:pt x="96" y="188"/>
                  </a:lnTo>
                  <a:lnTo>
                    <a:pt x="110" y="196"/>
                  </a:lnTo>
                  <a:cubicBezTo>
                    <a:pt x="123" y="175"/>
                    <a:pt x="148" y="161"/>
                    <a:pt x="178" y="161"/>
                  </a:cubicBezTo>
                  <a:cubicBezTo>
                    <a:pt x="195" y="161"/>
                    <a:pt x="219" y="168"/>
                    <a:pt x="243" y="182"/>
                  </a:cubicBezTo>
                  <a:lnTo>
                    <a:pt x="5431" y="3175"/>
                  </a:lnTo>
                  <a:lnTo>
                    <a:pt x="5431" y="3540"/>
                  </a:lnTo>
                  <a:cubicBezTo>
                    <a:pt x="5444" y="3547"/>
                    <a:pt x="5458" y="3554"/>
                    <a:pt x="5472" y="3564"/>
                  </a:cubicBezTo>
                  <a:cubicBezTo>
                    <a:pt x="5547" y="3605"/>
                    <a:pt x="5602" y="3660"/>
                    <a:pt x="5636" y="3721"/>
                  </a:cubicBezTo>
                  <a:lnTo>
                    <a:pt x="5639" y="3721"/>
                  </a:lnTo>
                  <a:cubicBezTo>
                    <a:pt x="5652" y="3745"/>
                    <a:pt x="5663" y="3769"/>
                    <a:pt x="5670" y="3792"/>
                  </a:cubicBezTo>
                  <a:lnTo>
                    <a:pt x="6178" y="3499"/>
                  </a:lnTo>
                  <a:lnTo>
                    <a:pt x="158" y="21"/>
                  </a:lnTo>
                  <a:cubicBezTo>
                    <a:pt x="134" y="7"/>
                    <a:pt x="110" y="1"/>
                    <a:pt x="86" y="1"/>
                  </a:cubicBezTo>
                  <a:close/>
                  <a:moveTo>
                    <a:pt x="5431" y="3643"/>
                  </a:moveTo>
                  <a:lnTo>
                    <a:pt x="5431" y="3929"/>
                  </a:lnTo>
                  <a:lnTo>
                    <a:pt x="5584" y="3841"/>
                  </a:lnTo>
                  <a:cubicBezTo>
                    <a:pt x="5575" y="3769"/>
                    <a:pt x="5523" y="3701"/>
                    <a:pt x="5431" y="3643"/>
                  </a:cubicBez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03" name="Google Shape;6553;p41">
              <a:extLst>
                <a:ext uri="{FF2B5EF4-FFF2-40B4-BE49-F238E27FC236}">
                  <a16:creationId xmlns:a16="http://schemas.microsoft.com/office/drawing/2014/main" id="{EC33BA2C-8431-284C-B44F-5F18C8C20EC6}"/>
                </a:ext>
              </a:extLst>
            </p:cNvPr>
            <p:cNvSpPr/>
            <p:nvPr/>
          </p:nvSpPr>
          <p:spPr>
            <a:xfrm>
              <a:off x="4305375" y="2568400"/>
              <a:ext cx="148500" cy="288700"/>
            </a:xfrm>
            <a:custGeom>
              <a:avLst/>
              <a:gdLst/>
              <a:ahLst/>
              <a:cxnLst/>
              <a:rect l="l" t="t" r="r" b="b"/>
              <a:pathLst>
                <a:path w="5940" h="11548" extrusionOk="0">
                  <a:moveTo>
                    <a:pt x="684" y="1"/>
                  </a:moveTo>
                  <a:cubicBezTo>
                    <a:pt x="657" y="1"/>
                    <a:pt x="634" y="14"/>
                    <a:pt x="618" y="36"/>
                  </a:cubicBezTo>
                  <a:lnTo>
                    <a:pt x="604" y="28"/>
                  </a:lnTo>
                  <a:lnTo>
                    <a:pt x="1" y="380"/>
                  </a:lnTo>
                  <a:lnTo>
                    <a:pt x="594" y="718"/>
                  </a:lnTo>
                  <a:lnTo>
                    <a:pt x="594" y="7895"/>
                  </a:lnTo>
                  <a:cubicBezTo>
                    <a:pt x="594" y="7998"/>
                    <a:pt x="666" y="8120"/>
                    <a:pt x="751" y="8172"/>
                  </a:cubicBezTo>
                  <a:lnTo>
                    <a:pt x="5280" y="10787"/>
                  </a:lnTo>
                  <a:lnTo>
                    <a:pt x="5280" y="11548"/>
                  </a:lnTo>
                  <a:lnTo>
                    <a:pt x="5939" y="11168"/>
                  </a:lnTo>
                  <a:lnTo>
                    <a:pt x="5939" y="3015"/>
                  </a:lnTo>
                  <a:lnTo>
                    <a:pt x="751" y="22"/>
                  </a:lnTo>
                  <a:cubicBezTo>
                    <a:pt x="727" y="7"/>
                    <a:pt x="704" y="1"/>
                    <a:pt x="684" y="1"/>
                  </a:cubicBezTo>
                  <a:close/>
                </a:path>
              </a:pathLst>
            </a:custGeom>
            <a:solidFill>
              <a:srgbClr val="EBEBEB"/>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04" name="Google Shape;6554;p41">
              <a:extLst>
                <a:ext uri="{FF2B5EF4-FFF2-40B4-BE49-F238E27FC236}">
                  <a16:creationId xmlns:a16="http://schemas.microsoft.com/office/drawing/2014/main" id="{8E2B3606-46E5-D04A-9989-3360FEE3D286}"/>
                </a:ext>
              </a:extLst>
            </p:cNvPr>
            <p:cNvSpPr/>
            <p:nvPr/>
          </p:nvSpPr>
          <p:spPr>
            <a:xfrm>
              <a:off x="4303650" y="2577925"/>
              <a:ext cx="133725" cy="279175"/>
            </a:xfrm>
            <a:custGeom>
              <a:avLst/>
              <a:gdLst/>
              <a:ahLst/>
              <a:cxnLst/>
              <a:rect l="l" t="t" r="r" b="b"/>
              <a:pathLst>
                <a:path w="5349" h="11167" extrusionOk="0">
                  <a:moveTo>
                    <a:pt x="89" y="1"/>
                  </a:moveTo>
                  <a:cubicBezTo>
                    <a:pt x="37" y="1"/>
                    <a:pt x="1" y="42"/>
                    <a:pt x="1" y="112"/>
                  </a:cubicBezTo>
                  <a:lnTo>
                    <a:pt x="4" y="7897"/>
                  </a:lnTo>
                  <a:cubicBezTo>
                    <a:pt x="4" y="7996"/>
                    <a:pt x="73" y="8119"/>
                    <a:pt x="161" y="8169"/>
                  </a:cubicBezTo>
                  <a:lnTo>
                    <a:pt x="5349" y="11167"/>
                  </a:lnTo>
                  <a:lnTo>
                    <a:pt x="5346" y="3016"/>
                  </a:lnTo>
                  <a:lnTo>
                    <a:pt x="161" y="23"/>
                  </a:lnTo>
                  <a:cubicBezTo>
                    <a:pt x="135" y="8"/>
                    <a:pt x="111" y="1"/>
                    <a:pt x="89" y="1"/>
                  </a:cubicBezTo>
                  <a:close/>
                </a:path>
              </a:pathLst>
            </a:custGeom>
            <a:solidFill>
              <a:srgbClr val="FAFAFA"/>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05" name="Google Shape;6555;p41">
              <a:extLst>
                <a:ext uri="{FF2B5EF4-FFF2-40B4-BE49-F238E27FC236}">
                  <a16:creationId xmlns:a16="http://schemas.microsoft.com/office/drawing/2014/main" id="{44E39561-2E7F-C746-84C2-910B154B43DB}"/>
                </a:ext>
              </a:extLst>
            </p:cNvPr>
            <p:cNvSpPr/>
            <p:nvPr/>
          </p:nvSpPr>
          <p:spPr>
            <a:xfrm>
              <a:off x="4437275" y="2643750"/>
              <a:ext cx="16600" cy="213350"/>
            </a:xfrm>
            <a:custGeom>
              <a:avLst/>
              <a:gdLst/>
              <a:ahLst/>
              <a:cxnLst/>
              <a:rect l="l" t="t" r="r" b="b"/>
              <a:pathLst>
                <a:path w="664" h="8534" extrusionOk="0">
                  <a:moveTo>
                    <a:pt x="663" y="1"/>
                  </a:moveTo>
                  <a:lnTo>
                    <a:pt x="1" y="383"/>
                  </a:lnTo>
                  <a:lnTo>
                    <a:pt x="4" y="8534"/>
                  </a:lnTo>
                  <a:lnTo>
                    <a:pt x="663" y="8154"/>
                  </a:lnTo>
                  <a:lnTo>
                    <a:pt x="663" y="1"/>
                  </a:lnTo>
                  <a:close/>
                </a:path>
              </a:pathLst>
            </a:custGeom>
            <a:solidFill>
              <a:srgbClr val="E6E6E6"/>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06" name="Google Shape;6556;p41">
              <a:extLst>
                <a:ext uri="{FF2B5EF4-FFF2-40B4-BE49-F238E27FC236}">
                  <a16:creationId xmlns:a16="http://schemas.microsoft.com/office/drawing/2014/main" id="{E651A515-EECD-2540-A271-A542345AC6E7}"/>
                </a:ext>
              </a:extLst>
            </p:cNvPr>
            <p:cNvSpPr/>
            <p:nvPr/>
          </p:nvSpPr>
          <p:spPr>
            <a:xfrm>
              <a:off x="4427725" y="2654600"/>
              <a:ext cx="4200" cy="6125"/>
            </a:xfrm>
            <a:custGeom>
              <a:avLst/>
              <a:gdLst/>
              <a:ahLst/>
              <a:cxnLst/>
              <a:rect l="l" t="t" r="r" b="b"/>
              <a:pathLst>
                <a:path w="168" h="245" extrusionOk="0">
                  <a:moveTo>
                    <a:pt x="50" y="0"/>
                  </a:moveTo>
                  <a:cubicBezTo>
                    <a:pt x="21" y="0"/>
                    <a:pt x="1" y="28"/>
                    <a:pt x="1" y="76"/>
                  </a:cubicBezTo>
                  <a:cubicBezTo>
                    <a:pt x="1" y="99"/>
                    <a:pt x="7" y="130"/>
                    <a:pt x="21" y="157"/>
                  </a:cubicBezTo>
                  <a:cubicBezTo>
                    <a:pt x="34" y="192"/>
                    <a:pt x="58" y="219"/>
                    <a:pt x="86" y="236"/>
                  </a:cubicBezTo>
                  <a:cubicBezTo>
                    <a:pt x="89" y="236"/>
                    <a:pt x="89" y="239"/>
                    <a:pt x="96" y="239"/>
                  </a:cubicBezTo>
                  <a:cubicBezTo>
                    <a:pt x="104" y="243"/>
                    <a:pt x="112" y="244"/>
                    <a:pt x="119" y="244"/>
                  </a:cubicBezTo>
                  <a:cubicBezTo>
                    <a:pt x="148" y="244"/>
                    <a:pt x="168" y="217"/>
                    <a:pt x="168" y="171"/>
                  </a:cubicBezTo>
                  <a:cubicBezTo>
                    <a:pt x="168" y="151"/>
                    <a:pt x="165" y="130"/>
                    <a:pt x="157" y="110"/>
                  </a:cubicBezTo>
                  <a:cubicBezTo>
                    <a:pt x="147" y="79"/>
                    <a:pt x="130" y="49"/>
                    <a:pt x="106" y="31"/>
                  </a:cubicBezTo>
                  <a:cubicBezTo>
                    <a:pt x="99" y="21"/>
                    <a:pt x="93" y="17"/>
                    <a:pt x="83" y="11"/>
                  </a:cubicBezTo>
                  <a:cubicBezTo>
                    <a:pt x="71" y="4"/>
                    <a:pt x="60" y="0"/>
                    <a:pt x="50" y="0"/>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07" name="Google Shape;6557;p41">
              <a:extLst>
                <a:ext uri="{FF2B5EF4-FFF2-40B4-BE49-F238E27FC236}">
                  <a16:creationId xmlns:a16="http://schemas.microsoft.com/office/drawing/2014/main" id="{0237E74C-6A10-EA4E-AFA6-A385A457C33B}"/>
                </a:ext>
              </a:extLst>
            </p:cNvPr>
            <p:cNvSpPr/>
            <p:nvPr/>
          </p:nvSpPr>
          <p:spPr>
            <a:xfrm>
              <a:off x="4427475" y="2652900"/>
              <a:ext cx="32875" cy="18500"/>
            </a:xfrm>
            <a:custGeom>
              <a:avLst/>
              <a:gdLst/>
              <a:ahLst/>
              <a:cxnLst/>
              <a:rect l="l" t="t" r="r" b="b"/>
              <a:pathLst>
                <a:path w="1315" h="740" extrusionOk="0">
                  <a:moveTo>
                    <a:pt x="1055" y="0"/>
                  </a:moveTo>
                  <a:lnTo>
                    <a:pt x="1055" y="103"/>
                  </a:lnTo>
                  <a:cubicBezTo>
                    <a:pt x="1267" y="229"/>
                    <a:pt x="1263" y="430"/>
                    <a:pt x="1048" y="553"/>
                  </a:cubicBezTo>
                  <a:cubicBezTo>
                    <a:pt x="941" y="616"/>
                    <a:pt x="799" y="648"/>
                    <a:pt x="657" y="648"/>
                  </a:cubicBezTo>
                  <a:cubicBezTo>
                    <a:pt x="516" y="648"/>
                    <a:pt x="374" y="616"/>
                    <a:pt x="266" y="553"/>
                  </a:cubicBezTo>
                  <a:cubicBezTo>
                    <a:pt x="147" y="488"/>
                    <a:pt x="93" y="396"/>
                    <a:pt x="106" y="307"/>
                  </a:cubicBezTo>
                  <a:cubicBezTo>
                    <a:pt x="106" y="263"/>
                    <a:pt x="130" y="219"/>
                    <a:pt x="167" y="178"/>
                  </a:cubicBezTo>
                  <a:cubicBezTo>
                    <a:pt x="157" y="147"/>
                    <a:pt x="140" y="117"/>
                    <a:pt x="116" y="99"/>
                  </a:cubicBezTo>
                  <a:cubicBezTo>
                    <a:pt x="76" y="137"/>
                    <a:pt x="48" y="181"/>
                    <a:pt x="31" y="225"/>
                  </a:cubicBezTo>
                  <a:cubicBezTo>
                    <a:pt x="0" y="307"/>
                    <a:pt x="3" y="393"/>
                    <a:pt x="52" y="474"/>
                  </a:cubicBezTo>
                  <a:cubicBezTo>
                    <a:pt x="89" y="536"/>
                    <a:pt x="144" y="588"/>
                    <a:pt x="219" y="632"/>
                  </a:cubicBezTo>
                  <a:cubicBezTo>
                    <a:pt x="342" y="703"/>
                    <a:pt x="500" y="739"/>
                    <a:pt x="657" y="739"/>
                  </a:cubicBezTo>
                  <a:cubicBezTo>
                    <a:pt x="814" y="739"/>
                    <a:pt x="971" y="703"/>
                    <a:pt x="1092" y="632"/>
                  </a:cubicBezTo>
                  <a:cubicBezTo>
                    <a:pt x="1188" y="580"/>
                    <a:pt x="1253" y="512"/>
                    <a:pt x="1284" y="430"/>
                  </a:cubicBezTo>
                  <a:cubicBezTo>
                    <a:pt x="1314" y="348"/>
                    <a:pt x="1307" y="260"/>
                    <a:pt x="1263" y="181"/>
                  </a:cubicBezTo>
                  <a:lnTo>
                    <a:pt x="1260" y="181"/>
                  </a:lnTo>
                  <a:cubicBezTo>
                    <a:pt x="1226" y="120"/>
                    <a:pt x="1171" y="65"/>
                    <a:pt x="1096" y="24"/>
                  </a:cubicBezTo>
                  <a:cubicBezTo>
                    <a:pt x="1082" y="14"/>
                    <a:pt x="1068" y="7"/>
                    <a:pt x="1055" y="0"/>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08" name="Google Shape;6558;p41">
              <a:extLst>
                <a:ext uri="{FF2B5EF4-FFF2-40B4-BE49-F238E27FC236}">
                  <a16:creationId xmlns:a16="http://schemas.microsoft.com/office/drawing/2014/main" id="{3C27BAD3-51AF-7B49-B9FD-70D8FCCF935A}"/>
                </a:ext>
              </a:extLst>
            </p:cNvPr>
            <p:cNvSpPr/>
            <p:nvPr/>
          </p:nvSpPr>
          <p:spPr>
            <a:xfrm>
              <a:off x="4295825" y="2576450"/>
              <a:ext cx="143525" cy="96350"/>
            </a:xfrm>
            <a:custGeom>
              <a:avLst/>
              <a:gdLst/>
              <a:ahLst/>
              <a:cxnLst/>
              <a:rect l="l" t="t" r="r" b="b"/>
              <a:pathLst>
                <a:path w="5741" h="3854" extrusionOk="0">
                  <a:moveTo>
                    <a:pt x="166" y="0"/>
                  </a:moveTo>
                  <a:cubicBezTo>
                    <a:pt x="137" y="0"/>
                    <a:pt x="109" y="7"/>
                    <a:pt x="89" y="21"/>
                  </a:cubicBezTo>
                  <a:lnTo>
                    <a:pt x="0" y="68"/>
                  </a:lnTo>
                  <a:lnTo>
                    <a:pt x="5621" y="3854"/>
                  </a:lnTo>
                  <a:lnTo>
                    <a:pt x="5740" y="3785"/>
                  </a:lnTo>
                  <a:lnTo>
                    <a:pt x="246" y="21"/>
                  </a:lnTo>
                  <a:cubicBezTo>
                    <a:pt x="224" y="7"/>
                    <a:pt x="195" y="0"/>
                    <a:pt x="166" y="0"/>
                  </a:cubicBez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09" name="Google Shape;6559;p41">
              <a:extLst>
                <a:ext uri="{FF2B5EF4-FFF2-40B4-BE49-F238E27FC236}">
                  <a16:creationId xmlns:a16="http://schemas.microsoft.com/office/drawing/2014/main" id="{F5E59EEC-BB95-2D4A-B83F-FDC03CA5759A}"/>
                </a:ext>
              </a:extLst>
            </p:cNvPr>
            <p:cNvSpPr/>
            <p:nvPr/>
          </p:nvSpPr>
          <p:spPr>
            <a:xfrm>
              <a:off x="4295825" y="2576450"/>
              <a:ext cx="143525" cy="96275"/>
            </a:xfrm>
            <a:custGeom>
              <a:avLst/>
              <a:gdLst/>
              <a:ahLst/>
              <a:cxnLst/>
              <a:rect l="l" t="t" r="r" b="b"/>
              <a:pathLst>
                <a:path w="5741" h="3851" extrusionOk="0">
                  <a:moveTo>
                    <a:pt x="167" y="0"/>
                  </a:moveTo>
                  <a:cubicBezTo>
                    <a:pt x="137" y="0"/>
                    <a:pt x="109" y="7"/>
                    <a:pt x="89" y="21"/>
                  </a:cubicBezTo>
                  <a:lnTo>
                    <a:pt x="0" y="68"/>
                  </a:lnTo>
                  <a:cubicBezTo>
                    <a:pt x="14" y="62"/>
                    <a:pt x="27" y="58"/>
                    <a:pt x="41" y="58"/>
                  </a:cubicBezTo>
                  <a:cubicBezTo>
                    <a:pt x="65" y="58"/>
                    <a:pt x="89" y="65"/>
                    <a:pt x="112" y="82"/>
                  </a:cubicBezTo>
                  <a:lnTo>
                    <a:pt x="5625" y="3850"/>
                  </a:lnTo>
                  <a:lnTo>
                    <a:pt x="5740" y="3785"/>
                  </a:lnTo>
                  <a:lnTo>
                    <a:pt x="5734" y="3781"/>
                  </a:lnTo>
                  <a:lnTo>
                    <a:pt x="5293" y="3478"/>
                  </a:lnTo>
                  <a:lnTo>
                    <a:pt x="342" y="86"/>
                  </a:lnTo>
                  <a:lnTo>
                    <a:pt x="246" y="21"/>
                  </a:lnTo>
                  <a:cubicBezTo>
                    <a:pt x="225" y="7"/>
                    <a:pt x="194" y="0"/>
                    <a:pt x="167" y="0"/>
                  </a:cubicBezTo>
                  <a:close/>
                </a:path>
              </a:pathLst>
            </a:custGeom>
            <a:solidFill>
              <a:srgbClr val="1FB299"/>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10" name="Google Shape;6560;p41">
              <a:extLst>
                <a:ext uri="{FF2B5EF4-FFF2-40B4-BE49-F238E27FC236}">
                  <a16:creationId xmlns:a16="http://schemas.microsoft.com/office/drawing/2014/main" id="{6BC8276C-DD18-4446-B038-8AF83C96D84B}"/>
                </a:ext>
              </a:extLst>
            </p:cNvPr>
            <p:cNvSpPr/>
            <p:nvPr/>
          </p:nvSpPr>
          <p:spPr>
            <a:xfrm>
              <a:off x="4294700" y="2577925"/>
              <a:ext cx="144050" cy="299975"/>
            </a:xfrm>
            <a:custGeom>
              <a:avLst/>
              <a:gdLst/>
              <a:ahLst/>
              <a:cxnLst/>
              <a:rect l="l" t="t" r="r" b="b"/>
              <a:pathLst>
                <a:path w="5762" h="11999" extrusionOk="0">
                  <a:moveTo>
                    <a:pt x="86" y="1"/>
                  </a:moveTo>
                  <a:cubicBezTo>
                    <a:pt x="35" y="1"/>
                    <a:pt x="1" y="42"/>
                    <a:pt x="1" y="112"/>
                  </a:cubicBezTo>
                  <a:lnTo>
                    <a:pt x="1" y="7897"/>
                  </a:lnTo>
                  <a:cubicBezTo>
                    <a:pt x="1" y="7999"/>
                    <a:pt x="69" y="8122"/>
                    <a:pt x="157" y="8169"/>
                  </a:cubicBezTo>
                  <a:lnTo>
                    <a:pt x="5762" y="11999"/>
                  </a:lnTo>
                  <a:lnTo>
                    <a:pt x="5758" y="3849"/>
                  </a:lnTo>
                  <a:lnTo>
                    <a:pt x="157" y="23"/>
                  </a:lnTo>
                  <a:cubicBezTo>
                    <a:pt x="131" y="8"/>
                    <a:pt x="107" y="1"/>
                    <a:pt x="86" y="1"/>
                  </a:cubicBezTo>
                  <a:close/>
                </a:path>
              </a:pathLst>
            </a:custGeom>
            <a:solidFill>
              <a:schemeClr val="accent6"/>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11" name="Google Shape;6561;p41">
              <a:extLst>
                <a:ext uri="{FF2B5EF4-FFF2-40B4-BE49-F238E27FC236}">
                  <a16:creationId xmlns:a16="http://schemas.microsoft.com/office/drawing/2014/main" id="{580D5A65-48DB-6C47-B859-2353B51C2FCE}"/>
                </a:ext>
              </a:extLst>
            </p:cNvPr>
            <p:cNvSpPr/>
            <p:nvPr/>
          </p:nvSpPr>
          <p:spPr>
            <a:xfrm>
              <a:off x="4438650" y="2651525"/>
              <a:ext cx="39275" cy="226475"/>
            </a:xfrm>
            <a:custGeom>
              <a:avLst/>
              <a:gdLst/>
              <a:ahLst/>
              <a:cxnLst/>
              <a:rect l="l" t="t" r="r" b="b"/>
              <a:pathLst>
                <a:path w="1571" h="9059" extrusionOk="0">
                  <a:moveTo>
                    <a:pt x="1571" y="0"/>
                  </a:moveTo>
                  <a:lnTo>
                    <a:pt x="0" y="905"/>
                  </a:lnTo>
                  <a:lnTo>
                    <a:pt x="0" y="9059"/>
                  </a:lnTo>
                  <a:lnTo>
                    <a:pt x="1571" y="8151"/>
                  </a:lnTo>
                  <a:lnTo>
                    <a:pt x="1571" y="0"/>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12" name="Google Shape;6562;p41">
              <a:extLst>
                <a:ext uri="{FF2B5EF4-FFF2-40B4-BE49-F238E27FC236}">
                  <a16:creationId xmlns:a16="http://schemas.microsoft.com/office/drawing/2014/main" id="{66E3720B-117E-C24B-B6D0-2F3CA3E15952}"/>
                </a:ext>
              </a:extLst>
            </p:cNvPr>
            <p:cNvSpPr/>
            <p:nvPr/>
          </p:nvSpPr>
          <p:spPr>
            <a:xfrm>
              <a:off x="4438650" y="2651525"/>
              <a:ext cx="39275" cy="226475"/>
            </a:xfrm>
            <a:custGeom>
              <a:avLst/>
              <a:gdLst/>
              <a:ahLst/>
              <a:cxnLst/>
              <a:rect l="l" t="t" r="r" b="b"/>
              <a:pathLst>
                <a:path w="1571" h="9059" extrusionOk="0">
                  <a:moveTo>
                    <a:pt x="1571" y="0"/>
                  </a:moveTo>
                  <a:lnTo>
                    <a:pt x="854" y="413"/>
                  </a:lnTo>
                  <a:lnTo>
                    <a:pt x="738" y="479"/>
                  </a:lnTo>
                  <a:lnTo>
                    <a:pt x="608" y="553"/>
                  </a:lnTo>
                  <a:lnTo>
                    <a:pt x="379" y="687"/>
                  </a:lnTo>
                  <a:lnTo>
                    <a:pt x="0" y="905"/>
                  </a:lnTo>
                  <a:lnTo>
                    <a:pt x="0" y="9059"/>
                  </a:lnTo>
                  <a:lnTo>
                    <a:pt x="1571" y="8151"/>
                  </a:lnTo>
                  <a:lnTo>
                    <a:pt x="1571" y="0"/>
                  </a:lnTo>
                  <a:close/>
                </a:path>
              </a:pathLst>
            </a:custGeom>
            <a:solidFill>
              <a:schemeClr val="accent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13" name="Google Shape;6563;p41">
              <a:extLst>
                <a:ext uri="{FF2B5EF4-FFF2-40B4-BE49-F238E27FC236}">
                  <a16:creationId xmlns:a16="http://schemas.microsoft.com/office/drawing/2014/main" id="{10277F74-FE81-AC43-90BB-99BC835F3915}"/>
                </a:ext>
              </a:extLst>
            </p:cNvPr>
            <p:cNvSpPr/>
            <p:nvPr/>
          </p:nvSpPr>
          <p:spPr>
            <a:xfrm>
              <a:off x="4447275" y="2692550"/>
              <a:ext cx="24150" cy="29900"/>
            </a:xfrm>
            <a:custGeom>
              <a:avLst/>
              <a:gdLst/>
              <a:ahLst/>
              <a:cxnLst/>
              <a:rect l="l" t="t" r="r" b="b"/>
              <a:pathLst>
                <a:path w="966" h="1196" extrusionOk="0">
                  <a:moveTo>
                    <a:pt x="654" y="1"/>
                  </a:moveTo>
                  <a:cubicBezTo>
                    <a:pt x="584" y="1"/>
                    <a:pt x="511" y="23"/>
                    <a:pt x="437" y="66"/>
                  </a:cubicBezTo>
                  <a:cubicBezTo>
                    <a:pt x="191" y="206"/>
                    <a:pt x="0" y="541"/>
                    <a:pt x="0" y="824"/>
                  </a:cubicBezTo>
                  <a:cubicBezTo>
                    <a:pt x="0" y="913"/>
                    <a:pt x="17" y="988"/>
                    <a:pt x="51" y="1049"/>
                  </a:cubicBezTo>
                  <a:cubicBezTo>
                    <a:pt x="107" y="1146"/>
                    <a:pt x="199" y="1195"/>
                    <a:pt x="306" y="1195"/>
                  </a:cubicBezTo>
                  <a:cubicBezTo>
                    <a:pt x="376" y="1195"/>
                    <a:pt x="452" y="1174"/>
                    <a:pt x="529" y="1131"/>
                  </a:cubicBezTo>
                  <a:cubicBezTo>
                    <a:pt x="775" y="988"/>
                    <a:pt x="966" y="653"/>
                    <a:pt x="966" y="369"/>
                  </a:cubicBezTo>
                  <a:cubicBezTo>
                    <a:pt x="966" y="284"/>
                    <a:pt x="949" y="210"/>
                    <a:pt x="911" y="148"/>
                  </a:cubicBezTo>
                  <a:cubicBezTo>
                    <a:pt x="867" y="66"/>
                    <a:pt x="792" y="15"/>
                    <a:pt x="706" y="5"/>
                  </a:cubicBezTo>
                  <a:cubicBezTo>
                    <a:pt x="689" y="2"/>
                    <a:pt x="672" y="1"/>
                    <a:pt x="654" y="1"/>
                  </a:cubicBezTo>
                  <a:close/>
                </a:path>
              </a:pathLst>
            </a:custGeom>
            <a:solidFill>
              <a:srgbClr val="455A6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14" name="Google Shape;6564;p41">
              <a:extLst>
                <a:ext uri="{FF2B5EF4-FFF2-40B4-BE49-F238E27FC236}">
                  <a16:creationId xmlns:a16="http://schemas.microsoft.com/office/drawing/2014/main" id="{875FF61D-1A9F-4246-B1D2-E7177083F4C8}"/>
                </a:ext>
              </a:extLst>
            </p:cNvPr>
            <p:cNvSpPr/>
            <p:nvPr/>
          </p:nvSpPr>
          <p:spPr>
            <a:xfrm>
              <a:off x="4449475" y="2694800"/>
              <a:ext cx="19650" cy="25350"/>
            </a:xfrm>
            <a:custGeom>
              <a:avLst/>
              <a:gdLst/>
              <a:ahLst/>
              <a:cxnLst/>
              <a:rect l="l" t="t" r="r" b="b"/>
              <a:pathLst>
                <a:path w="786" h="1014" extrusionOk="0">
                  <a:moveTo>
                    <a:pt x="569" y="0"/>
                  </a:moveTo>
                  <a:cubicBezTo>
                    <a:pt x="517" y="0"/>
                    <a:pt x="457" y="17"/>
                    <a:pt x="393" y="54"/>
                  </a:cubicBezTo>
                  <a:cubicBezTo>
                    <a:pt x="178" y="181"/>
                    <a:pt x="4" y="484"/>
                    <a:pt x="1" y="734"/>
                  </a:cubicBezTo>
                  <a:cubicBezTo>
                    <a:pt x="1" y="911"/>
                    <a:pt x="90" y="1013"/>
                    <a:pt x="218" y="1013"/>
                  </a:cubicBezTo>
                  <a:cubicBezTo>
                    <a:pt x="271" y="1013"/>
                    <a:pt x="331" y="996"/>
                    <a:pt x="393" y="959"/>
                  </a:cubicBezTo>
                  <a:cubicBezTo>
                    <a:pt x="612" y="836"/>
                    <a:pt x="785" y="533"/>
                    <a:pt x="785" y="279"/>
                  </a:cubicBezTo>
                  <a:cubicBezTo>
                    <a:pt x="785" y="103"/>
                    <a:pt x="698" y="0"/>
                    <a:pt x="569" y="0"/>
                  </a:cubicBezTo>
                  <a:close/>
                </a:path>
              </a:pathLst>
            </a:custGeom>
            <a:solidFill>
              <a:srgbClr val="F5F5F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15" name="Google Shape;6565;p41">
              <a:extLst>
                <a:ext uri="{FF2B5EF4-FFF2-40B4-BE49-F238E27FC236}">
                  <a16:creationId xmlns:a16="http://schemas.microsoft.com/office/drawing/2014/main" id="{3FE246B0-06C0-E440-B64D-21C8276CCB3B}"/>
                </a:ext>
              </a:extLst>
            </p:cNvPr>
            <p:cNvSpPr/>
            <p:nvPr/>
          </p:nvSpPr>
          <p:spPr>
            <a:xfrm>
              <a:off x="4446675" y="2735150"/>
              <a:ext cx="24500" cy="117875"/>
            </a:xfrm>
            <a:custGeom>
              <a:avLst/>
              <a:gdLst/>
              <a:ahLst/>
              <a:cxnLst/>
              <a:rect l="l" t="t" r="r" b="b"/>
              <a:pathLst>
                <a:path w="980" h="4715" extrusionOk="0">
                  <a:moveTo>
                    <a:pt x="739" y="0"/>
                  </a:moveTo>
                  <a:cubicBezTo>
                    <a:pt x="682" y="0"/>
                    <a:pt x="617" y="19"/>
                    <a:pt x="549" y="58"/>
                  </a:cubicBezTo>
                  <a:lnTo>
                    <a:pt x="431" y="130"/>
                  </a:lnTo>
                  <a:cubicBezTo>
                    <a:pt x="191" y="267"/>
                    <a:pt x="0" y="601"/>
                    <a:pt x="0" y="874"/>
                  </a:cubicBezTo>
                  <a:lnTo>
                    <a:pt x="0" y="4407"/>
                  </a:lnTo>
                  <a:cubicBezTo>
                    <a:pt x="0" y="4602"/>
                    <a:pt x="96" y="4714"/>
                    <a:pt x="237" y="4714"/>
                  </a:cubicBezTo>
                  <a:cubicBezTo>
                    <a:pt x="295" y="4714"/>
                    <a:pt x="361" y="4695"/>
                    <a:pt x="431" y="4656"/>
                  </a:cubicBezTo>
                  <a:lnTo>
                    <a:pt x="549" y="4588"/>
                  </a:lnTo>
                  <a:cubicBezTo>
                    <a:pt x="785" y="4451"/>
                    <a:pt x="979" y="4117"/>
                    <a:pt x="979" y="3840"/>
                  </a:cubicBezTo>
                  <a:lnTo>
                    <a:pt x="979" y="308"/>
                  </a:lnTo>
                  <a:cubicBezTo>
                    <a:pt x="979" y="113"/>
                    <a:pt x="881" y="0"/>
                    <a:pt x="739" y="0"/>
                  </a:cubicBezTo>
                  <a:close/>
                </a:path>
              </a:pathLst>
            </a:custGeom>
            <a:solidFill>
              <a:srgbClr val="F5F5F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16" name="Google Shape;6566;p41">
              <a:extLst>
                <a:ext uri="{FF2B5EF4-FFF2-40B4-BE49-F238E27FC236}">
                  <a16:creationId xmlns:a16="http://schemas.microsoft.com/office/drawing/2014/main" id="{AF078286-FCA3-214C-9B4E-4E53B17B59E1}"/>
                </a:ext>
              </a:extLst>
            </p:cNvPr>
            <p:cNvSpPr/>
            <p:nvPr/>
          </p:nvSpPr>
          <p:spPr>
            <a:xfrm>
              <a:off x="4436425" y="2650175"/>
              <a:ext cx="41500" cy="23975"/>
            </a:xfrm>
            <a:custGeom>
              <a:avLst/>
              <a:gdLst/>
              <a:ahLst/>
              <a:cxnLst/>
              <a:rect l="l" t="t" r="r" b="b"/>
              <a:pathLst>
                <a:path w="1660" h="959" extrusionOk="0">
                  <a:moveTo>
                    <a:pt x="1564" y="0"/>
                  </a:moveTo>
                  <a:lnTo>
                    <a:pt x="1" y="901"/>
                  </a:lnTo>
                  <a:lnTo>
                    <a:pt x="89" y="959"/>
                  </a:lnTo>
                  <a:lnTo>
                    <a:pt x="1660" y="54"/>
                  </a:lnTo>
                  <a:lnTo>
                    <a:pt x="1564" y="0"/>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17" name="Google Shape;6567;p41">
              <a:extLst>
                <a:ext uri="{FF2B5EF4-FFF2-40B4-BE49-F238E27FC236}">
                  <a16:creationId xmlns:a16="http://schemas.microsoft.com/office/drawing/2014/main" id="{8AD6C87E-E514-414B-9740-D5D66C79F52F}"/>
                </a:ext>
              </a:extLst>
            </p:cNvPr>
            <p:cNvSpPr/>
            <p:nvPr/>
          </p:nvSpPr>
          <p:spPr>
            <a:xfrm>
              <a:off x="4436425" y="2650175"/>
              <a:ext cx="41500" cy="23975"/>
            </a:xfrm>
            <a:custGeom>
              <a:avLst/>
              <a:gdLst/>
              <a:ahLst/>
              <a:cxnLst/>
              <a:rect l="l" t="t" r="r" b="b"/>
              <a:pathLst>
                <a:path w="1660" h="959" extrusionOk="0">
                  <a:moveTo>
                    <a:pt x="1564" y="0"/>
                  </a:moveTo>
                  <a:lnTo>
                    <a:pt x="936" y="361"/>
                  </a:lnTo>
                  <a:lnTo>
                    <a:pt x="850" y="410"/>
                  </a:lnTo>
                  <a:lnTo>
                    <a:pt x="253" y="754"/>
                  </a:lnTo>
                  <a:lnTo>
                    <a:pt x="120" y="832"/>
                  </a:lnTo>
                  <a:lnTo>
                    <a:pt x="1" y="901"/>
                  </a:lnTo>
                  <a:lnTo>
                    <a:pt x="89" y="959"/>
                  </a:lnTo>
                  <a:lnTo>
                    <a:pt x="1660" y="54"/>
                  </a:lnTo>
                  <a:lnTo>
                    <a:pt x="1564" y="0"/>
                  </a:lnTo>
                  <a:close/>
                </a:path>
              </a:pathLst>
            </a:custGeom>
            <a:solidFill>
              <a:srgbClr val="1FB299"/>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18" name="Google Shape;6568;p41">
              <a:extLst>
                <a:ext uri="{FF2B5EF4-FFF2-40B4-BE49-F238E27FC236}">
                  <a16:creationId xmlns:a16="http://schemas.microsoft.com/office/drawing/2014/main" id="{2D73D094-507F-8944-A555-8D2C7E5793A5}"/>
                </a:ext>
              </a:extLst>
            </p:cNvPr>
            <p:cNvSpPr/>
            <p:nvPr/>
          </p:nvSpPr>
          <p:spPr>
            <a:xfrm>
              <a:off x="4280625" y="2580700"/>
              <a:ext cx="150275" cy="301050"/>
            </a:xfrm>
            <a:custGeom>
              <a:avLst/>
              <a:gdLst/>
              <a:ahLst/>
              <a:cxnLst/>
              <a:rect l="l" t="t" r="r" b="b"/>
              <a:pathLst>
                <a:path w="6011" h="12042" extrusionOk="0">
                  <a:moveTo>
                    <a:pt x="120" y="1"/>
                  </a:moveTo>
                  <a:lnTo>
                    <a:pt x="0" y="69"/>
                  </a:lnTo>
                  <a:lnTo>
                    <a:pt x="0" y="8219"/>
                  </a:lnTo>
                  <a:lnTo>
                    <a:pt x="5823" y="12025"/>
                  </a:lnTo>
                  <a:cubicBezTo>
                    <a:pt x="5843" y="12036"/>
                    <a:pt x="5869" y="12042"/>
                    <a:pt x="5895" y="12042"/>
                  </a:cubicBezTo>
                  <a:cubicBezTo>
                    <a:pt x="5916" y="12042"/>
                    <a:pt x="5937" y="12037"/>
                    <a:pt x="5953" y="12028"/>
                  </a:cubicBezTo>
                  <a:cubicBezTo>
                    <a:pt x="5983" y="12011"/>
                    <a:pt x="6011" y="11960"/>
                    <a:pt x="6011" y="11916"/>
                  </a:cubicBezTo>
                  <a:lnTo>
                    <a:pt x="6008" y="3922"/>
                  </a:lnTo>
                  <a:cubicBezTo>
                    <a:pt x="6008" y="3878"/>
                    <a:pt x="5977" y="3827"/>
                    <a:pt x="5939" y="3803"/>
                  </a:cubicBezTo>
                  <a:lnTo>
                    <a:pt x="120" y="1"/>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19" name="Google Shape;6569;p41">
              <a:extLst>
                <a:ext uri="{FF2B5EF4-FFF2-40B4-BE49-F238E27FC236}">
                  <a16:creationId xmlns:a16="http://schemas.microsoft.com/office/drawing/2014/main" id="{4DB9BC1B-ED1D-FD4F-A31E-03925FB4CDFC}"/>
                </a:ext>
              </a:extLst>
            </p:cNvPr>
            <p:cNvSpPr/>
            <p:nvPr/>
          </p:nvSpPr>
          <p:spPr>
            <a:xfrm>
              <a:off x="4430800" y="2872600"/>
              <a:ext cx="100" cy="6850"/>
            </a:xfrm>
            <a:custGeom>
              <a:avLst/>
              <a:gdLst/>
              <a:ahLst/>
              <a:cxnLst/>
              <a:rect l="l" t="t" r="r" b="b"/>
              <a:pathLst>
                <a:path w="4" h="274" extrusionOk="0">
                  <a:moveTo>
                    <a:pt x="4" y="1"/>
                  </a:moveTo>
                  <a:lnTo>
                    <a:pt x="4" y="240"/>
                  </a:lnTo>
                  <a:cubicBezTo>
                    <a:pt x="4" y="250"/>
                    <a:pt x="4" y="263"/>
                    <a:pt x="1" y="273"/>
                  </a:cubicBezTo>
                  <a:cubicBezTo>
                    <a:pt x="4" y="263"/>
                    <a:pt x="4" y="250"/>
                    <a:pt x="4" y="240"/>
                  </a:cubicBezTo>
                  <a:lnTo>
                    <a:pt x="4" y="1"/>
                  </a:lnTo>
                  <a:close/>
                </a:path>
              </a:pathLst>
            </a:custGeom>
            <a:solidFill>
              <a:srgbClr val="3E515A"/>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20" name="Google Shape;6570;p41">
              <a:extLst>
                <a:ext uri="{FF2B5EF4-FFF2-40B4-BE49-F238E27FC236}">
                  <a16:creationId xmlns:a16="http://schemas.microsoft.com/office/drawing/2014/main" id="{4065C4B6-A9BF-D34F-A9B6-66E4215F0F81}"/>
                </a:ext>
              </a:extLst>
            </p:cNvPr>
            <p:cNvSpPr/>
            <p:nvPr/>
          </p:nvSpPr>
          <p:spPr>
            <a:xfrm>
              <a:off x="4430800" y="2678650"/>
              <a:ext cx="100" cy="193975"/>
            </a:xfrm>
            <a:custGeom>
              <a:avLst/>
              <a:gdLst/>
              <a:ahLst/>
              <a:cxnLst/>
              <a:rect l="l" t="t" r="r" b="b"/>
              <a:pathLst>
                <a:path w="4" h="7759" extrusionOk="0">
                  <a:moveTo>
                    <a:pt x="1" y="1"/>
                  </a:moveTo>
                  <a:lnTo>
                    <a:pt x="1" y="4"/>
                  </a:lnTo>
                  <a:lnTo>
                    <a:pt x="4" y="7759"/>
                  </a:lnTo>
                  <a:lnTo>
                    <a:pt x="4" y="7759"/>
                  </a:lnTo>
                  <a:lnTo>
                    <a:pt x="1" y="4"/>
                  </a:lnTo>
                  <a:close/>
                </a:path>
              </a:pathLst>
            </a:custGeom>
            <a:solidFill>
              <a:srgbClr val="23C7AC"/>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21" name="Google Shape;6571;p41">
              <a:extLst>
                <a:ext uri="{FF2B5EF4-FFF2-40B4-BE49-F238E27FC236}">
                  <a16:creationId xmlns:a16="http://schemas.microsoft.com/office/drawing/2014/main" id="{F51B1EC7-0CA3-F947-87C1-DD17BB2684C7}"/>
                </a:ext>
              </a:extLst>
            </p:cNvPr>
            <p:cNvSpPr/>
            <p:nvPr/>
          </p:nvSpPr>
          <p:spPr>
            <a:xfrm>
              <a:off x="4426200" y="2881300"/>
              <a:ext cx="625" cy="300"/>
            </a:xfrm>
            <a:custGeom>
              <a:avLst/>
              <a:gdLst/>
              <a:ahLst/>
              <a:cxnLst/>
              <a:rect l="l" t="t" r="r" b="b"/>
              <a:pathLst>
                <a:path w="25" h="12" extrusionOk="0">
                  <a:moveTo>
                    <a:pt x="0" y="1"/>
                  </a:moveTo>
                  <a:cubicBezTo>
                    <a:pt x="1" y="1"/>
                    <a:pt x="3" y="2"/>
                    <a:pt x="4" y="2"/>
                  </a:cubicBezTo>
                  <a:lnTo>
                    <a:pt x="4" y="2"/>
                  </a:lnTo>
                  <a:lnTo>
                    <a:pt x="4" y="1"/>
                  </a:lnTo>
                  <a:close/>
                  <a:moveTo>
                    <a:pt x="4" y="2"/>
                  </a:moveTo>
                  <a:lnTo>
                    <a:pt x="4" y="4"/>
                  </a:lnTo>
                  <a:lnTo>
                    <a:pt x="7" y="4"/>
                  </a:lnTo>
                  <a:cubicBezTo>
                    <a:pt x="8" y="4"/>
                    <a:pt x="9" y="5"/>
                    <a:pt x="10" y="5"/>
                  </a:cubicBezTo>
                  <a:lnTo>
                    <a:pt x="10" y="5"/>
                  </a:lnTo>
                  <a:cubicBezTo>
                    <a:pt x="8" y="4"/>
                    <a:pt x="6" y="3"/>
                    <a:pt x="4" y="2"/>
                  </a:cubicBezTo>
                  <a:close/>
                  <a:moveTo>
                    <a:pt x="10" y="5"/>
                  </a:moveTo>
                  <a:lnTo>
                    <a:pt x="10" y="5"/>
                  </a:lnTo>
                  <a:cubicBezTo>
                    <a:pt x="14" y="7"/>
                    <a:pt x="19" y="9"/>
                    <a:pt x="24" y="11"/>
                  </a:cubicBezTo>
                  <a:cubicBezTo>
                    <a:pt x="18" y="8"/>
                    <a:pt x="15" y="7"/>
                    <a:pt x="10" y="5"/>
                  </a:cubicBezTo>
                  <a:close/>
                </a:path>
              </a:pathLst>
            </a:custGeom>
            <a:solidFill>
              <a:srgbClr val="3E515A"/>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22" name="Google Shape;6572;p41">
              <a:extLst>
                <a:ext uri="{FF2B5EF4-FFF2-40B4-BE49-F238E27FC236}">
                  <a16:creationId xmlns:a16="http://schemas.microsoft.com/office/drawing/2014/main" id="{100C98B9-97E9-AC4E-B33F-A3F75AEF27EB}"/>
                </a:ext>
              </a:extLst>
            </p:cNvPr>
            <p:cNvSpPr/>
            <p:nvPr/>
          </p:nvSpPr>
          <p:spPr>
            <a:xfrm>
              <a:off x="4426350" y="2677025"/>
              <a:ext cx="4550" cy="204725"/>
            </a:xfrm>
            <a:custGeom>
              <a:avLst/>
              <a:gdLst/>
              <a:ahLst/>
              <a:cxnLst/>
              <a:rect l="l" t="t" r="r" b="b"/>
              <a:pathLst>
                <a:path w="182" h="8189" extrusionOk="0">
                  <a:moveTo>
                    <a:pt x="158" y="1"/>
                  </a:moveTo>
                  <a:lnTo>
                    <a:pt x="39" y="69"/>
                  </a:lnTo>
                  <a:cubicBezTo>
                    <a:pt x="52" y="93"/>
                    <a:pt x="62" y="114"/>
                    <a:pt x="62" y="138"/>
                  </a:cubicBezTo>
                  <a:lnTo>
                    <a:pt x="62" y="8131"/>
                  </a:lnTo>
                  <a:cubicBezTo>
                    <a:pt x="62" y="8162"/>
                    <a:pt x="45" y="8178"/>
                    <a:pt x="25" y="8178"/>
                  </a:cubicBezTo>
                  <a:lnTo>
                    <a:pt x="21" y="8178"/>
                  </a:lnTo>
                  <a:cubicBezTo>
                    <a:pt x="15" y="8178"/>
                    <a:pt x="7" y="8178"/>
                    <a:pt x="1" y="8175"/>
                  </a:cubicBezTo>
                  <a:lnTo>
                    <a:pt x="1" y="8175"/>
                  </a:lnTo>
                  <a:cubicBezTo>
                    <a:pt x="7" y="8178"/>
                    <a:pt x="11" y="8178"/>
                    <a:pt x="18" y="8182"/>
                  </a:cubicBezTo>
                  <a:cubicBezTo>
                    <a:pt x="31" y="8186"/>
                    <a:pt x="48" y="8189"/>
                    <a:pt x="66" y="8189"/>
                  </a:cubicBezTo>
                  <a:lnTo>
                    <a:pt x="80" y="8189"/>
                  </a:lnTo>
                  <a:cubicBezTo>
                    <a:pt x="97" y="8186"/>
                    <a:pt x="110" y="8182"/>
                    <a:pt x="124" y="8175"/>
                  </a:cubicBezTo>
                  <a:cubicBezTo>
                    <a:pt x="134" y="8168"/>
                    <a:pt x="148" y="8154"/>
                    <a:pt x="158" y="8141"/>
                  </a:cubicBezTo>
                  <a:cubicBezTo>
                    <a:pt x="165" y="8127"/>
                    <a:pt x="171" y="8113"/>
                    <a:pt x="179" y="8096"/>
                  </a:cubicBezTo>
                  <a:cubicBezTo>
                    <a:pt x="182" y="8086"/>
                    <a:pt x="182" y="8073"/>
                    <a:pt x="182" y="8063"/>
                  </a:cubicBezTo>
                  <a:lnTo>
                    <a:pt x="182" y="7824"/>
                  </a:lnTo>
                  <a:lnTo>
                    <a:pt x="179" y="69"/>
                  </a:lnTo>
                  <a:lnTo>
                    <a:pt x="179" y="66"/>
                  </a:lnTo>
                  <a:cubicBezTo>
                    <a:pt x="179" y="45"/>
                    <a:pt x="171" y="25"/>
                    <a:pt x="158" y="1"/>
                  </a:cubicBezTo>
                  <a:close/>
                </a:path>
              </a:pathLst>
            </a:custGeom>
            <a:solidFill>
              <a:srgbClr val="23C7AC"/>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23" name="Google Shape;6573;p41">
              <a:extLst>
                <a:ext uri="{FF2B5EF4-FFF2-40B4-BE49-F238E27FC236}">
                  <a16:creationId xmlns:a16="http://schemas.microsoft.com/office/drawing/2014/main" id="{28E37AA8-545D-8A45-A98D-DE99ACB74FD9}"/>
                </a:ext>
              </a:extLst>
            </p:cNvPr>
            <p:cNvSpPr/>
            <p:nvPr/>
          </p:nvSpPr>
          <p:spPr>
            <a:xfrm>
              <a:off x="4426200" y="2881300"/>
              <a:ext cx="175" cy="100"/>
            </a:xfrm>
            <a:custGeom>
              <a:avLst/>
              <a:gdLst/>
              <a:ahLst/>
              <a:cxnLst/>
              <a:rect l="l" t="t" r="r" b="b"/>
              <a:pathLst>
                <a:path w="7" h="4" extrusionOk="0">
                  <a:moveTo>
                    <a:pt x="0" y="1"/>
                  </a:moveTo>
                  <a:cubicBezTo>
                    <a:pt x="2" y="1"/>
                    <a:pt x="3" y="1"/>
                    <a:pt x="4" y="2"/>
                  </a:cubicBezTo>
                  <a:lnTo>
                    <a:pt x="4" y="2"/>
                  </a:lnTo>
                  <a:lnTo>
                    <a:pt x="4" y="1"/>
                  </a:lnTo>
                  <a:close/>
                  <a:moveTo>
                    <a:pt x="4" y="2"/>
                  </a:moveTo>
                  <a:lnTo>
                    <a:pt x="4" y="4"/>
                  </a:lnTo>
                  <a:lnTo>
                    <a:pt x="7" y="4"/>
                  </a:lnTo>
                  <a:cubicBezTo>
                    <a:pt x="5" y="4"/>
                    <a:pt x="4" y="3"/>
                    <a:pt x="4" y="2"/>
                  </a:cubicBezTo>
                  <a:close/>
                </a:path>
              </a:pathLst>
            </a:custGeom>
            <a:solidFill>
              <a:srgbClr val="222D32"/>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24" name="Google Shape;6574;p41">
              <a:extLst>
                <a:ext uri="{FF2B5EF4-FFF2-40B4-BE49-F238E27FC236}">
                  <a16:creationId xmlns:a16="http://schemas.microsoft.com/office/drawing/2014/main" id="{FE785291-362A-BE4C-8752-9766B2BD47BE}"/>
                </a:ext>
              </a:extLst>
            </p:cNvPr>
            <p:cNvSpPr/>
            <p:nvPr/>
          </p:nvSpPr>
          <p:spPr>
            <a:xfrm>
              <a:off x="4283025" y="2583950"/>
              <a:ext cx="144900" cy="297550"/>
            </a:xfrm>
            <a:custGeom>
              <a:avLst/>
              <a:gdLst/>
              <a:ahLst/>
              <a:cxnLst/>
              <a:rect l="l" t="t" r="r" b="b"/>
              <a:pathLst>
                <a:path w="5796" h="11902" extrusionOk="0">
                  <a:moveTo>
                    <a:pt x="0" y="0"/>
                  </a:moveTo>
                  <a:lnTo>
                    <a:pt x="0" y="597"/>
                  </a:lnTo>
                  <a:cubicBezTo>
                    <a:pt x="44" y="591"/>
                    <a:pt x="89" y="591"/>
                    <a:pt x="130" y="591"/>
                  </a:cubicBezTo>
                  <a:cubicBezTo>
                    <a:pt x="317" y="591"/>
                    <a:pt x="492" y="628"/>
                    <a:pt x="618" y="700"/>
                  </a:cubicBezTo>
                  <a:cubicBezTo>
                    <a:pt x="690" y="741"/>
                    <a:pt x="744" y="792"/>
                    <a:pt x="775" y="850"/>
                  </a:cubicBezTo>
                  <a:cubicBezTo>
                    <a:pt x="802" y="895"/>
                    <a:pt x="816" y="945"/>
                    <a:pt x="816" y="1000"/>
                  </a:cubicBezTo>
                  <a:lnTo>
                    <a:pt x="816" y="1007"/>
                  </a:lnTo>
                  <a:lnTo>
                    <a:pt x="686" y="936"/>
                  </a:lnTo>
                  <a:cubicBezTo>
                    <a:pt x="662" y="874"/>
                    <a:pt x="608" y="830"/>
                    <a:pt x="560" y="802"/>
                  </a:cubicBezTo>
                  <a:cubicBezTo>
                    <a:pt x="451" y="737"/>
                    <a:pt x="297" y="707"/>
                    <a:pt x="133" y="707"/>
                  </a:cubicBezTo>
                  <a:cubicBezTo>
                    <a:pt x="89" y="707"/>
                    <a:pt x="44" y="710"/>
                    <a:pt x="0" y="714"/>
                  </a:cubicBezTo>
                  <a:lnTo>
                    <a:pt x="0" y="956"/>
                  </a:lnTo>
                  <a:lnTo>
                    <a:pt x="362" y="745"/>
                  </a:lnTo>
                  <a:lnTo>
                    <a:pt x="5454" y="3878"/>
                  </a:lnTo>
                  <a:cubicBezTo>
                    <a:pt x="5491" y="3898"/>
                    <a:pt x="5523" y="3943"/>
                    <a:pt x="5536" y="3987"/>
                  </a:cubicBezTo>
                  <a:cubicBezTo>
                    <a:pt x="5539" y="4001"/>
                    <a:pt x="5543" y="4014"/>
                    <a:pt x="5543" y="4028"/>
                  </a:cubicBezTo>
                  <a:lnTo>
                    <a:pt x="5543" y="11775"/>
                  </a:lnTo>
                  <a:lnTo>
                    <a:pt x="5727" y="11895"/>
                  </a:lnTo>
                  <a:cubicBezTo>
                    <a:pt x="5731" y="11895"/>
                    <a:pt x="5731" y="11898"/>
                    <a:pt x="5734" y="11898"/>
                  </a:cubicBezTo>
                  <a:cubicBezTo>
                    <a:pt x="5740" y="11901"/>
                    <a:pt x="5748" y="11901"/>
                    <a:pt x="5754" y="11901"/>
                  </a:cubicBezTo>
                  <a:lnTo>
                    <a:pt x="5758" y="11901"/>
                  </a:lnTo>
                  <a:cubicBezTo>
                    <a:pt x="5778" y="11901"/>
                    <a:pt x="5795" y="11885"/>
                    <a:pt x="5795" y="11854"/>
                  </a:cubicBezTo>
                  <a:lnTo>
                    <a:pt x="5795" y="3861"/>
                  </a:lnTo>
                  <a:cubicBezTo>
                    <a:pt x="5795" y="3837"/>
                    <a:pt x="5785" y="3816"/>
                    <a:pt x="5772" y="3792"/>
                  </a:cubicBezTo>
                  <a:cubicBezTo>
                    <a:pt x="5761" y="3771"/>
                    <a:pt x="5744" y="3751"/>
                    <a:pt x="5723" y="3741"/>
                  </a:cubicBezTo>
                  <a:lnTo>
                    <a:pt x="0" y="0"/>
                  </a:ln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25" name="Google Shape;6575;p41">
              <a:extLst>
                <a:ext uri="{FF2B5EF4-FFF2-40B4-BE49-F238E27FC236}">
                  <a16:creationId xmlns:a16="http://schemas.microsoft.com/office/drawing/2014/main" id="{6BF49870-685F-374C-81B9-DDC2204FB592}"/>
                </a:ext>
              </a:extLst>
            </p:cNvPr>
            <p:cNvSpPr/>
            <p:nvPr/>
          </p:nvSpPr>
          <p:spPr>
            <a:xfrm>
              <a:off x="4426200" y="2881300"/>
              <a:ext cx="175" cy="100"/>
            </a:xfrm>
            <a:custGeom>
              <a:avLst/>
              <a:gdLst/>
              <a:ahLst/>
              <a:cxnLst/>
              <a:rect l="l" t="t" r="r" b="b"/>
              <a:pathLst>
                <a:path w="7" h="4" extrusionOk="0">
                  <a:moveTo>
                    <a:pt x="4" y="4"/>
                  </a:moveTo>
                  <a:lnTo>
                    <a:pt x="7" y="4"/>
                  </a:lnTo>
                  <a:lnTo>
                    <a:pt x="7" y="4"/>
                  </a:lnTo>
                  <a:lnTo>
                    <a:pt x="4" y="4"/>
                  </a:lnTo>
                  <a:close/>
                  <a:moveTo>
                    <a:pt x="4" y="1"/>
                  </a:moveTo>
                  <a:lnTo>
                    <a:pt x="4" y="1"/>
                  </a:lnTo>
                  <a:lnTo>
                    <a:pt x="4" y="1"/>
                  </a:lnTo>
                  <a:close/>
                  <a:moveTo>
                    <a:pt x="0" y="1"/>
                  </a:moveTo>
                  <a:lnTo>
                    <a:pt x="4" y="1"/>
                  </a:lnTo>
                  <a:lnTo>
                    <a:pt x="0" y="1"/>
                  </a:lnTo>
                  <a:close/>
                  <a:moveTo>
                    <a:pt x="0" y="1"/>
                  </a:moveTo>
                  <a:lnTo>
                    <a:pt x="0" y="1"/>
                  </a:lnTo>
                  <a:close/>
                </a:path>
              </a:pathLst>
            </a:custGeom>
            <a:solidFill>
              <a:srgbClr val="1F282D"/>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26" name="Google Shape;6576;p41">
              <a:extLst>
                <a:ext uri="{FF2B5EF4-FFF2-40B4-BE49-F238E27FC236}">
                  <a16:creationId xmlns:a16="http://schemas.microsoft.com/office/drawing/2014/main" id="{C82BA2B9-DD13-ED4A-B2CE-7BD96C5914C9}"/>
                </a:ext>
              </a:extLst>
            </p:cNvPr>
            <p:cNvSpPr/>
            <p:nvPr/>
          </p:nvSpPr>
          <p:spPr>
            <a:xfrm>
              <a:off x="4426350" y="2678725"/>
              <a:ext cx="1575" cy="202775"/>
            </a:xfrm>
            <a:custGeom>
              <a:avLst/>
              <a:gdLst/>
              <a:ahLst/>
              <a:cxnLst/>
              <a:rect l="l" t="t" r="r" b="b"/>
              <a:pathLst>
                <a:path w="63" h="8111" extrusionOk="0">
                  <a:moveTo>
                    <a:pt x="25" y="8110"/>
                  </a:moveTo>
                  <a:lnTo>
                    <a:pt x="25" y="8110"/>
                  </a:lnTo>
                  <a:lnTo>
                    <a:pt x="25" y="8110"/>
                  </a:lnTo>
                  <a:lnTo>
                    <a:pt x="25" y="8110"/>
                  </a:lnTo>
                  <a:close/>
                  <a:moveTo>
                    <a:pt x="1" y="8107"/>
                  </a:moveTo>
                  <a:lnTo>
                    <a:pt x="1" y="8107"/>
                  </a:lnTo>
                  <a:cubicBezTo>
                    <a:pt x="7" y="8110"/>
                    <a:pt x="15" y="8110"/>
                    <a:pt x="21" y="8110"/>
                  </a:cubicBezTo>
                  <a:cubicBezTo>
                    <a:pt x="15" y="8110"/>
                    <a:pt x="7" y="8110"/>
                    <a:pt x="1" y="8107"/>
                  </a:cubicBezTo>
                  <a:close/>
                  <a:moveTo>
                    <a:pt x="62" y="70"/>
                  </a:moveTo>
                  <a:lnTo>
                    <a:pt x="62" y="70"/>
                  </a:lnTo>
                  <a:lnTo>
                    <a:pt x="62" y="8063"/>
                  </a:lnTo>
                  <a:lnTo>
                    <a:pt x="62" y="8063"/>
                  </a:lnTo>
                  <a:lnTo>
                    <a:pt x="62" y="70"/>
                  </a:lnTo>
                  <a:close/>
                  <a:moveTo>
                    <a:pt x="39" y="1"/>
                  </a:moveTo>
                  <a:lnTo>
                    <a:pt x="39" y="1"/>
                  </a:lnTo>
                  <a:cubicBezTo>
                    <a:pt x="52" y="25"/>
                    <a:pt x="62" y="46"/>
                    <a:pt x="62" y="70"/>
                  </a:cubicBezTo>
                  <a:cubicBezTo>
                    <a:pt x="62" y="46"/>
                    <a:pt x="52" y="25"/>
                    <a:pt x="39" y="1"/>
                  </a:cubicBezTo>
                  <a:close/>
                </a:path>
              </a:pathLst>
            </a:custGeom>
            <a:solidFill>
              <a:srgbClr val="116356"/>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27" name="Google Shape;6577;p41">
              <a:extLst>
                <a:ext uri="{FF2B5EF4-FFF2-40B4-BE49-F238E27FC236}">
                  <a16:creationId xmlns:a16="http://schemas.microsoft.com/office/drawing/2014/main" id="{F5EA81BC-EE85-BB48-A0C8-F947E27F546F}"/>
                </a:ext>
              </a:extLst>
            </p:cNvPr>
            <p:cNvSpPr/>
            <p:nvPr/>
          </p:nvSpPr>
          <p:spPr>
            <a:xfrm>
              <a:off x="4280625" y="2580700"/>
              <a:ext cx="14100" cy="7200"/>
            </a:xfrm>
            <a:custGeom>
              <a:avLst/>
              <a:gdLst/>
              <a:ahLst/>
              <a:cxnLst/>
              <a:rect l="l" t="t" r="r" b="b"/>
              <a:pathLst>
                <a:path w="564" h="288" extrusionOk="0">
                  <a:moveTo>
                    <a:pt x="120" y="1"/>
                  </a:moveTo>
                  <a:lnTo>
                    <a:pt x="0" y="69"/>
                  </a:lnTo>
                  <a:lnTo>
                    <a:pt x="120" y="1"/>
                  </a:lnTo>
                  <a:lnTo>
                    <a:pt x="564" y="287"/>
                  </a:lnTo>
                  <a:lnTo>
                    <a:pt x="564" y="287"/>
                  </a:lnTo>
                  <a:close/>
                </a:path>
              </a:pathLst>
            </a:custGeom>
            <a:solidFill>
              <a:srgbClr val="CCCCCC"/>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28" name="Google Shape;6578;p41">
              <a:extLst>
                <a:ext uri="{FF2B5EF4-FFF2-40B4-BE49-F238E27FC236}">
                  <a16:creationId xmlns:a16="http://schemas.microsoft.com/office/drawing/2014/main" id="{E06DD97A-9AC4-7E45-ADFE-E2BCE177AB4B}"/>
                </a:ext>
              </a:extLst>
            </p:cNvPr>
            <p:cNvSpPr/>
            <p:nvPr/>
          </p:nvSpPr>
          <p:spPr>
            <a:xfrm>
              <a:off x="4429075" y="2675775"/>
              <a:ext cx="625" cy="525"/>
            </a:xfrm>
            <a:custGeom>
              <a:avLst/>
              <a:gdLst/>
              <a:ahLst/>
              <a:cxnLst/>
              <a:rect l="l" t="t" r="r" b="b"/>
              <a:pathLst>
                <a:path w="25" h="21" extrusionOk="0">
                  <a:moveTo>
                    <a:pt x="1" y="0"/>
                  </a:moveTo>
                  <a:cubicBezTo>
                    <a:pt x="12" y="7"/>
                    <a:pt x="18" y="10"/>
                    <a:pt x="25" y="21"/>
                  </a:cubicBezTo>
                  <a:cubicBezTo>
                    <a:pt x="18" y="10"/>
                    <a:pt x="12" y="3"/>
                    <a:pt x="1" y="0"/>
                  </a:cubicBezTo>
                  <a:close/>
                </a:path>
              </a:pathLst>
            </a:custGeom>
            <a:solidFill>
              <a:srgbClr val="1FB299"/>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29" name="Google Shape;6579;p41">
              <a:extLst>
                <a:ext uri="{FF2B5EF4-FFF2-40B4-BE49-F238E27FC236}">
                  <a16:creationId xmlns:a16="http://schemas.microsoft.com/office/drawing/2014/main" id="{70244C6E-D50B-594C-8096-99C51FA955C3}"/>
                </a:ext>
              </a:extLst>
            </p:cNvPr>
            <p:cNvSpPr/>
            <p:nvPr/>
          </p:nvSpPr>
          <p:spPr>
            <a:xfrm>
              <a:off x="4280625" y="2580700"/>
              <a:ext cx="149700" cy="98050"/>
            </a:xfrm>
            <a:custGeom>
              <a:avLst/>
              <a:gdLst/>
              <a:ahLst/>
              <a:cxnLst/>
              <a:rect l="l" t="t" r="r" b="b"/>
              <a:pathLst>
                <a:path w="5988" h="3922" extrusionOk="0">
                  <a:moveTo>
                    <a:pt x="120" y="1"/>
                  </a:moveTo>
                  <a:lnTo>
                    <a:pt x="0" y="69"/>
                  </a:lnTo>
                  <a:lnTo>
                    <a:pt x="96" y="124"/>
                  </a:lnTo>
                  <a:lnTo>
                    <a:pt x="96" y="130"/>
                  </a:lnTo>
                  <a:lnTo>
                    <a:pt x="5819" y="3871"/>
                  </a:lnTo>
                  <a:cubicBezTo>
                    <a:pt x="5840" y="3881"/>
                    <a:pt x="5857" y="3901"/>
                    <a:pt x="5868" y="3922"/>
                  </a:cubicBezTo>
                  <a:lnTo>
                    <a:pt x="5987" y="3854"/>
                  </a:lnTo>
                  <a:cubicBezTo>
                    <a:pt x="5980" y="3844"/>
                    <a:pt x="5973" y="3833"/>
                    <a:pt x="5963" y="3824"/>
                  </a:cubicBezTo>
                  <a:cubicBezTo>
                    <a:pt x="5956" y="3813"/>
                    <a:pt x="5950" y="3810"/>
                    <a:pt x="5939" y="3803"/>
                  </a:cubicBezTo>
                  <a:lnTo>
                    <a:pt x="564" y="287"/>
                  </a:lnTo>
                  <a:lnTo>
                    <a:pt x="120" y="1"/>
                  </a:lnTo>
                  <a:close/>
                </a:path>
              </a:pathLst>
            </a:custGeom>
            <a:solidFill>
              <a:srgbClr val="1FB299"/>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30" name="Google Shape;6580;p41">
              <a:extLst>
                <a:ext uri="{FF2B5EF4-FFF2-40B4-BE49-F238E27FC236}">
                  <a16:creationId xmlns:a16="http://schemas.microsoft.com/office/drawing/2014/main" id="{E7254D73-0E77-5C42-9E5B-712DB4A95E76}"/>
                </a:ext>
              </a:extLst>
            </p:cNvPr>
            <p:cNvSpPr/>
            <p:nvPr/>
          </p:nvSpPr>
          <p:spPr>
            <a:xfrm>
              <a:off x="4243750" y="2583775"/>
              <a:ext cx="39300" cy="226475"/>
            </a:xfrm>
            <a:custGeom>
              <a:avLst/>
              <a:gdLst/>
              <a:ahLst/>
              <a:cxnLst/>
              <a:rect l="l" t="t" r="r" b="b"/>
              <a:pathLst>
                <a:path w="1572" h="9059" extrusionOk="0">
                  <a:moveTo>
                    <a:pt x="1571" y="1"/>
                  </a:moveTo>
                  <a:lnTo>
                    <a:pt x="18" y="895"/>
                  </a:lnTo>
                  <a:lnTo>
                    <a:pt x="1" y="9058"/>
                  </a:lnTo>
                  <a:lnTo>
                    <a:pt x="1" y="9058"/>
                  </a:lnTo>
                  <a:lnTo>
                    <a:pt x="1571" y="8151"/>
                  </a:lnTo>
                  <a:lnTo>
                    <a:pt x="1571" y="1"/>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31" name="Google Shape;6581;p41">
              <a:extLst>
                <a:ext uri="{FF2B5EF4-FFF2-40B4-BE49-F238E27FC236}">
                  <a16:creationId xmlns:a16="http://schemas.microsoft.com/office/drawing/2014/main" id="{3C0A358F-38F3-8944-A3AA-A2D499AD844F}"/>
                </a:ext>
              </a:extLst>
            </p:cNvPr>
            <p:cNvSpPr/>
            <p:nvPr/>
          </p:nvSpPr>
          <p:spPr>
            <a:xfrm>
              <a:off x="4246925" y="2583775"/>
              <a:ext cx="36125" cy="28350"/>
            </a:xfrm>
            <a:custGeom>
              <a:avLst/>
              <a:gdLst/>
              <a:ahLst/>
              <a:cxnLst/>
              <a:rect l="l" t="t" r="r" b="b"/>
              <a:pathLst>
                <a:path w="1445" h="1134" extrusionOk="0">
                  <a:moveTo>
                    <a:pt x="1444" y="1"/>
                  </a:moveTo>
                  <a:lnTo>
                    <a:pt x="1438" y="4"/>
                  </a:lnTo>
                  <a:lnTo>
                    <a:pt x="1348" y="56"/>
                  </a:lnTo>
                  <a:lnTo>
                    <a:pt x="0" y="834"/>
                  </a:lnTo>
                  <a:lnTo>
                    <a:pt x="557" y="1134"/>
                  </a:lnTo>
                  <a:cubicBezTo>
                    <a:pt x="584" y="998"/>
                    <a:pt x="700" y="864"/>
                    <a:pt x="888" y="765"/>
                  </a:cubicBezTo>
                  <a:cubicBezTo>
                    <a:pt x="1055" y="676"/>
                    <a:pt x="1253" y="622"/>
                    <a:pt x="1444" y="604"/>
                  </a:cubicBezTo>
                  <a:lnTo>
                    <a:pt x="1444" y="1"/>
                  </a:ln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32" name="Google Shape;6582;p41">
              <a:extLst>
                <a:ext uri="{FF2B5EF4-FFF2-40B4-BE49-F238E27FC236}">
                  <a16:creationId xmlns:a16="http://schemas.microsoft.com/office/drawing/2014/main" id="{4CDA2D23-CA36-0B42-AB34-3C7D205499CB}"/>
                </a:ext>
              </a:extLst>
            </p:cNvPr>
            <p:cNvSpPr/>
            <p:nvPr/>
          </p:nvSpPr>
          <p:spPr>
            <a:xfrm>
              <a:off x="4263550" y="2601775"/>
              <a:ext cx="19500" cy="18975"/>
            </a:xfrm>
            <a:custGeom>
              <a:avLst/>
              <a:gdLst/>
              <a:ahLst/>
              <a:cxnLst/>
              <a:rect l="l" t="t" r="r" b="b"/>
              <a:pathLst>
                <a:path w="780" h="759" extrusionOk="0">
                  <a:moveTo>
                    <a:pt x="779" y="1"/>
                  </a:moveTo>
                  <a:cubicBezTo>
                    <a:pt x="605" y="18"/>
                    <a:pt x="428" y="69"/>
                    <a:pt x="281" y="147"/>
                  </a:cubicBezTo>
                  <a:cubicBezTo>
                    <a:pt x="107" y="240"/>
                    <a:pt x="4" y="359"/>
                    <a:pt x="1" y="472"/>
                  </a:cubicBezTo>
                  <a:lnTo>
                    <a:pt x="1" y="475"/>
                  </a:lnTo>
                  <a:lnTo>
                    <a:pt x="523" y="758"/>
                  </a:lnTo>
                  <a:lnTo>
                    <a:pt x="650" y="758"/>
                  </a:lnTo>
                  <a:lnTo>
                    <a:pt x="650" y="314"/>
                  </a:lnTo>
                  <a:lnTo>
                    <a:pt x="779" y="243"/>
                  </a:lnTo>
                  <a:lnTo>
                    <a:pt x="779" y="1"/>
                  </a:ln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33" name="Google Shape;6583;p41">
              <a:extLst>
                <a:ext uri="{FF2B5EF4-FFF2-40B4-BE49-F238E27FC236}">
                  <a16:creationId xmlns:a16="http://schemas.microsoft.com/office/drawing/2014/main" id="{C9A94378-37F5-BA48-9396-67A54C421D30}"/>
                </a:ext>
              </a:extLst>
            </p:cNvPr>
            <p:cNvSpPr/>
            <p:nvPr/>
          </p:nvSpPr>
          <p:spPr>
            <a:xfrm>
              <a:off x="4279775" y="2602550"/>
              <a:ext cx="141850" cy="289700"/>
            </a:xfrm>
            <a:custGeom>
              <a:avLst/>
              <a:gdLst/>
              <a:ahLst/>
              <a:cxnLst/>
              <a:rect l="l" t="t" r="r" b="b"/>
              <a:pathLst>
                <a:path w="5674" h="11588" extrusionOk="0">
                  <a:moveTo>
                    <a:pt x="492" y="1"/>
                  </a:moveTo>
                  <a:lnTo>
                    <a:pt x="1" y="283"/>
                  </a:lnTo>
                  <a:lnTo>
                    <a:pt x="1" y="8434"/>
                  </a:lnTo>
                  <a:lnTo>
                    <a:pt x="5096" y="11567"/>
                  </a:lnTo>
                  <a:cubicBezTo>
                    <a:pt x="5120" y="11581"/>
                    <a:pt x="5152" y="11588"/>
                    <a:pt x="5183" y="11588"/>
                  </a:cubicBezTo>
                  <a:cubicBezTo>
                    <a:pt x="5215" y="11588"/>
                    <a:pt x="5246" y="11581"/>
                    <a:pt x="5270" y="11567"/>
                  </a:cubicBezTo>
                  <a:lnTo>
                    <a:pt x="5587" y="11387"/>
                  </a:lnTo>
                  <a:cubicBezTo>
                    <a:pt x="5635" y="11359"/>
                    <a:pt x="5673" y="11291"/>
                    <a:pt x="5673" y="11236"/>
                  </a:cubicBezTo>
                  <a:lnTo>
                    <a:pt x="5669" y="3284"/>
                  </a:lnTo>
                  <a:cubicBezTo>
                    <a:pt x="5669" y="3229"/>
                    <a:pt x="5632" y="3161"/>
                    <a:pt x="5584" y="3134"/>
                  </a:cubicBezTo>
                  <a:lnTo>
                    <a:pt x="492" y="1"/>
                  </a:lnTo>
                  <a:close/>
                </a:path>
              </a:pathLst>
            </a:custGeom>
            <a:solidFill>
              <a:srgbClr val="EBEBEB"/>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34" name="Google Shape;6584;p41">
              <a:extLst>
                <a:ext uri="{FF2B5EF4-FFF2-40B4-BE49-F238E27FC236}">
                  <a16:creationId xmlns:a16="http://schemas.microsoft.com/office/drawing/2014/main" id="{C1FC3D91-746A-214E-AE83-55A13D289290}"/>
                </a:ext>
              </a:extLst>
            </p:cNvPr>
            <p:cNvSpPr/>
            <p:nvPr/>
          </p:nvSpPr>
          <p:spPr>
            <a:xfrm>
              <a:off x="4279775" y="2609625"/>
              <a:ext cx="129625" cy="282425"/>
            </a:xfrm>
            <a:custGeom>
              <a:avLst/>
              <a:gdLst/>
              <a:ahLst/>
              <a:cxnLst/>
              <a:rect l="l" t="t" r="r" b="b"/>
              <a:pathLst>
                <a:path w="5185" h="11297" extrusionOk="0">
                  <a:moveTo>
                    <a:pt x="1" y="0"/>
                  </a:moveTo>
                  <a:lnTo>
                    <a:pt x="1" y="8151"/>
                  </a:lnTo>
                  <a:lnTo>
                    <a:pt x="5096" y="11284"/>
                  </a:lnTo>
                  <a:cubicBezTo>
                    <a:pt x="5110" y="11292"/>
                    <a:pt x="5124" y="11296"/>
                    <a:pt x="5136" y="11296"/>
                  </a:cubicBezTo>
                  <a:cubicBezTo>
                    <a:pt x="5165" y="11296"/>
                    <a:pt x="5185" y="11275"/>
                    <a:pt x="5185" y="11236"/>
                  </a:cubicBezTo>
                  <a:lnTo>
                    <a:pt x="5182" y="3284"/>
                  </a:lnTo>
                  <a:cubicBezTo>
                    <a:pt x="5182" y="3229"/>
                    <a:pt x="5144" y="3161"/>
                    <a:pt x="5096" y="3134"/>
                  </a:cubicBezTo>
                  <a:lnTo>
                    <a:pt x="1" y="0"/>
                  </a:lnTo>
                  <a:close/>
                </a:path>
              </a:pathLst>
            </a:custGeom>
            <a:solidFill>
              <a:srgbClr val="FAFAFA"/>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35" name="Google Shape;6585;p41">
              <a:extLst>
                <a:ext uri="{FF2B5EF4-FFF2-40B4-BE49-F238E27FC236}">
                  <a16:creationId xmlns:a16="http://schemas.microsoft.com/office/drawing/2014/main" id="{B8AE6B78-B5A9-AF42-AD9E-078F7EC07FD1}"/>
                </a:ext>
              </a:extLst>
            </p:cNvPr>
            <p:cNvSpPr/>
            <p:nvPr/>
          </p:nvSpPr>
          <p:spPr>
            <a:xfrm>
              <a:off x="4284975" y="2619300"/>
              <a:ext cx="4200" cy="6175"/>
            </a:xfrm>
            <a:custGeom>
              <a:avLst/>
              <a:gdLst/>
              <a:ahLst/>
              <a:cxnLst/>
              <a:rect l="l" t="t" r="r" b="b"/>
              <a:pathLst>
                <a:path w="168" h="247" extrusionOk="0">
                  <a:moveTo>
                    <a:pt x="49" y="1"/>
                  </a:moveTo>
                  <a:cubicBezTo>
                    <a:pt x="21" y="1"/>
                    <a:pt x="1" y="30"/>
                    <a:pt x="1" y="75"/>
                  </a:cubicBezTo>
                  <a:cubicBezTo>
                    <a:pt x="1" y="102"/>
                    <a:pt x="7" y="133"/>
                    <a:pt x="21" y="160"/>
                  </a:cubicBezTo>
                  <a:cubicBezTo>
                    <a:pt x="34" y="191"/>
                    <a:pt x="59" y="221"/>
                    <a:pt x="86" y="235"/>
                  </a:cubicBezTo>
                  <a:cubicBezTo>
                    <a:pt x="89" y="238"/>
                    <a:pt x="92" y="242"/>
                    <a:pt x="96" y="242"/>
                  </a:cubicBezTo>
                  <a:cubicBezTo>
                    <a:pt x="104" y="245"/>
                    <a:pt x="112" y="247"/>
                    <a:pt x="119" y="247"/>
                  </a:cubicBezTo>
                  <a:cubicBezTo>
                    <a:pt x="148" y="247"/>
                    <a:pt x="168" y="220"/>
                    <a:pt x="168" y="174"/>
                  </a:cubicBezTo>
                  <a:cubicBezTo>
                    <a:pt x="168" y="153"/>
                    <a:pt x="165" y="133"/>
                    <a:pt x="157" y="112"/>
                  </a:cubicBezTo>
                  <a:cubicBezTo>
                    <a:pt x="147" y="81"/>
                    <a:pt x="130" y="51"/>
                    <a:pt x="106" y="34"/>
                  </a:cubicBezTo>
                  <a:cubicBezTo>
                    <a:pt x="100" y="23"/>
                    <a:pt x="92" y="16"/>
                    <a:pt x="83" y="13"/>
                  </a:cubicBezTo>
                  <a:cubicBezTo>
                    <a:pt x="71" y="5"/>
                    <a:pt x="59" y="1"/>
                    <a:pt x="49" y="1"/>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36" name="Google Shape;6586;p41">
              <a:extLst>
                <a:ext uri="{FF2B5EF4-FFF2-40B4-BE49-F238E27FC236}">
                  <a16:creationId xmlns:a16="http://schemas.microsoft.com/office/drawing/2014/main" id="{EEF0D8B1-19CC-B544-A1C4-CB1348EB4E7C}"/>
                </a:ext>
              </a:extLst>
            </p:cNvPr>
            <p:cNvSpPr/>
            <p:nvPr/>
          </p:nvSpPr>
          <p:spPr>
            <a:xfrm>
              <a:off x="4407775" y="2682500"/>
              <a:ext cx="13925" cy="209775"/>
            </a:xfrm>
            <a:custGeom>
              <a:avLst/>
              <a:gdLst/>
              <a:ahLst/>
              <a:cxnLst/>
              <a:rect l="l" t="t" r="r" b="b"/>
              <a:pathLst>
                <a:path w="557" h="8391" extrusionOk="0">
                  <a:moveTo>
                    <a:pt x="525" y="1"/>
                  </a:moveTo>
                  <a:lnTo>
                    <a:pt x="34" y="284"/>
                  </a:lnTo>
                  <a:cubicBezTo>
                    <a:pt x="51" y="311"/>
                    <a:pt x="62" y="341"/>
                    <a:pt x="62" y="369"/>
                  </a:cubicBezTo>
                  <a:lnTo>
                    <a:pt x="65" y="8321"/>
                  </a:lnTo>
                  <a:cubicBezTo>
                    <a:pt x="62" y="8361"/>
                    <a:pt x="45" y="8382"/>
                    <a:pt x="17" y="8382"/>
                  </a:cubicBezTo>
                  <a:cubicBezTo>
                    <a:pt x="12" y="8382"/>
                    <a:pt x="6" y="8381"/>
                    <a:pt x="0" y="8379"/>
                  </a:cubicBezTo>
                  <a:lnTo>
                    <a:pt x="0" y="8379"/>
                  </a:lnTo>
                  <a:cubicBezTo>
                    <a:pt x="20" y="8387"/>
                    <a:pt x="42" y="8390"/>
                    <a:pt x="64" y="8390"/>
                  </a:cubicBezTo>
                  <a:cubicBezTo>
                    <a:pt x="95" y="8390"/>
                    <a:pt x="126" y="8383"/>
                    <a:pt x="150" y="8369"/>
                  </a:cubicBezTo>
                  <a:lnTo>
                    <a:pt x="467" y="8189"/>
                  </a:lnTo>
                  <a:cubicBezTo>
                    <a:pt x="515" y="8161"/>
                    <a:pt x="553" y="8093"/>
                    <a:pt x="556" y="8038"/>
                  </a:cubicBezTo>
                  <a:lnTo>
                    <a:pt x="553" y="86"/>
                  </a:lnTo>
                  <a:cubicBezTo>
                    <a:pt x="553" y="59"/>
                    <a:pt x="542" y="28"/>
                    <a:pt x="525" y="1"/>
                  </a:cubicBezTo>
                  <a:close/>
                </a:path>
              </a:pathLst>
            </a:custGeom>
            <a:solidFill>
              <a:srgbClr val="E6E6E6"/>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37" name="Google Shape;6587;p41">
              <a:extLst>
                <a:ext uri="{FF2B5EF4-FFF2-40B4-BE49-F238E27FC236}">
                  <a16:creationId xmlns:a16="http://schemas.microsoft.com/office/drawing/2014/main" id="{2BA8323B-548B-FB47-A3B1-85E7FD963704}"/>
                </a:ext>
              </a:extLst>
            </p:cNvPr>
            <p:cNvSpPr/>
            <p:nvPr/>
          </p:nvSpPr>
          <p:spPr>
            <a:xfrm>
              <a:off x="4260650" y="2598700"/>
              <a:ext cx="42775" cy="25000"/>
            </a:xfrm>
            <a:custGeom>
              <a:avLst/>
              <a:gdLst/>
              <a:ahLst/>
              <a:cxnLst/>
              <a:rect l="l" t="t" r="r" b="b"/>
              <a:pathLst>
                <a:path w="1711" h="1000" extrusionOk="0">
                  <a:moveTo>
                    <a:pt x="1031" y="0"/>
                  </a:moveTo>
                  <a:cubicBezTo>
                    <a:pt x="798" y="0"/>
                    <a:pt x="545" y="58"/>
                    <a:pt x="339" y="168"/>
                  </a:cubicBezTo>
                  <a:cubicBezTo>
                    <a:pt x="127" y="281"/>
                    <a:pt x="4" y="437"/>
                    <a:pt x="1" y="591"/>
                  </a:cubicBezTo>
                  <a:cubicBezTo>
                    <a:pt x="1" y="711"/>
                    <a:pt x="69" y="817"/>
                    <a:pt x="196" y="888"/>
                  </a:cubicBezTo>
                  <a:cubicBezTo>
                    <a:pt x="325" y="963"/>
                    <a:pt x="497" y="1000"/>
                    <a:pt x="681" y="1000"/>
                  </a:cubicBezTo>
                  <a:cubicBezTo>
                    <a:pt x="806" y="1000"/>
                    <a:pt x="938" y="983"/>
                    <a:pt x="1065" y="949"/>
                  </a:cubicBezTo>
                  <a:cubicBezTo>
                    <a:pt x="1048" y="912"/>
                    <a:pt x="1028" y="861"/>
                    <a:pt x="1021" y="840"/>
                  </a:cubicBezTo>
                  <a:cubicBezTo>
                    <a:pt x="907" y="868"/>
                    <a:pt x="790" y="882"/>
                    <a:pt x="678" y="882"/>
                  </a:cubicBezTo>
                  <a:cubicBezTo>
                    <a:pt x="516" y="882"/>
                    <a:pt x="366" y="852"/>
                    <a:pt x="257" y="790"/>
                  </a:cubicBezTo>
                  <a:cubicBezTo>
                    <a:pt x="216" y="765"/>
                    <a:pt x="168" y="731"/>
                    <a:pt x="141" y="683"/>
                  </a:cubicBezTo>
                  <a:cubicBezTo>
                    <a:pt x="127" y="656"/>
                    <a:pt x="117" y="626"/>
                    <a:pt x="117" y="595"/>
                  </a:cubicBezTo>
                  <a:cubicBezTo>
                    <a:pt x="120" y="482"/>
                    <a:pt x="223" y="363"/>
                    <a:pt x="397" y="270"/>
                  </a:cubicBezTo>
                  <a:cubicBezTo>
                    <a:pt x="584" y="170"/>
                    <a:pt x="818" y="118"/>
                    <a:pt x="1031" y="118"/>
                  </a:cubicBezTo>
                  <a:cubicBezTo>
                    <a:pt x="1194" y="118"/>
                    <a:pt x="1345" y="149"/>
                    <a:pt x="1455" y="212"/>
                  </a:cubicBezTo>
                  <a:cubicBezTo>
                    <a:pt x="1503" y="240"/>
                    <a:pt x="1557" y="284"/>
                    <a:pt x="1581" y="346"/>
                  </a:cubicBezTo>
                  <a:lnTo>
                    <a:pt x="1711" y="417"/>
                  </a:lnTo>
                  <a:lnTo>
                    <a:pt x="1711" y="410"/>
                  </a:lnTo>
                  <a:cubicBezTo>
                    <a:pt x="1711" y="355"/>
                    <a:pt x="1697" y="305"/>
                    <a:pt x="1670" y="260"/>
                  </a:cubicBezTo>
                  <a:cubicBezTo>
                    <a:pt x="1639" y="202"/>
                    <a:pt x="1585" y="151"/>
                    <a:pt x="1513" y="110"/>
                  </a:cubicBezTo>
                  <a:cubicBezTo>
                    <a:pt x="1386" y="36"/>
                    <a:pt x="1215" y="0"/>
                    <a:pt x="1031" y="0"/>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38" name="Google Shape;6588;p41">
              <a:extLst>
                <a:ext uri="{FF2B5EF4-FFF2-40B4-BE49-F238E27FC236}">
                  <a16:creationId xmlns:a16="http://schemas.microsoft.com/office/drawing/2014/main" id="{BC0F235B-5FEC-A049-A751-C18B913BA3F9}"/>
                </a:ext>
              </a:extLst>
            </p:cNvPr>
            <p:cNvSpPr/>
            <p:nvPr/>
          </p:nvSpPr>
          <p:spPr>
            <a:xfrm>
              <a:off x="4241550" y="2603225"/>
              <a:ext cx="164450" cy="292950"/>
            </a:xfrm>
            <a:custGeom>
              <a:avLst/>
              <a:gdLst/>
              <a:ahLst/>
              <a:cxnLst/>
              <a:rect l="l" t="t" r="r" b="b"/>
              <a:pathLst>
                <a:path w="6578" h="11718" extrusionOk="0">
                  <a:moveTo>
                    <a:pt x="120" y="1"/>
                  </a:moveTo>
                  <a:lnTo>
                    <a:pt x="0" y="69"/>
                  </a:lnTo>
                  <a:lnTo>
                    <a:pt x="0" y="8219"/>
                  </a:lnTo>
                  <a:lnTo>
                    <a:pt x="6390" y="11697"/>
                  </a:lnTo>
                  <a:cubicBezTo>
                    <a:pt x="6410" y="11710"/>
                    <a:pt x="6438" y="11717"/>
                    <a:pt x="6463" y="11717"/>
                  </a:cubicBezTo>
                  <a:cubicBezTo>
                    <a:pt x="6483" y="11717"/>
                    <a:pt x="6502" y="11713"/>
                    <a:pt x="6516" y="11704"/>
                  </a:cubicBezTo>
                  <a:cubicBezTo>
                    <a:pt x="6550" y="11683"/>
                    <a:pt x="6577" y="11632"/>
                    <a:pt x="6577" y="11591"/>
                  </a:cubicBezTo>
                  <a:lnTo>
                    <a:pt x="6574" y="3598"/>
                  </a:lnTo>
                  <a:cubicBezTo>
                    <a:pt x="6574" y="3553"/>
                    <a:pt x="6543" y="3499"/>
                    <a:pt x="6506" y="3479"/>
                  </a:cubicBezTo>
                  <a:lnTo>
                    <a:pt x="120" y="1"/>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39" name="Google Shape;6589;p41">
              <a:extLst>
                <a:ext uri="{FF2B5EF4-FFF2-40B4-BE49-F238E27FC236}">
                  <a16:creationId xmlns:a16="http://schemas.microsoft.com/office/drawing/2014/main" id="{A1FB74CA-CEC1-F144-8411-CC4B4A6EF864}"/>
                </a:ext>
              </a:extLst>
            </p:cNvPr>
            <p:cNvSpPr/>
            <p:nvPr/>
          </p:nvSpPr>
          <p:spPr>
            <a:xfrm>
              <a:off x="4405800" y="2892925"/>
              <a:ext cx="200" cy="850"/>
            </a:xfrm>
            <a:custGeom>
              <a:avLst/>
              <a:gdLst/>
              <a:ahLst/>
              <a:cxnLst/>
              <a:rect l="l" t="t" r="r" b="b"/>
              <a:pathLst>
                <a:path w="8" h="34" extrusionOk="0">
                  <a:moveTo>
                    <a:pt x="7" y="0"/>
                  </a:moveTo>
                  <a:cubicBezTo>
                    <a:pt x="7" y="13"/>
                    <a:pt x="4" y="24"/>
                    <a:pt x="1" y="34"/>
                  </a:cubicBezTo>
                  <a:lnTo>
                    <a:pt x="1" y="34"/>
                  </a:lnTo>
                  <a:cubicBezTo>
                    <a:pt x="4" y="24"/>
                    <a:pt x="7" y="13"/>
                    <a:pt x="7" y="3"/>
                  </a:cubicBezTo>
                  <a:lnTo>
                    <a:pt x="7" y="0"/>
                  </a:lnTo>
                  <a:close/>
                </a:path>
              </a:pathLst>
            </a:custGeom>
            <a:solidFill>
              <a:srgbClr val="3E515A"/>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40" name="Google Shape;6590;p41">
              <a:extLst>
                <a:ext uri="{FF2B5EF4-FFF2-40B4-BE49-F238E27FC236}">
                  <a16:creationId xmlns:a16="http://schemas.microsoft.com/office/drawing/2014/main" id="{59282236-A3E2-E84D-B7C2-DD3A45BDE605}"/>
                </a:ext>
              </a:extLst>
            </p:cNvPr>
            <p:cNvSpPr/>
            <p:nvPr/>
          </p:nvSpPr>
          <p:spPr>
            <a:xfrm>
              <a:off x="4405875" y="2693075"/>
              <a:ext cx="125" cy="197900"/>
            </a:xfrm>
            <a:custGeom>
              <a:avLst/>
              <a:gdLst/>
              <a:ahLst/>
              <a:cxnLst/>
              <a:rect l="l" t="t" r="r" b="b"/>
              <a:pathLst>
                <a:path w="5" h="7916" extrusionOk="0">
                  <a:moveTo>
                    <a:pt x="1" y="0"/>
                  </a:moveTo>
                  <a:lnTo>
                    <a:pt x="1" y="4"/>
                  </a:lnTo>
                  <a:lnTo>
                    <a:pt x="4" y="7915"/>
                  </a:lnTo>
                  <a:lnTo>
                    <a:pt x="4" y="7915"/>
                  </a:lnTo>
                  <a:lnTo>
                    <a:pt x="1" y="4"/>
                  </a:lnTo>
                  <a:close/>
                </a:path>
              </a:pathLst>
            </a:custGeom>
            <a:solidFill>
              <a:srgbClr val="E1E1E1"/>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41" name="Google Shape;6591;p41">
              <a:extLst>
                <a:ext uri="{FF2B5EF4-FFF2-40B4-BE49-F238E27FC236}">
                  <a16:creationId xmlns:a16="http://schemas.microsoft.com/office/drawing/2014/main" id="{380A6496-24C2-B549-B916-C1207FDE426C}"/>
                </a:ext>
              </a:extLst>
            </p:cNvPr>
            <p:cNvSpPr/>
            <p:nvPr/>
          </p:nvSpPr>
          <p:spPr>
            <a:xfrm>
              <a:off x="4401200" y="2895650"/>
              <a:ext cx="775" cy="350"/>
            </a:xfrm>
            <a:custGeom>
              <a:avLst/>
              <a:gdLst/>
              <a:ahLst/>
              <a:cxnLst/>
              <a:rect l="l" t="t" r="r" b="b"/>
              <a:pathLst>
                <a:path w="31" h="14" extrusionOk="0">
                  <a:moveTo>
                    <a:pt x="0" y="0"/>
                  </a:moveTo>
                  <a:lnTo>
                    <a:pt x="4" y="3"/>
                  </a:lnTo>
                  <a:lnTo>
                    <a:pt x="6" y="3"/>
                  </a:lnTo>
                  <a:cubicBezTo>
                    <a:pt x="4" y="2"/>
                    <a:pt x="2" y="1"/>
                    <a:pt x="0" y="0"/>
                  </a:cubicBezTo>
                  <a:close/>
                  <a:moveTo>
                    <a:pt x="6" y="3"/>
                  </a:moveTo>
                  <a:cubicBezTo>
                    <a:pt x="6" y="4"/>
                    <a:pt x="7" y="4"/>
                    <a:pt x="8" y="5"/>
                  </a:cubicBezTo>
                  <a:lnTo>
                    <a:pt x="8" y="5"/>
                  </a:lnTo>
                  <a:lnTo>
                    <a:pt x="7" y="3"/>
                  </a:lnTo>
                  <a:close/>
                  <a:moveTo>
                    <a:pt x="8" y="5"/>
                  </a:moveTo>
                  <a:lnTo>
                    <a:pt x="10" y="7"/>
                  </a:lnTo>
                  <a:cubicBezTo>
                    <a:pt x="14" y="9"/>
                    <a:pt x="18" y="10"/>
                    <a:pt x="22" y="11"/>
                  </a:cubicBezTo>
                  <a:lnTo>
                    <a:pt x="22" y="11"/>
                  </a:lnTo>
                  <a:cubicBezTo>
                    <a:pt x="18" y="9"/>
                    <a:pt x="13" y="7"/>
                    <a:pt x="8" y="5"/>
                  </a:cubicBezTo>
                  <a:close/>
                  <a:moveTo>
                    <a:pt x="22" y="11"/>
                  </a:moveTo>
                  <a:cubicBezTo>
                    <a:pt x="25" y="12"/>
                    <a:pt x="28" y="13"/>
                    <a:pt x="31" y="14"/>
                  </a:cubicBezTo>
                  <a:cubicBezTo>
                    <a:pt x="28" y="13"/>
                    <a:pt x="25" y="12"/>
                    <a:pt x="22" y="11"/>
                  </a:cubicBezTo>
                  <a:close/>
                </a:path>
              </a:pathLst>
            </a:custGeom>
            <a:solidFill>
              <a:srgbClr val="3E515A"/>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42" name="Google Shape;6592;p41">
              <a:extLst>
                <a:ext uri="{FF2B5EF4-FFF2-40B4-BE49-F238E27FC236}">
                  <a16:creationId xmlns:a16="http://schemas.microsoft.com/office/drawing/2014/main" id="{CB3FA7A5-5767-B846-9667-46C7943F5CE6}"/>
                </a:ext>
              </a:extLst>
            </p:cNvPr>
            <p:cNvSpPr/>
            <p:nvPr/>
          </p:nvSpPr>
          <p:spPr>
            <a:xfrm>
              <a:off x="4401450" y="2691450"/>
              <a:ext cx="4550" cy="204725"/>
            </a:xfrm>
            <a:custGeom>
              <a:avLst/>
              <a:gdLst/>
              <a:ahLst/>
              <a:cxnLst/>
              <a:rect l="l" t="t" r="r" b="b"/>
              <a:pathLst>
                <a:path w="182" h="8189" extrusionOk="0">
                  <a:moveTo>
                    <a:pt x="157" y="1"/>
                  </a:moveTo>
                  <a:lnTo>
                    <a:pt x="38" y="69"/>
                  </a:lnTo>
                  <a:cubicBezTo>
                    <a:pt x="52" y="93"/>
                    <a:pt x="58" y="114"/>
                    <a:pt x="58" y="137"/>
                  </a:cubicBezTo>
                  <a:lnTo>
                    <a:pt x="61" y="8130"/>
                  </a:lnTo>
                  <a:cubicBezTo>
                    <a:pt x="61" y="8161"/>
                    <a:pt x="44" y="8179"/>
                    <a:pt x="21" y="8179"/>
                  </a:cubicBezTo>
                  <a:cubicBezTo>
                    <a:pt x="14" y="8179"/>
                    <a:pt x="8" y="8179"/>
                    <a:pt x="0" y="8175"/>
                  </a:cubicBezTo>
                  <a:lnTo>
                    <a:pt x="0" y="8175"/>
                  </a:lnTo>
                  <a:cubicBezTo>
                    <a:pt x="8" y="8179"/>
                    <a:pt x="14" y="8179"/>
                    <a:pt x="21" y="8182"/>
                  </a:cubicBezTo>
                  <a:cubicBezTo>
                    <a:pt x="34" y="8185"/>
                    <a:pt x="52" y="8188"/>
                    <a:pt x="65" y="8188"/>
                  </a:cubicBezTo>
                  <a:lnTo>
                    <a:pt x="75" y="8188"/>
                  </a:lnTo>
                  <a:cubicBezTo>
                    <a:pt x="93" y="8185"/>
                    <a:pt x="110" y="8182"/>
                    <a:pt x="120" y="8175"/>
                  </a:cubicBezTo>
                  <a:cubicBezTo>
                    <a:pt x="134" y="8168"/>
                    <a:pt x="147" y="8154"/>
                    <a:pt x="157" y="8141"/>
                  </a:cubicBezTo>
                  <a:cubicBezTo>
                    <a:pt x="164" y="8127"/>
                    <a:pt x="171" y="8110"/>
                    <a:pt x="175" y="8093"/>
                  </a:cubicBezTo>
                  <a:cubicBezTo>
                    <a:pt x="178" y="8083"/>
                    <a:pt x="181" y="8072"/>
                    <a:pt x="181" y="8062"/>
                  </a:cubicBezTo>
                  <a:lnTo>
                    <a:pt x="181" y="7980"/>
                  </a:lnTo>
                  <a:lnTo>
                    <a:pt x="178" y="69"/>
                  </a:lnTo>
                  <a:lnTo>
                    <a:pt x="178" y="65"/>
                  </a:lnTo>
                  <a:cubicBezTo>
                    <a:pt x="175" y="45"/>
                    <a:pt x="171" y="21"/>
                    <a:pt x="157" y="1"/>
                  </a:cubicBezTo>
                  <a:close/>
                </a:path>
              </a:pathLst>
            </a:custGeom>
            <a:solidFill>
              <a:srgbClr val="23C7AC"/>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43" name="Google Shape;6593;p41">
              <a:extLst>
                <a:ext uri="{FF2B5EF4-FFF2-40B4-BE49-F238E27FC236}">
                  <a16:creationId xmlns:a16="http://schemas.microsoft.com/office/drawing/2014/main" id="{858CF4BA-F203-4744-A00F-E6BAB19A5179}"/>
                </a:ext>
              </a:extLst>
            </p:cNvPr>
            <p:cNvSpPr/>
            <p:nvPr/>
          </p:nvSpPr>
          <p:spPr>
            <a:xfrm>
              <a:off x="4241550" y="2604925"/>
              <a:ext cx="161450" cy="291000"/>
            </a:xfrm>
            <a:custGeom>
              <a:avLst/>
              <a:gdLst/>
              <a:ahLst/>
              <a:cxnLst/>
              <a:rect l="l" t="t" r="r" b="b"/>
              <a:pathLst>
                <a:path w="6458" h="11640" extrusionOk="0">
                  <a:moveTo>
                    <a:pt x="0" y="1"/>
                  </a:moveTo>
                  <a:lnTo>
                    <a:pt x="0" y="8151"/>
                  </a:lnTo>
                  <a:lnTo>
                    <a:pt x="6386" y="11629"/>
                  </a:lnTo>
                  <a:cubicBezTo>
                    <a:pt x="6398" y="11636"/>
                    <a:pt x="6409" y="11640"/>
                    <a:pt x="6419" y="11640"/>
                  </a:cubicBezTo>
                  <a:cubicBezTo>
                    <a:pt x="6441" y="11640"/>
                    <a:pt x="6457" y="11622"/>
                    <a:pt x="6457" y="11591"/>
                  </a:cubicBezTo>
                  <a:lnTo>
                    <a:pt x="6454" y="3598"/>
                  </a:lnTo>
                  <a:cubicBezTo>
                    <a:pt x="6454" y="3575"/>
                    <a:pt x="6448" y="3554"/>
                    <a:pt x="6434" y="3530"/>
                  </a:cubicBezTo>
                  <a:cubicBezTo>
                    <a:pt x="6424" y="3510"/>
                    <a:pt x="6407" y="3489"/>
                    <a:pt x="6386" y="3479"/>
                  </a:cubicBezTo>
                  <a:lnTo>
                    <a:pt x="0" y="1"/>
                  </a:lnTo>
                  <a:close/>
                </a:path>
              </a:pathLst>
            </a:custGeom>
            <a:solidFill>
              <a:schemeClr val="accent6"/>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44" name="Google Shape;6594;p41">
              <a:extLst>
                <a:ext uri="{FF2B5EF4-FFF2-40B4-BE49-F238E27FC236}">
                  <a16:creationId xmlns:a16="http://schemas.microsoft.com/office/drawing/2014/main" id="{0A5CB517-5DD6-3B4E-854D-BC1B1D7C66DA}"/>
                </a:ext>
              </a:extLst>
            </p:cNvPr>
            <p:cNvSpPr/>
            <p:nvPr/>
          </p:nvSpPr>
          <p:spPr>
            <a:xfrm>
              <a:off x="4246925" y="2604600"/>
              <a:ext cx="29700" cy="16150"/>
            </a:xfrm>
            <a:custGeom>
              <a:avLst/>
              <a:gdLst/>
              <a:ahLst/>
              <a:cxnLst/>
              <a:rect l="l" t="t" r="r" b="b"/>
              <a:pathLst>
                <a:path w="1188" h="646" extrusionOk="0">
                  <a:moveTo>
                    <a:pt x="666" y="362"/>
                  </a:moveTo>
                  <a:lnTo>
                    <a:pt x="666" y="362"/>
                  </a:lnTo>
                  <a:lnTo>
                    <a:pt x="1188" y="645"/>
                  </a:lnTo>
                  <a:lnTo>
                    <a:pt x="1188" y="645"/>
                  </a:lnTo>
                  <a:lnTo>
                    <a:pt x="666" y="362"/>
                  </a:lnTo>
                  <a:close/>
                  <a:moveTo>
                    <a:pt x="0" y="1"/>
                  </a:moveTo>
                  <a:lnTo>
                    <a:pt x="0" y="1"/>
                  </a:lnTo>
                  <a:lnTo>
                    <a:pt x="557" y="301"/>
                  </a:lnTo>
                  <a:lnTo>
                    <a:pt x="557" y="301"/>
                  </a:lnTo>
                  <a:close/>
                </a:path>
              </a:pathLst>
            </a:custGeom>
            <a:solidFill>
              <a:srgbClr val="0A352E"/>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45" name="Google Shape;6595;p41">
              <a:extLst>
                <a:ext uri="{FF2B5EF4-FFF2-40B4-BE49-F238E27FC236}">
                  <a16:creationId xmlns:a16="http://schemas.microsoft.com/office/drawing/2014/main" id="{D2351B6A-90FD-EF44-A32E-544F8075A4F0}"/>
                </a:ext>
              </a:extLst>
            </p:cNvPr>
            <p:cNvSpPr/>
            <p:nvPr/>
          </p:nvSpPr>
          <p:spPr>
            <a:xfrm>
              <a:off x="4281650" y="2623450"/>
              <a:ext cx="123150" cy="67200"/>
            </a:xfrm>
            <a:custGeom>
              <a:avLst/>
              <a:gdLst/>
              <a:ahLst/>
              <a:cxnLst/>
              <a:rect l="l" t="t" r="r" b="b"/>
              <a:pathLst>
                <a:path w="4926" h="2688" extrusionOk="0">
                  <a:moveTo>
                    <a:pt x="0" y="0"/>
                  </a:moveTo>
                  <a:lnTo>
                    <a:pt x="0" y="0"/>
                  </a:lnTo>
                  <a:lnTo>
                    <a:pt x="4902" y="2670"/>
                  </a:lnTo>
                  <a:cubicBezTo>
                    <a:pt x="4908" y="2673"/>
                    <a:pt x="4918" y="2680"/>
                    <a:pt x="4926" y="2687"/>
                  </a:cubicBezTo>
                  <a:cubicBezTo>
                    <a:pt x="4918" y="2680"/>
                    <a:pt x="4908" y="2673"/>
                    <a:pt x="4902" y="2670"/>
                  </a:cubicBezTo>
                  <a:close/>
                </a:path>
              </a:pathLst>
            </a:custGeom>
            <a:solidFill>
              <a:srgbClr val="C8C8C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46" name="Google Shape;6596;p41">
              <a:extLst>
                <a:ext uri="{FF2B5EF4-FFF2-40B4-BE49-F238E27FC236}">
                  <a16:creationId xmlns:a16="http://schemas.microsoft.com/office/drawing/2014/main" id="{017DF521-D22E-1048-992E-A002F11E0734}"/>
                </a:ext>
              </a:extLst>
            </p:cNvPr>
            <p:cNvSpPr/>
            <p:nvPr/>
          </p:nvSpPr>
          <p:spPr>
            <a:xfrm>
              <a:off x="4260850" y="2612100"/>
              <a:ext cx="20825" cy="11375"/>
            </a:xfrm>
            <a:custGeom>
              <a:avLst/>
              <a:gdLst/>
              <a:ahLst/>
              <a:cxnLst/>
              <a:rect l="l" t="t" r="r" b="b"/>
              <a:pathLst>
                <a:path w="833" h="455" extrusionOk="0">
                  <a:moveTo>
                    <a:pt x="631" y="345"/>
                  </a:moveTo>
                  <a:lnTo>
                    <a:pt x="832" y="454"/>
                  </a:lnTo>
                  <a:lnTo>
                    <a:pt x="832" y="454"/>
                  </a:lnTo>
                  <a:lnTo>
                    <a:pt x="631" y="345"/>
                  </a:lnTo>
                  <a:lnTo>
                    <a:pt x="631" y="345"/>
                  </a:lnTo>
                  <a:close/>
                  <a:moveTo>
                    <a:pt x="0" y="1"/>
                  </a:moveTo>
                  <a:lnTo>
                    <a:pt x="0" y="1"/>
                  </a:lnTo>
                  <a:lnTo>
                    <a:pt x="109" y="62"/>
                  </a:lnTo>
                  <a:lnTo>
                    <a:pt x="109" y="62"/>
                  </a:lnTo>
                  <a:close/>
                </a:path>
              </a:pathLst>
            </a:custGeom>
            <a:solidFill>
              <a:srgbClr val="1E282D"/>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47" name="Google Shape;6597;p41">
              <a:extLst>
                <a:ext uri="{FF2B5EF4-FFF2-40B4-BE49-F238E27FC236}">
                  <a16:creationId xmlns:a16="http://schemas.microsoft.com/office/drawing/2014/main" id="{F2D6394A-1B64-5744-808A-EED7FF38B91A}"/>
                </a:ext>
              </a:extLst>
            </p:cNvPr>
            <p:cNvSpPr/>
            <p:nvPr/>
          </p:nvSpPr>
          <p:spPr>
            <a:xfrm>
              <a:off x="4241550" y="2604600"/>
              <a:ext cx="163850" cy="88600"/>
            </a:xfrm>
            <a:custGeom>
              <a:avLst/>
              <a:gdLst/>
              <a:ahLst/>
              <a:cxnLst/>
              <a:rect l="l" t="t" r="r" b="b"/>
              <a:pathLst>
                <a:path w="6554" h="3544" extrusionOk="0">
                  <a:moveTo>
                    <a:pt x="215" y="1"/>
                  </a:moveTo>
                  <a:lnTo>
                    <a:pt x="106" y="62"/>
                  </a:lnTo>
                  <a:lnTo>
                    <a:pt x="4" y="14"/>
                  </a:lnTo>
                  <a:lnTo>
                    <a:pt x="0" y="14"/>
                  </a:lnTo>
                  <a:lnTo>
                    <a:pt x="6386" y="3492"/>
                  </a:lnTo>
                  <a:cubicBezTo>
                    <a:pt x="6407" y="3502"/>
                    <a:pt x="6424" y="3523"/>
                    <a:pt x="6434" y="3543"/>
                  </a:cubicBezTo>
                  <a:lnTo>
                    <a:pt x="6553" y="3475"/>
                  </a:lnTo>
                  <a:cubicBezTo>
                    <a:pt x="6547" y="3465"/>
                    <a:pt x="6536" y="3451"/>
                    <a:pt x="6530" y="3441"/>
                  </a:cubicBezTo>
                  <a:cubicBezTo>
                    <a:pt x="6522" y="3434"/>
                    <a:pt x="6512" y="3427"/>
                    <a:pt x="6506" y="3424"/>
                  </a:cubicBezTo>
                  <a:lnTo>
                    <a:pt x="1604" y="754"/>
                  </a:lnTo>
                  <a:lnTo>
                    <a:pt x="1403" y="645"/>
                  </a:lnTo>
                  <a:lnTo>
                    <a:pt x="881" y="362"/>
                  </a:lnTo>
                  <a:lnTo>
                    <a:pt x="772" y="301"/>
                  </a:lnTo>
                  <a:lnTo>
                    <a:pt x="215" y="1"/>
                  </a:lnTo>
                  <a:close/>
                </a:path>
              </a:pathLst>
            </a:custGeom>
            <a:solidFill>
              <a:srgbClr val="1FB299"/>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48" name="Google Shape;6598;p41">
              <a:extLst>
                <a:ext uri="{FF2B5EF4-FFF2-40B4-BE49-F238E27FC236}">
                  <a16:creationId xmlns:a16="http://schemas.microsoft.com/office/drawing/2014/main" id="{B6582CAD-8FB3-EC4D-BABA-D5C628866346}"/>
                </a:ext>
              </a:extLst>
            </p:cNvPr>
            <p:cNvSpPr/>
            <p:nvPr/>
          </p:nvSpPr>
          <p:spPr>
            <a:xfrm>
              <a:off x="4241625" y="2582400"/>
              <a:ext cx="41425" cy="23775"/>
            </a:xfrm>
            <a:custGeom>
              <a:avLst/>
              <a:gdLst/>
              <a:ahLst/>
              <a:cxnLst/>
              <a:rect l="l" t="t" r="r" b="b"/>
              <a:pathLst>
                <a:path w="1657" h="951" extrusionOk="0">
                  <a:moveTo>
                    <a:pt x="1560" y="1"/>
                  </a:moveTo>
                  <a:lnTo>
                    <a:pt x="1" y="902"/>
                  </a:lnTo>
                  <a:lnTo>
                    <a:pt x="103" y="950"/>
                  </a:lnTo>
                  <a:lnTo>
                    <a:pt x="1656" y="56"/>
                  </a:lnTo>
                  <a:lnTo>
                    <a:pt x="1560" y="1"/>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49" name="Google Shape;6599;p41">
              <a:extLst>
                <a:ext uri="{FF2B5EF4-FFF2-40B4-BE49-F238E27FC236}">
                  <a16:creationId xmlns:a16="http://schemas.microsoft.com/office/drawing/2014/main" id="{B495633C-1EAF-D040-BBB6-79493CD9C038}"/>
                </a:ext>
              </a:extLst>
            </p:cNvPr>
            <p:cNvSpPr/>
            <p:nvPr/>
          </p:nvSpPr>
          <p:spPr>
            <a:xfrm>
              <a:off x="4241625" y="2582400"/>
              <a:ext cx="41425" cy="23775"/>
            </a:xfrm>
            <a:custGeom>
              <a:avLst/>
              <a:gdLst/>
              <a:ahLst/>
              <a:cxnLst/>
              <a:rect l="l" t="t" r="r" b="b"/>
              <a:pathLst>
                <a:path w="1657" h="951" extrusionOk="0">
                  <a:moveTo>
                    <a:pt x="1560" y="1"/>
                  </a:moveTo>
                  <a:lnTo>
                    <a:pt x="1" y="902"/>
                  </a:lnTo>
                  <a:lnTo>
                    <a:pt x="103" y="950"/>
                  </a:lnTo>
                  <a:lnTo>
                    <a:pt x="1656" y="56"/>
                  </a:lnTo>
                  <a:lnTo>
                    <a:pt x="1560" y="1"/>
                  </a:lnTo>
                  <a:close/>
                </a:path>
              </a:pathLst>
            </a:custGeom>
            <a:solidFill>
              <a:srgbClr val="1FB299"/>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50" name="Google Shape;6600;p41">
              <a:extLst>
                <a:ext uri="{FF2B5EF4-FFF2-40B4-BE49-F238E27FC236}">
                  <a16:creationId xmlns:a16="http://schemas.microsoft.com/office/drawing/2014/main" id="{1F243A4A-F938-E34F-8331-904B37C4BFCF}"/>
                </a:ext>
              </a:extLst>
            </p:cNvPr>
            <p:cNvSpPr/>
            <p:nvPr/>
          </p:nvSpPr>
          <p:spPr>
            <a:xfrm>
              <a:off x="4237875" y="2609625"/>
              <a:ext cx="158825" cy="292600"/>
            </a:xfrm>
            <a:custGeom>
              <a:avLst/>
              <a:gdLst/>
              <a:ahLst/>
              <a:cxnLst/>
              <a:rect l="l" t="t" r="r" b="b"/>
              <a:pathLst>
                <a:path w="6353" h="11704" extrusionOk="0">
                  <a:moveTo>
                    <a:pt x="164" y="0"/>
                  </a:moveTo>
                  <a:cubicBezTo>
                    <a:pt x="149" y="0"/>
                    <a:pt x="135" y="4"/>
                    <a:pt x="124" y="11"/>
                  </a:cubicBezTo>
                  <a:cubicBezTo>
                    <a:pt x="93" y="28"/>
                    <a:pt x="1" y="79"/>
                    <a:pt x="1" y="79"/>
                  </a:cubicBezTo>
                  <a:lnTo>
                    <a:pt x="75" y="7895"/>
                  </a:lnTo>
                  <a:cubicBezTo>
                    <a:pt x="75" y="7997"/>
                    <a:pt x="147" y="8120"/>
                    <a:pt x="236" y="8171"/>
                  </a:cubicBezTo>
                  <a:lnTo>
                    <a:pt x="6352" y="11704"/>
                  </a:lnTo>
                  <a:lnTo>
                    <a:pt x="6349" y="3550"/>
                  </a:lnTo>
                  <a:lnTo>
                    <a:pt x="236" y="21"/>
                  </a:lnTo>
                  <a:cubicBezTo>
                    <a:pt x="210" y="7"/>
                    <a:pt x="186" y="0"/>
                    <a:pt x="164" y="0"/>
                  </a:cubicBez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51" name="Google Shape;6601;p41">
              <a:extLst>
                <a:ext uri="{FF2B5EF4-FFF2-40B4-BE49-F238E27FC236}">
                  <a16:creationId xmlns:a16="http://schemas.microsoft.com/office/drawing/2014/main" id="{2A229241-A6BE-E14F-812E-E6D91E641A63}"/>
                </a:ext>
              </a:extLst>
            </p:cNvPr>
            <p:cNvSpPr/>
            <p:nvPr/>
          </p:nvSpPr>
          <p:spPr>
            <a:xfrm>
              <a:off x="4237875" y="2609625"/>
              <a:ext cx="156425" cy="89200"/>
            </a:xfrm>
            <a:custGeom>
              <a:avLst/>
              <a:gdLst/>
              <a:ahLst/>
              <a:cxnLst/>
              <a:rect l="l" t="t" r="r" b="b"/>
              <a:pathLst>
                <a:path w="6257" h="3568" extrusionOk="0">
                  <a:moveTo>
                    <a:pt x="165" y="0"/>
                  </a:moveTo>
                  <a:cubicBezTo>
                    <a:pt x="147" y="0"/>
                    <a:pt x="133" y="4"/>
                    <a:pt x="124" y="11"/>
                  </a:cubicBezTo>
                  <a:cubicBezTo>
                    <a:pt x="93" y="28"/>
                    <a:pt x="1" y="79"/>
                    <a:pt x="1" y="79"/>
                  </a:cubicBezTo>
                  <a:cubicBezTo>
                    <a:pt x="14" y="72"/>
                    <a:pt x="28" y="69"/>
                    <a:pt x="45" y="69"/>
                  </a:cubicBezTo>
                  <a:cubicBezTo>
                    <a:pt x="65" y="69"/>
                    <a:pt x="89" y="76"/>
                    <a:pt x="116" y="90"/>
                  </a:cubicBezTo>
                  <a:lnTo>
                    <a:pt x="6137" y="3568"/>
                  </a:lnTo>
                  <a:lnTo>
                    <a:pt x="6256" y="3499"/>
                  </a:lnTo>
                  <a:lnTo>
                    <a:pt x="236" y="21"/>
                  </a:lnTo>
                  <a:cubicBezTo>
                    <a:pt x="209" y="8"/>
                    <a:pt x="185" y="0"/>
                    <a:pt x="165" y="0"/>
                  </a:cubicBezTo>
                  <a:close/>
                </a:path>
              </a:pathLst>
            </a:custGeom>
            <a:solidFill>
              <a:srgbClr val="1FB299"/>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52" name="Google Shape;6602;p41">
              <a:extLst>
                <a:ext uri="{FF2B5EF4-FFF2-40B4-BE49-F238E27FC236}">
                  <a16:creationId xmlns:a16="http://schemas.microsoft.com/office/drawing/2014/main" id="{D1E0EF86-C9AD-0348-AAC2-F88903A7ACDD}"/>
                </a:ext>
              </a:extLst>
            </p:cNvPr>
            <p:cNvSpPr/>
            <p:nvPr/>
          </p:nvSpPr>
          <p:spPr>
            <a:xfrm>
              <a:off x="4236775" y="2611300"/>
              <a:ext cx="156925" cy="292625"/>
            </a:xfrm>
            <a:custGeom>
              <a:avLst/>
              <a:gdLst/>
              <a:ahLst/>
              <a:cxnLst/>
              <a:rect l="l" t="t" r="r" b="b"/>
              <a:pathLst>
                <a:path w="6277" h="11705" extrusionOk="0">
                  <a:moveTo>
                    <a:pt x="88" y="0"/>
                  </a:moveTo>
                  <a:cubicBezTo>
                    <a:pt x="36" y="0"/>
                    <a:pt x="1" y="42"/>
                    <a:pt x="1" y="114"/>
                  </a:cubicBezTo>
                  <a:lnTo>
                    <a:pt x="4" y="7899"/>
                  </a:lnTo>
                  <a:cubicBezTo>
                    <a:pt x="4" y="7998"/>
                    <a:pt x="72" y="8121"/>
                    <a:pt x="160" y="8173"/>
                  </a:cubicBezTo>
                  <a:lnTo>
                    <a:pt x="6277" y="11705"/>
                  </a:lnTo>
                  <a:lnTo>
                    <a:pt x="6277" y="3555"/>
                  </a:lnTo>
                  <a:lnTo>
                    <a:pt x="160" y="23"/>
                  </a:lnTo>
                  <a:cubicBezTo>
                    <a:pt x="134" y="8"/>
                    <a:pt x="110" y="0"/>
                    <a:pt x="88" y="0"/>
                  </a:cubicBez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53" name="Google Shape;6603;p41">
              <a:extLst>
                <a:ext uri="{FF2B5EF4-FFF2-40B4-BE49-F238E27FC236}">
                  <a16:creationId xmlns:a16="http://schemas.microsoft.com/office/drawing/2014/main" id="{4E9A6359-A077-5743-9C30-6E0506032292}"/>
                </a:ext>
              </a:extLst>
            </p:cNvPr>
            <p:cNvSpPr/>
            <p:nvPr/>
          </p:nvSpPr>
          <p:spPr>
            <a:xfrm>
              <a:off x="4236775" y="2611350"/>
              <a:ext cx="154525" cy="98225"/>
            </a:xfrm>
            <a:custGeom>
              <a:avLst/>
              <a:gdLst/>
              <a:ahLst/>
              <a:cxnLst/>
              <a:rect l="l" t="t" r="r" b="b"/>
              <a:pathLst>
                <a:path w="6181" h="3929" extrusionOk="0">
                  <a:moveTo>
                    <a:pt x="89" y="0"/>
                  </a:moveTo>
                  <a:cubicBezTo>
                    <a:pt x="37" y="0"/>
                    <a:pt x="1" y="41"/>
                    <a:pt x="1" y="112"/>
                  </a:cubicBezTo>
                  <a:lnTo>
                    <a:pt x="1" y="246"/>
                  </a:lnTo>
                  <a:lnTo>
                    <a:pt x="99" y="188"/>
                  </a:lnTo>
                  <a:lnTo>
                    <a:pt x="113" y="194"/>
                  </a:lnTo>
                  <a:cubicBezTo>
                    <a:pt x="127" y="171"/>
                    <a:pt x="150" y="161"/>
                    <a:pt x="177" y="161"/>
                  </a:cubicBezTo>
                  <a:cubicBezTo>
                    <a:pt x="198" y="161"/>
                    <a:pt x="222" y="164"/>
                    <a:pt x="246" y="181"/>
                  </a:cubicBezTo>
                  <a:lnTo>
                    <a:pt x="5430" y="3174"/>
                  </a:lnTo>
                  <a:lnTo>
                    <a:pt x="5434" y="3540"/>
                  </a:lnTo>
                  <a:cubicBezTo>
                    <a:pt x="5448" y="3546"/>
                    <a:pt x="5461" y="3553"/>
                    <a:pt x="5471" y="3560"/>
                  </a:cubicBezTo>
                  <a:cubicBezTo>
                    <a:pt x="5546" y="3604"/>
                    <a:pt x="5604" y="3658"/>
                    <a:pt x="5639" y="3717"/>
                  </a:cubicBezTo>
                  <a:lnTo>
                    <a:pt x="5639" y="3720"/>
                  </a:lnTo>
                  <a:cubicBezTo>
                    <a:pt x="5652" y="3744"/>
                    <a:pt x="5662" y="3768"/>
                    <a:pt x="5669" y="3792"/>
                  </a:cubicBezTo>
                  <a:lnTo>
                    <a:pt x="6181" y="3499"/>
                  </a:lnTo>
                  <a:lnTo>
                    <a:pt x="160" y="21"/>
                  </a:lnTo>
                  <a:cubicBezTo>
                    <a:pt x="133" y="7"/>
                    <a:pt x="109" y="0"/>
                    <a:pt x="89" y="0"/>
                  </a:cubicBezTo>
                  <a:close/>
                  <a:moveTo>
                    <a:pt x="5434" y="3642"/>
                  </a:moveTo>
                  <a:lnTo>
                    <a:pt x="5434" y="3929"/>
                  </a:lnTo>
                  <a:lnTo>
                    <a:pt x="5587" y="3839"/>
                  </a:lnTo>
                  <a:cubicBezTo>
                    <a:pt x="5577" y="3768"/>
                    <a:pt x="5525" y="3696"/>
                    <a:pt x="5434" y="3642"/>
                  </a:cubicBez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54" name="Google Shape;6604;p41">
              <a:extLst>
                <a:ext uri="{FF2B5EF4-FFF2-40B4-BE49-F238E27FC236}">
                  <a16:creationId xmlns:a16="http://schemas.microsoft.com/office/drawing/2014/main" id="{15903AAC-2101-3C44-8802-7AEA186C985B}"/>
                </a:ext>
              </a:extLst>
            </p:cNvPr>
            <p:cNvSpPr/>
            <p:nvPr/>
          </p:nvSpPr>
          <p:spPr>
            <a:xfrm>
              <a:off x="4224150" y="2615350"/>
              <a:ext cx="148475" cy="288675"/>
            </a:xfrm>
            <a:custGeom>
              <a:avLst/>
              <a:gdLst/>
              <a:ahLst/>
              <a:cxnLst/>
              <a:rect l="l" t="t" r="r" b="b"/>
              <a:pathLst>
                <a:path w="5939" h="11547" extrusionOk="0">
                  <a:moveTo>
                    <a:pt x="684" y="0"/>
                  </a:moveTo>
                  <a:cubicBezTo>
                    <a:pt x="656" y="0"/>
                    <a:pt x="633" y="13"/>
                    <a:pt x="618" y="34"/>
                  </a:cubicBezTo>
                  <a:lnTo>
                    <a:pt x="604" y="28"/>
                  </a:lnTo>
                  <a:lnTo>
                    <a:pt x="0" y="376"/>
                  </a:lnTo>
                  <a:lnTo>
                    <a:pt x="594" y="713"/>
                  </a:lnTo>
                  <a:lnTo>
                    <a:pt x="594" y="7895"/>
                  </a:lnTo>
                  <a:cubicBezTo>
                    <a:pt x="594" y="7997"/>
                    <a:pt x="665" y="8120"/>
                    <a:pt x="751" y="8167"/>
                  </a:cubicBezTo>
                  <a:lnTo>
                    <a:pt x="5280" y="10785"/>
                  </a:lnTo>
                  <a:lnTo>
                    <a:pt x="5280" y="11546"/>
                  </a:lnTo>
                  <a:lnTo>
                    <a:pt x="5939" y="11165"/>
                  </a:lnTo>
                  <a:lnTo>
                    <a:pt x="5935" y="3014"/>
                  </a:lnTo>
                  <a:lnTo>
                    <a:pt x="751" y="21"/>
                  </a:lnTo>
                  <a:cubicBezTo>
                    <a:pt x="727" y="7"/>
                    <a:pt x="704" y="0"/>
                    <a:pt x="684" y="0"/>
                  </a:cubicBezTo>
                  <a:close/>
                </a:path>
              </a:pathLst>
            </a:custGeom>
            <a:solidFill>
              <a:srgbClr val="EBEBEB"/>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55" name="Google Shape;6605;p41">
              <a:extLst>
                <a:ext uri="{FF2B5EF4-FFF2-40B4-BE49-F238E27FC236}">
                  <a16:creationId xmlns:a16="http://schemas.microsoft.com/office/drawing/2014/main" id="{BB5477B3-0CBA-6349-838A-37FE84C2FE54}"/>
                </a:ext>
              </a:extLst>
            </p:cNvPr>
            <p:cNvSpPr/>
            <p:nvPr/>
          </p:nvSpPr>
          <p:spPr>
            <a:xfrm>
              <a:off x="4222450" y="2624775"/>
              <a:ext cx="133725" cy="279250"/>
            </a:xfrm>
            <a:custGeom>
              <a:avLst/>
              <a:gdLst/>
              <a:ahLst/>
              <a:cxnLst/>
              <a:rect l="l" t="t" r="r" b="b"/>
              <a:pathLst>
                <a:path w="5349" h="11170" extrusionOk="0">
                  <a:moveTo>
                    <a:pt x="88" y="1"/>
                  </a:moveTo>
                  <a:cubicBezTo>
                    <a:pt x="36" y="1"/>
                    <a:pt x="0" y="43"/>
                    <a:pt x="0" y="115"/>
                  </a:cubicBezTo>
                  <a:lnTo>
                    <a:pt x="0" y="7900"/>
                  </a:lnTo>
                  <a:cubicBezTo>
                    <a:pt x="0" y="7999"/>
                    <a:pt x="71" y="8122"/>
                    <a:pt x="160" y="8173"/>
                  </a:cubicBezTo>
                  <a:lnTo>
                    <a:pt x="5348" y="11169"/>
                  </a:lnTo>
                  <a:lnTo>
                    <a:pt x="5345" y="3019"/>
                  </a:lnTo>
                  <a:lnTo>
                    <a:pt x="160" y="23"/>
                  </a:lnTo>
                  <a:cubicBezTo>
                    <a:pt x="134" y="8"/>
                    <a:pt x="110" y="1"/>
                    <a:pt x="88" y="1"/>
                  </a:cubicBezTo>
                  <a:close/>
                </a:path>
              </a:pathLst>
            </a:custGeom>
            <a:solidFill>
              <a:srgbClr val="FAFAFA"/>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56" name="Google Shape;6606;p41">
              <a:extLst>
                <a:ext uri="{FF2B5EF4-FFF2-40B4-BE49-F238E27FC236}">
                  <a16:creationId xmlns:a16="http://schemas.microsoft.com/office/drawing/2014/main" id="{D26F8814-3D92-C742-AEA8-273CB2C0B57E}"/>
                </a:ext>
              </a:extLst>
            </p:cNvPr>
            <p:cNvSpPr/>
            <p:nvPr/>
          </p:nvSpPr>
          <p:spPr>
            <a:xfrm>
              <a:off x="4356050" y="2690700"/>
              <a:ext cx="16575" cy="213325"/>
            </a:xfrm>
            <a:custGeom>
              <a:avLst/>
              <a:gdLst/>
              <a:ahLst/>
              <a:cxnLst/>
              <a:rect l="l" t="t" r="r" b="b"/>
              <a:pathLst>
                <a:path w="663" h="8533" extrusionOk="0">
                  <a:moveTo>
                    <a:pt x="659" y="0"/>
                  </a:moveTo>
                  <a:lnTo>
                    <a:pt x="1" y="382"/>
                  </a:lnTo>
                  <a:lnTo>
                    <a:pt x="4" y="8532"/>
                  </a:lnTo>
                  <a:lnTo>
                    <a:pt x="663" y="8151"/>
                  </a:lnTo>
                  <a:lnTo>
                    <a:pt x="659" y="0"/>
                  </a:lnTo>
                  <a:close/>
                </a:path>
              </a:pathLst>
            </a:custGeom>
            <a:solidFill>
              <a:srgbClr val="E6E6E6"/>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57" name="Google Shape;6607;p41">
              <a:extLst>
                <a:ext uri="{FF2B5EF4-FFF2-40B4-BE49-F238E27FC236}">
                  <a16:creationId xmlns:a16="http://schemas.microsoft.com/office/drawing/2014/main" id="{55194E0A-7A5B-7F45-9C9B-EBC7F99525F8}"/>
                </a:ext>
              </a:extLst>
            </p:cNvPr>
            <p:cNvSpPr/>
            <p:nvPr/>
          </p:nvSpPr>
          <p:spPr>
            <a:xfrm>
              <a:off x="4346425" y="2701475"/>
              <a:ext cx="4275" cy="6175"/>
            </a:xfrm>
            <a:custGeom>
              <a:avLst/>
              <a:gdLst/>
              <a:ahLst/>
              <a:cxnLst/>
              <a:rect l="l" t="t" r="r" b="b"/>
              <a:pathLst>
                <a:path w="171" h="247" extrusionOk="0">
                  <a:moveTo>
                    <a:pt x="51" y="1"/>
                  </a:moveTo>
                  <a:cubicBezTo>
                    <a:pt x="22" y="1"/>
                    <a:pt x="1" y="29"/>
                    <a:pt x="3" y="74"/>
                  </a:cubicBezTo>
                  <a:cubicBezTo>
                    <a:pt x="3" y="102"/>
                    <a:pt x="10" y="132"/>
                    <a:pt x="24" y="160"/>
                  </a:cubicBezTo>
                  <a:cubicBezTo>
                    <a:pt x="38" y="190"/>
                    <a:pt x="62" y="221"/>
                    <a:pt x="85" y="234"/>
                  </a:cubicBezTo>
                  <a:cubicBezTo>
                    <a:pt x="89" y="238"/>
                    <a:pt x="92" y="242"/>
                    <a:pt x="99" y="242"/>
                  </a:cubicBezTo>
                  <a:cubicBezTo>
                    <a:pt x="107" y="245"/>
                    <a:pt x="115" y="247"/>
                    <a:pt x="122" y="247"/>
                  </a:cubicBezTo>
                  <a:cubicBezTo>
                    <a:pt x="151" y="247"/>
                    <a:pt x="170" y="220"/>
                    <a:pt x="170" y="173"/>
                  </a:cubicBezTo>
                  <a:cubicBezTo>
                    <a:pt x="170" y="153"/>
                    <a:pt x="167" y="132"/>
                    <a:pt x="157" y="112"/>
                  </a:cubicBezTo>
                  <a:cubicBezTo>
                    <a:pt x="150" y="81"/>
                    <a:pt x="133" y="50"/>
                    <a:pt x="109" y="33"/>
                  </a:cubicBezTo>
                  <a:cubicBezTo>
                    <a:pt x="102" y="23"/>
                    <a:pt x="95" y="17"/>
                    <a:pt x="85" y="12"/>
                  </a:cubicBezTo>
                  <a:cubicBezTo>
                    <a:pt x="73" y="4"/>
                    <a:pt x="62" y="1"/>
                    <a:pt x="51" y="1"/>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58" name="Google Shape;6608;p41">
              <a:extLst>
                <a:ext uri="{FF2B5EF4-FFF2-40B4-BE49-F238E27FC236}">
                  <a16:creationId xmlns:a16="http://schemas.microsoft.com/office/drawing/2014/main" id="{E4481E1D-5C99-C249-92FF-AF2035BF05A8}"/>
                </a:ext>
              </a:extLst>
            </p:cNvPr>
            <p:cNvSpPr/>
            <p:nvPr/>
          </p:nvSpPr>
          <p:spPr>
            <a:xfrm>
              <a:off x="4346225" y="2699825"/>
              <a:ext cx="32900" cy="18475"/>
            </a:xfrm>
            <a:custGeom>
              <a:avLst/>
              <a:gdLst/>
              <a:ahLst/>
              <a:cxnLst/>
              <a:rect l="l" t="t" r="r" b="b"/>
              <a:pathLst>
                <a:path w="1316" h="739" extrusionOk="0">
                  <a:moveTo>
                    <a:pt x="1052" y="1"/>
                  </a:moveTo>
                  <a:lnTo>
                    <a:pt x="1056" y="103"/>
                  </a:lnTo>
                  <a:cubicBezTo>
                    <a:pt x="1267" y="229"/>
                    <a:pt x="1264" y="431"/>
                    <a:pt x="1049" y="554"/>
                  </a:cubicBezTo>
                  <a:cubicBezTo>
                    <a:pt x="941" y="615"/>
                    <a:pt x="798" y="647"/>
                    <a:pt x="655" y="647"/>
                  </a:cubicBezTo>
                  <a:cubicBezTo>
                    <a:pt x="514" y="647"/>
                    <a:pt x="372" y="616"/>
                    <a:pt x="264" y="554"/>
                  </a:cubicBezTo>
                  <a:cubicBezTo>
                    <a:pt x="148" y="485"/>
                    <a:pt x="93" y="396"/>
                    <a:pt x="107" y="308"/>
                  </a:cubicBezTo>
                  <a:cubicBezTo>
                    <a:pt x="107" y="263"/>
                    <a:pt x="128" y="219"/>
                    <a:pt x="165" y="178"/>
                  </a:cubicBezTo>
                  <a:cubicBezTo>
                    <a:pt x="158" y="147"/>
                    <a:pt x="141" y="116"/>
                    <a:pt x="117" y="99"/>
                  </a:cubicBezTo>
                  <a:cubicBezTo>
                    <a:pt x="76" y="137"/>
                    <a:pt x="46" y="178"/>
                    <a:pt x="32" y="226"/>
                  </a:cubicBezTo>
                  <a:cubicBezTo>
                    <a:pt x="1" y="304"/>
                    <a:pt x="5" y="393"/>
                    <a:pt x="52" y="475"/>
                  </a:cubicBezTo>
                  <a:cubicBezTo>
                    <a:pt x="87" y="536"/>
                    <a:pt x="144" y="587"/>
                    <a:pt x="219" y="631"/>
                  </a:cubicBezTo>
                  <a:cubicBezTo>
                    <a:pt x="342" y="703"/>
                    <a:pt x="499" y="739"/>
                    <a:pt x="656" y="739"/>
                  </a:cubicBezTo>
                  <a:cubicBezTo>
                    <a:pt x="813" y="739"/>
                    <a:pt x="971" y="703"/>
                    <a:pt x="1093" y="631"/>
                  </a:cubicBezTo>
                  <a:cubicBezTo>
                    <a:pt x="1188" y="577"/>
                    <a:pt x="1250" y="508"/>
                    <a:pt x="1281" y="431"/>
                  </a:cubicBezTo>
                  <a:cubicBezTo>
                    <a:pt x="1315" y="349"/>
                    <a:pt x="1308" y="259"/>
                    <a:pt x="1261" y="181"/>
                  </a:cubicBezTo>
                  <a:lnTo>
                    <a:pt x="1261" y="178"/>
                  </a:lnTo>
                  <a:cubicBezTo>
                    <a:pt x="1226" y="119"/>
                    <a:pt x="1168" y="65"/>
                    <a:pt x="1093" y="21"/>
                  </a:cubicBezTo>
                  <a:cubicBezTo>
                    <a:pt x="1083" y="14"/>
                    <a:pt x="1070" y="7"/>
                    <a:pt x="1052" y="1"/>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59" name="Google Shape;6609;p41">
              <a:extLst>
                <a:ext uri="{FF2B5EF4-FFF2-40B4-BE49-F238E27FC236}">
                  <a16:creationId xmlns:a16="http://schemas.microsoft.com/office/drawing/2014/main" id="{CDB749D2-61EC-FC44-ABC6-A2FA16CCE4A0}"/>
                </a:ext>
              </a:extLst>
            </p:cNvPr>
            <p:cNvSpPr/>
            <p:nvPr/>
          </p:nvSpPr>
          <p:spPr>
            <a:xfrm>
              <a:off x="4214575" y="2623350"/>
              <a:ext cx="143550" cy="96375"/>
            </a:xfrm>
            <a:custGeom>
              <a:avLst/>
              <a:gdLst/>
              <a:ahLst/>
              <a:cxnLst/>
              <a:rect l="l" t="t" r="r" b="b"/>
              <a:pathLst>
                <a:path w="5742" h="3855" extrusionOk="0">
                  <a:moveTo>
                    <a:pt x="166" y="0"/>
                  </a:moveTo>
                  <a:cubicBezTo>
                    <a:pt x="137" y="0"/>
                    <a:pt x="108" y="6"/>
                    <a:pt x="86" y="18"/>
                  </a:cubicBezTo>
                  <a:lnTo>
                    <a:pt x="1" y="70"/>
                  </a:lnTo>
                  <a:lnTo>
                    <a:pt x="5622" y="3854"/>
                  </a:lnTo>
                  <a:lnTo>
                    <a:pt x="5742" y="3786"/>
                  </a:lnTo>
                  <a:lnTo>
                    <a:pt x="246" y="18"/>
                  </a:lnTo>
                  <a:cubicBezTo>
                    <a:pt x="224" y="6"/>
                    <a:pt x="195" y="0"/>
                    <a:pt x="166" y="0"/>
                  </a:cubicBez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60" name="Google Shape;6610;p41">
              <a:extLst>
                <a:ext uri="{FF2B5EF4-FFF2-40B4-BE49-F238E27FC236}">
                  <a16:creationId xmlns:a16="http://schemas.microsoft.com/office/drawing/2014/main" id="{0FDC893F-7A0D-B346-A503-A84EF34642E7}"/>
                </a:ext>
              </a:extLst>
            </p:cNvPr>
            <p:cNvSpPr/>
            <p:nvPr/>
          </p:nvSpPr>
          <p:spPr>
            <a:xfrm>
              <a:off x="4214575" y="2623375"/>
              <a:ext cx="143550" cy="96250"/>
            </a:xfrm>
            <a:custGeom>
              <a:avLst/>
              <a:gdLst/>
              <a:ahLst/>
              <a:cxnLst/>
              <a:rect l="l" t="t" r="r" b="b"/>
              <a:pathLst>
                <a:path w="5742" h="3850" extrusionOk="0">
                  <a:moveTo>
                    <a:pt x="168" y="0"/>
                  </a:moveTo>
                  <a:cubicBezTo>
                    <a:pt x="137" y="0"/>
                    <a:pt x="110" y="7"/>
                    <a:pt x="86" y="17"/>
                  </a:cubicBezTo>
                  <a:lnTo>
                    <a:pt x="1" y="69"/>
                  </a:lnTo>
                  <a:cubicBezTo>
                    <a:pt x="15" y="61"/>
                    <a:pt x="28" y="58"/>
                    <a:pt x="42" y="58"/>
                  </a:cubicBezTo>
                  <a:cubicBezTo>
                    <a:pt x="62" y="58"/>
                    <a:pt x="86" y="65"/>
                    <a:pt x="114" y="79"/>
                  </a:cubicBezTo>
                  <a:lnTo>
                    <a:pt x="5625" y="3850"/>
                  </a:lnTo>
                  <a:lnTo>
                    <a:pt x="5742" y="3782"/>
                  </a:lnTo>
                  <a:lnTo>
                    <a:pt x="5734" y="3779"/>
                  </a:lnTo>
                  <a:lnTo>
                    <a:pt x="5295" y="3478"/>
                  </a:lnTo>
                  <a:lnTo>
                    <a:pt x="342" y="85"/>
                  </a:lnTo>
                  <a:lnTo>
                    <a:pt x="246" y="17"/>
                  </a:lnTo>
                  <a:cubicBezTo>
                    <a:pt x="223" y="7"/>
                    <a:pt x="196" y="0"/>
                    <a:pt x="168" y="0"/>
                  </a:cubicBez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61" name="Google Shape;6611;p41">
              <a:extLst>
                <a:ext uri="{FF2B5EF4-FFF2-40B4-BE49-F238E27FC236}">
                  <a16:creationId xmlns:a16="http://schemas.microsoft.com/office/drawing/2014/main" id="{61069055-EFBA-EA4D-BE81-703AD02C244A}"/>
                </a:ext>
              </a:extLst>
            </p:cNvPr>
            <p:cNvSpPr/>
            <p:nvPr/>
          </p:nvSpPr>
          <p:spPr>
            <a:xfrm>
              <a:off x="4213400" y="2624825"/>
              <a:ext cx="144025" cy="300025"/>
            </a:xfrm>
            <a:custGeom>
              <a:avLst/>
              <a:gdLst/>
              <a:ahLst/>
              <a:cxnLst/>
              <a:rect l="l" t="t" r="r" b="b"/>
              <a:pathLst>
                <a:path w="5761" h="12001" extrusionOk="0">
                  <a:moveTo>
                    <a:pt x="91" y="1"/>
                  </a:moveTo>
                  <a:cubicBezTo>
                    <a:pt x="37" y="1"/>
                    <a:pt x="0" y="42"/>
                    <a:pt x="0" y="113"/>
                  </a:cubicBezTo>
                  <a:lnTo>
                    <a:pt x="3" y="7898"/>
                  </a:lnTo>
                  <a:cubicBezTo>
                    <a:pt x="3" y="7997"/>
                    <a:pt x="71" y="8120"/>
                    <a:pt x="161" y="8171"/>
                  </a:cubicBezTo>
                  <a:lnTo>
                    <a:pt x="5761" y="12000"/>
                  </a:lnTo>
                  <a:lnTo>
                    <a:pt x="5761" y="3850"/>
                  </a:lnTo>
                  <a:lnTo>
                    <a:pt x="161" y="21"/>
                  </a:lnTo>
                  <a:cubicBezTo>
                    <a:pt x="135" y="7"/>
                    <a:pt x="112" y="1"/>
                    <a:pt x="91" y="1"/>
                  </a:cubicBezTo>
                  <a:close/>
                </a:path>
              </a:pathLst>
            </a:custGeom>
            <a:solidFill>
              <a:schemeClr val="accent6"/>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62" name="Google Shape;6612;p41">
              <a:extLst>
                <a:ext uri="{FF2B5EF4-FFF2-40B4-BE49-F238E27FC236}">
                  <a16:creationId xmlns:a16="http://schemas.microsoft.com/office/drawing/2014/main" id="{A4DADF7F-E0B5-294C-BA66-AAAE36B95848}"/>
                </a:ext>
              </a:extLst>
            </p:cNvPr>
            <p:cNvSpPr/>
            <p:nvPr/>
          </p:nvSpPr>
          <p:spPr>
            <a:xfrm>
              <a:off x="4357400" y="2698375"/>
              <a:ext cx="39300" cy="226550"/>
            </a:xfrm>
            <a:custGeom>
              <a:avLst/>
              <a:gdLst/>
              <a:ahLst/>
              <a:cxnLst/>
              <a:rect l="l" t="t" r="r" b="b"/>
              <a:pathLst>
                <a:path w="1572" h="9062" extrusionOk="0">
                  <a:moveTo>
                    <a:pt x="1568" y="0"/>
                  </a:moveTo>
                  <a:lnTo>
                    <a:pt x="1" y="908"/>
                  </a:lnTo>
                  <a:lnTo>
                    <a:pt x="1" y="9062"/>
                  </a:lnTo>
                  <a:lnTo>
                    <a:pt x="1571" y="8154"/>
                  </a:lnTo>
                  <a:lnTo>
                    <a:pt x="1568" y="0"/>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63" name="Google Shape;6613;p41">
              <a:extLst>
                <a:ext uri="{FF2B5EF4-FFF2-40B4-BE49-F238E27FC236}">
                  <a16:creationId xmlns:a16="http://schemas.microsoft.com/office/drawing/2014/main" id="{8BA6DD0C-673D-DB4C-AAD2-FD1770AF7481}"/>
                </a:ext>
              </a:extLst>
            </p:cNvPr>
            <p:cNvSpPr/>
            <p:nvPr/>
          </p:nvSpPr>
          <p:spPr>
            <a:xfrm>
              <a:off x="4357400" y="2698375"/>
              <a:ext cx="39300" cy="226550"/>
            </a:xfrm>
            <a:custGeom>
              <a:avLst/>
              <a:gdLst/>
              <a:ahLst/>
              <a:cxnLst/>
              <a:rect l="l" t="t" r="r" b="b"/>
              <a:pathLst>
                <a:path w="1572" h="9062" extrusionOk="0">
                  <a:moveTo>
                    <a:pt x="1568" y="0"/>
                  </a:moveTo>
                  <a:lnTo>
                    <a:pt x="854" y="413"/>
                  </a:lnTo>
                  <a:lnTo>
                    <a:pt x="738" y="481"/>
                  </a:lnTo>
                  <a:lnTo>
                    <a:pt x="609" y="557"/>
                  </a:lnTo>
                  <a:lnTo>
                    <a:pt x="377" y="689"/>
                  </a:lnTo>
                  <a:lnTo>
                    <a:pt x="1" y="908"/>
                  </a:lnTo>
                  <a:lnTo>
                    <a:pt x="1" y="9062"/>
                  </a:lnTo>
                  <a:lnTo>
                    <a:pt x="1571" y="8154"/>
                  </a:lnTo>
                  <a:lnTo>
                    <a:pt x="1568" y="0"/>
                  </a:lnTo>
                  <a:close/>
                </a:path>
              </a:pathLst>
            </a:custGeom>
            <a:solidFill>
              <a:schemeClr val="accent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64" name="Google Shape;6614;p41">
              <a:extLst>
                <a:ext uri="{FF2B5EF4-FFF2-40B4-BE49-F238E27FC236}">
                  <a16:creationId xmlns:a16="http://schemas.microsoft.com/office/drawing/2014/main" id="{C0CA5A72-7484-F649-9AE9-CA1DFCAFCBC7}"/>
                </a:ext>
              </a:extLst>
            </p:cNvPr>
            <p:cNvSpPr/>
            <p:nvPr/>
          </p:nvSpPr>
          <p:spPr>
            <a:xfrm>
              <a:off x="4365950" y="2739425"/>
              <a:ext cx="24250" cy="29900"/>
            </a:xfrm>
            <a:custGeom>
              <a:avLst/>
              <a:gdLst/>
              <a:ahLst/>
              <a:cxnLst/>
              <a:rect l="l" t="t" r="r" b="b"/>
              <a:pathLst>
                <a:path w="970" h="1196" extrusionOk="0">
                  <a:moveTo>
                    <a:pt x="666" y="1"/>
                  </a:moveTo>
                  <a:cubicBezTo>
                    <a:pt x="595" y="1"/>
                    <a:pt x="518" y="23"/>
                    <a:pt x="440" y="68"/>
                  </a:cubicBezTo>
                  <a:cubicBezTo>
                    <a:pt x="195" y="208"/>
                    <a:pt x="4" y="542"/>
                    <a:pt x="1" y="826"/>
                  </a:cubicBezTo>
                  <a:cubicBezTo>
                    <a:pt x="4" y="911"/>
                    <a:pt x="21" y="989"/>
                    <a:pt x="55" y="1051"/>
                  </a:cubicBezTo>
                  <a:cubicBezTo>
                    <a:pt x="111" y="1146"/>
                    <a:pt x="202" y="1196"/>
                    <a:pt x="309" y="1196"/>
                  </a:cubicBezTo>
                  <a:cubicBezTo>
                    <a:pt x="379" y="1196"/>
                    <a:pt x="456" y="1174"/>
                    <a:pt x="533" y="1130"/>
                  </a:cubicBezTo>
                  <a:cubicBezTo>
                    <a:pt x="779" y="989"/>
                    <a:pt x="970" y="655"/>
                    <a:pt x="970" y="372"/>
                  </a:cubicBezTo>
                  <a:cubicBezTo>
                    <a:pt x="970" y="283"/>
                    <a:pt x="952" y="208"/>
                    <a:pt x="915" y="147"/>
                  </a:cubicBezTo>
                  <a:cubicBezTo>
                    <a:pt x="870" y="68"/>
                    <a:pt x="796" y="17"/>
                    <a:pt x="707" y="3"/>
                  </a:cubicBezTo>
                  <a:cubicBezTo>
                    <a:pt x="693" y="2"/>
                    <a:pt x="680" y="1"/>
                    <a:pt x="666" y="1"/>
                  </a:cubicBezTo>
                  <a:close/>
                </a:path>
              </a:pathLst>
            </a:custGeom>
            <a:solidFill>
              <a:srgbClr val="455A6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65" name="Google Shape;6615;p41">
              <a:extLst>
                <a:ext uri="{FF2B5EF4-FFF2-40B4-BE49-F238E27FC236}">
                  <a16:creationId xmlns:a16="http://schemas.microsoft.com/office/drawing/2014/main" id="{A6B05062-4B27-4349-B670-800A0137BBFB}"/>
                </a:ext>
              </a:extLst>
            </p:cNvPr>
            <p:cNvSpPr/>
            <p:nvPr/>
          </p:nvSpPr>
          <p:spPr>
            <a:xfrm>
              <a:off x="4368250" y="2741725"/>
              <a:ext cx="19650" cy="25325"/>
            </a:xfrm>
            <a:custGeom>
              <a:avLst/>
              <a:gdLst/>
              <a:ahLst/>
              <a:cxnLst/>
              <a:rect l="l" t="t" r="r" b="b"/>
              <a:pathLst>
                <a:path w="786" h="1013" extrusionOk="0">
                  <a:moveTo>
                    <a:pt x="570" y="1"/>
                  </a:moveTo>
                  <a:cubicBezTo>
                    <a:pt x="517" y="1"/>
                    <a:pt x="457" y="18"/>
                    <a:pt x="393" y="55"/>
                  </a:cubicBezTo>
                  <a:cubicBezTo>
                    <a:pt x="178" y="177"/>
                    <a:pt x="0" y="485"/>
                    <a:pt x="0" y="734"/>
                  </a:cubicBezTo>
                  <a:cubicBezTo>
                    <a:pt x="0" y="910"/>
                    <a:pt x="90" y="1013"/>
                    <a:pt x="218" y="1013"/>
                  </a:cubicBezTo>
                  <a:cubicBezTo>
                    <a:pt x="271" y="1013"/>
                    <a:pt x="331" y="996"/>
                    <a:pt x="393" y="959"/>
                  </a:cubicBezTo>
                  <a:cubicBezTo>
                    <a:pt x="611" y="833"/>
                    <a:pt x="786" y="529"/>
                    <a:pt x="786" y="280"/>
                  </a:cubicBezTo>
                  <a:cubicBezTo>
                    <a:pt x="786" y="103"/>
                    <a:pt x="698" y="1"/>
                    <a:pt x="570" y="1"/>
                  </a:cubicBezTo>
                  <a:close/>
                </a:path>
              </a:pathLst>
            </a:custGeom>
            <a:solidFill>
              <a:srgbClr val="F5F5F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66" name="Google Shape;6616;p41">
              <a:extLst>
                <a:ext uri="{FF2B5EF4-FFF2-40B4-BE49-F238E27FC236}">
                  <a16:creationId xmlns:a16="http://schemas.microsoft.com/office/drawing/2014/main" id="{E358C394-911D-8244-B21E-68DDA7E18F2B}"/>
                </a:ext>
              </a:extLst>
            </p:cNvPr>
            <p:cNvSpPr/>
            <p:nvPr/>
          </p:nvSpPr>
          <p:spPr>
            <a:xfrm>
              <a:off x="4365350" y="2782075"/>
              <a:ext cx="24600" cy="117850"/>
            </a:xfrm>
            <a:custGeom>
              <a:avLst/>
              <a:gdLst/>
              <a:ahLst/>
              <a:cxnLst/>
              <a:rect l="l" t="t" r="r" b="b"/>
              <a:pathLst>
                <a:path w="984" h="4714" extrusionOk="0">
                  <a:moveTo>
                    <a:pt x="742" y="0"/>
                  </a:moveTo>
                  <a:cubicBezTo>
                    <a:pt x="684" y="0"/>
                    <a:pt x="619" y="19"/>
                    <a:pt x="550" y="58"/>
                  </a:cubicBezTo>
                  <a:lnTo>
                    <a:pt x="434" y="126"/>
                  </a:lnTo>
                  <a:cubicBezTo>
                    <a:pt x="195" y="266"/>
                    <a:pt x="1" y="597"/>
                    <a:pt x="1" y="874"/>
                  </a:cubicBezTo>
                  <a:lnTo>
                    <a:pt x="1" y="4406"/>
                  </a:lnTo>
                  <a:cubicBezTo>
                    <a:pt x="1" y="4601"/>
                    <a:pt x="99" y="4714"/>
                    <a:pt x="242" y="4714"/>
                  </a:cubicBezTo>
                  <a:cubicBezTo>
                    <a:pt x="300" y="4714"/>
                    <a:pt x="365" y="4695"/>
                    <a:pt x="434" y="4656"/>
                  </a:cubicBezTo>
                  <a:lnTo>
                    <a:pt x="550" y="4587"/>
                  </a:lnTo>
                  <a:cubicBezTo>
                    <a:pt x="789" y="4447"/>
                    <a:pt x="984" y="4116"/>
                    <a:pt x="984" y="3840"/>
                  </a:cubicBezTo>
                  <a:lnTo>
                    <a:pt x="984" y="307"/>
                  </a:lnTo>
                  <a:cubicBezTo>
                    <a:pt x="984" y="113"/>
                    <a:pt x="885" y="0"/>
                    <a:pt x="742" y="0"/>
                  </a:cubicBezTo>
                  <a:close/>
                </a:path>
              </a:pathLst>
            </a:custGeom>
            <a:solidFill>
              <a:srgbClr val="F5F5F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67" name="Google Shape;6617;p41">
              <a:extLst>
                <a:ext uri="{FF2B5EF4-FFF2-40B4-BE49-F238E27FC236}">
                  <a16:creationId xmlns:a16="http://schemas.microsoft.com/office/drawing/2014/main" id="{A7627507-A037-FE4B-9FD3-5F6A17E2BD15}"/>
                </a:ext>
              </a:extLst>
            </p:cNvPr>
            <p:cNvSpPr/>
            <p:nvPr/>
          </p:nvSpPr>
          <p:spPr>
            <a:xfrm>
              <a:off x="4355200" y="2697000"/>
              <a:ext cx="41400" cy="24100"/>
            </a:xfrm>
            <a:custGeom>
              <a:avLst/>
              <a:gdLst/>
              <a:ahLst/>
              <a:cxnLst/>
              <a:rect l="l" t="t" r="r" b="b"/>
              <a:pathLst>
                <a:path w="1656" h="964" extrusionOk="0">
                  <a:moveTo>
                    <a:pt x="1563" y="1"/>
                  </a:moveTo>
                  <a:lnTo>
                    <a:pt x="0" y="905"/>
                  </a:lnTo>
                  <a:lnTo>
                    <a:pt x="89" y="963"/>
                  </a:lnTo>
                  <a:lnTo>
                    <a:pt x="1656" y="55"/>
                  </a:lnTo>
                  <a:lnTo>
                    <a:pt x="1563" y="1"/>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68" name="Google Shape;6618;p41">
              <a:extLst>
                <a:ext uri="{FF2B5EF4-FFF2-40B4-BE49-F238E27FC236}">
                  <a16:creationId xmlns:a16="http://schemas.microsoft.com/office/drawing/2014/main" id="{8F8F68FE-94CA-A041-A89A-7C1C9782B867}"/>
                </a:ext>
              </a:extLst>
            </p:cNvPr>
            <p:cNvSpPr/>
            <p:nvPr/>
          </p:nvSpPr>
          <p:spPr>
            <a:xfrm>
              <a:off x="4355200" y="2697000"/>
              <a:ext cx="41400" cy="24100"/>
            </a:xfrm>
            <a:custGeom>
              <a:avLst/>
              <a:gdLst/>
              <a:ahLst/>
              <a:cxnLst/>
              <a:rect l="l" t="t" r="r" b="b"/>
              <a:pathLst>
                <a:path w="1656" h="964" extrusionOk="0">
                  <a:moveTo>
                    <a:pt x="1563" y="1"/>
                  </a:moveTo>
                  <a:lnTo>
                    <a:pt x="932" y="366"/>
                  </a:lnTo>
                  <a:lnTo>
                    <a:pt x="850" y="413"/>
                  </a:lnTo>
                  <a:lnTo>
                    <a:pt x="253" y="758"/>
                  </a:lnTo>
                  <a:lnTo>
                    <a:pt x="120" y="837"/>
                  </a:lnTo>
                  <a:lnTo>
                    <a:pt x="0" y="905"/>
                  </a:lnTo>
                  <a:lnTo>
                    <a:pt x="89" y="963"/>
                  </a:lnTo>
                  <a:lnTo>
                    <a:pt x="1656" y="55"/>
                  </a:lnTo>
                  <a:lnTo>
                    <a:pt x="1563" y="1"/>
                  </a:ln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69" name="Google Shape;6619;p41">
              <a:extLst>
                <a:ext uri="{FF2B5EF4-FFF2-40B4-BE49-F238E27FC236}">
                  <a16:creationId xmlns:a16="http://schemas.microsoft.com/office/drawing/2014/main" id="{EFC22A23-1ECF-0443-8B7D-94556EAD782C}"/>
                </a:ext>
              </a:extLst>
            </p:cNvPr>
            <p:cNvSpPr/>
            <p:nvPr/>
          </p:nvSpPr>
          <p:spPr>
            <a:xfrm>
              <a:off x="5443675" y="2534625"/>
              <a:ext cx="51900" cy="109825"/>
            </a:xfrm>
            <a:custGeom>
              <a:avLst/>
              <a:gdLst/>
              <a:ahLst/>
              <a:cxnLst/>
              <a:rect l="l" t="t" r="r" b="b"/>
              <a:pathLst>
                <a:path w="2076" h="4393" extrusionOk="0">
                  <a:moveTo>
                    <a:pt x="1922" y="1"/>
                  </a:moveTo>
                  <a:lnTo>
                    <a:pt x="1" y="1110"/>
                  </a:lnTo>
                  <a:lnTo>
                    <a:pt x="1" y="2222"/>
                  </a:lnTo>
                  <a:lnTo>
                    <a:pt x="827" y="3652"/>
                  </a:lnTo>
                  <a:cubicBezTo>
                    <a:pt x="840" y="3676"/>
                    <a:pt x="861" y="3693"/>
                    <a:pt x="885" y="3704"/>
                  </a:cubicBezTo>
                  <a:lnTo>
                    <a:pt x="881" y="3704"/>
                  </a:lnTo>
                  <a:lnTo>
                    <a:pt x="2076" y="4393"/>
                  </a:lnTo>
                  <a:lnTo>
                    <a:pt x="1294" y="2926"/>
                  </a:lnTo>
                  <a:lnTo>
                    <a:pt x="1922" y="1110"/>
                  </a:lnTo>
                  <a:lnTo>
                    <a:pt x="1922" y="1"/>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70" name="Google Shape;6620;p41">
              <a:extLst>
                <a:ext uri="{FF2B5EF4-FFF2-40B4-BE49-F238E27FC236}">
                  <a16:creationId xmlns:a16="http://schemas.microsoft.com/office/drawing/2014/main" id="{65A173F0-1EBF-E840-8FB5-62DC12805650}"/>
                </a:ext>
              </a:extLst>
            </p:cNvPr>
            <p:cNvSpPr/>
            <p:nvPr/>
          </p:nvSpPr>
          <p:spPr>
            <a:xfrm>
              <a:off x="5458800" y="2607575"/>
              <a:ext cx="36525" cy="36725"/>
            </a:xfrm>
            <a:custGeom>
              <a:avLst/>
              <a:gdLst/>
              <a:ahLst/>
              <a:cxnLst/>
              <a:rect l="l" t="t" r="r" b="b"/>
              <a:pathLst>
                <a:path w="1461" h="1469" extrusionOk="0">
                  <a:moveTo>
                    <a:pt x="604" y="0"/>
                  </a:moveTo>
                  <a:lnTo>
                    <a:pt x="0" y="349"/>
                  </a:lnTo>
                  <a:lnTo>
                    <a:pt x="222" y="734"/>
                  </a:lnTo>
                  <a:cubicBezTo>
                    <a:pt x="235" y="758"/>
                    <a:pt x="256" y="775"/>
                    <a:pt x="280" y="786"/>
                  </a:cubicBezTo>
                  <a:lnTo>
                    <a:pt x="276" y="786"/>
                  </a:lnTo>
                  <a:lnTo>
                    <a:pt x="1461" y="1468"/>
                  </a:lnTo>
                  <a:cubicBezTo>
                    <a:pt x="1447" y="1459"/>
                    <a:pt x="1437" y="1448"/>
                    <a:pt x="1426" y="1431"/>
                  </a:cubicBezTo>
                  <a:lnTo>
                    <a:pt x="604" y="0"/>
                  </a:ln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71" name="Google Shape;6621;p41">
              <a:extLst>
                <a:ext uri="{FF2B5EF4-FFF2-40B4-BE49-F238E27FC236}">
                  <a16:creationId xmlns:a16="http://schemas.microsoft.com/office/drawing/2014/main" id="{D85493F2-C7EF-C341-841C-BCC7FC40B89C}"/>
                </a:ext>
              </a:extLst>
            </p:cNvPr>
            <p:cNvSpPr/>
            <p:nvPr/>
          </p:nvSpPr>
          <p:spPr>
            <a:xfrm>
              <a:off x="5361025" y="2278875"/>
              <a:ext cx="249325" cy="366025"/>
            </a:xfrm>
            <a:custGeom>
              <a:avLst/>
              <a:gdLst/>
              <a:ahLst/>
              <a:cxnLst/>
              <a:rect l="l" t="t" r="r" b="b"/>
              <a:pathLst>
                <a:path w="9973" h="14641" extrusionOk="0">
                  <a:moveTo>
                    <a:pt x="8350" y="0"/>
                  </a:moveTo>
                  <a:cubicBezTo>
                    <a:pt x="8141" y="0"/>
                    <a:pt x="7933" y="46"/>
                    <a:pt x="7774" y="138"/>
                  </a:cubicBezTo>
                  <a:lnTo>
                    <a:pt x="577" y="4302"/>
                  </a:lnTo>
                  <a:cubicBezTo>
                    <a:pt x="259" y="4486"/>
                    <a:pt x="0" y="4934"/>
                    <a:pt x="0" y="5299"/>
                  </a:cubicBezTo>
                  <a:lnTo>
                    <a:pt x="0" y="13217"/>
                  </a:lnTo>
                  <a:cubicBezTo>
                    <a:pt x="0" y="13586"/>
                    <a:pt x="259" y="14033"/>
                    <a:pt x="577" y="14217"/>
                  </a:cubicBezTo>
                  <a:lnTo>
                    <a:pt x="1048" y="14487"/>
                  </a:lnTo>
                  <a:cubicBezTo>
                    <a:pt x="1206" y="14579"/>
                    <a:pt x="1414" y="14625"/>
                    <a:pt x="1622" y="14625"/>
                  </a:cubicBezTo>
                  <a:cubicBezTo>
                    <a:pt x="1831" y="14625"/>
                    <a:pt x="2039" y="14579"/>
                    <a:pt x="2198" y="14487"/>
                  </a:cubicBezTo>
                  <a:lnTo>
                    <a:pt x="4515" y="13148"/>
                  </a:lnTo>
                  <a:lnTo>
                    <a:pt x="5337" y="14579"/>
                  </a:lnTo>
                  <a:cubicBezTo>
                    <a:pt x="5362" y="14621"/>
                    <a:pt x="5404" y="14641"/>
                    <a:pt x="5444" y="14641"/>
                  </a:cubicBezTo>
                  <a:cubicBezTo>
                    <a:pt x="5493" y="14641"/>
                    <a:pt x="5542" y="14612"/>
                    <a:pt x="5563" y="14558"/>
                  </a:cubicBezTo>
                  <a:lnTo>
                    <a:pt x="6433" y="12043"/>
                  </a:lnTo>
                  <a:lnTo>
                    <a:pt x="9395" y="10327"/>
                  </a:lnTo>
                  <a:cubicBezTo>
                    <a:pt x="9713" y="10142"/>
                    <a:pt x="9973" y="9695"/>
                    <a:pt x="9973" y="9326"/>
                  </a:cubicBezTo>
                  <a:lnTo>
                    <a:pt x="9973" y="1408"/>
                  </a:lnTo>
                  <a:cubicBezTo>
                    <a:pt x="9973" y="1039"/>
                    <a:pt x="9713" y="592"/>
                    <a:pt x="9395" y="408"/>
                  </a:cubicBezTo>
                  <a:lnTo>
                    <a:pt x="8928" y="138"/>
                  </a:lnTo>
                  <a:cubicBezTo>
                    <a:pt x="8768" y="46"/>
                    <a:pt x="8559" y="0"/>
                    <a:pt x="8350" y="0"/>
                  </a:cubicBezTo>
                  <a:close/>
                </a:path>
              </a:pathLst>
            </a:custGeom>
            <a:solidFill>
              <a:schemeClr val="accent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72" name="Google Shape;6622;p41">
              <a:extLst>
                <a:ext uri="{FF2B5EF4-FFF2-40B4-BE49-F238E27FC236}">
                  <a16:creationId xmlns:a16="http://schemas.microsoft.com/office/drawing/2014/main" id="{56371427-682E-4047-977A-50F575E9456D}"/>
                </a:ext>
              </a:extLst>
            </p:cNvPr>
            <p:cNvSpPr/>
            <p:nvPr/>
          </p:nvSpPr>
          <p:spPr>
            <a:xfrm>
              <a:off x="5364850" y="2622775"/>
              <a:ext cx="10600" cy="11550"/>
            </a:xfrm>
            <a:custGeom>
              <a:avLst/>
              <a:gdLst/>
              <a:ahLst/>
              <a:cxnLst/>
              <a:rect l="l" t="t" r="r" b="b"/>
              <a:pathLst>
                <a:path w="424" h="462" extrusionOk="0">
                  <a:moveTo>
                    <a:pt x="0" y="0"/>
                  </a:moveTo>
                  <a:cubicBezTo>
                    <a:pt x="103" y="191"/>
                    <a:pt x="257" y="362"/>
                    <a:pt x="424" y="461"/>
                  </a:cubicBezTo>
                  <a:cubicBezTo>
                    <a:pt x="257" y="362"/>
                    <a:pt x="103" y="191"/>
                    <a:pt x="0" y="0"/>
                  </a:cubicBezTo>
                  <a:close/>
                </a:path>
              </a:pathLst>
            </a:custGeom>
            <a:solidFill>
              <a:srgbClr val="CCCCCC"/>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73" name="Google Shape;6623;p41">
              <a:extLst>
                <a:ext uri="{FF2B5EF4-FFF2-40B4-BE49-F238E27FC236}">
                  <a16:creationId xmlns:a16="http://schemas.microsoft.com/office/drawing/2014/main" id="{46EEC29E-A6F2-8049-A9EC-108DE1AF5BF1}"/>
                </a:ext>
              </a:extLst>
            </p:cNvPr>
            <p:cNvSpPr/>
            <p:nvPr/>
          </p:nvSpPr>
          <p:spPr>
            <a:xfrm>
              <a:off x="5361025" y="2397175"/>
              <a:ext cx="52550" cy="247275"/>
            </a:xfrm>
            <a:custGeom>
              <a:avLst/>
              <a:gdLst/>
              <a:ahLst/>
              <a:cxnLst/>
              <a:rect l="l" t="t" r="r" b="b"/>
              <a:pathLst>
                <a:path w="2102" h="9891" extrusionOk="0">
                  <a:moveTo>
                    <a:pt x="170" y="0"/>
                  </a:moveTo>
                  <a:cubicBezTo>
                    <a:pt x="65" y="181"/>
                    <a:pt x="0" y="383"/>
                    <a:pt x="0" y="567"/>
                  </a:cubicBezTo>
                  <a:lnTo>
                    <a:pt x="0" y="8485"/>
                  </a:lnTo>
                  <a:cubicBezTo>
                    <a:pt x="0" y="8659"/>
                    <a:pt x="57" y="8851"/>
                    <a:pt x="153" y="9024"/>
                  </a:cubicBezTo>
                  <a:cubicBezTo>
                    <a:pt x="256" y="9215"/>
                    <a:pt x="410" y="9386"/>
                    <a:pt x="577" y="9485"/>
                  </a:cubicBezTo>
                  <a:lnTo>
                    <a:pt x="1048" y="9755"/>
                  </a:lnTo>
                  <a:cubicBezTo>
                    <a:pt x="1204" y="9847"/>
                    <a:pt x="1413" y="9891"/>
                    <a:pt x="1618" y="9891"/>
                  </a:cubicBezTo>
                  <a:cubicBezTo>
                    <a:pt x="1788" y="9891"/>
                    <a:pt x="1959" y="9864"/>
                    <a:pt x="2102" y="9802"/>
                  </a:cubicBezTo>
                  <a:lnTo>
                    <a:pt x="2102" y="9802"/>
                  </a:lnTo>
                  <a:cubicBezTo>
                    <a:pt x="2044" y="9823"/>
                    <a:pt x="1990" y="9834"/>
                    <a:pt x="1941" y="9834"/>
                  </a:cubicBezTo>
                  <a:cubicBezTo>
                    <a:pt x="1754" y="9834"/>
                    <a:pt x="1624" y="9683"/>
                    <a:pt x="1624" y="9424"/>
                  </a:cubicBezTo>
                  <a:lnTo>
                    <a:pt x="1624" y="1506"/>
                  </a:lnTo>
                  <a:cubicBezTo>
                    <a:pt x="1624" y="1321"/>
                    <a:pt x="1686" y="1117"/>
                    <a:pt x="1791" y="935"/>
                  </a:cubicBezTo>
                  <a:lnTo>
                    <a:pt x="832" y="383"/>
                  </a:lnTo>
                  <a:lnTo>
                    <a:pt x="170" y="0"/>
                  </a:ln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74" name="Google Shape;6624;p41">
              <a:extLst>
                <a:ext uri="{FF2B5EF4-FFF2-40B4-BE49-F238E27FC236}">
                  <a16:creationId xmlns:a16="http://schemas.microsoft.com/office/drawing/2014/main" id="{40CE89AB-81D5-F948-8D12-C08ED66DC697}"/>
                </a:ext>
              </a:extLst>
            </p:cNvPr>
            <p:cNvSpPr/>
            <p:nvPr/>
          </p:nvSpPr>
          <p:spPr>
            <a:xfrm>
              <a:off x="5365275" y="2278900"/>
              <a:ext cx="244575" cy="141675"/>
            </a:xfrm>
            <a:custGeom>
              <a:avLst/>
              <a:gdLst/>
              <a:ahLst/>
              <a:cxnLst/>
              <a:rect l="l" t="t" r="r" b="b"/>
              <a:pathLst>
                <a:path w="9783" h="5667" extrusionOk="0">
                  <a:moveTo>
                    <a:pt x="8181" y="1"/>
                  </a:moveTo>
                  <a:cubicBezTo>
                    <a:pt x="7993" y="1"/>
                    <a:pt x="7809" y="38"/>
                    <a:pt x="7656" y="110"/>
                  </a:cubicBezTo>
                  <a:cubicBezTo>
                    <a:pt x="7639" y="117"/>
                    <a:pt x="7622" y="128"/>
                    <a:pt x="7604" y="137"/>
                  </a:cubicBezTo>
                  <a:lnTo>
                    <a:pt x="6076" y="1021"/>
                  </a:lnTo>
                  <a:lnTo>
                    <a:pt x="407" y="4301"/>
                  </a:lnTo>
                  <a:cubicBezTo>
                    <a:pt x="249" y="4394"/>
                    <a:pt x="106" y="4551"/>
                    <a:pt x="0" y="4731"/>
                  </a:cubicBezTo>
                  <a:lnTo>
                    <a:pt x="662" y="5114"/>
                  </a:lnTo>
                  <a:lnTo>
                    <a:pt x="1621" y="5666"/>
                  </a:lnTo>
                  <a:cubicBezTo>
                    <a:pt x="1724" y="5485"/>
                    <a:pt x="1870" y="5329"/>
                    <a:pt x="2028" y="5236"/>
                  </a:cubicBezTo>
                  <a:lnTo>
                    <a:pt x="9225" y="1073"/>
                  </a:lnTo>
                  <a:cubicBezTo>
                    <a:pt x="9321" y="1021"/>
                    <a:pt x="9406" y="994"/>
                    <a:pt x="9485" y="994"/>
                  </a:cubicBezTo>
                  <a:cubicBezTo>
                    <a:pt x="9628" y="994"/>
                    <a:pt x="9741" y="1083"/>
                    <a:pt x="9782" y="1243"/>
                  </a:cubicBezTo>
                  <a:cubicBezTo>
                    <a:pt x="9758" y="1100"/>
                    <a:pt x="9700" y="950"/>
                    <a:pt x="9622" y="816"/>
                  </a:cubicBezTo>
                  <a:cubicBezTo>
                    <a:pt x="9540" y="684"/>
                    <a:pt x="9437" y="564"/>
                    <a:pt x="9324" y="476"/>
                  </a:cubicBezTo>
                  <a:cubicBezTo>
                    <a:pt x="9294" y="451"/>
                    <a:pt x="9260" y="427"/>
                    <a:pt x="9225" y="410"/>
                  </a:cubicBezTo>
                  <a:lnTo>
                    <a:pt x="8758" y="137"/>
                  </a:lnTo>
                  <a:cubicBezTo>
                    <a:pt x="8598" y="46"/>
                    <a:pt x="8390" y="1"/>
                    <a:pt x="8181" y="1"/>
                  </a:cubicBezTo>
                  <a:close/>
                </a:path>
              </a:pathLst>
            </a:custGeom>
            <a:solidFill>
              <a:schemeClr val="accent6"/>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75" name="Google Shape;6625;p41">
              <a:extLst>
                <a:ext uri="{FF2B5EF4-FFF2-40B4-BE49-F238E27FC236}">
                  <a16:creationId xmlns:a16="http://schemas.microsoft.com/office/drawing/2014/main" id="{5ED84ED1-4C66-AB4D-885D-5A3CB91B2A62}"/>
                </a:ext>
              </a:extLst>
            </p:cNvPr>
            <p:cNvSpPr/>
            <p:nvPr/>
          </p:nvSpPr>
          <p:spPr>
            <a:xfrm>
              <a:off x="5365275" y="2397175"/>
              <a:ext cx="16575" cy="9575"/>
            </a:xfrm>
            <a:custGeom>
              <a:avLst/>
              <a:gdLst/>
              <a:ahLst/>
              <a:cxnLst/>
              <a:rect l="l" t="t" r="r" b="b"/>
              <a:pathLst>
                <a:path w="663" h="383" extrusionOk="0">
                  <a:moveTo>
                    <a:pt x="0" y="0"/>
                  </a:moveTo>
                  <a:lnTo>
                    <a:pt x="0" y="0"/>
                  </a:lnTo>
                  <a:lnTo>
                    <a:pt x="662" y="383"/>
                  </a:lnTo>
                  <a:close/>
                </a:path>
              </a:pathLst>
            </a:custGeom>
            <a:solidFill>
              <a:srgbClr val="63C9B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76" name="Google Shape;6626;p41">
              <a:extLst>
                <a:ext uri="{FF2B5EF4-FFF2-40B4-BE49-F238E27FC236}">
                  <a16:creationId xmlns:a16="http://schemas.microsoft.com/office/drawing/2014/main" id="{CF9A2619-0B90-954C-AD70-BFED81223A08}"/>
                </a:ext>
              </a:extLst>
            </p:cNvPr>
            <p:cNvSpPr/>
            <p:nvPr/>
          </p:nvSpPr>
          <p:spPr>
            <a:xfrm>
              <a:off x="5416625" y="2395600"/>
              <a:ext cx="109850" cy="145650"/>
            </a:xfrm>
            <a:custGeom>
              <a:avLst/>
              <a:gdLst/>
              <a:ahLst/>
              <a:cxnLst/>
              <a:rect l="l" t="t" r="r" b="b"/>
              <a:pathLst>
                <a:path w="4394" h="5826" extrusionOk="0">
                  <a:moveTo>
                    <a:pt x="2618" y="1663"/>
                  </a:moveTo>
                  <a:cubicBezTo>
                    <a:pt x="2631" y="1663"/>
                    <a:pt x="2644" y="1664"/>
                    <a:pt x="2656" y="1664"/>
                  </a:cubicBezTo>
                  <a:lnTo>
                    <a:pt x="2677" y="1664"/>
                  </a:lnTo>
                  <a:cubicBezTo>
                    <a:pt x="2683" y="1664"/>
                    <a:pt x="2691" y="1664"/>
                    <a:pt x="2697" y="1668"/>
                  </a:cubicBezTo>
                  <a:lnTo>
                    <a:pt x="2715" y="1668"/>
                  </a:lnTo>
                  <a:cubicBezTo>
                    <a:pt x="2878" y="1691"/>
                    <a:pt x="3014" y="1791"/>
                    <a:pt x="3093" y="1968"/>
                  </a:cubicBezTo>
                  <a:cubicBezTo>
                    <a:pt x="3298" y="2422"/>
                    <a:pt x="3063" y="3210"/>
                    <a:pt x="2571" y="3733"/>
                  </a:cubicBezTo>
                  <a:cubicBezTo>
                    <a:pt x="2363" y="3951"/>
                    <a:pt x="2141" y="4087"/>
                    <a:pt x="1943" y="4138"/>
                  </a:cubicBezTo>
                  <a:cubicBezTo>
                    <a:pt x="1933" y="4142"/>
                    <a:pt x="1926" y="4146"/>
                    <a:pt x="1916" y="4146"/>
                  </a:cubicBezTo>
                  <a:cubicBezTo>
                    <a:pt x="1909" y="4149"/>
                    <a:pt x="1902" y="4149"/>
                    <a:pt x="1895" y="4152"/>
                  </a:cubicBezTo>
                  <a:cubicBezTo>
                    <a:pt x="1881" y="4152"/>
                    <a:pt x="1868" y="4155"/>
                    <a:pt x="1854" y="4159"/>
                  </a:cubicBezTo>
                  <a:cubicBezTo>
                    <a:pt x="1837" y="4159"/>
                    <a:pt x="1820" y="4163"/>
                    <a:pt x="1803" y="4163"/>
                  </a:cubicBezTo>
                  <a:lnTo>
                    <a:pt x="1759" y="4163"/>
                  </a:lnTo>
                  <a:cubicBezTo>
                    <a:pt x="1560" y="4163"/>
                    <a:pt x="1397" y="4060"/>
                    <a:pt x="1305" y="3859"/>
                  </a:cubicBezTo>
                  <a:cubicBezTo>
                    <a:pt x="1270" y="3783"/>
                    <a:pt x="1247" y="3698"/>
                    <a:pt x="1237" y="3606"/>
                  </a:cubicBezTo>
                  <a:cubicBezTo>
                    <a:pt x="1233" y="3558"/>
                    <a:pt x="1229" y="3514"/>
                    <a:pt x="1229" y="3466"/>
                  </a:cubicBezTo>
                  <a:cubicBezTo>
                    <a:pt x="1233" y="3026"/>
                    <a:pt x="1458" y="2487"/>
                    <a:pt x="1827" y="2094"/>
                  </a:cubicBezTo>
                  <a:cubicBezTo>
                    <a:pt x="1946" y="1968"/>
                    <a:pt x="2072" y="1869"/>
                    <a:pt x="2192" y="1797"/>
                  </a:cubicBezTo>
                  <a:cubicBezTo>
                    <a:pt x="2233" y="1773"/>
                    <a:pt x="2274" y="1753"/>
                    <a:pt x="2315" y="1736"/>
                  </a:cubicBezTo>
                  <a:cubicBezTo>
                    <a:pt x="2420" y="1687"/>
                    <a:pt x="2523" y="1663"/>
                    <a:pt x="2618" y="1663"/>
                  </a:cubicBezTo>
                  <a:close/>
                  <a:moveTo>
                    <a:pt x="3311" y="0"/>
                  </a:moveTo>
                  <a:cubicBezTo>
                    <a:pt x="3307" y="0"/>
                    <a:pt x="3302" y="1"/>
                    <a:pt x="3298" y="2"/>
                  </a:cubicBezTo>
                  <a:lnTo>
                    <a:pt x="2817" y="50"/>
                  </a:lnTo>
                  <a:cubicBezTo>
                    <a:pt x="2773" y="53"/>
                    <a:pt x="2724" y="88"/>
                    <a:pt x="2711" y="121"/>
                  </a:cubicBezTo>
                  <a:lnTo>
                    <a:pt x="2448" y="825"/>
                  </a:lnTo>
                  <a:cubicBezTo>
                    <a:pt x="2434" y="858"/>
                    <a:pt x="2387" y="903"/>
                    <a:pt x="2343" y="927"/>
                  </a:cubicBezTo>
                  <a:cubicBezTo>
                    <a:pt x="2244" y="971"/>
                    <a:pt x="2144" y="1030"/>
                    <a:pt x="2045" y="1098"/>
                  </a:cubicBezTo>
                  <a:cubicBezTo>
                    <a:pt x="2024" y="1112"/>
                    <a:pt x="2001" y="1120"/>
                    <a:pt x="1981" y="1120"/>
                  </a:cubicBezTo>
                  <a:cubicBezTo>
                    <a:pt x="1964" y="1120"/>
                    <a:pt x="1949" y="1114"/>
                    <a:pt x="1940" y="1101"/>
                  </a:cubicBezTo>
                  <a:lnTo>
                    <a:pt x="1694" y="726"/>
                  </a:lnTo>
                  <a:cubicBezTo>
                    <a:pt x="1686" y="713"/>
                    <a:pt x="1674" y="707"/>
                    <a:pt x="1660" y="707"/>
                  </a:cubicBezTo>
                  <a:cubicBezTo>
                    <a:pt x="1642" y="707"/>
                    <a:pt x="1622" y="717"/>
                    <a:pt x="1605" y="736"/>
                  </a:cubicBezTo>
                  <a:lnTo>
                    <a:pt x="1076" y="1296"/>
                  </a:lnTo>
                  <a:cubicBezTo>
                    <a:pt x="1045" y="1329"/>
                    <a:pt x="1025" y="1381"/>
                    <a:pt x="1035" y="1411"/>
                  </a:cubicBezTo>
                  <a:lnTo>
                    <a:pt x="1182" y="1910"/>
                  </a:lnTo>
                  <a:cubicBezTo>
                    <a:pt x="1192" y="1940"/>
                    <a:pt x="1179" y="1995"/>
                    <a:pt x="1155" y="2033"/>
                  </a:cubicBezTo>
                  <a:cubicBezTo>
                    <a:pt x="1066" y="2169"/>
                    <a:pt x="984" y="2309"/>
                    <a:pt x="912" y="2456"/>
                  </a:cubicBezTo>
                  <a:cubicBezTo>
                    <a:pt x="892" y="2490"/>
                    <a:pt x="844" y="2528"/>
                    <a:pt x="796" y="2541"/>
                  </a:cubicBezTo>
                  <a:lnTo>
                    <a:pt x="342" y="2651"/>
                  </a:lnTo>
                  <a:cubicBezTo>
                    <a:pt x="298" y="2660"/>
                    <a:pt x="250" y="2698"/>
                    <a:pt x="240" y="2736"/>
                  </a:cubicBezTo>
                  <a:lnTo>
                    <a:pt x="11" y="3503"/>
                  </a:lnTo>
                  <a:cubicBezTo>
                    <a:pt x="1" y="3538"/>
                    <a:pt x="29" y="3569"/>
                    <a:pt x="70" y="3572"/>
                  </a:cubicBezTo>
                  <a:lnTo>
                    <a:pt x="482" y="3596"/>
                  </a:lnTo>
                  <a:cubicBezTo>
                    <a:pt x="527" y="3599"/>
                    <a:pt x="557" y="3626"/>
                    <a:pt x="554" y="3664"/>
                  </a:cubicBezTo>
                  <a:cubicBezTo>
                    <a:pt x="541" y="3801"/>
                    <a:pt x="541" y="3933"/>
                    <a:pt x="550" y="4060"/>
                  </a:cubicBezTo>
                  <a:cubicBezTo>
                    <a:pt x="554" y="4094"/>
                    <a:pt x="536" y="4149"/>
                    <a:pt x="506" y="4183"/>
                  </a:cubicBezTo>
                  <a:lnTo>
                    <a:pt x="45" y="4743"/>
                  </a:lnTo>
                  <a:cubicBezTo>
                    <a:pt x="18" y="4777"/>
                    <a:pt x="4" y="4828"/>
                    <a:pt x="18" y="4859"/>
                  </a:cubicBezTo>
                  <a:lnTo>
                    <a:pt x="237" y="5343"/>
                  </a:lnTo>
                  <a:cubicBezTo>
                    <a:pt x="240" y="5350"/>
                    <a:pt x="243" y="5354"/>
                    <a:pt x="250" y="5357"/>
                  </a:cubicBezTo>
                  <a:lnTo>
                    <a:pt x="250" y="5360"/>
                  </a:lnTo>
                  <a:cubicBezTo>
                    <a:pt x="257" y="5364"/>
                    <a:pt x="264" y="5364"/>
                    <a:pt x="267" y="5364"/>
                  </a:cubicBezTo>
                  <a:lnTo>
                    <a:pt x="270" y="5364"/>
                  </a:lnTo>
                  <a:cubicBezTo>
                    <a:pt x="284" y="5364"/>
                    <a:pt x="305" y="5354"/>
                    <a:pt x="322" y="5340"/>
                  </a:cubicBezTo>
                  <a:lnTo>
                    <a:pt x="817" y="4886"/>
                  </a:lnTo>
                  <a:cubicBezTo>
                    <a:pt x="838" y="4867"/>
                    <a:pt x="864" y="4857"/>
                    <a:pt x="886" y="4857"/>
                  </a:cubicBezTo>
                  <a:cubicBezTo>
                    <a:pt x="900" y="4857"/>
                    <a:pt x="913" y="4861"/>
                    <a:pt x="922" y="4869"/>
                  </a:cubicBezTo>
                  <a:cubicBezTo>
                    <a:pt x="987" y="4920"/>
                    <a:pt x="1059" y="4961"/>
                    <a:pt x="1134" y="4992"/>
                  </a:cubicBezTo>
                  <a:cubicBezTo>
                    <a:pt x="1168" y="5006"/>
                    <a:pt x="1192" y="5043"/>
                    <a:pt x="1185" y="5077"/>
                  </a:cubicBezTo>
                  <a:lnTo>
                    <a:pt x="1032" y="5770"/>
                  </a:lnTo>
                  <a:cubicBezTo>
                    <a:pt x="1028" y="5790"/>
                    <a:pt x="1035" y="5808"/>
                    <a:pt x="1053" y="5817"/>
                  </a:cubicBezTo>
                  <a:cubicBezTo>
                    <a:pt x="1062" y="5823"/>
                    <a:pt x="1072" y="5826"/>
                    <a:pt x="1085" y="5826"/>
                  </a:cubicBezTo>
                  <a:cubicBezTo>
                    <a:pt x="1090" y="5826"/>
                    <a:pt x="1095" y="5826"/>
                    <a:pt x="1100" y="5825"/>
                  </a:cubicBezTo>
                  <a:lnTo>
                    <a:pt x="1581" y="5776"/>
                  </a:lnTo>
                  <a:cubicBezTo>
                    <a:pt x="1626" y="5773"/>
                    <a:pt x="1673" y="5740"/>
                    <a:pt x="1687" y="5705"/>
                  </a:cubicBezTo>
                  <a:lnTo>
                    <a:pt x="1949" y="5002"/>
                  </a:lnTo>
                  <a:cubicBezTo>
                    <a:pt x="1963" y="4968"/>
                    <a:pt x="2011" y="4924"/>
                    <a:pt x="2056" y="4900"/>
                  </a:cubicBezTo>
                  <a:cubicBezTo>
                    <a:pt x="2103" y="4875"/>
                    <a:pt x="2158" y="4848"/>
                    <a:pt x="2209" y="4821"/>
                  </a:cubicBezTo>
                  <a:cubicBezTo>
                    <a:pt x="2257" y="4790"/>
                    <a:pt x="2305" y="4760"/>
                    <a:pt x="2352" y="4729"/>
                  </a:cubicBezTo>
                  <a:cubicBezTo>
                    <a:pt x="2374" y="4714"/>
                    <a:pt x="2397" y="4707"/>
                    <a:pt x="2416" y="4707"/>
                  </a:cubicBezTo>
                  <a:cubicBezTo>
                    <a:pt x="2433" y="4707"/>
                    <a:pt x="2447" y="4713"/>
                    <a:pt x="2455" y="4725"/>
                  </a:cubicBezTo>
                  <a:lnTo>
                    <a:pt x="2704" y="5101"/>
                  </a:lnTo>
                  <a:cubicBezTo>
                    <a:pt x="2707" y="5108"/>
                    <a:pt x="2711" y="5111"/>
                    <a:pt x="2715" y="5115"/>
                  </a:cubicBezTo>
                  <a:cubicBezTo>
                    <a:pt x="2720" y="5118"/>
                    <a:pt x="2727" y="5119"/>
                    <a:pt x="2735" y="5119"/>
                  </a:cubicBezTo>
                  <a:cubicBezTo>
                    <a:pt x="2752" y="5119"/>
                    <a:pt x="2773" y="5110"/>
                    <a:pt x="2793" y="5091"/>
                  </a:cubicBezTo>
                  <a:lnTo>
                    <a:pt x="3321" y="4531"/>
                  </a:lnTo>
                  <a:cubicBezTo>
                    <a:pt x="3353" y="4497"/>
                    <a:pt x="3373" y="4445"/>
                    <a:pt x="3362" y="4415"/>
                  </a:cubicBezTo>
                  <a:lnTo>
                    <a:pt x="3216" y="3917"/>
                  </a:lnTo>
                  <a:cubicBezTo>
                    <a:pt x="3206" y="3886"/>
                    <a:pt x="3219" y="3831"/>
                    <a:pt x="3244" y="3794"/>
                  </a:cubicBezTo>
                  <a:cubicBezTo>
                    <a:pt x="3332" y="3657"/>
                    <a:pt x="3414" y="3517"/>
                    <a:pt x="3485" y="3371"/>
                  </a:cubicBezTo>
                  <a:cubicBezTo>
                    <a:pt x="3503" y="3336"/>
                    <a:pt x="3554" y="3299"/>
                    <a:pt x="3602" y="3285"/>
                  </a:cubicBezTo>
                  <a:lnTo>
                    <a:pt x="4055" y="3176"/>
                  </a:lnTo>
                  <a:cubicBezTo>
                    <a:pt x="4100" y="3166"/>
                    <a:pt x="4148" y="3128"/>
                    <a:pt x="4158" y="3091"/>
                  </a:cubicBezTo>
                  <a:lnTo>
                    <a:pt x="4386" y="2323"/>
                  </a:lnTo>
                  <a:cubicBezTo>
                    <a:pt x="4394" y="2299"/>
                    <a:pt x="4383" y="2275"/>
                    <a:pt x="4359" y="2265"/>
                  </a:cubicBezTo>
                  <a:lnTo>
                    <a:pt x="4359" y="2262"/>
                  </a:lnTo>
                  <a:cubicBezTo>
                    <a:pt x="4349" y="2258"/>
                    <a:pt x="4339" y="2254"/>
                    <a:pt x="4329" y="2254"/>
                  </a:cubicBezTo>
                  <a:lnTo>
                    <a:pt x="3915" y="2230"/>
                  </a:lnTo>
                  <a:cubicBezTo>
                    <a:pt x="3871" y="2227"/>
                    <a:pt x="3841" y="2200"/>
                    <a:pt x="3844" y="2162"/>
                  </a:cubicBezTo>
                  <a:cubicBezTo>
                    <a:pt x="3851" y="2098"/>
                    <a:pt x="3854" y="2033"/>
                    <a:pt x="3854" y="1972"/>
                  </a:cubicBezTo>
                  <a:cubicBezTo>
                    <a:pt x="3854" y="1900"/>
                    <a:pt x="3851" y="1832"/>
                    <a:pt x="3844" y="1767"/>
                  </a:cubicBezTo>
                  <a:cubicBezTo>
                    <a:pt x="3844" y="1732"/>
                    <a:pt x="3861" y="1678"/>
                    <a:pt x="3892" y="1644"/>
                  </a:cubicBezTo>
                  <a:lnTo>
                    <a:pt x="4353" y="1084"/>
                  </a:lnTo>
                  <a:cubicBezTo>
                    <a:pt x="4380" y="1050"/>
                    <a:pt x="4394" y="998"/>
                    <a:pt x="4380" y="968"/>
                  </a:cubicBezTo>
                  <a:lnTo>
                    <a:pt x="4161" y="483"/>
                  </a:lnTo>
                  <a:cubicBezTo>
                    <a:pt x="4158" y="477"/>
                    <a:pt x="4155" y="473"/>
                    <a:pt x="4148" y="469"/>
                  </a:cubicBezTo>
                  <a:lnTo>
                    <a:pt x="4145" y="466"/>
                  </a:lnTo>
                  <a:cubicBezTo>
                    <a:pt x="4140" y="464"/>
                    <a:pt x="4135" y="462"/>
                    <a:pt x="4129" y="462"/>
                  </a:cubicBezTo>
                  <a:cubicBezTo>
                    <a:pt x="4113" y="462"/>
                    <a:pt x="4093" y="472"/>
                    <a:pt x="4076" y="490"/>
                  </a:cubicBezTo>
                  <a:lnTo>
                    <a:pt x="3581" y="940"/>
                  </a:lnTo>
                  <a:cubicBezTo>
                    <a:pt x="3560" y="959"/>
                    <a:pt x="3534" y="969"/>
                    <a:pt x="3511" y="969"/>
                  </a:cubicBezTo>
                  <a:cubicBezTo>
                    <a:pt x="3496" y="969"/>
                    <a:pt x="3483" y="965"/>
                    <a:pt x="3472" y="958"/>
                  </a:cubicBezTo>
                  <a:cubicBezTo>
                    <a:pt x="3411" y="903"/>
                    <a:pt x="3339" y="866"/>
                    <a:pt x="3264" y="835"/>
                  </a:cubicBezTo>
                  <a:cubicBezTo>
                    <a:pt x="3230" y="821"/>
                    <a:pt x="3206" y="784"/>
                    <a:pt x="3213" y="749"/>
                  </a:cubicBezTo>
                  <a:lnTo>
                    <a:pt x="3367" y="57"/>
                  </a:lnTo>
                  <a:cubicBezTo>
                    <a:pt x="3370" y="36"/>
                    <a:pt x="3362" y="19"/>
                    <a:pt x="3346" y="9"/>
                  </a:cubicBezTo>
                  <a:cubicBezTo>
                    <a:pt x="3336" y="4"/>
                    <a:pt x="3324" y="0"/>
                    <a:pt x="3311" y="0"/>
                  </a:cubicBezTo>
                  <a:close/>
                </a:path>
              </a:pathLst>
            </a:custGeom>
            <a:solidFill>
              <a:srgbClr val="455A6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77" name="Google Shape;6627;p41">
              <a:extLst>
                <a:ext uri="{FF2B5EF4-FFF2-40B4-BE49-F238E27FC236}">
                  <a16:creationId xmlns:a16="http://schemas.microsoft.com/office/drawing/2014/main" id="{CE2ADC2F-8648-EA41-849D-DE54B3132933}"/>
                </a:ext>
              </a:extLst>
            </p:cNvPr>
            <p:cNvSpPr/>
            <p:nvPr/>
          </p:nvSpPr>
          <p:spPr>
            <a:xfrm>
              <a:off x="5515450" y="2436350"/>
              <a:ext cx="83300" cy="110475"/>
            </a:xfrm>
            <a:custGeom>
              <a:avLst/>
              <a:gdLst/>
              <a:ahLst/>
              <a:cxnLst/>
              <a:rect l="l" t="t" r="r" b="b"/>
              <a:pathLst>
                <a:path w="3332" h="4419" extrusionOk="0">
                  <a:moveTo>
                    <a:pt x="1997" y="1259"/>
                  </a:moveTo>
                  <a:cubicBezTo>
                    <a:pt x="2003" y="1259"/>
                    <a:pt x="2009" y="1259"/>
                    <a:pt x="2014" y="1259"/>
                  </a:cubicBezTo>
                  <a:lnTo>
                    <a:pt x="2018" y="1259"/>
                  </a:lnTo>
                  <a:cubicBezTo>
                    <a:pt x="2021" y="1259"/>
                    <a:pt x="2024" y="1263"/>
                    <a:pt x="2027" y="1263"/>
                  </a:cubicBezTo>
                  <a:lnTo>
                    <a:pt x="2041" y="1263"/>
                  </a:lnTo>
                  <a:cubicBezTo>
                    <a:pt x="2048" y="1263"/>
                    <a:pt x="2051" y="1263"/>
                    <a:pt x="2055" y="1266"/>
                  </a:cubicBezTo>
                  <a:cubicBezTo>
                    <a:pt x="2181" y="1284"/>
                    <a:pt x="2284" y="1358"/>
                    <a:pt x="2345" y="1492"/>
                  </a:cubicBezTo>
                  <a:cubicBezTo>
                    <a:pt x="2498" y="1836"/>
                    <a:pt x="2321" y="2434"/>
                    <a:pt x="1945" y="2829"/>
                  </a:cubicBezTo>
                  <a:cubicBezTo>
                    <a:pt x="1789" y="2996"/>
                    <a:pt x="1621" y="3099"/>
                    <a:pt x="1471" y="3140"/>
                  </a:cubicBezTo>
                  <a:cubicBezTo>
                    <a:pt x="1465" y="3140"/>
                    <a:pt x="1457" y="3143"/>
                    <a:pt x="1451" y="3143"/>
                  </a:cubicBezTo>
                  <a:cubicBezTo>
                    <a:pt x="1444" y="3147"/>
                    <a:pt x="1441" y="3147"/>
                    <a:pt x="1437" y="3147"/>
                  </a:cubicBezTo>
                  <a:cubicBezTo>
                    <a:pt x="1424" y="3150"/>
                    <a:pt x="1413" y="3150"/>
                    <a:pt x="1403" y="3154"/>
                  </a:cubicBezTo>
                  <a:cubicBezTo>
                    <a:pt x="1389" y="3154"/>
                    <a:pt x="1379" y="3157"/>
                    <a:pt x="1365" y="3157"/>
                  </a:cubicBezTo>
                  <a:lnTo>
                    <a:pt x="1331" y="3157"/>
                  </a:lnTo>
                  <a:cubicBezTo>
                    <a:pt x="1181" y="3157"/>
                    <a:pt x="1055" y="3078"/>
                    <a:pt x="986" y="2925"/>
                  </a:cubicBezTo>
                  <a:cubicBezTo>
                    <a:pt x="959" y="2867"/>
                    <a:pt x="942" y="2802"/>
                    <a:pt x="935" y="2733"/>
                  </a:cubicBezTo>
                  <a:cubicBezTo>
                    <a:pt x="932" y="2700"/>
                    <a:pt x="929" y="2665"/>
                    <a:pt x="929" y="2628"/>
                  </a:cubicBezTo>
                  <a:cubicBezTo>
                    <a:pt x="932" y="2297"/>
                    <a:pt x="1103" y="1884"/>
                    <a:pt x="1383" y="1587"/>
                  </a:cubicBezTo>
                  <a:cubicBezTo>
                    <a:pt x="1474" y="1492"/>
                    <a:pt x="1570" y="1416"/>
                    <a:pt x="1662" y="1361"/>
                  </a:cubicBezTo>
                  <a:cubicBezTo>
                    <a:pt x="1693" y="1345"/>
                    <a:pt x="1723" y="1328"/>
                    <a:pt x="1755" y="1314"/>
                  </a:cubicBezTo>
                  <a:cubicBezTo>
                    <a:pt x="1837" y="1279"/>
                    <a:pt x="1920" y="1259"/>
                    <a:pt x="1997" y="1259"/>
                  </a:cubicBezTo>
                  <a:close/>
                  <a:moveTo>
                    <a:pt x="2498" y="0"/>
                  </a:moveTo>
                  <a:lnTo>
                    <a:pt x="2133" y="38"/>
                  </a:lnTo>
                  <a:cubicBezTo>
                    <a:pt x="2099" y="41"/>
                    <a:pt x="2062" y="65"/>
                    <a:pt x="2051" y="92"/>
                  </a:cubicBezTo>
                  <a:lnTo>
                    <a:pt x="1854" y="624"/>
                  </a:lnTo>
                  <a:cubicBezTo>
                    <a:pt x="1843" y="652"/>
                    <a:pt x="1809" y="686"/>
                    <a:pt x="1775" y="703"/>
                  </a:cubicBezTo>
                  <a:cubicBezTo>
                    <a:pt x="1700" y="737"/>
                    <a:pt x="1625" y="781"/>
                    <a:pt x="1550" y="833"/>
                  </a:cubicBezTo>
                  <a:cubicBezTo>
                    <a:pt x="1533" y="844"/>
                    <a:pt x="1515" y="850"/>
                    <a:pt x="1499" y="850"/>
                  </a:cubicBezTo>
                  <a:cubicBezTo>
                    <a:pt x="1487" y="850"/>
                    <a:pt x="1476" y="846"/>
                    <a:pt x="1471" y="836"/>
                  </a:cubicBezTo>
                  <a:lnTo>
                    <a:pt x="1284" y="550"/>
                  </a:lnTo>
                  <a:cubicBezTo>
                    <a:pt x="1277" y="541"/>
                    <a:pt x="1268" y="536"/>
                    <a:pt x="1257" y="536"/>
                  </a:cubicBezTo>
                  <a:cubicBezTo>
                    <a:pt x="1244" y="536"/>
                    <a:pt x="1229" y="543"/>
                    <a:pt x="1216" y="556"/>
                  </a:cubicBezTo>
                  <a:lnTo>
                    <a:pt x="813" y="983"/>
                  </a:lnTo>
                  <a:cubicBezTo>
                    <a:pt x="789" y="1007"/>
                    <a:pt x="775" y="1048"/>
                    <a:pt x="781" y="1071"/>
                  </a:cubicBezTo>
                  <a:lnTo>
                    <a:pt x="895" y="1451"/>
                  </a:lnTo>
                  <a:cubicBezTo>
                    <a:pt x="901" y="1471"/>
                    <a:pt x="891" y="1512"/>
                    <a:pt x="874" y="1539"/>
                  </a:cubicBezTo>
                  <a:cubicBezTo>
                    <a:pt x="806" y="1645"/>
                    <a:pt x="745" y="1750"/>
                    <a:pt x="690" y="1860"/>
                  </a:cubicBezTo>
                  <a:cubicBezTo>
                    <a:pt x="676" y="1887"/>
                    <a:pt x="635" y="1918"/>
                    <a:pt x="601" y="1925"/>
                  </a:cubicBezTo>
                  <a:lnTo>
                    <a:pt x="256" y="2010"/>
                  </a:lnTo>
                  <a:cubicBezTo>
                    <a:pt x="222" y="2017"/>
                    <a:pt x="188" y="2048"/>
                    <a:pt x="181" y="2075"/>
                  </a:cubicBezTo>
                  <a:lnTo>
                    <a:pt x="7" y="2656"/>
                  </a:lnTo>
                  <a:cubicBezTo>
                    <a:pt x="0" y="2683"/>
                    <a:pt x="17" y="2706"/>
                    <a:pt x="52" y="2710"/>
                  </a:cubicBezTo>
                  <a:lnTo>
                    <a:pt x="365" y="2727"/>
                  </a:lnTo>
                  <a:cubicBezTo>
                    <a:pt x="396" y="2727"/>
                    <a:pt x="420" y="2751"/>
                    <a:pt x="417" y="2778"/>
                  </a:cubicBezTo>
                  <a:cubicBezTo>
                    <a:pt x="406" y="2881"/>
                    <a:pt x="406" y="2983"/>
                    <a:pt x="417" y="3078"/>
                  </a:cubicBezTo>
                  <a:cubicBezTo>
                    <a:pt x="420" y="3106"/>
                    <a:pt x="403" y="3147"/>
                    <a:pt x="383" y="3171"/>
                  </a:cubicBezTo>
                  <a:lnTo>
                    <a:pt x="31" y="3598"/>
                  </a:lnTo>
                  <a:cubicBezTo>
                    <a:pt x="11" y="3621"/>
                    <a:pt x="0" y="3662"/>
                    <a:pt x="11" y="3683"/>
                  </a:cubicBezTo>
                  <a:lnTo>
                    <a:pt x="178" y="4051"/>
                  </a:lnTo>
                  <a:cubicBezTo>
                    <a:pt x="178" y="4058"/>
                    <a:pt x="181" y="4061"/>
                    <a:pt x="188" y="4064"/>
                  </a:cubicBezTo>
                  <a:cubicBezTo>
                    <a:pt x="192" y="4064"/>
                    <a:pt x="198" y="4069"/>
                    <a:pt x="202" y="4069"/>
                  </a:cubicBezTo>
                  <a:cubicBezTo>
                    <a:pt x="215" y="4069"/>
                    <a:pt x="229" y="4061"/>
                    <a:pt x="242" y="4048"/>
                  </a:cubicBezTo>
                  <a:lnTo>
                    <a:pt x="618" y="3707"/>
                  </a:lnTo>
                  <a:cubicBezTo>
                    <a:pt x="633" y="3692"/>
                    <a:pt x="653" y="3683"/>
                    <a:pt x="671" y="3683"/>
                  </a:cubicBezTo>
                  <a:cubicBezTo>
                    <a:pt x="682" y="3683"/>
                    <a:pt x="692" y="3686"/>
                    <a:pt x="700" y="3693"/>
                  </a:cubicBezTo>
                  <a:cubicBezTo>
                    <a:pt x="748" y="3734"/>
                    <a:pt x="802" y="3765"/>
                    <a:pt x="857" y="3785"/>
                  </a:cubicBezTo>
                  <a:cubicBezTo>
                    <a:pt x="884" y="3795"/>
                    <a:pt x="901" y="3823"/>
                    <a:pt x="895" y="3850"/>
                  </a:cubicBezTo>
                  <a:lnTo>
                    <a:pt x="781" y="4376"/>
                  </a:lnTo>
                  <a:cubicBezTo>
                    <a:pt x="778" y="4389"/>
                    <a:pt x="781" y="4403"/>
                    <a:pt x="795" y="4409"/>
                  </a:cubicBezTo>
                  <a:lnTo>
                    <a:pt x="795" y="4413"/>
                  </a:lnTo>
                  <a:cubicBezTo>
                    <a:pt x="803" y="4416"/>
                    <a:pt x="810" y="4418"/>
                    <a:pt x="819" y="4418"/>
                  </a:cubicBezTo>
                  <a:cubicBezTo>
                    <a:pt x="822" y="4418"/>
                    <a:pt x="826" y="4418"/>
                    <a:pt x="830" y="4417"/>
                  </a:cubicBezTo>
                  <a:lnTo>
                    <a:pt x="1198" y="4382"/>
                  </a:lnTo>
                  <a:cubicBezTo>
                    <a:pt x="1232" y="4379"/>
                    <a:pt x="1266" y="4351"/>
                    <a:pt x="1277" y="4324"/>
                  </a:cubicBezTo>
                  <a:lnTo>
                    <a:pt x="1474" y="3795"/>
                  </a:lnTo>
                  <a:cubicBezTo>
                    <a:pt x="1485" y="3765"/>
                    <a:pt x="1523" y="3734"/>
                    <a:pt x="1556" y="3716"/>
                  </a:cubicBezTo>
                  <a:cubicBezTo>
                    <a:pt x="1594" y="3700"/>
                    <a:pt x="1632" y="3680"/>
                    <a:pt x="1673" y="3655"/>
                  </a:cubicBezTo>
                  <a:cubicBezTo>
                    <a:pt x="1707" y="3634"/>
                    <a:pt x="1744" y="3611"/>
                    <a:pt x="1782" y="3584"/>
                  </a:cubicBezTo>
                  <a:cubicBezTo>
                    <a:pt x="1797" y="3573"/>
                    <a:pt x="1813" y="3568"/>
                    <a:pt x="1827" y="3568"/>
                  </a:cubicBezTo>
                  <a:cubicBezTo>
                    <a:pt x="1841" y="3568"/>
                    <a:pt x="1853" y="3573"/>
                    <a:pt x="1860" y="3584"/>
                  </a:cubicBezTo>
                  <a:lnTo>
                    <a:pt x="2048" y="3870"/>
                  </a:lnTo>
                  <a:cubicBezTo>
                    <a:pt x="2051" y="3874"/>
                    <a:pt x="2051" y="3877"/>
                    <a:pt x="2058" y="3877"/>
                  </a:cubicBezTo>
                  <a:cubicBezTo>
                    <a:pt x="2063" y="3880"/>
                    <a:pt x="2068" y="3882"/>
                    <a:pt x="2073" y="3882"/>
                  </a:cubicBezTo>
                  <a:cubicBezTo>
                    <a:pt x="2086" y="3882"/>
                    <a:pt x="2102" y="3874"/>
                    <a:pt x="2117" y="3860"/>
                  </a:cubicBezTo>
                  <a:lnTo>
                    <a:pt x="2516" y="3437"/>
                  </a:lnTo>
                  <a:cubicBezTo>
                    <a:pt x="2539" y="3409"/>
                    <a:pt x="2553" y="3372"/>
                    <a:pt x="2547" y="3348"/>
                  </a:cubicBezTo>
                  <a:lnTo>
                    <a:pt x="2437" y="2969"/>
                  </a:lnTo>
                  <a:cubicBezTo>
                    <a:pt x="2430" y="2946"/>
                    <a:pt x="2437" y="2905"/>
                    <a:pt x="2457" y="2877"/>
                  </a:cubicBezTo>
                  <a:cubicBezTo>
                    <a:pt x="2526" y="2774"/>
                    <a:pt x="2588" y="2665"/>
                    <a:pt x="2642" y="2556"/>
                  </a:cubicBezTo>
                  <a:cubicBezTo>
                    <a:pt x="2656" y="2529"/>
                    <a:pt x="2693" y="2502"/>
                    <a:pt x="2727" y="2492"/>
                  </a:cubicBezTo>
                  <a:lnTo>
                    <a:pt x="3072" y="2410"/>
                  </a:lnTo>
                  <a:cubicBezTo>
                    <a:pt x="3106" y="2399"/>
                    <a:pt x="3141" y="2372"/>
                    <a:pt x="3150" y="2344"/>
                  </a:cubicBezTo>
                  <a:lnTo>
                    <a:pt x="3325" y="1761"/>
                  </a:lnTo>
                  <a:cubicBezTo>
                    <a:pt x="3328" y="1744"/>
                    <a:pt x="3321" y="1727"/>
                    <a:pt x="3304" y="1717"/>
                  </a:cubicBezTo>
                  <a:cubicBezTo>
                    <a:pt x="3297" y="1714"/>
                    <a:pt x="3290" y="1710"/>
                    <a:pt x="3280" y="1710"/>
                  </a:cubicBezTo>
                  <a:lnTo>
                    <a:pt x="2966" y="1693"/>
                  </a:lnTo>
                  <a:cubicBezTo>
                    <a:pt x="2936" y="1689"/>
                    <a:pt x="2911" y="1665"/>
                    <a:pt x="2915" y="1642"/>
                  </a:cubicBezTo>
                  <a:cubicBezTo>
                    <a:pt x="2919" y="1591"/>
                    <a:pt x="2922" y="1542"/>
                    <a:pt x="2922" y="1495"/>
                  </a:cubicBezTo>
                  <a:cubicBezTo>
                    <a:pt x="2922" y="1440"/>
                    <a:pt x="2919" y="1389"/>
                    <a:pt x="2915" y="1338"/>
                  </a:cubicBezTo>
                  <a:cubicBezTo>
                    <a:pt x="2911" y="1314"/>
                    <a:pt x="2925" y="1273"/>
                    <a:pt x="2949" y="1246"/>
                  </a:cubicBezTo>
                  <a:lnTo>
                    <a:pt x="3297" y="822"/>
                  </a:lnTo>
                  <a:cubicBezTo>
                    <a:pt x="3321" y="795"/>
                    <a:pt x="3331" y="754"/>
                    <a:pt x="3321" y="734"/>
                  </a:cubicBezTo>
                  <a:lnTo>
                    <a:pt x="3154" y="365"/>
                  </a:lnTo>
                  <a:cubicBezTo>
                    <a:pt x="3150" y="362"/>
                    <a:pt x="3147" y="358"/>
                    <a:pt x="3144" y="355"/>
                  </a:cubicBezTo>
                  <a:lnTo>
                    <a:pt x="3141" y="355"/>
                  </a:lnTo>
                  <a:cubicBezTo>
                    <a:pt x="3136" y="353"/>
                    <a:pt x="3131" y="352"/>
                    <a:pt x="3126" y="352"/>
                  </a:cubicBezTo>
                  <a:cubicBezTo>
                    <a:pt x="3114" y="352"/>
                    <a:pt x="3101" y="357"/>
                    <a:pt x="3089" y="369"/>
                  </a:cubicBezTo>
                  <a:lnTo>
                    <a:pt x="2714" y="713"/>
                  </a:lnTo>
                  <a:cubicBezTo>
                    <a:pt x="2697" y="728"/>
                    <a:pt x="2678" y="735"/>
                    <a:pt x="2661" y="735"/>
                  </a:cubicBezTo>
                  <a:cubicBezTo>
                    <a:pt x="2650" y="735"/>
                    <a:pt x="2640" y="732"/>
                    <a:pt x="2632" y="727"/>
                  </a:cubicBezTo>
                  <a:cubicBezTo>
                    <a:pt x="2584" y="686"/>
                    <a:pt x="2529" y="655"/>
                    <a:pt x="2471" y="632"/>
                  </a:cubicBezTo>
                  <a:cubicBezTo>
                    <a:pt x="2448" y="621"/>
                    <a:pt x="2427" y="594"/>
                    <a:pt x="2434" y="567"/>
                  </a:cubicBezTo>
                  <a:lnTo>
                    <a:pt x="2550" y="44"/>
                  </a:lnTo>
                  <a:cubicBezTo>
                    <a:pt x="2553" y="27"/>
                    <a:pt x="2547" y="14"/>
                    <a:pt x="2533" y="7"/>
                  </a:cubicBezTo>
                  <a:cubicBezTo>
                    <a:pt x="2526" y="0"/>
                    <a:pt x="2512" y="0"/>
                    <a:pt x="2498" y="0"/>
                  </a:cubicBezTo>
                  <a:close/>
                </a:path>
              </a:pathLst>
            </a:custGeom>
            <a:solidFill>
              <a:srgbClr val="455A6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78" name="Google Shape;6628;p41">
              <a:extLst>
                <a:ext uri="{FF2B5EF4-FFF2-40B4-BE49-F238E27FC236}">
                  <a16:creationId xmlns:a16="http://schemas.microsoft.com/office/drawing/2014/main" id="{2F884D02-A6AF-7342-8007-A77D2BE00DE7}"/>
                </a:ext>
              </a:extLst>
            </p:cNvPr>
            <p:cNvSpPr/>
            <p:nvPr/>
          </p:nvSpPr>
          <p:spPr>
            <a:xfrm>
              <a:off x="4825675" y="2799825"/>
              <a:ext cx="56175" cy="208625"/>
            </a:xfrm>
            <a:custGeom>
              <a:avLst/>
              <a:gdLst/>
              <a:ahLst/>
              <a:cxnLst/>
              <a:rect l="l" t="t" r="r" b="b"/>
              <a:pathLst>
                <a:path w="2247" h="8345" extrusionOk="0">
                  <a:moveTo>
                    <a:pt x="1" y="0"/>
                  </a:moveTo>
                  <a:lnTo>
                    <a:pt x="1" y="6437"/>
                  </a:lnTo>
                  <a:cubicBezTo>
                    <a:pt x="1" y="6939"/>
                    <a:pt x="273" y="7407"/>
                    <a:pt x="711" y="7653"/>
                  </a:cubicBezTo>
                  <a:lnTo>
                    <a:pt x="1929" y="8345"/>
                  </a:lnTo>
                  <a:lnTo>
                    <a:pt x="2247" y="7782"/>
                  </a:lnTo>
                  <a:lnTo>
                    <a:pt x="1028" y="7092"/>
                  </a:lnTo>
                  <a:cubicBezTo>
                    <a:pt x="793" y="6960"/>
                    <a:pt x="645" y="6706"/>
                    <a:pt x="645" y="6437"/>
                  </a:cubicBezTo>
                  <a:lnTo>
                    <a:pt x="645" y="0"/>
                  </a:ln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79" name="Google Shape;6629;p41">
              <a:extLst>
                <a:ext uri="{FF2B5EF4-FFF2-40B4-BE49-F238E27FC236}">
                  <a16:creationId xmlns:a16="http://schemas.microsoft.com/office/drawing/2014/main" id="{7071EDA2-5562-B745-8026-DCF95BE1DEF7}"/>
                </a:ext>
              </a:extLst>
            </p:cNvPr>
            <p:cNvSpPr/>
            <p:nvPr/>
          </p:nvSpPr>
          <p:spPr>
            <a:xfrm>
              <a:off x="4774650" y="2608475"/>
              <a:ext cx="196450" cy="252425"/>
            </a:xfrm>
            <a:custGeom>
              <a:avLst/>
              <a:gdLst/>
              <a:ahLst/>
              <a:cxnLst/>
              <a:rect l="l" t="t" r="r" b="b"/>
              <a:pathLst>
                <a:path w="7858" h="10097" extrusionOk="0">
                  <a:moveTo>
                    <a:pt x="7104" y="0"/>
                  </a:moveTo>
                  <a:cubicBezTo>
                    <a:pt x="6976" y="0"/>
                    <a:pt x="6848" y="23"/>
                    <a:pt x="6745" y="71"/>
                  </a:cubicBezTo>
                  <a:lnTo>
                    <a:pt x="400" y="2999"/>
                  </a:lnTo>
                  <a:cubicBezTo>
                    <a:pt x="178" y="3102"/>
                    <a:pt x="0" y="3381"/>
                    <a:pt x="0" y="3623"/>
                  </a:cubicBezTo>
                  <a:lnTo>
                    <a:pt x="0" y="9357"/>
                  </a:lnTo>
                  <a:cubicBezTo>
                    <a:pt x="0" y="9600"/>
                    <a:pt x="161" y="9890"/>
                    <a:pt x="359" y="10003"/>
                  </a:cubicBezTo>
                  <a:cubicBezTo>
                    <a:pt x="466" y="10065"/>
                    <a:pt x="613" y="10097"/>
                    <a:pt x="761" y="10097"/>
                  </a:cubicBezTo>
                  <a:cubicBezTo>
                    <a:pt x="887" y="10097"/>
                    <a:pt x="1013" y="10074"/>
                    <a:pt x="1114" y="10027"/>
                  </a:cubicBezTo>
                  <a:lnTo>
                    <a:pt x="7458" y="7095"/>
                  </a:lnTo>
                  <a:cubicBezTo>
                    <a:pt x="7680" y="6993"/>
                    <a:pt x="7857" y="6712"/>
                    <a:pt x="7857" y="6470"/>
                  </a:cubicBezTo>
                  <a:lnTo>
                    <a:pt x="7857" y="736"/>
                  </a:lnTo>
                  <a:cubicBezTo>
                    <a:pt x="7857" y="494"/>
                    <a:pt x="7697" y="204"/>
                    <a:pt x="7503" y="91"/>
                  </a:cubicBezTo>
                  <a:cubicBezTo>
                    <a:pt x="7397" y="31"/>
                    <a:pt x="7251" y="0"/>
                    <a:pt x="7104" y="0"/>
                  </a:cubicBezTo>
                  <a:close/>
                </a:path>
              </a:pathLst>
            </a:custGeom>
            <a:solidFill>
              <a:srgbClr val="455A6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80" name="Google Shape;6630;p41">
              <a:extLst>
                <a:ext uri="{FF2B5EF4-FFF2-40B4-BE49-F238E27FC236}">
                  <a16:creationId xmlns:a16="http://schemas.microsoft.com/office/drawing/2014/main" id="{2CB58902-630F-D04F-92E9-B0B91FEED32F}"/>
                </a:ext>
              </a:extLst>
            </p:cNvPr>
            <p:cNvSpPr/>
            <p:nvPr/>
          </p:nvSpPr>
          <p:spPr>
            <a:xfrm>
              <a:off x="4774650" y="2689825"/>
              <a:ext cx="35775" cy="171075"/>
            </a:xfrm>
            <a:custGeom>
              <a:avLst/>
              <a:gdLst/>
              <a:ahLst/>
              <a:cxnLst/>
              <a:rect l="l" t="t" r="r" b="b"/>
              <a:pathLst>
                <a:path w="1431" h="6843" extrusionOk="0">
                  <a:moveTo>
                    <a:pt x="120" y="1"/>
                  </a:moveTo>
                  <a:cubicBezTo>
                    <a:pt x="49" y="114"/>
                    <a:pt x="0" y="247"/>
                    <a:pt x="0" y="369"/>
                  </a:cubicBezTo>
                  <a:lnTo>
                    <a:pt x="0" y="6103"/>
                  </a:lnTo>
                  <a:cubicBezTo>
                    <a:pt x="0" y="6346"/>
                    <a:pt x="161" y="6636"/>
                    <a:pt x="359" y="6749"/>
                  </a:cubicBezTo>
                  <a:cubicBezTo>
                    <a:pt x="466" y="6811"/>
                    <a:pt x="613" y="6843"/>
                    <a:pt x="761" y="6843"/>
                  </a:cubicBezTo>
                  <a:cubicBezTo>
                    <a:pt x="887" y="6843"/>
                    <a:pt x="1013" y="6820"/>
                    <a:pt x="1114" y="6773"/>
                  </a:cubicBezTo>
                  <a:lnTo>
                    <a:pt x="1431" y="6626"/>
                  </a:lnTo>
                  <a:lnTo>
                    <a:pt x="1431" y="755"/>
                  </a:lnTo>
                  <a:lnTo>
                    <a:pt x="120" y="1"/>
                  </a:ln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81" name="Google Shape;6631;p41">
              <a:extLst>
                <a:ext uri="{FF2B5EF4-FFF2-40B4-BE49-F238E27FC236}">
                  <a16:creationId xmlns:a16="http://schemas.microsoft.com/office/drawing/2014/main" id="{84F1B7F9-9189-8647-9BE1-796E2538A507}"/>
                </a:ext>
              </a:extLst>
            </p:cNvPr>
            <p:cNvSpPr/>
            <p:nvPr/>
          </p:nvSpPr>
          <p:spPr>
            <a:xfrm>
              <a:off x="4792475" y="2619575"/>
              <a:ext cx="178625" cy="240500"/>
            </a:xfrm>
            <a:custGeom>
              <a:avLst/>
              <a:gdLst/>
              <a:ahLst/>
              <a:cxnLst/>
              <a:rect l="l" t="t" r="r" b="b"/>
              <a:pathLst>
                <a:path w="7145" h="9620" extrusionOk="0">
                  <a:moveTo>
                    <a:pt x="6899" y="1"/>
                  </a:moveTo>
                  <a:cubicBezTo>
                    <a:pt x="6851" y="1"/>
                    <a:pt x="6799" y="12"/>
                    <a:pt x="6745" y="37"/>
                  </a:cubicBezTo>
                  <a:lnTo>
                    <a:pt x="401" y="2968"/>
                  </a:lnTo>
                  <a:cubicBezTo>
                    <a:pt x="182" y="3071"/>
                    <a:pt x="1" y="3350"/>
                    <a:pt x="1" y="3592"/>
                  </a:cubicBezTo>
                  <a:lnTo>
                    <a:pt x="1" y="9326"/>
                  </a:lnTo>
                  <a:cubicBezTo>
                    <a:pt x="1" y="9509"/>
                    <a:pt x="104" y="9620"/>
                    <a:pt x="248" y="9620"/>
                  </a:cubicBezTo>
                  <a:cubicBezTo>
                    <a:pt x="295" y="9620"/>
                    <a:pt x="347" y="9608"/>
                    <a:pt x="401" y="9583"/>
                  </a:cubicBezTo>
                  <a:lnTo>
                    <a:pt x="6745" y="6651"/>
                  </a:lnTo>
                  <a:cubicBezTo>
                    <a:pt x="6967" y="6549"/>
                    <a:pt x="7144" y="6268"/>
                    <a:pt x="7144" y="6026"/>
                  </a:cubicBezTo>
                  <a:lnTo>
                    <a:pt x="7144" y="292"/>
                  </a:lnTo>
                  <a:cubicBezTo>
                    <a:pt x="7144" y="109"/>
                    <a:pt x="7043" y="1"/>
                    <a:pt x="6899" y="1"/>
                  </a:cubicBezTo>
                  <a:close/>
                </a:path>
              </a:pathLst>
            </a:custGeom>
            <a:solidFill>
              <a:srgbClr val="37474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82" name="Google Shape;6632;p41">
              <a:extLst>
                <a:ext uri="{FF2B5EF4-FFF2-40B4-BE49-F238E27FC236}">
                  <a16:creationId xmlns:a16="http://schemas.microsoft.com/office/drawing/2014/main" id="{2661FEE9-9243-9445-9344-DEDCCB0D6EC3}"/>
                </a:ext>
              </a:extLst>
            </p:cNvPr>
            <p:cNvSpPr/>
            <p:nvPr/>
          </p:nvSpPr>
          <p:spPr>
            <a:xfrm>
              <a:off x="4804025" y="3005550"/>
              <a:ext cx="33525" cy="293825"/>
            </a:xfrm>
            <a:custGeom>
              <a:avLst/>
              <a:gdLst/>
              <a:ahLst/>
              <a:cxnLst/>
              <a:rect l="l" t="t" r="r" b="b"/>
              <a:pathLst>
                <a:path w="1341" h="11753" extrusionOk="0">
                  <a:moveTo>
                    <a:pt x="484" y="0"/>
                  </a:moveTo>
                  <a:cubicBezTo>
                    <a:pt x="218" y="0"/>
                    <a:pt x="0" y="218"/>
                    <a:pt x="0" y="484"/>
                  </a:cubicBezTo>
                  <a:lnTo>
                    <a:pt x="0" y="11249"/>
                  </a:lnTo>
                  <a:cubicBezTo>
                    <a:pt x="0" y="11342"/>
                    <a:pt x="65" y="11451"/>
                    <a:pt x="143" y="11495"/>
                  </a:cubicBezTo>
                  <a:lnTo>
                    <a:pt x="525" y="11717"/>
                  </a:lnTo>
                  <a:cubicBezTo>
                    <a:pt x="564" y="11741"/>
                    <a:pt x="616" y="11753"/>
                    <a:pt x="668" y="11753"/>
                  </a:cubicBezTo>
                  <a:cubicBezTo>
                    <a:pt x="720" y="11753"/>
                    <a:pt x="773" y="11741"/>
                    <a:pt x="812" y="11717"/>
                  </a:cubicBezTo>
                  <a:lnTo>
                    <a:pt x="1198" y="11495"/>
                  </a:lnTo>
                  <a:cubicBezTo>
                    <a:pt x="1276" y="11451"/>
                    <a:pt x="1341" y="11342"/>
                    <a:pt x="1341" y="11249"/>
                  </a:cubicBezTo>
                  <a:lnTo>
                    <a:pt x="1341" y="484"/>
                  </a:lnTo>
                  <a:cubicBezTo>
                    <a:pt x="1341" y="218"/>
                    <a:pt x="1122" y="0"/>
                    <a:pt x="856" y="0"/>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83" name="Google Shape;6633;p41">
              <a:extLst>
                <a:ext uri="{FF2B5EF4-FFF2-40B4-BE49-F238E27FC236}">
                  <a16:creationId xmlns:a16="http://schemas.microsoft.com/office/drawing/2014/main" id="{64B85DC5-B431-EE40-93DF-CD237D5E819D}"/>
                </a:ext>
              </a:extLst>
            </p:cNvPr>
            <p:cNvSpPr/>
            <p:nvPr/>
          </p:nvSpPr>
          <p:spPr>
            <a:xfrm>
              <a:off x="4804025" y="3005550"/>
              <a:ext cx="16725" cy="293625"/>
            </a:xfrm>
            <a:custGeom>
              <a:avLst/>
              <a:gdLst/>
              <a:ahLst/>
              <a:cxnLst/>
              <a:rect l="l" t="t" r="r" b="b"/>
              <a:pathLst>
                <a:path w="669" h="11745" extrusionOk="0">
                  <a:moveTo>
                    <a:pt x="334" y="0"/>
                  </a:moveTo>
                  <a:cubicBezTo>
                    <a:pt x="150" y="0"/>
                    <a:pt x="0" y="150"/>
                    <a:pt x="0" y="334"/>
                  </a:cubicBezTo>
                  <a:lnTo>
                    <a:pt x="0" y="11256"/>
                  </a:lnTo>
                  <a:cubicBezTo>
                    <a:pt x="0" y="11342"/>
                    <a:pt x="62" y="11451"/>
                    <a:pt x="136" y="11495"/>
                  </a:cubicBezTo>
                  <a:lnTo>
                    <a:pt x="542" y="11727"/>
                  </a:lnTo>
                  <a:cubicBezTo>
                    <a:pt x="563" y="11739"/>
                    <a:pt x="583" y="11744"/>
                    <a:pt x="600" y="11744"/>
                  </a:cubicBezTo>
                  <a:cubicBezTo>
                    <a:pt x="641" y="11744"/>
                    <a:pt x="668" y="11711"/>
                    <a:pt x="668" y="11655"/>
                  </a:cubicBezTo>
                  <a:lnTo>
                    <a:pt x="668" y="334"/>
                  </a:lnTo>
                  <a:cubicBezTo>
                    <a:pt x="668" y="150"/>
                    <a:pt x="519" y="0"/>
                    <a:pt x="334" y="0"/>
                  </a:cubicBezTo>
                  <a:close/>
                </a:path>
              </a:pathLst>
            </a:custGeom>
            <a:solidFill>
              <a:srgbClr val="37474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84" name="Google Shape;6634;p41">
              <a:extLst>
                <a:ext uri="{FF2B5EF4-FFF2-40B4-BE49-F238E27FC236}">
                  <a16:creationId xmlns:a16="http://schemas.microsoft.com/office/drawing/2014/main" id="{88CB9B4B-23AA-AD42-87A6-5CDBA94EB074}"/>
                </a:ext>
              </a:extLst>
            </p:cNvPr>
            <p:cNvSpPr/>
            <p:nvPr/>
          </p:nvSpPr>
          <p:spPr>
            <a:xfrm>
              <a:off x="4985150" y="3108025"/>
              <a:ext cx="33550" cy="293750"/>
            </a:xfrm>
            <a:custGeom>
              <a:avLst/>
              <a:gdLst/>
              <a:ahLst/>
              <a:cxnLst/>
              <a:rect l="l" t="t" r="r" b="b"/>
              <a:pathLst>
                <a:path w="1342" h="11750" extrusionOk="0">
                  <a:moveTo>
                    <a:pt x="168" y="0"/>
                  </a:moveTo>
                  <a:cubicBezTo>
                    <a:pt x="76" y="0"/>
                    <a:pt x="0" y="75"/>
                    <a:pt x="0" y="164"/>
                  </a:cubicBezTo>
                  <a:lnTo>
                    <a:pt x="0" y="11249"/>
                  </a:lnTo>
                  <a:cubicBezTo>
                    <a:pt x="0" y="11338"/>
                    <a:pt x="66" y="11451"/>
                    <a:pt x="144" y="11495"/>
                  </a:cubicBezTo>
                  <a:lnTo>
                    <a:pt x="529" y="11717"/>
                  </a:lnTo>
                  <a:cubicBezTo>
                    <a:pt x="569" y="11739"/>
                    <a:pt x="620" y="11750"/>
                    <a:pt x="671" y="11750"/>
                  </a:cubicBezTo>
                  <a:cubicBezTo>
                    <a:pt x="723" y="11750"/>
                    <a:pt x="775" y="11739"/>
                    <a:pt x="816" y="11717"/>
                  </a:cubicBezTo>
                  <a:lnTo>
                    <a:pt x="1199" y="11495"/>
                  </a:lnTo>
                  <a:cubicBezTo>
                    <a:pt x="1277" y="11451"/>
                    <a:pt x="1342" y="11338"/>
                    <a:pt x="1342" y="11249"/>
                  </a:cubicBezTo>
                  <a:lnTo>
                    <a:pt x="1342" y="164"/>
                  </a:lnTo>
                  <a:cubicBezTo>
                    <a:pt x="1342" y="75"/>
                    <a:pt x="1267" y="0"/>
                    <a:pt x="1178" y="0"/>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85" name="Google Shape;6635;p41">
              <a:extLst>
                <a:ext uri="{FF2B5EF4-FFF2-40B4-BE49-F238E27FC236}">
                  <a16:creationId xmlns:a16="http://schemas.microsoft.com/office/drawing/2014/main" id="{F470F6E4-9574-5443-89C1-C5FEECFDD5A2}"/>
                </a:ext>
              </a:extLst>
            </p:cNvPr>
            <p:cNvSpPr/>
            <p:nvPr/>
          </p:nvSpPr>
          <p:spPr>
            <a:xfrm>
              <a:off x="4985150" y="3108025"/>
              <a:ext cx="16825" cy="293425"/>
            </a:xfrm>
            <a:custGeom>
              <a:avLst/>
              <a:gdLst/>
              <a:ahLst/>
              <a:cxnLst/>
              <a:rect l="l" t="t" r="r" b="b"/>
              <a:pathLst>
                <a:path w="673" h="11737" extrusionOk="0">
                  <a:moveTo>
                    <a:pt x="168" y="0"/>
                  </a:moveTo>
                  <a:cubicBezTo>
                    <a:pt x="76" y="0"/>
                    <a:pt x="0" y="75"/>
                    <a:pt x="0" y="164"/>
                  </a:cubicBezTo>
                  <a:lnTo>
                    <a:pt x="0" y="11249"/>
                  </a:lnTo>
                  <a:cubicBezTo>
                    <a:pt x="0" y="11338"/>
                    <a:pt x="66" y="11451"/>
                    <a:pt x="144" y="11495"/>
                  </a:cubicBezTo>
                  <a:lnTo>
                    <a:pt x="529" y="11717"/>
                  </a:lnTo>
                  <a:cubicBezTo>
                    <a:pt x="552" y="11730"/>
                    <a:pt x="574" y="11736"/>
                    <a:pt x="594" y="11736"/>
                  </a:cubicBezTo>
                  <a:cubicBezTo>
                    <a:pt x="640" y="11736"/>
                    <a:pt x="673" y="11700"/>
                    <a:pt x="673" y="11635"/>
                  </a:cubicBezTo>
                  <a:lnTo>
                    <a:pt x="673" y="164"/>
                  </a:lnTo>
                  <a:cubicBezTo>
                    <a:pt x="673" y="75"/>
                    <a:pt x="598" y="0"/>
                    <a:pt x="506" y="0"/>
                  </a:cubicBezTo>
                  <a:close/>
                </a:path>
              </a:pathLst>
            </a:custGeom>
            <a:solidFill>
              <a:srgbClr val="37474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86" name="Google Shape;6636;p41">
              <a:extLst>
                <a:ext uri="{FF2B5EF4-FFF2-40B4-BE49-F238E27FC236}">
                  <a16:creationId xmlns:a16="http://schemas.microsoft.com/office/drawing/2014/main" id="{3590AA4A-8B57-AD46-9132-8B2CE2E3CC16}"/>
                </a:ext>
              </a:extLst>
            </p:cNvPr>
            <p:cNvSpPr/>
            <p:nvPr/>
          </p:nvSpPr>
          <p:spPr>
            <a:xfrm>
              <a:off x="4804025" y="2887825"/>
              <a:ext cx="443600" cy="273800"/>
            </a:xfrm>
            <a:custGeom>
              <a:avLst/>
              <a:gdLst/>
              <a:ahLst/>
              <a:cxnLst/>
              <a:rect l="l" t="t" r="r" b="b"/>
              <a:pathLst>
                <a:path w="17744" h="10952" extrusionOk="0">
                  <a:moveTo>
                    <a:pt x="8087" y="0"/>
                  </a:moveTo>
                  <a:cubicBezTo>
                    <a:pt x="7930" y="0"/>
                    <a:pt x="7770" y="35"/>
                    <a:pt x="7651" y="102"/>
                  </a:cubicBezTo>
                  <a:lnTo>
                    <a:pt x="382" y="4303"/>
                  </a:lnTo>
                  <a:cubicBezTo>
                    <a:pt x="170" y="4426"/>
                    <a:pt x="0" y="4719"/>
                    <a:pt x="0" y="4965"/>
                  </a:cubicBezTo>
                  <a:lnTo>
                    <a:pt x="0" y="5111"/>
                  </a:lnTo>
                  <a:cubicBezTo>
                    <a:pt x="0" y="5354"/>
                    <a:pt x="160" y="5668"/>
                    <a:pt x="355" y="5808"/>
                  </a:cubicBezTo>
                  <a:lnTo>
                    <a:pt x="7560" y="10832"/>
                  </a:lnTo>
                  <a:cubicBezTo>
                    <a:pt x="7669" y="10911"/>
                    <a:pt x="7818" y="10952"/>
                    <a:pt x="7966" y="10952"/>
                  </a:cubicBezTo>
                  <a:cubicBezTo>
                    <a:pt x="8085" y="10952"/>
                    <a:pt x="8204" y="10925"/>
                    <a:pt x="8297" y="10870"/>
                  </a:cubicBezTo>
                  <a:lnTo>
                    <a:pt x="17361" y="5637"/>
                  </a:lnTo>
                  <a:cubicBezTo>
                    <a:pt x="17573" y="5514"/>
                    <a:pt x="17744" y="5221"/>
                    <a:pt x="17744" y="4979"/>
                  </a:cubicBezTo>
                  <a:lnTo>
                    <a:pt x="17744" y="4825"/>
                  </a:lnTo>
                  <a:cubicBezTo>
                    <a:pt x="17744" y="4583"/>
                    <a:pt x="17563" y="4303"/>
                    <a:pt x="17345" y="4201"/>
                  </a:cubicBezTo>
                  <a:lnTo>
                    <a:pt x="8430" y="67"/>
                  </a:lnTo>
                  <a:cubicBezTo>
                    <a:pt x="8333" y="22"/>
                    <a:pt x="8211" y="0"/>
                    <a:pt x="8087" y="0"/>
                  </a:cubicBezTo>
                  <a:close/>
                </a:path>
              </a:pathLst>
            </a:custGeom>
            <a:solidFill>
              <a:srgbClr val="37474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87" name="Google Shape;6637;p41">
              <a:extLst>
                <a:ext uri="{FF2B5EF4-FFF2-40B4-BE49-F238E27FC236}">
                  <a16:creationId xmlns:a16="http://schemas.microsoft.com/office/drawing/2014/main" id="{2882805A-DB11-9D4E-8E59-19C23BF056AD}"/>
                </a:ext>
              </a:extLst>
            </p:cNvPr>
            <p:cNvSpPr/>
            <p:nvPr/>
          </p:nvSpPr>
          <p:spPr>
            <a:xfrm>
              <a:off x="4808000" y="2887825"/>
              <a:ext cx="435375" cy="248000"/>
            </a:xfrm>
            <a:custGeom>
              <a:avLst/>
              <a:gdLst/>
              <a:ahLst/>
              <a:cxnLst/>
              <a:rect l="l" t="t" r="r" b="b"/>
              <a:pathLst>
                <a:path w="17415" h="9920" extrusionOk="0">
                  <a:moveTo>
                    <a:pt x="7928" y="0"/>
                  </a:moveTo>
                  <a:cubicBezTo>
                    <a:pt x="7771" y="0"/>
                    <a:pt x="7611" y="35"/>
                    <a:pt x="7492" y="102"/>
                  </a:cubicBezTo>
                  <a:lnTo>
                    <a:pt x="223" y="4303"/>
                  </a:lnTo>
                  <a:cubicBezTo>
                    <a:pt x="11" y="4426"/>
                    <a:pt x="1" y="4640"/>
                    <a:pt x="199" y="4780"/>
                  </a:cubicBezTo>
                  <a:lnTo>
                    <a:pt x="7401" y="9801"/>
                  </a:lnTo>
                  <a:cubicBezTo>
                    <a:pt x="7509" y="9880"/>
                    <a:pt x="7658" y="9919"/>
                    <a:pt x="7805" y="9919"/>
                  </a:cubicBezTo>
                  <a:cubicBezTo>
                    <a:pt x="7925" y="9919"/>
                    <a:pt x="8044" y="9892"/>
                    <a:pt x="8138" y="9839"/>
                  </a:cubicBezTo>
                  <a:lnTo>
                    <a:pt x="17202" y="4607"/>
                  </a:lnTo>
                  <a:cubicBezTo>
                    <a:pt x="17414" y="4484"/>
                    <a:pt x="17404" y="4303"/>
                    <a:pt x="17186" y="4201"/>
                  </a:cubicBezTo>
                  <a:lnTo>
                    <a:pt x="8271" y="67"/>
                  </a:lnTo>
                  <a:cubicBezTo>
                    <a:pt x="8174" y="22"/>
                    <a:pt x="8052" y="0"/>
                    <a:pt x="7928" y="0"/>
                  </a:cubicBezTo>
                  <a:close/>
                </a:path>
              </a:pathLst>
            </a:custGeom>
            <a:solidFill>
              <a:srgbClr val="455A6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88" name="Google Shape;6638;p41">
              <a:extLst>
                <a:ext uri="{FF2B5EF4-FFF2-40B4-BE49-F238E27FC236}">
                  <a16:creationId xmlns:a16="http://schemas.microsoft.com/office/drawing/2014/main" id="{15D3FBFE-3B37-FB49-BE88-5439F0AF14F2}"/>
                </a:ext>
              </a:extLst>
            </p:cNvPr>
            <p:cNvSpPr/>
            <p:nvPr/>
          </p:nvSpPr>
          <p:spPr>
            <a:xfrm>
              <a:off x="5073800" y="3414250"/>
              <a:ext cx="46875" cy="80150"/>
            </a:xfrm>
            <a:custGeom>
              <a:avLst/>
              <a:gdLst/>
              <a:ahLst/>
              <a:cxnLst/>
              <a:rect l="l" t="t" r="r" b="b"/>
              <a:pathLst>
                <a:path w="1875" h="3206" extrusionOk="0">
                  <a:moveTo>
                    <a:pt x="1" y="0"/>
                  </a:moveTo>
                  <a:lnTo>
                    <a:pt x="1" y="3205"/>
                  </a:lnTo>
                  <a:lnTo>
                    <a:pt x="1874" y="3205"/>
                  </a:lnTo>
                  <a:lnTo>
                    <a:pt x="1874" y="0"/>
                  </a:lnTo>
                  <a:close/>
                </a:path>
              </a:pathLst>
            </a:custGeom>
            <a:solidFill>
              <a:srgbClr val="FFA8A7"/>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89" name="Google Shape;6639;p41">
              <a:extLst>
                <a:ext uri="{FF2B5EF4-FFF2-40B4-BE49-F238E27FC236}">
                  <a16:creationId xmlns:a16="http://schemas.microsoft.com/office/drawing/2014/main" id="{3DA8DCB2-89C2-B146-B929-FD6E11028640}"/>
                </a:ext>
              </a:extLst>
            </p:cNvPr>
            <p:cNvSpPr/>
            <p:nvPr/>
          </p:nvSpPr>
          <p:spPr>
            <a:xfrm>
              <a:off x="5209375" y="3309875"/>
              <a:ext cx="49100" cy="86475"/>
            </a:xfrm>
            <a:custGeom>
              <a:avLst/>
              <a:gdLst/>
              <a:ahLst/>
              <a:cxnLst/>
              <a:rect l="l" t="t" r="r" b="b"/>
              <a:pathLst>
                <a:path w="1964" h="3459" extrusionOk="0">
                  <a:moveTo>
                    <a:pt x="93" y="1"/>
                  </a:moveTo>
                  <a:lnTo>
                    <a:pt x="1" y="3394"/>
                  </a:lnTo>
                  <a:lnTo>
                    <a:pt x="1871" y="3458"/>
                  </a:lnTo>
                  <a:lnTo>
                    <a:pt x="1963" y="66"/>
                  </a:lnTo>
                  <a:lnTo>
                    <a:pt x="93" y="1"/>
                  </a:lnTo>
                  <a:close/>
                </a:path>
              </a:pathLst>
            </a:custGeom>
            <a:solidFill>
              <a:srgbClr val="FFA8A7"/>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90" name="Google Shape;6640;p41">
              <a:extLst>
                <a:ext uri="{FF2B5EF4-FFF2-40B4-BE49-F238E27FC236}">
                  <a16:creationId xmlns:a16="http://schemas.microsoft.com/office/drawing/2014/main" id="{02466C3B-7550-924B-85B7-CA6F22F6547F}"/>
                </a:ext>
              </a:extLst>
            </p:cNvPr>
            <p:cNvSpPr/>
            <p:nvPr/>
          </p:nvSpPr>
          <p:spPr>
            <a:xfrm>
              <a:off x="5062025" y="3464525"/>
              <a:ext cx="150125" cy="138650"/>
            </a:xfrm>
            <a:custGeom>
              <a:avLst/>
              <a:gdLst/>
              <a:ahLst/>
              <a:cxnLst/>
              <a:rect l="l" t="t" r="r" b="b"/>
              <a:pathLst>
                <a:path w="6005" h="5546" extrusionOk="0">
                  <a:moveTo>
                    <a:pt x="494" y="1"/>
                  </a:moveTo>
                  <a:cubicBezTo>
                    <a:pt x="378" y="1"/>
                    <a:pt x="280" y="379"/>
                    <a:pt x="192" y="723"/>
                  </a:cubicBezTo>
                  <a:cubicBezTo>
                    <a:pt x="89" y="1116"/>
                    <a:pt x="1" y="1579"/>
                    <a:pt x="75" y="1792"/>
                  </a:cubicBezTo>
                  <a:cubicBezTo>
                    <a:pt x="209" y="2177"/>
                    <a:pt x="775" y="2549"/>
                    <a:pt x="1021" y="2883"/>
                  </a:cubicBezTo>
                  <a:cubicBezTo>
                    <a:pt x="1266" y="3214"/>
                    <a:pt x="1434" y="3897"/>
                    <a:pt x="1895" y="4396"/>
                  </a:cubicBezTo>
                  <a:cubicBezTo>
                    <a:pt x="2366" y="4904"/>
                    <a:pt x="3349" y="5320"/>
                    <a:pt x="4038" y="5484"/>
                  </a:cubicBezTo>
                  <a:cubicBezTo>
                    <a:pt x="4215" y="5525"/>
                    <a:pt x="4398" y="5545"/>
                    <a:pt x="4577" y="5545"/>
                  </a:cubicBezTo>
                  <a:cubicBezTo>
                    <a:pt x="5289" y="5545"/>
                    <a:pt x="5947" y="5228"/>
                    <a:pt x="5976" y="4655"/>
                  </a:cubicBezTo>
                  <a:cubicBezTo>
                    <a:pt x="6004" y="4102"/>
                    <a:pt x="4875" y="3300"/>
                    <a:pt x="4233" y="2713"/>
                  </a:cubicBezTo>
                  <a:cubicBezTo>
                    <a:pt x="3427" y="1979"/>
                    <a:pt x="2540" y="105"/>
                    <a:pt x="2345" y="20"/>
                  </a:cubicBezTo>
                  <a:lnTo>
                    <a:pt x="2345" y="351"/>
                  </a:lnTo>
                  <a:cubicBezTo>
                    <a:pt x="2348" y="535"/>
                    <a:pt x="2013" y="571"/>
                    <a:pt x="1725" y="571"/>
                  </a:cubicBezTo>
                  <a:cubicBezTo>
                    <a:pt x="1654" y="571"/>
                    <a:pt x="1586" y="569"/>
                    <a:pt x="1526" y="566"/>
                  </a:cubicBezTo>
                  <a:cubicBezTo>
                    <a:pt x="1066" y="549"/>
                    <a:pt x="660" y="388"/>
                    <a:pt x="509" y="225"/>
                  </a:cubicBezTo>
                  <a:lnTo>
                    <a:pt x="509" y="3"/>
                  </a:lnTo>
                  <a:cubicBezTo>
                    <a:pt x="504" y="1"/>
                    <a:pt x="499" y="1"/>
                    <a:pt x="494" y="1"/>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91" name="Google Shape;6641;p41">
              <a:extLst>
                <a:ext uri="{FF2B5EF4-FFF2-40B4-BE49-F238E27FC236}">
                  <a16:creationId xmlns:a16="http://schemas.microsoft.com/office/drawing/2014/main" id="{9CAF9F30-48B1-B444-A50A-B2C05E277FD6}"/>
                </a:ext>
              </a:extLst>
            </p:cNvPr>
            <p:cNvSpPr/>
            <p:nvPr/>
          </p:nvSpPr>
          <p:spPr>
            <a:xfrm>
              <a:off x="5191800" y="3379225"/>
              <a:ext cx="194500" cy="95425"/>
            </a:xfrm>
            <a:custGeom>
              <a:avLst/>
              <a:gdLst/>
              <a:ahLst/>
              <a:cxnLst/>
              <a:rect l="l" t="t" r="r" b="b"/>
              <a:pathLst>
                <a:path w="7780" h="3817" extrusionOk="0">
                  <a:moveTo>
                    <a:pt x="712" y="1"/>
                  </a:moveTo>
                  <a:cubicBezTo>
                    <a:pt x="543" y="1"/>
                    <a:pt x="377" y="785"/>
                    <a:pt x="264" y="1302"/>
                  </a:cubicBezTo>
                  <a:cubicBezTo>
                    <a:pt x="155" y="1784"/>
                    <a:pt x="1" y="2346"/>
                    <a:pt x="383" y="2613"/>
                  </a:cubicBezTo>
                  <a:cubicBezTo>
                    <a:pt x="765" y="2876"/>
                    <a:pt x="1711" y="2975"/>
                    <a:pt x="2223" y="3057"/>
                  </a:cubicBezTo>
                  <a:cubicBezTo>
                    <a:pt x="2690" y="3128"/>
                    <a:pt x="3649" y="3565"/>
                    <a:pt x="4277" y="3705"/>
                  </a:cubicBezTo>
                  <a:cubicBezTo>
                    <a:pt x="4628" y="3784"/>
                    <a:pt x="4991" y="3816"/>
                    <a:pt x="5339" y="3816"/>
                  </a:cubicBezTo>
                  <a:cubicBezTo>
                    <a:pt x="6137" y="3816"/>
                    <a:pt x="6852" y="3645"/>
                    <a:pt x="7138" y="3469"/>
                  </a:cubicBezTo>
                  <a:cubicBezTo>
                    <a:pt x="7683" y="3135"/>
                    <a:pt x="7779" y="2538"/>
                    <a:pt x="7393" y="2364"/>
                  </a:cubicBezTo>
                  <a:cubicBezTo>
                    <a:pt x="6779" y="2084"/>
                    <a:pt x="4942" y="1613"/>
                    <a:pt x="4243" y="1261"/>
                  </a:cubicBezTo>
                  <a:cubicBezTo>
                    <a:pt x="3824" y="1053"/>
                    <a:pt x="3243" y="760"/>
                    <a:pt x="2984" y="480"/>
                  </a:cubicBezTo>
                  <a:cubicBezTo>
                    <a:pt x="2772" y="248"/>
                    <a:pt x="2690" y="111"/>
                    <a:pt x="2595" y="108"/>
                  </a:cubicBezTo>
                  <a:lnTo>
                    <a:pt x="2584" y="394"/>
                  </a:lnTo>
                  <a:cubicBezTo>
                    <a:pt x="2410" y="483"/>
                    <a:pt x="2156" y="523"/>
                    <a:pt x="1889" y="523"/>
                  </a:cubicBezTo>
                  <a:cubicBezTo>
                    <a:pt x="1397" y="523"/>
                    <a:pt x="863" y="387"/>
                    <a:pt x="717" y="166"/>
                  </a:cubicBezTo>
                  <a:lnTo>
                    <a:pt x="724" y="2"/>
                  </a:lnTo>
                  <a:cubicBezTo>
                    <a:pt x="720" y="1"/>
                    <a:pt x="716" y="1"/>
                    <a:pt x="712" y="1"/>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92" name="Google Shape;6642;p41">
              <a:extLst>
                <a:ext uri="{FF2B5EF4-FFF2-40B4-BE49-F238E27FC236}">
                  <a16:creationId xmlns:a16="http://schemas.microsoft.com/office/drawing/2014/main" id="{E89F1FE1-F7FD-3946-9056-096CB2D1F263}"/>
                </a:ext>
              </a:extLst>
            </p:cNvPr>
            <p:cNvSpPr/>
            <p:nvPr/>
          </p:nvSpPr>
          <p:spPr>
            <a:xfrm>
              <a:off x="4875075" y="2874925"/>
              <a:ext cx="428125" cy="574100"/>
            </a:xfrm>
            <a:custGeom>
              <a:avLst/>
              <a:gdLst/>
              <a:ahLst/>
              <a:cxnLst/>
              <a:rect l="l" t="t" r="r" b="b"/>
              <a:pathLst>
                <a:path w="17125" h="22964" extrusionOk="0">
                  <a:moveTo>
                    <a:pt x="8817" y="0"/>
                  </a:moveTo>
                  <a:lnTo>
                    <a:pt x="410" y="2081"/>
                  </a:lnTo>
                  <a:cubicBezTo>
                    <a:pt x="0" y="4976"/>
                    <a:pt x="553" y="5532"/>
                    <a:pt x="3301" y="8300"/>
                  </a:cubicBezTo>
                  <a:cubicBezTo>
                    <a:pt x="4782" y="9792"/>
                    <a:pt x="7164" y="11980"/>
                    <a:pt x="7164" y="11980"/>
                  </a:cubicBezTo>
                  <a:cubicBezTo>
                    <a:pt x="7164" y="11980"/>
                    <a:pt x="7131" y="12901"/>
                    <a:pt x="7110" y="14973"/>
                  </a:cubicBezTo>
                  <a:cubicBezTo>
                    <a:pt x="7093" y="16799"/>
                    <a:pt x="7854" y="22737"/>
                    <a:pt x="7854" y="22737"/>
                  </a:cubicBezTo>
                  <a:cubicBezTo>
                    <a:pt x="7854" y="22737"/>
                    <a:pt x="8392" y="22963"/>
                    <a:pt x="9003" y="22963"/>
                  </a:cubicBezTo>
                  <a:cubicBezTo>
                    <a:pt x="9321" y="22963"/>
                    <a:pt x="9658" y="22902"/>
                    <a:pt x="9949" y="22717"/>
                  </a:cubicBezTo>
                  <a:cubicBezTo>
                    <a:pt x="9949" y="22717"/>
                    <a:pt x="10335" y="18300"/>
                    <a:pt x="10543" y="15997"/>
                  </a:cubicBezTo>
                  <a:cubicBezTo>
                    <a:pt x="10827" y="12877"/>
                    <a:pt x="10973" y="11314"/>
                    <a:pt x="10813" y="10641"/>
                  </a:cubicBezTo>
                  <a:cubicBezTo>
                    <a:pt x="10674" y="10047"/>
                    <a:pt x="7875" y="6515"/>
                    <a:pt x="7229" y="5525"/>
                  </a:cubicBezTo>
                  <a:lnTo>
                    <a:pt x="7229" y="5525"/>
                  </a:lnTo>
                  <a:lnTo>
                    <a:pt x="13175" y="8979"/>
                  </a:lnTo>
                  <a:cubicBezTo>
                    <a:pt x="13175" y="8979"/>
                    <a:pt x="12974" y="10491"/>
                    <a:pt x="13004" y="11621"/>
                  </a:cubicBezTo>
                  <a:cubicBezTo>
                    <a:pt x="13069" y="14099"/>
                    <a:pt x="13373" y="19045"/>
                    <a:pt x="13373" y="19045"/>
                  </a:cubicBezTo>
                  <a:cubicBezTo>
                    <a:pt x="13373" y="19045"/>
                    <a:pt x="14038" y="19343"/>
                    <a:pt x="14670" y="19343"/>
                  </a:cubicBezTo>
                  <a:cubicBezTo>
                    <a:pt x="14942" y="19343"/>
                    <a:pt x="15207" y="19288"/>
                    <a:pt x="15410" y="19130"/>
                  </a:cubicBezTo>
                  <a:cubicBezTo>
                    <a:pt x="15410" y="19130"/>
                    <a:pt x="17124" y="8310"/>
                    <a:pt x="17124" y="7420"/>
                  </a:cubicBezTo>
                  <a:cubicBezTo>
                    <a:pt x="17124" y="6071"/>
                    <a:pt x="11263" y="2044"/>
                    <a:pt x="10154" y="1106"/>
                  </a:cubicBezTo>
                  <a:cubicBezTo>
                    <a:pt x="9519" y="569"/>
                    <a:pt x="8817" y="0"/>
                    <a:pt x="8817" y="0"/>
                  </a:cubicBez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93" name="Google Shape;6643;p41">
              <a:extLst>
                <a:ext uri="{FF2B5EF4-FFF2-40B4-BE49-F238E27FC236}">
                  <a16:creationId xmlns:a16="http://schemas.microsoft.com/office/drawing/2014/main" id="{D06CD984-8610-F44E-83FD-D70787115F11}"/>
                </a:ext>
              </a:extLst>
            </p:cNvPr>
            <p:cNvSpPr/>
            <p:nvPr/>
          </p:nvSpPr>
          <p:spPr>
            <a:xfrm>
              <a:off x="4882250" y="2935150"/>
              <a:ext cx="388250" cy="513850"/>
            </a:xfrm>
            <a:custGeom>
              <a:avLst/>
              <a:gdLst/>
              <a:ahLst/>
              <a:cxnLst/>
              <a:rect l="l" t="t" r="r" b="b"/>
              <a:pathLst>
                <a:path w="15530" h="20554" extrusionOk="0">
                  <a:moveTo>
                    <a:pt x="79" y="0"/>
                  </a:moveTo>
                  <a:cubicBezTo>
                    <a:pt x="31" y="410"/>
                    <a:pt x="4" y="772"/>
                    <a:pt x="0" y="1096"/>
                  </a:cubicBezTo>
                  <a:cubicBezTo>
                    <a:pt x="0" y="1802"/>
                    <a:pt x="127" y="2352"/>
                    <a:pt x="420" y="2901"/>
                  </a:cubicBezTo>
                  <a:lnTo>
                    <a:pt x="3598" y="1375"/>
                  </a:lnTo>
                  <a:cubicBezTo>
                    <a:pt x="3645" y="1348"/>
                    <a:pt x="3707" y="1334"/>
                    <a:pt x="3768" y="1334"/>
                  </a:cubicBezTo>
                  <a:cubicBezTo>
                    <a:pt x="3829" y="1334"/>
                    <a:pt x="3891" y="1348"/>
                    <a:pt x="3939" y="1375"/>
                  </a:cubicBezTo>
                  <a:lnTo>
                    <a:pt x="4165" y="1506"/>
                  </a:lnTo>
                  <a:lnTo>
                    <a:pt x="5045" y="997"/>
                  </a:lnTo>
                  <a:lnTo>
                    <a:pt x="5045" y="997"/>
                  </a:lnTo>
                  <a:cubicBezTo>
                    <a:pt x="4703" y="1031"/>
                    <a:pt x="4359" y="1044"/>
                    <a:pt x="4021" y="1044"/>
                  </a:cubicBezTo>
                  <a:cubicBezTo>
                    <a:pt x="2257" y="1044"/>
                    <a:pt x="663" y="632"/>
                    <a:pt x="79" y="0"/>
                  </a:cubicBezTo>
                  <a:close/>
                  <a:moveTo>
                    <a:pt x="15530" y="14113"/>
                  </a:moveTo>
                  <a:lnTo>
                    <a:pt x="13021" y="15563"/>
                  </a:lnTo>
                  <a:cubicBezTo>
                    <a:pt x="13058" y="16215"/>
                    <a:pt x="13086" y="16636"/>
                    <a:pt x="13086" y="16636"/>
                  </a:cubicBezTo>
                  <a:cubicBezTo>
                    <a:pt x="13086" y="16636"/>
                    <a:pt x="13751" y="16932"/>
                    <a:pt x="14383" y="16932"/>
                  </a:cubicBezTo>
                  <a:cubicBezTo>
                    <a:pt x="14652" y="16932"/>
                    <a:pt x="14919" y="16877"/>
                    <a:pt x="15123" y="16721"/>
                  </a:cubicBezTo>
                  <a:cubicBezTo>
                    <a:pt x="15123" y="16721"/>
                    <a:pt x="15294" y="15632"/>
                    <a:pt x="15530" y="14113"/>
                  </a:cubicBezTo>
                  <a:close/>
                  <a:moveTo>
                    <a:pt x="9922" y="17352"/>
                  </a:moveTo>
                  <a:lnTo>
                    <a:pt x="7383" y="18816"/>
                  </a:lnTo>
                  <a:cubicBezTo>
                    <a:pt x="7488" y="19714"/>
                    <a:pt x="7567" y="20328"/>
                    <a:pt x="7567" y="20328"/>
                  </a:cubicBezTo>
                  <a:cubicBezTo>
                    <a:pt x="7567" y="20328"/>
                    <a:pt x="8106" y="20553"/>
                    <a:pt x="8717" y="20553"/>
                  </a:cubicBezTo>
                  <a:cubicBezTo>
                    <a:pt x="9035" y="20553"/>
                    <a:pt x="9372" y="20492"/>
                    <a:pt x="9662" y="20308"/>
                  </a:cubicBezTo>
                  <a:cubicBezTo>
                    <a:pt x="9662" y="20308"/>
                    <a:pt x="9782" y="18953"/>
                    <a:pt x="9922" y="17352"/>
                  </a:cubicBez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94" name="Google Shape;6644;p41">
              <a:extLst>
                <a:ext uri="{FF2B5EF4-FFF2-40B4-BE49-F238E27FC236}">
                  <a16:creationId xmlns:a16="http://schemas.microsoft.com/office/drawing/2014/main" id="{0EA88FEF-3178-8E43-B5F3-FB7513FF620E}"/>
                </a:ext>
              </a:extLst>
            </p:cNvPr>
            <p:cNvSpPr/>
            <p:nvPr/>
          </p:nvSpPr>
          <p:spPr>
            <a:xfrm>
              <a:off x="5073025" y="2611250"/>
              <a:ext cx="113000" cy="230400"/>
            </a:xfrm>
            <a:custGeom>
              <a:avLst/>
              <a:gdLst/>
              <a:ahLst/>
              <a:cxnLst/>
              <a:rect l="l" t="t" r="r" b="b"/>
              <a:pathLst>
                <a:path w="4520" h="9216" extrusionOk="0">
                  <a:moveTo>
                    <a:pt x="1093" y="1"/>
                  </a:moveTo>
                  <a:cubicBezTo>
                    <a:pt x="1093" y="1"/>
                    <a:pt x="1" y="7468"/>
                    <a:pt x="591" y="8032"/>
                  </a:cubicBezTo>
                  <a:cubicBezTo>
                    <a:pt x="916" y="8342"/>
                    <a:pt x="2332" y="8806"/>
                    <a:pt x="3742" y="9216"/>
                  </a:cubicBezTo>
                  <a:lnTo>
                    <a:pt x="4520" y="6977"/>
                  </a:lnTo>
                  <a:cubicBezTo>
                    <a:pt x="3987" y="6660"/>
                    <a:pt x="3403" y="6301"/>
                    <a:pt x="2756" y="5905"/>
                  </a:cubicBezTo>
                  <a:cubicBezTo>
                    <a:pt x="2756" y="5905"/>
                    <a:pt x="3083" y="2956"/>
                    <a:pt x="3083" y="1874"/>
                  </a:cubicBezTo>
                  <a:cubicBezTo>
                    <a:pt x="3083" y="718"/>
                    <a:pt x="2595" y="35"/>
                    <a:pt x="1093" y="1"/>
                  </a:cubicBezTo>
                  <a:close/>
                </a:path>
              </a:pathLst>
            </a:custGeom>
            <a:solidFill>
              <a:srgbClr val="FFA8A7"/>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95" name="Google Shape;6645;p41">
              <a:extLst>
                <a:ext uri="{FF2B5EF4-FFF2-40B4-BE49-F238E27FC236}">
                  <a16:creationId xmlns:a16="http://schemas.microsoft.com/office/drawing/2014/main" id="{DFB02377-015F-3F40-8256-4388D4AA66D5}"/>
                </a:ext>
              </a:extLst>
            </p:cNvPr>
            <p:cNvSpPr/>
            <p:nvPr/>
          </p:nvSpPr>
          <p:spPr>
            <a:xfrm>
              <a:off x="5069725" y="2608425"/>
              <a:ext cx="83700" cy="170275"/>
            </a:xfrm>
            <a:custGeom>
              <a:avLst/>
              <a:gdLst/>
              <a:ahLst/>
              <a:cxnLst/>
              <a:rect l="l" t="t" r="r" b="b"/>
              <a:pathLst>
                <a:path w="3348" h="6811" extrusionOk="0">
                  <a:moveTo>
                    <a:pt x="979" y="1"/>
                  </a:moveTo>
                  <a:lnTo>
                    <a:pt x="0" y="6803"/>
                  </a:lnTo>
                  <a:cubicBezTo>
                    <a:pt x="112" y="6808"/>
                    <a:pt x="220" y="6811"/>
                    <a:pt x="325" y="6811"/>
                  </a:cubicBezTo>
                  <a:cubicBezTo>
                    <a:pt x="2192" y="6811"/>
                    <a:pt x="3031" y="6021"/>
                    <a:pt x="3031" y="6021"/>
                  </a:cubicBezTo>
                  <a:cubicBezTo>
                    <a:pt x="3031" y="6021"/>
                    <a:pt x="3225" y="3493"/>
                    <a:pt x="3283" y="2516"/>
                  </a:cubicBezTo>
                  <a:cubicBezTo>
                    <a:pt x="3341" y="1540"/>
                    <a:pt x="3348" y="1110"/>
                    <a:pt x="2774" y="560"/>
                  </a:cubicBezTo>
                  <a:cubicBezTo>
                    <a:pt x="2222" y="35"/>
                    <a:pt x="979" y="1"/>
                    <a:pt x="979" y="1"/>
                  </a:cubicBezTo>
                  <a:close/>
                </a:path>
              </a:pathLst>
            </a:custGeom>
            <a:solidFill>
              <a:srgbClr val="E0E0E0"/>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96" name="Google Shape;6646;p41">
              <a:extLst>
                <a:ext uri="{FF2B5EF4-FFF2-40B4-BE49-F238E27FC236}">
                  <a16:creationId xmlns:a16="http://schemas.microsoft.com/office/drawing/2014/main" id="{13244322-E06B-3F4C-B57E-F5270FF28741}"/>
                </a:ext>
              </a:extLst>
            </p:cNvPr>
            <p:cNvSpPr/>
            <p:nvPr/>
          </p:nvSpPr>
          <p:spPr>
            <a:xfrm>
              <a:off x="4884125" y="2611250"/>
              <a:ext cx="261700" cy="350050"/>
            </a:xfrm>
            <a:custGeom>
              <a:avLst/>
              <a:gdLst/>
              <a:ahLst/>
              <a:cxnLst/>
              <a:rect l="l" t="t" r="r" b="b"/>
              <a:pathLst>
                <a:path w="10468" h="14002" extrusionOk="0">
                  <a:moveTo>
                    <a:pt x="6331" y="1"/>
                  </a:moveTo>
                  <a:lnTo>
                    <a:pt x="3693" y="447"/>
                  </a:lnTo>
                  <a:cubicBezTo>
                    <a:pt x="3714" y="447"/>
                    <a:pt x="2946" y="759"/>
                    <a:pt x="2407" y="1567"/>
                  </a:cubicBezTo>
                  <a:cubicBezTo>
                    <a:pt x="1963" y="2236"/>
                    <a:pt x="646" y="5612"/>
                    <a:pt x="0" y="12953"/>
                  </a:cubicBezTo>
                  <a:cubicBezTo>
                    <a:pt x="583" y="13587"/>
                    <a:pt x="2178" y="14001"/>
                    <a:pt x="3949" y="14001"/>
                  </a:cubicBezTo>
                  <a:cubicBezTo>
                    <a:pt x="6172" y="14001"/>
                    <a:pt x="8673" y="13347"/>
                    <a:pt x="9792" y="11653"/>
                  </a:cubicBezTo>
                  <a:cubicBezTo>
                    <a:pt x="9792" y="11653"/>
                    <a:pt x="10468" y="5550"/>
                    <a:pt x="10455" y="4092"/>
                  </a:cubicBezTo>
                  <a:cubicBezTo>
                    <a:pt x="10444" y="3082"/>
                    <a:pt x="10417" y="642"/>
                    <a:pt x="8649" y="1"/>
                  </a:cubicBezTo>
                  <a:close/>
                </a:path>
              </a:pathLst>
            </a:custGeom>
            <a:solidFill>
              <a:srgbClr val="F5F5F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97" name="Google Shape;6647;p41">
              <a:extLst>
                <a:ext uri="{FF2B5EF4-FFF2-40B4-BE49-F238E27FC236}">
                  <a16:creationId xmlns:a16="http://schemas.microsoft.com/office/drawing/2014/main" id="{BC19FEED-9C96-1A4B-A3BD-EB2FF8070458}"/>
                </a:ext>
              </a:extLst>
            </p:cNvPr>
            <p:cNvSpPr/>
            <p:nvPr/>
          </p:nvSpPr>
          <p:spPr>
            <a:xfrm>
              <a:off x="5036850" y="2401025"/>
              <a:ext cx="136200" cy="132925"/>
            </a:xfrm>
            <a:custGeom>
              <a:avLst/>
              <a:gdLst/>
              <a:ahLst/>
              <a:cxnLst/>
              <a:rect l="l" t="t" r="r" b="b"/>
              <a:pathLst>
                <a:path w="5448" h="5317" extrusionOk="0">
                  <a:moveTo>
                    <a:pt x="2726" y="0"/>
                  </a:moveTo>
                  <a:cubicBezTo>
                    <a:pt x="1313" y="0"/>
                    <a:pt x="135" y="1110"/>
                    <a:pt x="69" y="2533"/>
                  </a:cubicBezTo>
                  <a:cubicBezTo>
                    <a:pt x="0" y="4000"/>
                    <a:pt x="1131" y="5246"/>
                    <a:pt x="2598" y="5314"/>
                  </a:cubicBezTo>
                  <a:cubicBezTo>
                    <a:pt x="2640" y="5316"/>
                    <a:pt x="2683" y="5317"/>
                    <a:pt x="2725" y="5317"/>
                  </a:cubicBezTo>
                  <a:cubicBezTo>
                    <a:pt x="4137" y="5317"/>
                    <a:pt x="5310" y="4206"/>
                    <a:pt x="5380" y="2785"/>
                  </a:cubicBezTo>
                  <a:cubicBezTo>
                    <a:pt x="5448" y="1317"/>
                    <a:pt x="4315" y="75"/>
                    <a:pt x="2851" y="3"/>
                  </a:cubicBezTo>
                  <a:cubicBezTo>
                    <a:pt x="2809" y="1"/>
                    <a:pt x="2767" y="0"/>
                    <a:pt x="2726" y="0"/>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98" name="Google Shape;6648;p41">
              <a:extLst>
                <a:ext uri="{FF2B5EF4-FFF2-40B4-BE49-F238E27FC236}">
                  <a16:creationId xmlns:a16="http://schemas.microsoft.com/office/drawing/2014/main" id="{E894B01B-0C8C-8541-9EAD-CF460978DFF4}"/>
                </a:ext>
              </a:extLst>
            </p:cNvPr>
            <p:cNvSpPr/>
            <p:nvPr/>
          </p:nvSpPr>
          <p:spPr>
            <a:xfrm>
              <a:off x="4987975" y="2509275"/>
              <a:ext cx="25975" cy="70875"/>
            </a:xfrm>
            <a:custGeom>
              <a:avLst/>
              <a:gdLst/>
              <a:ahLst/>
              <a:cxnLst/>
              <a:rect l="l" t="t" r="r" b="b"/>
              <a:pathLst>
                <a:path w="1039" h="2835" extrusionOk="0">
                  <a:moveTo>
                    <a:pt x="0" y="1"/>
                  </a:moveTo>
                  <a:cubicBezTo>
                    <a:pt x="0" y="1"/>
                    <a:pt x="334" y="2042"/>
                    <a:pt x="492" y="2380"/>
                  </a:cubicBezTo>
                  <a:cubicBezTo>
                    <a:pt x="649" y="2721"/>
                    <a:pt x="1000" y="2834"/>
                    <a:pt x="1000" y="2834"/>
                  </a:cubicBezTo>
                  <a:lnTo>
                    <a:pt x="1038" y="1410"/>
                  </a:lnTo>
                  <a:lnTo>
                    <a:pt x="0" y="1"/>
                  </a:ln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199" name="Google Shape;6649;p41">
              <a:extLst>
                <a:ext uri="{FF2B5EF4-FFF2-40B4-BE49-F238E27FC236}">
                  <a16:creationId xmlns:a16="http://schemas.microsoft.com/office/drawing/2014/main" id="{149DFCCB-3E03-E64C-A089-E7E877599370}"/>
                </a:ext>
              </a:extLst>
            </p:cNvPr>
            <p:cNvSpPr/>
            <p:nvPr/>
          </p:nvSpPr>
          <p:spPr>
            <a:xfrm>
              <a:off x="4974650" y="2437175"/>
              <a:ext cx="33475" cy="75375"/>
            </a:xfrm>
            <a:custGeom>
              <a:avLst/>
              <a:gdLst/>
              <a:ahLst/>
              <a:cxnLst/>
              <a:rect l="l" t="t" r="r" b="b"/>
              <a:pathLst>
                <a:path w="1339" h="3015" extrusionOk="0">
                  <a:moveTo>
                    <a:pt x="1050" y="1"/>
                  </a:moveTo>
                  <a:cubicBezTo>
                    <a:pt x="883" y="1"/>
                    <a:pt x="612" y="42"/>
                    <a:pt x="373" y="264"/>
                  </a:cubicBezTo>
                  <a:cubicBezTo>
                    <a:pt x="1" y="608"/>
                    <a:pt x="144" y="1752"/>
                    <a:pt x="533" y="2885"/>
                  </a:cubicBezTo>
                  <a:lnTo>
                    <a:pt x="1338" y="3015"/>
                  </a:lnTo>
                  <a:lnTo>
                    <a:pt x="1209" y="15"/>
                  </a:lnTo>
                  <a:cubicBezTo>
                    <a:pt x="1209" y="15"/>
                    <a:pt x="1147" y="1"/>
                    <a:pt x="1050" y="1"/>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00" name="Google Shape;6650;p41">
              <a:extLst>
                <a:ext uri="{FF2B5EF4-FFF2-40B4-BE49-F238E27FC236}">
                  <a16:creationId xmlns:a16="http://schemas.microsoft.com/office/drawing/2014/main" id="{8E93D139-705D-B041-B484-5CBF5107649C}"/>
                </a:ext>
              </a:extLst>
            </p:cNvPr>
            <p:cNvSpPr/>
            <p:nvPr/>
          </p:nvSpPr>
          <p:spPr>
            <a:xfrm>
              <a:off x="4960925" y="2410500"/>
              <a:ext cx="200625" cy="239050"/>
            </a:xfrm>
            <a:custGeom>
              <a:avLst/>
              <a:gdLst/>
              <a:ahLst/>
              <a:cxnLst/>
              <a:rect l="l" t="t" r="r" b="b"/>
              <a:pathLst>
                <a:path w="8025" h="9562" extrusionOk="0">
                  <a:moveTo>
                    <a:pt x="5218" y="0"/>
                  </a:moveTo>
                  <a:cubicBezTo>
                    <a:pt x="4521" y="0"/>
                    <a:pt x="3809" y="184"/>
                    <a:pt x="3253" y="498"/>
                  </a:cubicBezTo>
                  <a:cubicBezTo>
                    <a:pt x="1673" y="1392"/>
                    <a:pt x="2130" y="4095"/>
                    <a:pt x="2130" y="4095"/>
                  </a:cubicBezTo>
                  <a:cubicBezTo>
                    <a:pt x="2110" y="4105"/>
                    <a:pt x="2090" y="4110"/>
                    <a:pt x="2070" y="4110"/>
                  </a:cubicBezTo>
                  <a:cubicBezTo>
                    <a:pt x="1913" y="4110"/>
                    <a:pt x="1725" y="3835"/>
                    <a:pt x="1556" y="3641"/>
                  </a:cubicBezTo>
                  <a:cubicBezTo>
                    <a:pt x="1452" y="3522"/>
                    <a:pt x="1212" y="3372"/>
                    <a:pt x="957" y="3372"/>
                  </a:cubicBezTo>
                  <a:cubicBezTo>
                    <a:pt x="747" y="3372"/>
                    <a:pt x="527" y="3474"/>
                    <a:pt x="365" y="3778"/>
                  </a:cubicBezTo>
                  <a:cubicBezTo>
                    <a:pt x="0" y="4460"/>
                    <a:pt x="577" y="5416"/>
                    <a:pt x="1085" y="5604"/>
                  </a:cubicBezTo>
                  <a:cubicBezTo>
                    <a:pt x="1279" y="5675"/>
                    <a:pt x="1438" y="5703"/>
                    <a:pt x="1568" y="5703"/>
                  </a:cubicBezTo>
                  <a:cubicBezTo>
                    <a:pt x="2023" y="5703"/>
                    <a:pt x="2120" y="5362"/>
                    <a:pt x="2120" y="5361"/>
                  </a:cubicBezTo>
                  <a:lnTo>
                    <a:pt x="2120" y="5361"/>
                  </a:lnTo>
                  <a:lnTo>
                    <a:pt x="2034" y="8567"/>
                  </a:lnTo>
                  <a:cubicBezTo>
                    <a:pt x="2454" y="9081"/>
                    <a:pt x="3557" y="9562"/>
                    <a:pt x="4296" y="9562"/>
                  </a:cubicBezTo>
                  <a:cubicBezTo>
                    <a:pt x="4837" y="9562"/>
                    <a:pt x="5184" y="9305"/>
                    <a:pt x="4929" y="8617"/>
                  </a:cubicBezTo>
                  <a:lnTo>
                    <a:pt x="4970" y="7642"/>
                  </a:lnTo>
                  <a:cubicBezTo>
                    <a:pt x="4970" y="7642"/>
                    <a:pt x="5597" y="7767"/>
                    <a:pt x="6015" y="7767"/>
                  </a:cubicBezTo>
                  <a:cubicBezTo>
                    <a:pt x="6069" y="7767"/>
                    <a:pt x="6119" y="7765"/>
                    <a:pt x="6164" y="7761"/>
                  </a:cubicBezTo>
                  <a:cubicBezTo>
                    <a:pt x="6823" y="7689"/>
                    <a:pt x="7256" y="7195"/>
                    <a:pt x="7489" y="6498"/>
                  </a:cubicBezTo>
                  <a:cubicBezTo>
                    <a:pt x="7860" y="5379"/>
                    <a:pt x="8024" y="4468"/>
                    <a:pt x="7860" y="2222"/>
                  </a:cubicBezTo>
                  <a:cubicBezTo>
                    <a:pt x="7743" y="628"/>
                    <a:pt x="6505" y="0"/>
                    <a:pt x="5218" y="0"/>
                  </a:cubicBezTo>
                  <a:close/>
                </a:path>
              </a:pathLst>
            </a:custGeom>
            <a:solidFill>
              <a:srgbClr val="FFA8A7"/>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01" name="Google Shape;6651;p41">
              <a:extLst>
                <a:ext uri="{FF2B5EF4-FFF2-40B4-BE49-F238E27FC236}">
                  <a16:creationId xmlns:a16="http://schemas.microsoft.com/office/drawing/2014/main" id="{D0B43573-7C3E-D448-B1D9-C4A14C324845}"/>
                </a:ext>
              </a:extLst>
            </p:cNvPr>
            <p:cNvSpPr/>
            <p:nvPr/>
          </p:nvSpPr>
          <p:spPr>
            <a:xfrm>
              <a:off x="4993075" y="2390825"/>
              <a:ext cx="185800" cy="130125"/>
            </a:xfrm>
            <a:custGeom>
              <a:avLst/>
              <a:gdLst/>
              <a:ahLst/>
              <a:cxnLst/>
              <a:rect l="l" t="t" r="r" b="b"/>
              <a:pathLst>
                <a:path w="7432" h="5205" extrusionOk="0">
                  <a:moveTo>
                    <a:pt x="2460" y="0"/>
                  </a:moveTo>
                  <a:cubicBezTo>
                    <a:pt x="1682" y="0"/>
                    <a:pt x="1127" y="384"/>
                    <a:pt x="800" y="712"/>
                  </a:cubicBezTo>
                  <a:cubicBezTo>
                    <a:pt x="230" y="1282"/>
                    <a:pt x="472" y="1869"/>
                    <a:pt x="472" y="1869"/>
                  </a:cubicBezTo>
                  <a:cubicBezTo>
                    <a:pt x="472" y="1869"/>
                    <a:pt x="1" y="4159"/>
                    <a:pt x="270" y="4428"/>
                  </a:cubicBezTo>
                  <a:cubicBezTo>
                    <a:pt x="465" y="4623"/>
                    <a:pt x="759" y="5115"/>
                    <a:pt x="834" y="5156"/>
                  </a:cubicBezTo>
                  <a:cubicBezTo>
                    <a:pt x="896" y="5189"/>
                    <a:pt x="949" y="5204"/>
                    <a:pt x="997" y="5204"/>
                  </a:cubicBezTo>
                  <a:cubicBezTo>
                    <a:pt x="1429" y="5204"/>
                    <a:pt x="1298" y="3913"/>
                    <a:pt x="1458" y="3285"/>
                  </a:cubicBezTo>
                  <a:cubicBezTo>
                    <a:pt x="1641" y="2558"/>
                    <a:pt x="1722" y="2255"/>
                    <a:pt x="1969" y="2255"/>
                  </a:cubicBezTo>
                  <a:cubicBezTo>
                    <a:pt x="1990" y="2255"/>
                    <a:pt x="2012" y="2257"/>
                    <a:pt x="2035" y="2261"/>
                  </a:cubicBezTo>
                  <a:cubicBezTo>
                    <a:pt x="2237" y="2298"/>
                    <a:pt x="3035" y="2584"/>
                    <a:pt x="4484" y="2584"/>
                  </a:cubicBezTo>
                  <a:cubicBezTo>
                    <a:pt x="4627" y="2584"/>
                    <a:pt x="4777" y="2582"/>
                    <a:pt x="4933" y="2575"/>
                  </a:cubicBezTo>
                  <a:cubicBezTo>
                    <a:pt x="5724" y="2544"/>
                    <a:pt x="6113" y="2408"/>
                    <a:pt x="6492" y="2190"/>
                  </a:cubicBezTo>
                  <a:cubicBezTo>
                    <a:pt x="6868" y="1971"/>
                    <a:pt x="7104" y="1674"/>
                    <a:pt x="7253" y="1353"/>
                  </a:cubicBezTo>
                  <a:cubicBezTo>
                    <a:pt x="7431" y="978"/>
                    <a:pt x="7428" y="561"/>
                    <a:pt x="7394" y="176"/>
                  </a:cubicBezTo>
                  <a:lnTo>
                    <a:pt x="7394" y="176"/>
                  </a:lnTo>
                  <a:cubicBezTo>
                    <a:pt x="6954" y="368"/>
                    <a:pt x="6296" y="468"/>
                    <a:pt x="5702" y="468"/>
                  </a:cubicBezTo>
                  <a:cubicBezTo>
                    <a:pt x="5516" y="468"/>
                    <a:pt x="5336" y="458"/>
                    <a:pt x="5171" y="438"/>
                  </a:cubicBezTo>
                  <a:cubicBezTo>
                    <a:pt x="4591" y="370"/>
                    <a:pt x="3824" y="248"/>
                    <a:pt x="3032" y="66"/>
                  </a:cubicBezTo>
                  <a:cubicBezTo>
                    <a:pt x="2829" y="21"/>
                    <a:pt x="2639" y="0"/>
                    <a:pt x="2460" y="0"/>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02" name="Google Shape;6652;p41">
              <a:extLst>
                <a:ext uri="{FF2B5EF4-FFF2-40B4-BE49-F238E27FC236}">
                  <a16:creationId xmlns:a16="http://schemas.microsoft.com/office/drawing/2014/main" id="{76CC08A2-F273-7646-A7F1-0658B2F1008D}"/>
                </a:ext>
              </a:extLst>
            </p:cNvPr>
            <p:cNvSpPr/>
            <p:nvPr/>
          </p:nvSpPr>
          <p:spPr>
            <a:xfrm>
              <a:off x="4980800" y="2420450"/>
              <a:ext cx="27750" cy="21550"/>
            </a:xfrm>
            <a:custGeom>
              <a:avLst/>
              <a:gdLst/>
              <a:ahLst/>
              <a:cxnLst/>
              <a:rect l="l" t="t" r="r" b="b"/>
              <a:pathLst>
                <a:path w="1110" h="862" extrusionOk="0">
                  <a:moveTo>
                    <a:pt x="482" y="1"/>
                  </a:moveTo>
                  <a:cubicBezTo>
                    <a:pt x="291" y="1"/>
                    <a:pt x="104" y="104"/>
                    <a:pt x="1" y="288"/>
                  </a:cubicBezTo>
                  <a:lnTo>
                    <a:pt x="956" y="861"/>
                  </a:lnTo>
                  <a:cubicBezTo>
                    <a:pt x="1110" y="589"/>
                    <a:pt x="1021" y="236"/>
                    <a:pt x="755" y="77"/>
                  </a:cubicBezTo>
                  <a:cubicBezTo>
                    <a:pt x="669" y="25"/>
                    <a:pt x="575" y="1"/>
                    <a:pt x="482" y="1"/>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03" name="Google Shape;6653;p41">
              <a:extLst>
                <a:ext uri="{FF2B5EF4-FFF2-40B4-BE49-F238E27FC236}">
                  <a16:creationId xmlns:a16="http://schemas.microsoft.com/office/drawing/2014/main" id="{855006A1-2D60-A54D-9E91-3D592D2EEBB5}"/>
                </a:ext>
              </a:extLst>
            </p:cNvPr>
            <p:cNvSpPr/>
            <p:nvPr/>
          </p:nvSpPr>
          <p:spPr>
            <a:xfrm>
              <a:off x="5019875" y="2566875"/>
              <a:ext cx="65300" cy="44400"/>
            </a:xfrm>
            <a:custGeom>
              <a:avLst/>
              <a:gdLst/>
              <a:ahLst/>
              <a:cxnLst/>
              <a:rect l="l" t="t" r="r" b="b"/>
              <a:pathLst>
                <a:path w="2612" h="1776" extrusionOk="0">
                  <a:moveTo>
                    <a:pt x="0" y="1"/>
                  </a:moveTo>
                  <a:cubicBezTo>
                    <a:pt x="0" y="1"/>
                    <a:pt x="76" y="438"/>
                    <a:pt x="362" y="840"/>
                  </a:cubicBezTo>
                  <a:cubicBezTo>
                    <a:pt x="714" y="1335"/>
                    <a:pt x="2595" y="1776"/>
                    <a:pt x="2595" y="1776"/>
                  </a:cubicBezTo>
                  <a:lnTo>
                    <a:pt x="2612" y="1387"/>
                  </a:lnTo>
                  <a:cubicBezTo>
                    <a:pt x="2612" y="1387"/>
                    <a:pt x="1171" y="1025"/>
                    <a:pt x="673" y="732"/>
                  </a:cubicBezTo>
                  <a:cubicBezTo>
                    <a:pt x="342" y="533"/>
                    <a:pt x="76" y="206"/>
                    <a:pt x="0" y="1"/>
                  </a:cubicBezTo>
                  <a:close/>
                </a:path>
              </a:pathLst>
            </a:custGeom>
            <a:solidFill>
              <a:srgbClr val="F28F8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04" name="Google Shape;6654;p41">
              <a:extLst>
                <a:ext uri="{FF2B5EF4-FFF2-40B4-BE49-F238E27FC236}">
                  <a16:creationId xmlns:a16="http://schemas.microsoft.com/office/drawing/2014/main" id="{C7468747-7850-5747-BC5F-814596D9E402}"/>
                </a:ext>
              </a:extLst>
            </p:cNvPr>
            <p:cNvSpPr/>
            <p:nvPr/>
          </p:nvSpPr>
          <p:spPr>
            <a:xfrm>
              <a:off x="5079350" y="2502800"/>
              <a:ext cx="15050" cy="15225"/>
            </a:xfrm>
            <a:custGeom>
              <a:avLst/>
              <a:gdLst/>
              <a:ahLst/>
              <a:cxnLst/>
              <a:rect l="l" t="t" r="r" b="b"/>
              <a:pathLst>
                <a:path w="602" h="609" extrusionOk="0">
                  <a:moveTo>
                    <a:pt x="305" y="1"/>
                  </a:moveTo>
                  <a:cubicBezTo>
                    <a:pt x="147" y="1"/>
                    <a:pt x="17" y="128"/>
                    <a:pt x="11" y="291"/>
                  </a:cubicBezTo>
                  <a:cubicBezTo>
                    <a:pt x="0" y="458"/>
                    <a:pt x="127" y="598"/>
                    <a:pt x="287" y="608"/>
                  </a:cubicBezTo>
                  <a:cubicBezTo>
                    <a:pt x="291" y="608"/>
                    <a:pt x="295" y="608"/>
                    <a:pt x="300" y="608"/>
                  </a:cubicBezTo>
                  <a:cubicBezTo>
                    <a:pt x="455" y="608"/>
                    <a:pt x="588" y="480"/>
                    <a:pt x="594" y="318"/>
                  </a:cubicBezTo>
                  <a:cubicBezTo>
                    <a:pt x="601" y="151"/>
                    <a:pt x="478" y="7"/>
                    <a:pt x="318" y="1"/>
                  </a:cubicBezTo>
                  <a:cubicBezTo>
                    <a:pt x="313" y="1"/>
                    <a:pt x="309" y="1"/>
                    <a:pt x="305" y="1"/>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05" name="Google Shape;6655;p41">
              <a:extLst>
                <a:ext uri="{FF2B5EF4-FFF2-40B4-BE49-F238E27FC236}">
                  <a16:creationId xmlns:a16="http://schemas.microsoft.com/office/drawing/2014/main" id="{2EEAFBA3-8430-7249-915D-C527A20A47E8}"/>
                </a:ext>
              </a:extLst>
            </p:cNvPr>
            <p:cNvSpPr/>
            <p:nvPr/>
          </p:nvSpPr>
          <p:spPr>
            <a:xfrm>
              <a:off x="5069875" y="2480275"/>
              <a:ext cx="18200" cy="13150"/>
            </a:xfrm>
            <a:custGeom>
              <a:avLst/>
              <a:gdLst/>
              <a:ahLst/>
              <a:cxnLst/>
              <a:rect l="l" t="t" r="r" b="b"/>
              <a:pathLst>
                <a:path w="728" h="526" extrusionOk="0">
                  <a:moveTo>
                    <a:pt x="403" y="0"/>
                  </a:moveTo>
                  <a:cubicBezTo>
                    <a:pt x="353" y="0"/>
                    <a:pt x="302" y="11"/>
                    <a:pt x="253" y="34"/>
                  </a:cubicBezTo>
                  <a:cubicBezTo>
                    <a:pt x="76" y="124"/>
                    <a:pt x="1" y="342"/>
                    <a:pt x="86" y="526"/>
                  </a:cubicBezTo>
                  <a:lnTo>
                    <a:pt x="727" y="212"/>
                  </a:lnTo>
                  <a:cubicBezTo>
                    <a:pt x="665" y="78"/>
                    <a:pt x="537" y="0"/>
                    <a:pt x="403" y="0"/>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06" name="Google Shape;6656;p41">
              <a:extLst>
                <a:ext uri="{FF2B5EF4-FFF2-40B4-BE49-F238E27FC236}">
                  <a16:creationId xmlns:a16="http://schemas.microsoft.com/office/drawing/2014/main" id="{82E0AF28-B879-5149-AE5F-7131BAC4F386}"/>
                </a:ext>
              </a:extLst>
            </p:cNvPr>
            <p:cNvSpPr/>
            <p:nvPr/>
          </p:nvSpPr>
          <p:spPr>
            <a:xfrm>
              <a:off x="5082075" y="2557600"/>
              <a:ext cx="18275" cy="12700"/>
            </a:xfrm>
            <a:custGeom>
              <a:avLst/>
              <a:gdLst/>
              <a:ahLst/>
              <a:cxnLst/>
              <a:rect l="l" t="t" r="r" b="b"/>
              <a:pathLst>
                <a:path w="731" h="508" extrusionOk="0">
                  <a:moveTo>
                    <a:pt x="75" y="0"/>
                  </a:moveTo>
                  <a:lnTo>
                    <a:pt x="75" y="0"/>
                  </a:lnTo>
                  <a:cubicBezTo>
                    <a:pt x="1" y="188"/>
                    <a:pt x="86" y="402"/>
                    <a:pt x="267" y="481"/>
                  </a:cubicBezTo>
                  <a:cubicBezTo>
                    <a:pt x="311" y="499"/>
                    <a:pt x="356" y="508"/>
                    <a:pt x="401" y="508"/>
                  </a:cubicBezTo>
                  <a:cubicBezTo>
                    <a:pt x="541" y="508"/>
                    <a:pt x="674" y="422"/>
                    <a:pt x="731" y="279"/>
                  </a:cubicBezTo>
                  <a:lnTo>
                    <a:pt x="75" y="0"/>
                  </a:lnTo>
                  <a:close/>
                </a:path>
              </a:pathLst>
            </a:custGeom>
            <a:solidFill>
              <a:srgbClr val="F28F8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07" name="Google Shape;6657;p41">
              <a:extLst>
                <a:ext uri="{FF2B5EF4-FFF2-40B4-BE49-F238E27FC236}">
                  <a16:creationId xmlns:a16="http://schemas.microsoft.com/office/drawing/2014/main" id="{8DBA89C2-A777-BF48-BBDA-CEF751BCDCD0}"/>
                </a:ext>
              </a:extLst>
            </p:cNvPr>
            <p:cNvSpPr/>
            <p:nvPr/>
          </p:nvSpPr>
          <p:spPr>
            <a:xfrm>
              <a:off x="5137625" y="2477750"/>
              <a:ext cx="16825" cy="15000"/>
            </a:xfrm>
            <a:custGeom>
              <a:avLst/>
              <a:gdLst/>
              <a:ahLst/>
              <a:cxnLst/>
              <a:rect l="l" t="t" r="r" b="b"/>
              <a:pathLst>
                <a:path w="673" h="600" extrusionOk="0">
                  <a:moveTo>
                    <a:pt x="275" y="0"/>
                  </a:moveTo>
                  <a:cubicBezTo>
                    <a:pt x="172" y="0"/>
                    <a:pt x="70" y="46"/>
                    <a:pt x="0" y="135"/>
                  </a:cubicBezTo>
                  <a:lnTo>
                    <a:pt x="547" y="600"/>
                  </a:lnTo>
                  <a:cubicBezTo>
                    <a:pt x="673" y="443"/>
                    <a:pt x="649" y="211"/>
                    <a:pt x="499" y="81"/>
                  </a:cubicBezTo>
                  <a:cubicBezTo>
                    <a:pt x="433" y="27"/>
                    <a:pt x="354" y="0"/>
                    <a:pt x="275" y="0"/>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08" name="Google Shape;6658;p41">
              <a:extLst>
                <a:ext uri="{FF2B5EF4-FFF2-40B4-BE49-F238E27FC236}">
                  <a16:creationId xmlns:a16="http://schemas.microsoft.com/office/drawing/2014/main" id="{59026003-0C36-0849-8992-43BD495BD76A}"/>
                </a:ext>
              </a:extLst>
            </p:cNvPr>
            <p:cNvSpPr/>
            <p:nvPr/>
          </p:nvSpPr>
          <p:spPr>
            <a:xfrm>
              <a:off x="5132175" y="2500150"/>
              <a:ext cx="15025" cy="15150"/>
            </a:xfrm>
            <a:custGeom>
              <a:avLst/>
              <a:gdLst/>
              <a:ahLst/>
              <a:cxnLst/>
              <a:rect l="l" t="t" r="r" b="b"/>
              <a:pathLst>
                <a:path w="601" h="606" extrusionOk="0">
                  <a:moveTo>
                    <a:pt x="296" y="1"/>
                  </a:moveTo>
                  <a:cubicBezTo>
                    <a:pt x="143" y="1"/>
                    <a:pt x="16" y="126"/>
                    <a:pt x="7" y="288"/>
                  </a:cubicBezTo>
                  <a:cubicBezTo>
                    <a:pt x="0" y="455"/>
                    <a:pt x="123" y="598"/>
                    <a:pt x="287" y="605"/>
                  </a:cubicBezTo>
                  <a:cubicBezTo>
                    <a:pt x="293" y="605"/>
                    <a:pt x="299" y="606"/>
                    <a:pt x="305" y="606"/>
                  </a:cubicBezTo>
                  <a:cubicBezTo>
                    <a:pt x="457" y="606"/>
                    <a:pt x="584" y="479"/>
                    <a:pt x="590" y="318"/>
                  </a:cubicBezTo>
                  <a:cubicBezTo>
                    <a:pt x="601" y="151"/>
                    <a:pt x="475" y="8"/>
                    <a:pt x="314" y="1"/>
                  </a:cubicBezTo>
                  <a:cubicBezTo>
                    <a:pt x="308" y="1"/>
                    <a:pt x="302" y="1"/>
                    <a:pt x="296" y="1"/>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09" name="Google Shape;6659;p41">
              <a:extLst>
                <a:ext uri="{FF2B5EF4-FFF2-40B4-BE49-F238E27FC236}">
                  <a16:creationId xmlns:a16="http://schemas.microsoft.com/office/drawing/2014/main" id="{B3AFFD5B-5790-424C-9B8C-EE00A80201B3}"/>
                </a:ext>
              </a:extLst>
            </p:cNvPr>
            <p:cNvSpPr/>
            <p:nvPr/>
          </p:nvSpPr>
          <p:spPr>
            <a:xfrm>
              <a:off x="5108800" y="2500075"/>
              <a:ext cx="26725" cy="43875"/>
            </a:xfrm>
            <a:custGeom>
              <a:avLst/>
              <a:gdLst/>
              <a:ahLst/>
              <a:cxnLst/>
              <a:rect l="l" t="t" r="r" b="b"/>
              <a:pathLst>
                <a:path w="1069" h="1755" extrusionOk="0">
                  <a:moveTo>
                    <a:pt x="242" y="0"/>
                  </a:moveTo>
                  <a:lnTo>
                    <a:pt x="0" y="1755"/>
                  </a:lnTo>
                  <a:lnTo>
                    <a:pt x="1068" y="1690"/>
                  </a:lnTo>
                  <a:lnTo>
                    <a:pt x="242" y="0"/>
                  </a:lnTo>
                  <a:close/>
                </a:path>
              </a:pathLst>
            </a:custGeom>
            <a:solidFill>
              <a:srgbClr val="F28F8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10" name="Google Shape;6660;p41">
              <a:extLst>
                <a:ext uri="{FF2B5EF4-FFF2-40B4-BE49-F238E27FC236}">
                  <a16:creationId xmlns:a16="http://schemas.microsoft.com/office/drawing/2014/main" id="{F83420D0-E65D-5746-B9AD-34BF2921FED5}"/>
                </a:ext>
              </a:extLst>
            </p:cNvPr>
            <p:cNvSpPr/>
            <p:nvPr/>
          </p:nvSpPr>
          <p:spPr>
            <a:xfrm>
              <a:off x="4531400" y="2785825"/>
              <a:ext cx="1194050" cy="689200"/>
            </a:xfrm>
            <a:custGeom>
              <a:avLst/>
              <a:gdLst/>
              <a:ahLst/>
              <a:cxnLst/>
              <a:rect l="l" t="t" r="r" b="b"/>
              <a:pathLst>
                <a:path w="47762" h="27568" extrusionOk="0">
                  <a:moveTo>
                    <a:pt x="31158" y="1"/>
                  </a:moveTo>
                  <a:lnTo>
                    <a:pt x="0" y="17984"/>
                  </a:lnTo>
                  <a:lnTo>
                    <a:pt x="16604" y="27568"/>
                  </a:lnTo>
                  <a:lnTo>
                    <a:pt x="47761" y="9588"/>
                  </a:lnTo>
                  <a:lnTo>
                    <a:pt x="31158" y="1"/>
                  </a:lnTo>
                  <a:close/>
                </a:path>
              </a:pathLst>
            </a:custGeom>
            <a:solidFill>
              <a:srgbClr val="455A6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11" name="Google Shape;6661;p41">
              <a:extLst>
                <a:ext uri="{FF2B5EF4-FFF2-40B4-BE49-F238E27FC236}">
                  <a16:creationId xmlns:a16="http://schemas.microsoft.com/office/drawing/2014/main" id="{52608AFE-0054-F244-8761-6D7784A15D74}"/>
                </a:ext>
              </a:extLst>
            </p:cNvPr>
            <p:cNvSpPr/>
            <p:nvPr/>
          </p:nvSpPr>
          <p:spPr>
            <a:xfrm>
              <a:off x="4531400" y="3235400"/>
              <a:ext cx="415125" cy="718900"/>
            </a:xfrm>
            <a:custGeom>
              <a:avLst/>
              <a:gdLst/>
              <a:ahLst/>
              <a:cxnLst/>
              <a:rect l="l" t="t" r="r" b="b"/>
              <a:pathLst>
                <a:path w="16605" h="28756" extrusionOk="0">
                  <a:moveTo>
                    <a:pt x="0" y="1"/>
                  </a:moveTo>
                  <a:lnTo>
                    <a:pt x="0" y="19168"/>
                  </a:lnTo>
                  <a:lnTo>
                    <a:pt x="874" y="19673"/>
                  </a:lnTo>
                  <a:lnTo>
                    <a:pt x="874" y="6557"/>
                  </a:lnTo>
                  <a:lnTo>
                    <a:pt x="15731" y="15134"/>
                  </a:lnTo>
                  <a:lnTo>
                    <a:pt x="15731" y="28250"/>
                  </a:lnTo>
                  <a:lnTo>
                    <a:pt x="16604" y="28755"/>
                  </a:lnTo>
                  <a:lnTo>
                    <a:pt x="16604" y="9585"/>
                  </a:lnTo>
                  <a:lnTo>
                    <a:pt x="0" y="1"/>
                  </a:ln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12" name="Google Shape;6662;p41">
              <a:extLst>
                <a:ext uri="{FF2B5EF4-FFF2-40B4-BE49-F238E27FC236}">
                  <a16:creationId xmlns:a16="http://schemas.microsoft.com/office/drawing/2014/main" id="{01FB0CF5-09C8-A943-AC0E-A823DE1BA160}"/>
                </a:ext>
              </a:extLst>
            </p:cNvPr>
            <p:cNvSpPr/>
            <p:nvPr/>
          </p:nvSpPr>
          <p:spPr>
            <a:xfrm>
              <a:off x="4553250" y="3399325"/>
              <a:ext cx="21850" cy="327900"/>
            </a:xfrm>
            <a:custGeom>
              <a:avLst/>
              <a:gdLst/>
              <a:ahLst/>
              <a:cxnLst/>
              <a:rect l="l" t="t" r="r" b="b"/>
              <a:pathLst>
                <a:path w="874" h="13116" extrusionOk="0">
                  <a:moveTo>
                    <a:pt x="0" y="0"/>
                  </a:moveTo>
                  <a:lnTo>
                    <a:pt x="0" y="13116"/>
                  </a:lnTo>
                  <a:lnTo>
                    <a:pt x="873" y="12611"/>
                  </a:lnTo>
                  <a:lnTo>
                    <a:pt x="873" y="505"/>
                  </a:lnTo>
                  <a:lnTo>
                    <a:pt x="0" y="0"/>
                  </a:lnTo>
                  <a:close/>
                </a:path>
              </a:pathLst>
            </a:custGeom>
            <a:solidFill>
              <a:srgbClr val="000000"/>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13" name="Google Shape;6663;p41">
              <a:extLst>
                <a:ext uri="{FF2B5EF4-FFF2-40B4-BE49-F238E27FC236}">
                  <a16:creationId xmlns:a16="http://schemas.microsoft.com/office/drawing/2014/main" id="{CE80AD75-EA66-B44A-B16E-196D884EDACB}"/>
                </a:ext>
              </a:extLst>
            </p:cNvPr>
            <p:cNvSpPr/>
            <p:nvPr/>
          </p:nvSpPr>
          <p:spPr>
            <a:xfrm>
              <a:off x="4946500" y="3025500"/>
              <a:ext cx="778950" cy="928800"/>
            </a:xfrm>
            <a:custGeom>
              <a:avLst/>
              <a:gdLst/>
              <a:ahLst/>
              <a:cxnLst/>
              <a:rect l="l" t="t" r="r" b="b"/>
              <a:pathLst>
                <a:path w="31158" h="37152" extrusionOk="0">
                  <a:moveTo>
                    <a:pt x="31157" y="1"/>
                  </a:moveTo>
                  <a:lnTo>
                    <a:pt x="0" y="17981"/>
                  </a:lnTo>
                  <a:lnTo>
                    <a:pt x="0" y="37151"/>
                  </a:lnTo>
                  <a:lnTo>
                    <a:pt x="874" y="36646"/>
                  </a:lnTo>
                  <a:lnTo>
                    <a:pt x="874" y="23530"/>
                  </a:lnTo>
                  <a:lnTo>
                    <a:pt x="30284" y="6557"/>
                  </a:lnTo>
                  <a:lnTo>
                    <a:pt x="30284" y="19673"/>
                  </a:lnTo>
                  <a:lnTo>
                    <a:pt x="31157" y="19168"/>
                  </a:lnTo>
                  <a:lnTo>
                    <a:pt x="31157" y="1"/>
                  </a:lnTo>
                  <a:close/>
                </a:path>
              </a:pathLst>
            </a:custGeom>
            <a:solidFill>
              <a:srgbClr val="37474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14" name="Google Shape;6664;p41">
              <a:extLst>
                <a:ext uri="{FF2B5EF4-FFF2-40B4-BE49-F238E27FC236}">
                  <a16:creationId xmlns:a16="http://schemas.microsoft.com/office/drawing/2014/main" id="{93D7EAFF-FD4D-584B-916A-B3A4362D1D5A}"/>
                </a:ext>
              </a:extLst>
            </p:cNvPr>
            <p:cNvSpPr/>
            <p:nvPr/>
          </p:nvSpPr>
          <p:spPr>
            <a:xfrm>
              <a:off x="5681750" y="3189425"/>
              <a:ext cx="21875" cy="327900"/>
            </a:xfrm>
            <a:custGeom>
              <a:avLst/>
              <a:gdLst/>
              <a:ahLst/>
              <a:cxnLst/>
              <a:rect l="l" t="t" r="r" b="b"/>
              <a:pathLst>
                <a:path w="875" h="13116" extrusionOk="0">
                  <a:moveTo>
                    <a:pt x="874" y="0"/>
                  </a:moveTo>
                  <a:lnTo>
                    <a:pt x="0" y="505"/>
                  </a:lnTo>
                  <a:lnTo>
                    <a:pt x="0" y="12611"/>
                  </a:lnTo>
                  <a:lnTo>
                    <a:pt x="874" y="13116"/>
                  </a:lnTo>
                  <a:lnTo>
                    <a:pt x="874" y="0"/>
                  </a:ln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15" name="Google Shape;6665;p41">
              <a:extLst>
                <a:ext uri="{FF2B5EF4-FFF2-40B4-BE49-F238E27FC236}">
                  <a16:creationId xmlns:a16="http://schemas.microsoft.com/office/drawing/2014/main" id="{10B0BBB1-F977-C442-8FBD-30F4B678C84B}"/>
                </a:ext>
              </a:extLst>
            </p:cNvPr>
            <p:cNvSpPr/>
            <p:nvPr/>
          </p:nvSpPr>
          <p:spPr>
            <a:xfrm>
              <a:off x="4644175" y="3115625"/>
              <a:ext cx="301675" cy="173450"/>
            </a:xfrm>
            <a:custGeom>
              <a:avLst/>
              <a:gdLst/>
              <a:ahLst/>
              <a:cxnLst/>
              <a:rect l="l" t="t" r="r" b="b"/>
              <a:pathLst>
                <a:path w="12067" h="6938" extrusionOk="0">
                  <a:moveTo>
                    <a:pt x="6908" y="1"/>
                  </a:moveTo>
                  <a:cubicBezTo>
                    <a:pt x="6840" y="1"/>
                    <a:pt x="6773" y="15"/>
                    <a:pt x="6722" y="44"/>
                  </a:cubicBezTo>
                  <a:lnTo>
                    <a:pt x="103" y="3867"/>
                  </a:lnTo>
                  <a:cubicBezTo>
                    <a:pt x="1" y="3924"/>
                    <a:pt x="1" y="4020"/>
                    <a:pt x="103" y="4082"/>
                  </a:cubicBezTo>
                  <a:lnTo>
                    <a:pt x="4974" y="6894"/>
                  </a:lnTo>
                  <a:cubicBezTo>
                    <a:pt x="5025" y="6923"/>
                    <a:pt x="5092" y="6937"/>
                    <a:pt x="5160" y="6937"/>
                  </a:cubicBezTo>
                  <a:cubicBezTo>
                    <a:pt x="5227" y="6937"/>
                    <a:pt x="5294" y="6923"/>
                    <a:pt x="5346" y="6894"/>
                  </a:cubicBezTo>
                  <a:lnTo>
                    <a:pt x="11964" y="3072"/>
                  </a:lnTo>
                  <a:cubicBezTo>
                    <a:pt x="12066" y="3014"/>
                    <a:pt x="12066" y="2918"/>
                    <a:pt x="11964" y="2856"/>
                  </a:cubicBezTo>
                  <a:lnTo>
                    <a:pt x="7094" y="44"/>
                  </a:lnTo>
                  <a:cubicBezTo>
                    <a:pt x="7042" y="15"/>
                    <a:pt x="6975" y="1"/>
                    <a:pt x="6908" y="1"/>
                  </a:cubicBezTo>
                  <a:close/>
                </a:path>
              </a:pathLst>
            </a:custGeom>
            <a:solidFill>
              <a:srgbClr val="EBEBEB"/>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16" name="Google Shape;6666;p41">
              <a:extLst>
                <a:ext uri="{FF2B5EF4-FFF2-40B4-BE49-F238E27FC236}">
                  <a16:creationId xmlns:a16="http://schemas.microsoft.com/office/drawing/2014/main" id="{9F61FC10-F4DA-764A-9B19-97303BBD2383}"/>
                </a:ext>
              </a:extLst>
            </p:cNvPr>
            <p:cNvSpPr/>
            <p:nvPr/>
          </p:nvSpPr>
          <p:spPr>
            <a:xfrm>
              <a:off x="4652900" y="3115625"/>
              <a:ext cx="284250" cy="161000"/>
            </a:xfrm>
            <a:custGeom>
              <a:avLst/>
              <a:gdLst/>
              <a:ahLst/>
              <a:cxnLst/>
              <a:rect l="l" t="t" r="r" b="b"/>
              <a:pathLst>
                <a:path w="11370" h="6440" extrusionOk="0">
                  <a:moveTo>
                    <a:pt x="6559" y="1"/>
                  </a:moveTo>
                  <a:cubicBezTo>
                    <a:pt x="6491" y="1"/>
                    <a:pt x="6424" y="15"/>
                    <a:pt x="6373" y="44"/>
                  </a:cubicBezTo>
                  <a:lnTo>
                    <a:pt x="0" y="3724"/>
                  </a:lnTo>
                  <a:lnTo>
                    <a:pt x="4625" y="6396"/>
                  </a:lnTo>
                  <a:cubicBezTo>
                    <a:pt x="4676" y="6425"/>
                    <a:pt x="4743" y="6439"/>
                    <a:pt x="4811" y="6439"/>
                  </a:cubicBezTo>
                  <a:cubicBezTo>
                    <a:pt x="4878" y="6439"/>
                    <a:pt x="4945" y="6425"/>
                    <a:pt x="4997" y="6396"/>
                  </a:cubicBezTo>
                  <a:lnTo>
                    <a:pt x="11369" y="2716"/>
                  </a:lnTo>
                  <a:lnTo>
                    <a:pt x="6745" y="44"/>
                  </a:lnTo>
                  <a:cubicBezTo>
                    <a:pt x="6693" y="15"/>
                    <a:pt x="6626" y="1"/>
                    <a:pt x="6559" y="1"/>
                  </a:cubicBezTo>
                  <a:close/>
                </a:path>
              </a:pathLst>
            </a:custGeom>
            <a:solidFill>
              <a:srgbClr val="E0E0E0"/>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17" name="Google Shape;6667;p41">
              <a:extLst>
                <a:ext uri="{FF2B5EF4-FFF2-40B4-BE49-F238E27FC236}">
                  <a16:creationId xmlns:a16="http://schemas.microsoft.com/office/drawing/2014/main" id="{6C8385EE-1FD8-BA4F-89D5-0392596773BC}"/>
                </a:ext>
              </a:extLst>
            </p:cNvPr>
            <p:cNvSpPr/>
            <p:nvPr/>
          </p:nvSpPr>
          <p:spPr>
            <a:xfrm>
              <a:off x="4644175" y="3098825"/>
              <a:ext cx="301675" cy="173425"/>
            </a:xfrm>
            <a:custGeom>
              <a:avLst/>
              <a:gdLst/>
              <a:ahLst/>
              <a:cxnLst/>
              <a:rect l="l" t="t" r="r" b="b"/>
              <a:pathLst>
                <a:path w="12067" h="6937" extrusionOk="0">
                  <a:moveTo>
                    <a:pt x="6908" y="0"/>
                  </a:moveTo>
                  <a:cubicBezTo>
                    <a:pt x="6840" y="0"/>
                    <a:pt x="6773" y="15"/>
                    <a:pt x="6722" y="44"/>
                  </a:cubicBezTo>
                  <a:lnTo>
                    <a:pt x="103" y="3867"/>
                  </a:lnTo>
                  <a:cubicBezTo>
                    <a:pt x="1" y="3925"/>
                    <a:pt x="1" y="4020"/>
                    <a:pt x="103" y="4081"/>
                  </a:cubicBezTo>
                  <a:lnTo>
                    <a:pt x="4974" y="6894"/>
                  </a:lnTo>
                  <a:cubicBezTo>
                    <a:pt x="5025" y="6923"/>
                    <a:pt x="5092" y="6937"/>
                    <a:pt x="5160" y="6937"/>
                  </a:cubicBezTo>
                  <a:cubicBezTo>
                    <a:pt x="5227" y="6937"/>
                    <a:pt x="5294" y="6923"/>
                    <a:pt x="5346" y="6894"/>
                  </a:cubicBezTo>
                  <a:lnTo>
                    <a:pt x="11964" y="3071"/>
                  </a:lnTo>
                  <a:cubicBezTo>
                    <a:pt x="12066" y="3013"/>
                    <a:pt x="12066" y="2917"/>
                    <a:pt x="11964" y="2856"/>
                  </a:cubicBezTo>
                  <a:lnTo>
                    <a:pt x="7094" y="44"/>
                  </a:lnTo>
                  <a:cubicBezTo>
                    <a:pt x="7042" y="15"/>
                    <a:pt x="6975" y="0"/>
                    <a:pt x="6908" y="0"/>
                  </a:cubicBezTo>
                  <a:close/>
                </a:path>
              </a:pathLst>
            </a:custGeom>
            <a:solidFill>
              <a:srgbClr val="FAFAFA"/>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18" name="Google Shape;6668;p41">
              <a:extLst>
                <a:ext uri="{FF2B5EF4-FFF2-40B4-BE49-F238E27FC236}">
                  <a16:creationId xmlns:a16="http://schemas.microsoft.com/office/drawing/2014/main" id="{8326E892-13F1-A74C-89CB-BD81A85C7E73}"/>
                </a:ext>
              </a:extLst>
            </p:cNvPr>
            <p:cNvSpPr/>
            <p:nvPr/>
          </p:nvSpPr>
          <p:spPr>
            <a:xfrm>
              <a:off x="5079175" y="2837825"/>
              <a:ext cx="349525" cy="211325"/>
            </a:xfrm>
            <a:custGeom>
              <a:avLst/>
              <a:gdLst/>
              <a:ahLst/>
              <a:cxnLst/>
              <a:rect l="l" t="t" r="r" b="b"/>
              <a:pathLst>
                <a:path w="13981" h="8453" extrusionOk="0">
                  <a:moveTo>
                    <a:pt x="11361" y="0"/>
                  </a:moveTo>
                  <a:cubicBezTo>
                    <a:pt x="11294" y="0"/>
                    <a:pt x="11226" y="16"/>
                    <a:pt x="11175" y="47"/>
                  </a:cubicBezTo>
                  <a:lnTo>
                    <a:pt x="185" y="6388"/>
                  </a:lnTo>
                  <a:cubicBezTo>
                    <a:pt x="82" y="6450"/>
                    <a:pt x="1" y="6593"/>
                    <a:pt x="1" y="6713"/>
                  </a:cubicBezTo>
                  <a:lnTo>
                    <a:pt x="1" y="6788"/>
                  </a:lnTo>
                  <a:cubicBezTo>
                    <a:pt x="1" y="6903"/>
                    <a:pt x="82" y="7050"/>
                    <a:pt x="185" y="7108"/>
                  </a:cubicBezTo>
                  <a:lnTo>
                    <a:pt x="2434" y="8409"/>
                  </a:lnTo>
                  <a:cubicBezTo>
                    <a:pt x="2485" y="8438"/>
                    <a:pt x="2553" y="8453"/>
                    <a:pt x="2620" y="8453"/>
                  </a:cubicBezTo>
                  <a:cubicBezTo>
                    <a:pt x="2687" y="8453"/>
                    <a:pt x="2755" y="8438"/>
                    <a:pt x="2806" y="8409"/>
                  </a:cubicBezTo>
                  <a:lnTo>
                    <a:pt x="13796" y="2064"/>
                  </a:lnTo>
                  <a:cubicBezTo>
                    <a:pt x="13899" y="2006"/>
                    <a:pt x="13980" y="1859"/>
                    <a:pt x="13980" y="1743"/>
                  </a:cubicBezTo>
                  <a:lnTo>
                    <a:pt x="13980" y="1668"/>
                  </a:lnTo>
                  <a:cubicBezTo>
                    <a:pt x="13980" y="1549"/>
                    <a:pt x="13899" y="1405"/>
                    <a:pt x="13796" y="1344"/>
                  </a:cubicBezTo>
                  <a:lnTo>
                    <a:pt x="11547" y="47"/>
                  </a:lnTo>
                  <a:cubicBezTo>
                    <a:pt x="11496" y="16"/>
                    <a:pt x="11428" y="0"/>
                    <a:pt x="11361" y="0"/>
                  </a:cubicBezTo>
                  <a:close/>
                </a:path>
              </a:pathLst>
            </a:custGeom>
            <a:solidFill>
              <a:srgbClr val="E0E0E0"/>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19" name="Google Shape;6669;p41">
              <a:extLst>
                <a:ext uri="{FF2B5EF4-FFF2-40B4-BE49-F238E27FC236}">
                  <a16:creationId xmlns:a16="http://schemas.microsoft.com/office/drawing/2014/main" id="{E6866657-BF6C-7B47-91DF-BA97BF1273DC}"/>
                </a:ext>
              </a:extLst>
            </p:cNvPr>
            <p:cNvSpPr/>
            <p:nvPr/>
          </p:nvSpPr>
          <p:spPr>
            <a:xfrm>
              <a:off x="5081225" y="2837825"/>
              <a:ext cx="345425" cy="198700"/>
            </a:xfrm>
            <a:custGeom>
              <a:avLst/>
              <a:gdLst/>
              <a:ahLst/>
              <a:cxnLst/>
              <a:rect l="l" t="t" r="r" b="b"/>
              <a:pathLst>
                <a:path w="13817" h="7948" extrusionOk="0">
                  <a:moveTo>
                    <a:pt x="11279" y="0"/>
                  </a:moveTo>
                  <a:cubicBezTo>
                    <a:pt x="11212" y="0"/>
                    <a:pt x="11144" y="16"/>
                    <a:pt x="11093" y="47"/>
                  </a:cubicBezTo>
                  <a:lnTo>
                    <a:pt x="103" y="6388"/>
                  </a:lnTo>
                  <a:cubicBezTo>
                    <a:pt x="0" y="6450"/>
                    <a:pt x="0" y="6545"/>
                    <a:pt x="103" y="6604"/>
                  </a:cubicBezTo>
                  <a:lnTo>
                    <a:pt x="2352" y="7903"/>
                  </a:lnTo>
                  <a:cubicBezTo>
                    <a:pt x="2403" y="7933"/>
                    <a:pt x="2471" y="7947"/>
                    <a:pt x="2538" y="7947"/>
                  </a:cubicBezTo>
                  <a:cubicBezTo>
                    <a:pt x="2605" y="7947"/>
                    <a:pt x="2673" y="7933"/>
                    <a:pt x="2724" y="7903"/>
                  </a:cubicBezTo>
                  <a:lnTo>
                    <a:pt x="13714" y="1559"/>
                  </a:lnTo>
                  <a:cubicBezTo>
                    <a:pt x="13817" y="1500"/>
                    <a:pt x="13817" y="1405"/>
                    <a:pt x="13714" y="1344"/>
                  </a:cubicBezTo>
                  <a:lnTo>
                    <a:pt x="11465" y="47"/>
                  </a:lnTo>
                  <a:cubicBezTo>
                    <a:pt x="11414" y="16"/>
                    <a:pt x="11346" y="0"/>
                    <a:pt x="11279" y="0"/>
                  </a:cubicBezTo>
                  <a:close/>
                </a:path>
              </a:pathLst>
            </a:custGeom>
            <a:solidFill>
              <a:srgbClr val="FAFAFA"/>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20" name="Google Shape;6670;p41">
              <a:extLst>
                <a:ext uri="{FF2B5EF4-FFF2-40B4-BE49-F238E27FC236}">
                  <a16:creationId xmlns:a16="http://schemas.microsoft.com/office/drawing/2014/main" id="{96EECB15-A472-1F49-8425-2F3CCCBD78B8}"/>
                </a:ext>
              </a:extLst>
            </p:cNvPr>
            <p:cNvSpPr/>
            <p:nvPr/>
          </p:nvSpPr>
          <p:spPr>
            <a:xfrm>
              <a:off x="5166550" y="2785650"/>
              <a:ext cx="191925" cy="121250"/>
            </a:xfrm>
            <a:custGeom>
              <a:avLst/>
              <a:gdLst/>
              <a:ahLst/>
              <a:cxnLst/>
              <a:rect l="l" t="t" r="r" b="b"/>
              <a:pathLst>
                <a:path w="7677" h="4850" extrusionOk="0">
                  <a:moveTo>
                    <a:pt x="779" y="1"/>
                  </a:moveTo>
                  <a:lnTo>
                    <a:pt x="1" y="2240"/>
                  </a:lnTo>
                  <a:cubicBezTo>
                    <a:pt x="1165" y="2577"/>
                    <a:pt x="2328" y="2878"/>
                    <a:pt x="2864" y="3021"/>
                  </a:cubicBezTo>
                  <a:cubicBezTo>
                    <a:pt x="3318" y="3195"/>
                    <a:pt x="3301" y="3329"/>
                    <a:pt x="3673" y="3540"/>
                  </a:cubicBezTo>
                  <a:cubicBezTo>
                    <a:pt x="4162" y="3817"/>
                    <a:pt x="4527" y="3857"/>
                    <a:pt x="4697" y="3857"/>
                  </a:cubicBezTo>
                  <a:cubicBezTo>
                    <a:pt x="4766" y="3857"/>
                    <a:pt x="4802" y="3850"/>
                    <a:pt x="4802" y="3850"/>
                  </a:cubicBezTo>
                  <a:cubicBezTo>
                    <a:pt x="4802" y="3850"/>
                    <a:pt x="5141" y="4171"/>
                    <a:pt x="5451" y="4386"/>
                  </a:cubicBezTo>
                  <a:cubicBezTo>
                    <a:pt x="5822" y="4642"/>
                    <a:pt x="6194" y="4850"/>
                    <a:pt x="6615" y="4850"/>
                  </a:cubicBezTo>
                  <a:cubicBezTo>
                    <a:pt x="6746" y="4850"/>
                    <a:pt x="6880" y="4830"/>
                    <a:pt x="7021" y="4786"/>
                  </a:cubicBezTo>
                  <a:cubicBezTo>
                    <a:pt x="7677" y="4581"/>
                    <a:pt x="7216" y="3932"/>
                    <a:pt x="7021" y="3612"/>
                  </a:cubicBezTo>
                  <a:cubicBezTo>
                    <a:pt x="6830" y="3294"/>
                    <a:pt x="5776" y="2359"/>
                    <a:pt x="5567" y="2168"/>
                  </a:cubicBezTo>
                  <a:cubicBezTo>
                    <a:pt x="5359" y="1977"/>
                    <a:pt x="4465" y="1844"/>
                    <a:pt x="3679" y="1598"/>
                  </a:cubicBezTo>
                  <a:cubicBezTo>
                    <a:pt x="2963" y="1267"/>
                    <a:pt x="2021" y="741"/>
                    <a:pt x="779" y="1"/>
                  </a:cubicBezTo>
                  <a:close/>
                </a:path>
              </a:pathLst>
            </a:custGeom>
            <a:solidFill>
              <a:srgbClr val="FFA8A7"/>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21" name="Google Shape;6671;p41">
              <a:extLst>
                <a:ext uri="{FF2B5EF4-FFF2-40B4-BE49-F238E27FC236}">
                  <a16:creationId xmlns:a16="http://schemas.microsoft.com/office/drawing/2014/main" id="{BA3168F5-E579-DF47-9A22-9F625BD24C48}"/>
                </a:ext>
              </a:extLst>
            </p:cNvPr>
            <p:cNvSpPr/>
            <p:nvPr/>
          </p:nvSpPr>
          <p:spPr>
            <a:xfrm>
              <a:off x="5188050" y="3165875"/>
              <a:ext cx="110100" cy="80200"/>
            </a:xfrm>
            <a:custGeom>
              <a:avLst/>
              <a:gdLst/>
              <a:ahLst/>
              <a:cxnLst/>
              <a:rect l="l" t="t" r="r" b="b"/>
              <a:pathLst>
                <a:path w="4404" h="3208" extrusionOk="0">
                  <a:moveTo>
                    <a:pt x="622" y="0"/>
                  </a:moveTo>
                  <a:cubicBezTo>
                    <a:pt x="1" y="515"/>
                    <a:pt x="373" y="2136"/>
                    <a:pt x="1011" y="2788"/>
                  </a:cubicBezTo>
                  <a:cubicBezTo>
                    <a:pt x="1017" y="2795"/>
                    <a:pt x="1021" y="2802"/>
                    <a:pt x="1028" y="2806"/>
                  </a:cubicBezTo>
                  <a:cubicBezTo>
                    <a:pt x="1035" y="2812"/>
                    <a:pt x="1042" y="2823"/>
                    <a:pt x="1048" y="2829"/>
                  </a:cubicBezTo>
                  <a:cubicBezTo>
                    <a:pt x="1069" y="2847"/>
                    <a:pt x="1086" y="2864"/>
                    <a:pt x="1107" y="2881"/>
                  </a:cubicBezTo>
                  <a:cubicBezTo>
                    <a:pt x="1113" y="2884"/>
                    <a:pt x="1116" y="2887"/>
                    <a:pt x="1124" y="2891"/>
                  </a:cubicBezTo>
                  <a:cubicBezTo>
                    <a:pt x="1137" y="2905"/>
                    <a:pt x="1154" y="2915"/>
                    <a:pt x="1171" y="2928"/>
                  </a:cubicBezTo>
                  <a:cubicBezTo>
                    <a:pt x="1198" y="2946"/>
                    <a:pt x="1226" y="2966"/>
                    <a:pt x="1253" y="2979"/>
                  </a:cubicBezTo>
                  <a:cubicBezTo>
                    <a:pt x="1516" y="3131"/>
                    <a:pt x="1860" y="3207"/>
                    <a:pt x="2203" y="3207"/>
                  </a:cubicBezTo>
                  <a:cubicBezTo>
                    <a:pt x="2547" y="3207"/>
                    <a:pt x="2890" y="3131"/>
                    <a:pt x="3151" y="2979"/>
                  </a:cubicBezTo>
                  <a:cubicBezTo>
                    <a:pt x="3178" y="2966"/>
                    <a:pt x="3205" y="2946"/>
                    <a:pt x="3233" y="2928"/>
                  </a:cubicBezTo>
                  <a:cubicBezTo>
                    <a:pt x="3249" y="2915"/>
                    <a:pt x="3263" y="2905"/>
                    <a:pt x="3277" y="2894"/>
                  </a:cubicBezTo>
                  <a:cubicBezTo>
                    <a:pt x="3284" y="2887"/>
                    <a:pt x="3290" y="2884"/>
                    <a:pt x="3298" y="2877"/>
                  </a:cubicBezTo>
                  <a:cubicBezTo>
                    <a:pt x="3318" y="2864"/>
                    <a:pt x="3335" y="2847"/>
                    <a:pt x="3352" y="2829"/>
                  </a:cubicBezTo>
                  <a:cubicBezTo>
                    <a:pt x="3362" y="2823"/>
                    <a:pt x="3369" y="2812"/>
                    <a:pt x="3380" y="2806"/>
                  </a:cubicBezTo>
                  <a:cubicBezTo>
                    <a:pt x="3383" y="2799"/>
                    <a:pt x="3389" y="2795"/>
                    <a:pt x="3393" y="2788"/>
                  </a:cubicBezTo>
                  <a:cubicBezTo>
                    <a:pt x="4032" y="2140"/>
                    <a:pt x="4404" y="515"/>
                    <a:pt x="3782" y="0"/>
                  </a:cubicBezTo>
                  <a:close/>
                </a:path>
              </a:pathLst>
            </a:custGeom>
            <a:solidFill>
              <a:srgbClr val="EBEBEB"/>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22" name="Google Shape;6672;p41">
              <a:extLst>
                <a:ext uri="{FF2B5EF4-FFF2-40B4-BE49-F238E27FC236}">
                  <a16:creationId xmlns:a16="http://schemas.microsoft.com/office/drawing/2014/main" id="{D88A4177-20DD-CC42-A69A-DEFE80F2F59D}"/>
                </a:ext>
              </a:extLst>
            </p:cNvPr>
            <p:cNvSpPr/>
            <p:nvPr/>
          </p:nvSpPr>
          <p:spPr>
            <a:xfrm>
              <a:off x="5192400" y="3152850"/>
              <a:ext cx="101400" cy="53350"/>
            </a:xfrm>
            <a:custGeom>
              <a:avLst/>
              <a:gdLst/>
              <a:ahLst/>
              <a:cxnLst/>
              <a:rect l="l" t="t" r="r" b="b"/>
              <a:pathLst>
                <a:path w="4056" h="2134" extrusionOk="0">
                  <a:moveTo>
                    <a:pt x="2028" y="0"/>
                  </a:moveTo>
                  <a:cubicBezTo>
                    <a:pt x="1555" y="0"/>
                    <a:pt x="1083" y="105"/>
                    <a:pt x="720" y="313"/>
                  </a:cubicBezTo>
                  <a:cubicBezTo>
                    <a:pt x="0" y="729"/>
                    <a:pt x="0" y="1405"/>
                    <a:pt x="720" y="1821"/>
                  </a:cubicBezTo>
                  <a:cubicBezTo>
                    <a:pt x="1083" y="2030"/>
                    <a:pt x="1555" y="2134"/>
                    <a:pt x="2028" y="2134"/>
                  </a:cubicBezTo>
                  <a:cubicBezTo>
                    <a:pt x="2501" y="2134"/>
                    <a:pt x="2973" y="2030"/>
                    <a:pt x="3335" y="1821"/>
                  </a:cubicBezTo>
                  <a:cubicBezTo>
                    <a:pt x="4055" y="1405"/>
                    <a:pt x="4055" y="729"/>
                    <a:pt x="3335" y="313"/>
                  </a:cubicBezTo>
                  <a:cubicBezTo>
                    <a:pt x="2973" y="105"/>
                    <a:pt x="2501" y="0"/>
                    <a:pt x="2028" y="0"/>
                  </a:cubicBezTo>
                  <a:close/>
                </a:path>
              </a:pathLst>
            </a:custGeom>
            <a:solidFill>
              <a:srgbClr val="FAFAFA"/>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23" name="Google Shape;6673;p41">
              <a:extLst>
                <a:ext uri="{FF2B5EF4-FFF2-40B4-BE49-F238E27FC236}">
                  <a16:creationId xmlns:a16="http://schemas.microsoft.com/office/drawing/2014/main" id="{E4FC3BAE-25C9-9C4A-AE8C-83D63AE1AD58}"/>
                </a:ext>
              </a:extLst>
            </p:cNvPr>
            <p:cNvSpPr/>
            <p:nvPr/>
          </p:nvSpPr>
          <p:spPr>
            <a:xfrm>
              <a:off x="5212275" y="3163350"/>
              <a:ext cx="61625" cy="32450"/>
            </a:xfrm>
            <a:custGeom>
              <a:avLst/>
              <a:gdLst/>
              <a:ahLst/>
              <a:cxnLst/>
              <a:rect l="l" t="t" r="r" b="b"/>
              <a:pathLst>
                <a:path w="2465" h="1298" extrusionOk="0">
                  <a:moveTo>
                    <a:pt x="1233" y="0"/>
                  </a:moveTo>
                  <a:cubicBezTo>
                    <a:pt x="945" y="0"/>
                    <a:pt x="658" y="63"/>
                    <a:pt x="437" y="190"/>
                  </a:cubicBezTo>
                  <a:cubicBezTo>
                    <a:pt x="1" y="443"/>
                    <a:pt x="1" y="852"/>
                    <a:pt x="437" y="1108"/>
                  </a:cubicBezTo>
                  <a:cubicBezTo>
                    <a:pt x="658" y="1234"/>
                    <a:pt x="945" y="1297"/>
                    <a:pt x="1233" y="1297"/>
                  </a:cubicBezTo>
                  <a:cubicBezTo>
                    <a:pt x="1521" y="1297"/>
                    <a:pt x="1808" y="1234"/>
                    <a:pt x="2028" y="1108"/>
                  </a:cubicBezTo>
                  <a:cubicBezTo>
                    <a:pt x="2465" y="852"/>
                    <a:pt x="2465" y="443"/>
                    <a:pt x="2028" y="190"/>
                  </a:cubicBezTo>
                  <a:cubicBezTo>
                    <a:pt x="1808" y="63"/>
                    <a:pt x="1521" y="0"/>
                    <a:pt x="1233" y="0"/>
                  </a:cubicBezTo>
                  <a:close/>
                </a:path>
              </a:pathLst>
            </a:custGeom>
            <a:solidFill>
              <a:srgbClr val="EBEBEB"/>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24" name="Google Shape;6674;p41">
              <a:extLst>
                <a:ext uri="{FF2B5EF4-FFF2-40B4-BE49-F238E27FC236}">
                  <a16:creationId xmlns:a16="http://schemas.microsoft.com/office/drawing/2014/main" id="{CD47B5DC-6663-7240-907B-305FA62E5AC8}"/>
                </a:ext>
              </a:extLst>
            </p:cNvPr>
            <p:cNvSpPr/>
            <p:nvPr/>
          </p:nvSpPr>
          <p:spPr>
            <a:xfrm>
              <a:off x="5216650" y="3174175"/>
              <a:ext cx="52925" cy="21625"/>
            </a:xfrm>
            <a:custGeom>
              <a:avLst/>
              <a:gdLst/>
              <a:ahLst/>
              <a:cxnLst/>
              <a:rect l="l" t="t" r="r" b="b"/>
              <a:pathLst>
                <a:path w="2117" h="865" extrusionOk="0">
                  <a:moveTo>
                    <a:pt x="1058" y="1"/>
                  </a:moveTo>
                  <a:cubicBezTo>
                    <a:pt x="770" y="1"/>
                    <a:pt x="483" y="64"/>
                    <a:pt x="262" y="190"/>
                  </a:cubicBezTo>
                  <a:cubicBezTo>
                    <a:pt x="140" y="262"/>
                    <a:pt x="54" y="344"/>
                    <a:pt x="0" y="432"/>
                  </a:cubicBezTo>
                  <a:cubicBezTo>
                    <a:pt x="54" y="522"/>
                    <a:pt x="140" y="604"/>
                    <a:pt x="262" y="675"/>
                  </a:cubicBezTo>
                  <a:cubicBezTo>
                    <a:pt x="483" y="801"/>
                    <a:pt x="770" y="864"/>
                    <a:pt x="1058" y="864"/>
                  </a:cubicBezTo>
                  <a:cubicBezTo>
                    <a:pt x="1346" y="864"/>
                    <a:pt x="1633" y="801"/>
                    <a:pt x="1853" y="675"/>
                  </a:cubicBezTo>
                  <a:cubicBezTo>
                    <a:pt x="1976" y="604"/>
                    <a:pt x="2061" y="522"/>
                    <a:pt x="2116" y="432"/>
                  </a:cubicBezTo>
                  <a:cubicBezTo>
                    <a:pt x="2061" y="344"/>
                    <a:pt x="1976" y="262"/>
                    <a:pt x="1853" y="190"/>
                  </a:cubicBezTo>
                  <a:cubicBezTo>
                    <a:pt x="1633" y="64"/>
                    <a:pt x="1346" y="1"/>
                    <a:pt x="1058" y="1"/>
                  </a:cubicBezTo>
                  <a:close/>
                </a:path>
              </a:pathLst>
            </a:custGeom>
            <a:solidFill>
              <a:srgbClr val="E0E0E0"/>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25" name="Google Shape;6675;p41">
              <a:extLst>
                <a:ext uri="{FF2B5EF4-FFF2-40B4-BE49-F238E27FC236}">
                  <a16:creationId xmlns:a16="http://schemas.microsoft.com/office/drawing/2014/main" id="{A2D5A567-AB3B-1644-8FFC-1795FBAF38C0}"/>
                </a:ext>
              </a:extLst>
            </p:cNvPr>
            <p:cNvSpPr/>
            <p:nvPr/>
          </p:nvSpPr>
          <p:spPr>
            <a:xfrm>
              <a:off x="5203425" y="3108175"/>
              <a:ext cx="83975" cy="80500"/>
            </a:xfrm>
            <a:custGeom>
              <a:avLst/>
              <a:gdLst/>
              <a:ahLst/>
              <a:cxnLst/>
              <a:rect l="l" t="t" r="r" b="b"/>
              <a:pathLst>
                <a:path w="3359" h="3220" extrusionOk="0">
                  <a:moveTo>
                    <a:pt x="1047" y="0"/>
                  </a:moveTo>
                  <a:cubicBezTo>
                    <a:pt x="1037" y="0"/>
                    <a:pt x="1029" y="3"/>
                    <a:pt x="1021" y="8"/>
                  </a:cubicBezTo>
                  <a:cubicBezTo>
                    <a:pt x="901" y="83"/>
                    <a:pt x="799" y="462"/>
                    <a:pt x="775" y="881"/>
                  </a:cubicBezTo>
                  <a:cubicBezTo>
                    <a:pt x="750" y="1298"/>
                    <a:pt x="832" y="1683"/>
                    <a:pt x="832" y="1683"/>
                  </a:cubicBezTo>
                  <a:cubicBezTo>
                    <a:pt x="832" y="1683"/>
                    <a:pt x="337" y="1127"/>
                    <a:pt x="165" y="1127"/>
                  </a:cubicBezTo>
                  <a:cubicBezTo>
                    <a:pt x="154" y="1127"/>
                    <a:pt x="144" y="1130"/>
                    <a:pt x="136" y="1134"/>
                  </a:cubicBezTo>
                  <a:cubicBezTo>
                    <a:pt x="0" y="1209"/>
                    <a:pt x="48" y="1840"/>
                    <a:pt x="314" y="2308"/>
                  </a:cubicBezTo>
                  <a:cubicBezTo>
                    <a:pt x="580" y="2779"/>
                    <a:pt x="891" y="3072"/>
                    <a:pt x="891" y="3072"/>
                  </a:cubicBezTo>
                  <a:cubicBezTo>
                    <a:pt x="1183" y="3183"/>
                    <a:pt x="1435" y="3219"/>
                    <a:pt x="1641" y="3219"/>
                  </a:cubicBezTo>
                  <a:cubicBezTo>
                    <a:pt x="2054" y="3219"/>
                    <a:pt x="2283" y="3072"/>
                    <a:pt x="2283" y="3072"/>
                  </a:cubicBezTo>
                  <a:cubicBezTo>
                    <a:pt x="2283" y="3072"/>
                    <a:pt x="2659" y="2741"/>
                    <a:pt x="2987" y="2148"/>
                  </a:cubicBezTo>
                  <a:cubicBezTo>
                    <a:pt x="3359" y="1475"/>
                    <a:pt x="3338" y="1117"/>
                    <a:pt x="3269" y="1073"/>
                  </a:cubicBezTo>
                  <a:cubicBezTo>
                    <a:pt x="3253" y="1062"/>
                    <a:pt x="3234" y="1056"/>
                    <a:pt x="3213" y="1056"/>
                  </a:cubicBezTo>
                  <a:cubicBezTo>
                    <a:pt x="3144" y="1056"/>
                    <a:pt x="3041" y="1117"/>
                    <a:pt x="2860" y="1291"/>
                  </a:cubicBezTo>
                  <a:cubicBezTo>
                    <a:pt x="2639" y="1503"/>
                    <a:pt x="2444" y="1718"/>
                    <a:pt x="2444" y="1718"/>
                  </a:cubicBezTo>
                  <a:cubicBezTo>
                    <a:pt x="2444" y="1718"/>
                    <a:pt x="2488" y="1332"/>
                    <a:pt x="2467" y="960"/>
                  </a:cubicBezTo>
                  <a:cubicBezTo>
                    <a:pt x="2437" y="434"/>
                    <a:pt x="2372" y="246"/>
                    <a:pt x="2276" y="209"/>
                  </a:cubicBezTo>
                  <a:cubicBezTo>
                    <a:pt x="2263" y="203"/>
                    <a:pt x="2248" y="200"/>
                    <a:pt x="2233" y="200"/>
                  </a:cubicBezTo>
                  <a:cubicBezTo>
                    <a:pt x="2142" y="200"/>
                    <a:pt x="2031" y="316"/>
                    <a:pt x="1911" y="656"/>
                  </a:cubicBezTo>
                  <a:cubicBezTo>
                    <a:pt x="1785" y="1018"/>
                    <a:pt x="1706" y="1536"/>
                    <a:pt x="1706" y="1536"/>
                  </a:cubicBezTo>
                  <a:cubicBezTo>
                    <a:pt x="1706" y="1536"/>
                    <a:pt x="1638" y="1223"/>
                    <a:pt x="1522" y="840"/>
                  </a:cubicBezTo>
                  <a:cubicBezTo>
                    <a:pt x="1414" y="484"/>
                    <a:pt x="1175" y="0"/>
                    <a:pt x="1047" y="0"/>
                  </a:cubicBezTo>
                  <a:close/>
                </a:path>
              </a:pathLst>
            </a:custGeom>
            <a:solidFill>
              <a:schemeClr val="accent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26" name="Google Shape;6676;p41">
              <a:extLst>
                <a:ext uri="{FF2B5EF4-FFF2-40B4-BE49-F238E27FC236}">
                  <a16:creationId xmlns:a16="http://schemas.microsoft.com/office/drawing/2014/main" id="{2A2D141F-B76D-E24B-84C2-098DA75EE9DD}"/>
                </a:ext>
              </a:extLst>
            </p:cNvPr>
            <p:cNvSpPr/>
            <p:nvPr/>
          </p:nvSpPr>
          <p:spPr>
            <a:xfrm>
              <a:off x="4806825" y="3201375"/>
              <a:ext cx="357875" cy="206575"/>
            </a:xfrm>
            <a:custGeom>
              <a:avLst/>
              <a:gdLst/>
              <a:ahLst/>
              <a:cxnLst/>
              <a:rect l="l" t="t" r="r" b="b"/>
              <a:pathLst>
                <a:path w="14315" h="8263" extrusionOk="0">
                  <a:moveTo>
                    <a:pt x="6784" y="0"/>
                  </a:moveTo>
                  <a:cubicBezTo>
                    <a:pt x="6722" y="0"/>
                    <a:pt x="6661" y="14"/>
                    <a:pt x="6615" y="41"/>
                  </a:cubicBezTo>
                  <a:lnTo>
                    <a:pt x="0" y="3860"/>
                  </a:lnTo>
                  <a:lnTo>
                    <a:pt x="7632" y="8263"/>
                  </a:lnTo>
                  <a:lnTo>
                    <a:pt x="14246" y="4447"/>
                  </a:lnTo>
                  <a:cubicBezTo>
                    <a:pt x="14291" y="4420"/>
                    <a:pt x="14314" y="4382"/>
                    <a:pt x="14314" y="4348"/>
                  </a:cubicBezTo>
                  <a:lnTo>
                    <a:pt x="14314" y="4194"/>
                  </a:lnTo>
                  <a:lnTo>
                    <a:pt x="6956" y="41"/>
                  </a:lnTo>
                  <a:cubicBezTo>
                    <a:pt x="6908" y="14"/>
                    <a:pt x="6846" y="0"/>
                    <a:pt x="6784" y="0"/>
                  </a:cubicBez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27" name="Google Shape;6677;p41">
              <a:extLst>
                <a:ext uri="{FF2B5EF4-FFF2-40B4-BE49-F238E27FC236}">
                  <a16:creationId xmlns:a16="http://schemas.microsoft.com/office/drawing/2014/main" id="{E48CD10F-E97F-054F-8F98-4A4FD379F41F}"/>
                </a:ext>
              </a:extLst>
            </p:cNvPr>
            <p:cNvSpPr/>
            <p:nvPr/>
          </p:nvSpPr>
          <p:spPr>
            <a:xfrm>
              <a:off x="5000175" y="3306300"/>
              <a:ext cx="164525" cy="100200"/>
            </a:xfrm>
            <a:custGeom>
              <a:avLst/>
              <a:gdLst/>
              <a:ahLst/>
              <a:cxnLst/>
              <a:rect l="l" t="t" r="r" b="b"/>
              <a:pathLst>
                <a:path w="6581" h="4008" extrusionOk="0">
                  <a:moveTo>
                    <a:pt x="6580" y="1"/>
                  </a:moveTo>
                  <a:cubicBezTo>
                    <a:pt x="6580" y="38"/>
                    <a:pt x="6557" y="73"/>
                    <a:pt x="6512" y="100"/>
                  </a:cubicBezTo>
                  <a:lnTo>
                    <a:pt x="0" y="3858"/>
                  </a:lnTo>
                  <a:lnTo>
                    <a:pt x="0" y="4008"/>
                  </a:lnTo>
                  <a:lnTo>
                    <a:pt x="6512" y="250"/>
                  </a:lnTo>
                  <a:cubicBezTo>
                    <a:pt x="6557" y="223"/>
                    <a:pt x="6580" y="185"/>
                    <a:pt x="6580" y="151"/>
                  </a:cubicBezTo>
                  <a:lnTo>
                    <a:pt x="6580" y="127"/>
                  </a:lnTo>
                  <a:lnTo>
                    <a:pt x="6580" y="123"/>
                  </a:lnTo>
                  <a:lnTo>
                    <a:pt x="6580" y="120"/>
                  </a:lnTo>
                  <a:lnTo>
                    <a:pt x="6580" y="117"/>
                  </a:lnTo>
                  <a:lnTo>
                    <a:pt x="6580" y="114"/>
                  </a:lnTo>
                  <a:lnTo>
                    <a:pt x="6580" y="110"/>
                  </a:lnTo>
                  <a:lnTo>
                    <a:pt x="6580" y="106"/>
                  </a:lnTo>
                  <a:lnTo>
                    <a:pt x="6580" y="103"/>
                  </a:lnTo>
                  <a:lnTo>
                    <a:pt x="6580" y="100"/>
                  </a:lnTo>
                  <a:lnTo>
                    <a:pt x="6580" y="1"/>
                  </a:lnTo>
                  <a:close/>
                </a:path>
              </a:pathLst>
            </a:custGeom>
            <a:solidFill>
              <a:schemeClr val="accent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28" name="Google Shape;6678;p41">
              <a:extLst>
                <a:ext uri="{FF2B5EF4-FFF2-40B4-BE49-F238E27FC236}">
                  <a16:creationId xmlns:a16="http://schemas.microsoft.com/office/drawing/2014/main" id="{E3C50AAD-5754-6D4A-ACCF-76702C164937}"/>
                </a:ext>
              </a:extLst>
            </p:cNvPr>
            <p:cNvSpPr/>
            <p:nvPr/>
          </p:nvSpPr>
          <p:spPr>
            <a:xfrm>
              <a:off x="4806825" y="3197600"/>
              <a:ext cx="358475" cy="206700"/>
            </a:xfrm>
            <a:custGeom>
              <a:avLst/>
              <a:gdLst/>
              <a:ahLst/>
              <a:cxnLst/>
              <a:rect l="l" t="t" r="r" b="b"/>
              <a:pathLst>
                <a:path w="14339" h="8268" extrusionOk="0">
                  <a:moveTo>
                    <a:pt x="6784" y="1"/>
                  </a:moveTo>
                  <a:cubicBezTo>
                    <a:pt x="6722" y="1"/>
                    <a:pt x="6661" y="14"/>
                    <a:pt x="6615" y="42"/>
                  </a:cubicBezTo>
                  <a:lnTo>
                    <a:pt x="0" y="3860"/>
                  </a:lnTo>
                  <a:lnTo>
                    <a:pt x="7632" y="8267"/>
                  </a:lnTo>
                  <a:lnTo>
                    <a:pt x="14246" y="4448"/>
                  </a:lnTo>
                  <a:cubicBezTo>
                    <a:pt x="14338" y="4393"/>
                    <a:pt x="14338" y="4304"/>
                    <a:pt x="14246" y="4250"/>
                  </a:cubicBezTo>
                  <a:lnTo>
                    <a:pt x="6956" y="42"/>
                  </a:lnTo>
                  <a:cubicBezTo>
                    <a:pt x="6908" y="14"/>
                    <a:pt x="6846" y="1"/>
                    <a:pt x="6784" y="1"/>
                  </a:cubicBez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29" name="Google Shape;6679;p41">
              <a:extLst>
                <a:ext uri="{FF2B5EF4-FFF2-40B4-BE49-F238E27FC236}">
                  <a16:creationId xmlns:a16="http://schemas.microsoft.com/office/drawing/2014/main" id="{3EC1DE69-4BE4-AE47-87CE-F210241D68EB}"/>
                </a:ext>
              </a:extLst>
            </p:cNvPr>
            <p:cNvSpPr/>
            <p:nvPr/>
          </p:nvSpPr>
          <p:spPr>
            <a:xfrm>
              <a:off x="5000175" y="3302050"/>
              <a:ext cx="164525" cy="100700"/>
            </a:xfrm>
            <a:custGeom>
              <a:avLst/>
              <a:gdLst/>
              <a:ahLst/>
              <a:cxnLst/>
              <a:rect l="l" t="t" r="r" b="b"/>
              <a:pathLst>
                <a:path w="6581" h="4028" extrusionOk="0">
                  <a:moveTo>
                    <a:pt x="0" y="3096"/>
                  </a:moveTo>
                  <a:lnTo>
                    <a:pt x="0" y="3291"/>
                  </a:lnTo>
                  <a:cubicBezTo>
                    <a:pt x="27" y="3300"/>
                    <a:pt x="54" y="3304"/>
                    <a:pt x="86" y="3304"/>
                  </a:cubicBezTo>
                  <a:cubicBezTo>
                    <a:pt x="140" y="3304"/>
                    <a:pt x="205" y="3287"/>
                    <a:pt x="270" y="3250"/>
                  </a:cubicBezTo>
                  <a:lnTo>
                    <a:pt x="294" y="3263"/>
                  </a:lnTo>
                  <a:lnTo>
                    <a:pt x="0" y="3096"/>
                  </a:lnTo>
                  <a:close/>
                  <a:moveTo>
                    <a:pt x="6386" y="0"/>
                  </a:moveTo>
                  <a:lnTo>
                    <a:pt x="6386" y="123"/>
                  </a:lnTo>
                  <a:lnTo>
                    <a:pt x="6376" y="130"/>
                  </a:lnTo>
                  <a:cubicBezTo>
                    <a:pt x="6396" y="178"/>
                    <a:pt x="6379" y="229"/>
                    <a:pt x="6314" y="266"/>
                  </a:cubicBezTo>
                  <a:lnTo>
                    <a:pt x="706" y="3502"/>
                  </a:lnTo>
                  <a:lnTo>
                    <a:pt x="369" y="3304"/>
                  </a:lnTo>
                  <a:cubicBezTo>
                    <a:pt x="355" y="3314"/>
                    <a:pt x="338" y="3324"/>
                    <a:pt x="325" y="3332"/>
                  </a:cubicBezTo>
                  <a:cubicBezTo>
                    <a:pt x="243" y="3379"/>
                    <a:pt x="161" y="3403"/>
                    <a:pt x="86" y="3403"/>
                  </a:cubicBezTo>
                  <a:cubicBezTo>
                    <a:pt x="54" y="3403"/>
                    <a:pt x="27" y="3400"/>
                    <a:pt x="0" y="3393"/>
                  </a:cubicBezTo>
                  <a:lnTo>
                    <a:pt x="0" y="4028"/>
                  </a:lnTo>
                  <a:lnTo>
                    <a:pt x="6512" y="270"/>
                  </a:lnTo>
                  <a:cubicBezTo>
                    <a:pt x="6557" y="243"/>
                    <a:pt x="6580" y="208"/>
                    <a:pt x="6580" y="171"/>
                  </a:cubicBezTo>
                  <a:cubicBezTo>
                    <a:pt x="6580" y="137"/>
                    <a:pt x="6557" y="99"/>
                    <a:pt x="6512" y="72"/>
                  </a:cubicBezTo>
                  <a:lnTo>
                    <a:pt x="6386" y="0"/>
                  </a:ln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30" name="Google Shape;6680;p41">
              <a:extLst>
                <a:ext uri="{FF2B5EF4-FFF2-40B4-BE49-F238E27FC236}">
                  <a16:creationId xmlns:a16="http://schemas.microsoft.com/office/drawing/2014/main" id="{8CFE5EDD-024D-EB42-AA80-578FF488B35D}"/>
                </a:ext>
              </a:extLst>
            </p:cNvPr>
            <p:cNvSpPr/>
            <p:nvPr/>
          </p:nvSpPr>
          <p:spPr>
            <a:xfrm>
              <a:off x="4827050" y="3197525"/>
              <a:ext cx="333050" cy="192075"/>
            </a:xfrm>
            <a:custGeom>
              <a:avLst/>
              <a:gdLst/>
              <a:ahLst/>
              <a:cxnLst/>
              <a:rect l="l" t="t" r="r" b="b"/>
              <a:pathLst>
                <a:path w="13322" h="7683" extrusionOk="0">
                  <a:moveTo>
                    <a:pt x="5781" y="0"/>
                  </a:moveTo>
                  <a:cubicBezTo>
                    <a:pt x="5719" y="0"/>
                    <a:pt x="5657" y="14"/>
                    <a:pt x="5612" y="41"/>
                  </a:cubicBezTo>
                  <a:lnTo>
                    <a:pt x="713" y="2867"/>
                  </a:lnTo>
                  <a:lnTo>
                    <a:pt x="1" y="2455"/>
                  </a:lnTo>
                  <a:lnTo>
                    <a:pt x="1" y="3280"/>
                  </a:lnTo>
                  <a:lnTo>
                    <a:pt x="7631" y="7683"/>
                  </a:lnTo>
                  <a:lnTo>
                    <a:pt x="13239" y="4447"/>
                  </a:lnTo>
                  <a:cubicBezTo>
                    <a:pt x="13304" y="4410"/>
                    <a:pt x="13321" y="4359"/>
                    <a:pt x="13301" y="4311"/>
                  </a:cubicBezTo>
                  <a:lnTo>
                    <a:pt x="13311" y="4304"/>
                  </a:lnTo>
                  <a:lnTo>
                    <a:pt x="13311" y="3550"/>
                  </a:lnTo>
                  <a:lnTo>
                    <a:pt x="12676" y="3922"/>
                  </a:lnTo>
                  <a:lnTo>
                    <a:pt x="5952" y="41"/>
                  </a:lnTo>
                  <a:cubicBezTo>
                    <a:pt x="5905" y="14"/>
                    <a:pt x="5843" y="0"/>
                    <a:pt x="5781" y="0"/>
                  </a:cubicBezTo>
                  <a:close/>
                </a:path>
              </a:pathLst>
            </a:custGeom>
            <a:solidFill>
              <a:srgbClr val="EBEBEB"/>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31" name="Google Shape;6681;p41">
              <a:extLst>
                <a:ext uri="{FF2B5EF4-FFF2-40B4-BE49-F238E27FC236}">
                  <a16:creationId xmlns:a16="http://schemas.microsoft.com/office/drawing/2014/main" id="{060BA922-8D39-CF42-BBC1-29B720204D17}"/>
                </a:ext>
              </a:extLst>
            </p:cNvPr>
            <p:cNvSpPr/>
            <p:nvPr/>
          </p:nvSpPr>
          <p:spPr>
            <a:xfrm>
              <a:off x="4827050" y="3176875"/>
              <a:ext cx="333375" cy="192175"/>
            </a:xfrm>
            <a:custGeom>
              <a:avLst/>
              <a:gdLst/>
              <a:ahLst/>
              <a:cxnLst/>
              <a:rect l="l" t="t" r="r" b="b"/>
              <a:pathLst>
                <a:path w="13335" h="7687" extrusionOk="0">
                  <a:moveTo>
                    <a:pt x="5781" y="0"/>
                  </a:moveTo>
                  <a:cubicBezTo>
                    <a:pt x="5719" y="0"/>
                    <a:pt x="5657" y="14"/>
                    <a:pt x="5612" y="41"/>
                  </a:cubicBezTo>
                  <a:lnTo>
                    <a:pt x="1" y="3281"/>
                  </a:lnTo>
                  <a:lnTo>
                    <a:pt x="7631" y="7687"/>
                  </a:lnTo>
                  <a:lnTo>
                    <a:pt x="13239" y="4448"/>
                  </a:lnTo>
                  <a:cubicBezTo>
                    <a:pt x="13335" y="4393"/>
                    <a:pt x="13335" y="4304"/>
                    <a:pt x="13239" y="4250"/>
                  </a:cubicBezTo>
                  <a:lnTo>
                    <a:pt x="5952" y="41"/>
                  </a:lnTo>
                  <a:cubicBezTo>
                    <a:pt x="5905" y="14"/>
                    <a:pt x="5843" y="0"/>
                    <a:pt x="5781" y="0"/>
                  </a:cubicBezTo>
                  <a:close/>
                </a:path>
              </a:pathLst>
            </a:custGeom>
            <a:solidFill>
              <a:srgbClr val="FAFAFA"/>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32" name="Google Shape;6682;p41">
              <a:extLst>
                <a:ext uri="{FF2B5EF4-FFF2-40B4-BE49-F238E27FC236}">
                  <a16:creationId xmlns:a16="http://schemas.microsoft.com/office/drawing/2014/main" id="{7355AAA2-BB79-994B-9C34-5810CD2E974B}"/>
                </a:ext>
              </a:extLst>
            </p:cNvPr>
            <p:cNvSpPr/>
            <p:nvPr/>
          </p:nvSpPr>
          <p:spPr>
            <a:xfrm>
              <a:off x="4827050" y="3258875"/>
              <a:ext cx="190800" cy="130725"/>
            </a:xfrm>
            <a:custGeom>
              <a:avLst/>
              <a:gdLst/>
              <a:ahLst/>
              <a:cxnLst/>
              <a:rect l="l" t="t" r="r" b="b"/>
              <a:pathLst>
                <a:path w="7632" h="5229" extrusionOk="0">
                  <a:moveTo>
                    <a:pt x="1" y="1"/>
                  </a:moveTo>
                  <a:lnTo>
                    <a:pt x="1" y="826"/>
                  </a:lnTo>
                  <a:lnTo>
                    <a:pt x="7631" y="5229"/>
                  </a:lnTo>
                  <a:lnTo>
                    <a:pt x="7631" y="4407"/>
                  </a:lnTo>
                  <a:lnTo>
                    <a:pt x="1" y="1"/>
                  </a:lnTo>
                  <a:close/>
                </a:path>
              </a:pathLst>
            </a:custGeom>
            <a:solidFill>
              <a:srgbClr val="E6E6E6"/>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33" name="Google Shape;6683;p41">
              <a:extLst>
                <a:ext uri="{FF2B5EF4-FFF2-40B4-BE49-F238E27FC236}">
                  <a16:creationId xmlns:a16="http://schemas.microsoft.com/office/drawing/2014/main" id="{7E0A92B8-D9E5-1745-83F7-DBC62E400A68}"/>
                </a:ext>
              </a:extLst>
            </p:cNvPr>
            <p:cNvSpPr/>
            <p:nvPr/>
          </p:nvSpPr>
          <p:spPr>
            <a:xfrm>
              <a:off x="5014000" y="3357650"/>
              <a:ext cx="7775" cy="4000"/>
            </a:xfrm>
            <a:custGeom>
              <a:avLst/>
              <a:gdLst/>
              <a:ahLst/>
              <a:cxnLst/>
              <a:rect l="l" t="t" r="r" b="b"/>
              <a:pathLst>
                <a:path w="311" h="160" extrusionOk="0">
                  <a:moveTo>
                    <a:pt x="134" y="1"/>
                  </a:moveTo>
                  <a:cubicBezTo>
                    <a:pt x="102" y="1"/>
                    <a:pt x="74" y="8"/>
                    <a:pt x="51" y="18"/>
                  </a:cubicBezTo>
                  <a:cubicBezTo>
                    <a:pt x="45" y="22"/>
                    <a:pt x="41" y="22"/>
                    <a:pt x="41" y="29"/>
                  </a:cubicBezTo>
                  <a:cubicBezTo>
                    <a:pt x="0" y="56"/>
                    <a:pt x="7" y="100"/>
                    <a:pt x="65" y="131"/>
                  </a:cubicBezTo>
                  <a:cubicBezTo>
                    <a:pt x="82" y="141"/>
                    <a:pt x="103" y="148"/>
                    <a:pt x="126" y="155"/>
                  </a:cubicBezTo>
                  <a:cubicBezTo>
                    <a:pt x="142" y="158"/>
                    <a:pt x="158" y="160"/>
                    <a:pt x="174" y="160"/>
                  </a:cubicBezTo>
                  <a:cubicBezTo>
                    <a:pt x="193" y="160"/>
                    <a:pt x="212" y="157"/>
                    <a:pt x="229" y="152"/>
                  </a:cubicBezTo>
                  <a:cubicBezTo>
                    <a:pt x="239" y="148"/>
                    <a:pt x="249" y="145"/>
                    <a:pt x="259" y="141"/>
                  </a:cubicBezTo>
                  <a:cubicBezTo>
                    <a:pt x="311" y="111"/>
                    <a:pt x="304" y="59"/>
                    <a:pt x="246" y="29"/>
                  </a:cubicBezTo>
                  <a:cubicBezTo>
                    <a:pt x="218" y="15"/>
                    <a:pt x="188" y="5"/>
                    <a:pt x="157" y="2"/>
                  </a:cubicBezTo>
                  <a:cubicBezTo>
                    <a:pt x="149" y="1"/>
                    <a:pt x="142" y="1"/>
                    <a:pt x="134" y="1"/>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34" name="Google Shape;6684;p41">
              <a:extLst>
                <a:ext uri="{FF2B5EF4-FFF2-40B4-BE49-F238E27FC236}">
                  <a16:creationId xmlns:a16="http://schemas.microsoft.com/office/drawing/2014/main" id="{0B8B8F00-28EE-B241-B210-A951C252AC00}"/>
                </a:ext>
              </a:extLst>
            </p:cNvPr>
            <p:cNvSpPr/>
            <p:nvPr/>
          </p:nvSpPr>
          <p:spPr>
            <a:xfrm>
              <a:off x="4993950" y="3354775"/>
              <a:ext cx="25775" cy="32350"/>
            </a:xfrm>
            <a:custGeom>
              <a:avLst/>
              <a:gdLst/>
              <a:ahLst/>
              <a:cxnLst/>
              <a:rect l="l" t="t" r="r" b="b"/>
              <a:pathLst>
                <a:path w="1031" h="1294" extrusionOk="0">
                  <a:moveTo>
                    <a:pt x="713" y="0"/>
                  </a:moveTo>
                  <a:cubicBezTo>
                    <a:pt x="635" y="0"/>
                    <a:pt x="557" y="24"/>
                    <a:pt x="475" y="72"/>
                  </a:cubicBezTo>
                  <a:cubicBezTo>
                    <a:pt x="208" y="226"/>
                    <a:pt x="0" y="584"/>
                    <a:pt x="0" y="891"/>
                  </a:cubicBezTo>
                  <a:cubicBezTo>
                    <a:pt x="0" y="1007"/>
                    <a:pt x="31" y="1106"/>
                    <a:pt x="89" y="1178"/>
                  </a:cubicBezTo>
                  <a:cubicBezTo>
                    <a:pt x="147" y="1253"/>
                    <a:pt x="235" y="1294"/>
                    <a:pt x="335" y="1294"/>
                  </a:cubicBezTo>
                  <a:cubicBezTo>
                    <a:pt x="410" y="1294"/>
                    <a:pt x="492" y="1270"/>
                    <a:pt x="574" y="1223"/>
                  </a:cubicBezTo>
                  <a:cubicBezTo>
                    <a:pt x="587" y="1215"/>
                    <a:pt x="604" y="1205"/>
                    <a:pt x="618" y="1195"/>
                  </a:cubicBezTo>
                  <a:lnTo>
                    <a:pt x="519" y="1141"/>
                  </a:lnTo>
                  <a:cubicBezTo>
                    <a:pt x="453" y="1178"/>
                    <a:pt x="390" y="1195"/>
                    <a:pt x="335" y="1195"/>
                  </a:cubicBezTo>
                  <a:cubicBezTo>
                    <a:pt x="195" y="1195"/>
                    <a:pt x="99" y="1084"/>
                    <a:pt x="99" y="891"/>
                  </a:cubicBezTo>
                  <a:cubicBezTo>
                    <a:pt x="99" y="621"/>
                    <a:pt x="290" y="294"/>
                    <a:pt x="522" y="158"/>
                  </a:cubicBezTo>
                  <a:cubicBezTo>
                    <a:pt x="589" y="119"/>
                    <a:pt x="654" y="100"/>
                    <a:pt x="711" y="100"/>
                  </a:cubicBezTo>
                  <a:cubicBezTo>
                    <a:pt x="761" y="100"/>
                    <a:pt x="806" y="115"/>
                    <a:pt x="843" y="144"/>
                  </a:cubicBezTo>
                  <a:cubicBezTo>
                    <a:pt x="881" y="168"/>
                    <a:pt x="911" y="212"/>
                    <a:pt x="928" y="270"/>
                  </a:cubicBezTo>
                  <a:cubicBezTo>
                    <a:pt x="944" y="273"/>
                    <a:pt x="960" y="275"/>
                    <a:pt x="976" y="275"/>
                  </a:cubicBezTo>
                  <a:cubicBezTo>
                    <a:pt x="995" y="275"/>
                    <a:pt x="1014" y="272"/>
                    <a:pt x="1031" y="267"/>
                  </a:cubicBezTo>
                  <a:cubicBezTo>
                    <a:pt x="1017" y="209"/>
                    <a:pt x="993" y="158"/>
                    <a:pt x="959" y="117"/>
                  </a:cubicBezTo>
                  <a:cubicBezTo>
                    <a:pt x="901" y="45"/>
                    <a:pt x="815" y="0"/>
                    <a:pt x="713" y="0"/>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35" name="Google Shape;6685;p41">
              <a:extLst>
                <a:ext uri="{FF2B5EF4-FFF2-40B4-BE49-F238E27FC236}">
                  <a16:creationId xmlns:a16="http://schemas.microsoft.com/office/drawing/2014/main" id="{B3E898B3-A798-8E4F-8E53-2DACDA1903B3}"/>
                </a:ext>
              </a:extLst>
            </p:cNvPr>
            <p:cNvSpPr/>
            <p:nvPr/>
          </p:nvSpPr>
          <p:spPr>
            <a:xfrm>
              <a:off x="5000100" y="3277125"/>
              <a:ext cx="164600" cy="84250"/>
            </a:xfrm>
            <a:custGeom>
              <a:avLst/>
              <a:gdLst/>
              <a:ahLst/>
              <a:cxnLst/>
              <a:rect l="l" t="t" r="r" b="b"/>
              <a:pathLst>
                <a:path w="6584" h="3370" extrusionOk="0">
                  <a:moveTo>
                    <a:pt x="6583" y="0"/>
                  </a:moveTo>
                  <a:lnTo>
                    <a:pt x="0" y="3219"/>
                  </a:lnTo>
                  <a:lnTo>
                    <a:pt x="0" y="3369"/>
                  </a:lnTo>
                  <a:lnTo>
                    <a:pt x="6498" y="257"/>
                  </a:lnTo>
                  <a:cubicBezTo>
                    <a:pt x="6546" y="229"/>
                    <a:pt x="6583" y="164"/>
                    <a:pt x="6583" y="110"/>
                  </a:cubicBezTo>
                  <a:lnTo>
                    <a:pt x="6583" y="0"/>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36" name="Google Shape;6686;p41">
              <a:extLst>
                <a:ext uri="{FF2B5EF4-FFF2-40B4-BE49-F238E27FC236}">
                  <a16:creationId xmlns:a16="http://schemas.microsoft.com/office/drawing/2014/main" id="{DBDE99FB-D74E-E54A-9F74-34CDDC074731}"/>
                </a:ext>
              </a:extLst>
            </p:cNvPr>
            <p:cNvSpPr/>
            <p:nvPr/>
          </p:nvSpPr>
          <p:spPr>
            <a:xfrm>
              <a:off x="5000175" y="3277125"/>
              <a:ext cx="164525" cy="84175"/>
            </a:xfrm>
            <a:custGeom>
              <a:avLst/>
              <a:gdLst/>
              <a:ahLst/>
              <a:cxnLst/>
              <a:rect l="l" t="t" r="r" b="b"/>
              <a:pathLst>
                <a:path w="6581" h="3367" extrusionOk="0">
                  <a:moveTo>
                    <a:pt x="6580" y="0"/>
                  </a:moveTo>
                  <a:cubicBezTo>
                    <a:pt x="6580" y="38"/>
                    <a:pt x="6557" y="72"/>
                    <a:pt x="6512" y="99"/>
                  </a:cubicBezTo>
                  <a:lnTo>
                    <a:pt x="0" y="3226"/>
                  </a:lnTo>
                  <a:lnTo>
                    <a:pt x="0" y="3366"/>
                  </a:lnTo>
                  <a:lnTo>
                    <a:pt x="6495" y="257"/>
                  </a:lnTo>
                  <a:cubicBezTo>
                    <a:pt x="6543" y="229"/>
                    <a:pt x="6580" y="164"/>
                    <a:pt x="6580" y="110"/>
                  </a:cubicBezTo>
                  <a:lnTo>
                    <a:pt x="6580" y="0"/>
                  </a:ln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37" name="Google Shape;6687;p41">
              <a:extLst>
                <a:ext uri="{FF2B5EF4-FFF2-40B4-BE49-F238E27FC236}">
                  <a16:creationId xmlns:a16="http://schemas.microsoft.com/office/drawing/2014/main" id="{5F387A43-EA44-0C4F-B7B7-8A5484AC9CD8}"/>
                </a:ext>
              </a:extLst>
            </p:cNvPr>
            <p:cNvSpPr/>
            <p:nvPr/>
          </p:nvSpPr>
          <p:spPr>
            <a:xfrm>
              <a:off x="4806825" y="3168425"/>
              <a:ext cx="358475" cy="190550"/>
            </a:xfrm>
            <a:custGeom>
              <a:avLst/>
              <a:gdLst/>
              <a:ahLst/>
              <a:cxnLst/>
              <a:rect l="l" t="t" r="r" b="b"/>
              <a:pathLst>
                <a:path w="14339" h="7622" extrusionOk="0">
                  <a:moveTo>
                    <a:pt x="6784" y="0"/>
                  </a:moveTo>
                  <a:cubicBezTo>
                    <a:pt x="6722" y="0"/>
                    <a:pt x="6661" y="14"/>
                    <a:pt x="6615" y="41"/>
                  </a:cubicBezTo>
                  <a:lnTo>
                    <a:pt x="0" y="3219"/>
                  </a:lnTo>
                  <a:lnTo>
                    <a:pt x="7632" y="7622"/>
                  </a:lnTo>
                  <a:lnTo>
                    <a:pt x="14246" y="4447"/>
                  </a:lnTo>
                  <a:cubicBezTo>
                    <a:pt x="14338" y="4393"/>
                    <a:pt x="14338" y="4304"/>
                    <a:pt x="14246" y="4249"/>
                  </a:cubicBezTo>
                  <a:lnTo>
                    <a:pt x="6956" y="41"/>
                  </a:lnTo>
                  <a:cubicBezTo>
                    <a:pt x="6908" y="14"/>
                    <a:pt x="6846" y="0"/>
                    <a:pt x="6784" y="0"/>
                  </a:cubicBezTo>
                  <a:close/>
                </a:path>
              </a:pathLst>
            </a:custGeom>
            <a:solidFill>
              <a:schemeClr val="accent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38" name="Google Shape;6688;p41">
              <a:extLst>
                <a:ext uri="{FF2B5EF4-FFF2-40B4-BE49-F238E27FC236}">
                  <a16:creationId xmlns:a16="http://schemas.microsoft.com/office/drawing/2014/main" id="{5E47CBCC-0B7B-B34B-ABD8-AEB7C94A3662}"/>
                </a:ext>
              </a:extLst>
            </p:cNvPr>
            <p:cNvSpPr/>
            <p:nvPr/>
          </p:nvSpPr>
          <p:spPr>
            <a:xfrm>
              <a:off x="4806825" y="3248800"/>
              <a:ext cx="190800" cy="159150"/>
            </a:xfrm>
            <a:custGeom>
              <a:avLst/>
              <a:gdLst/>
              <a:ahLst/>
              <a:cxnLst/>
              <a:rect l="l" t="t" r="r" b="b"/>
              <a:pathLst>
                <a:path w="7632" h="6366" extrusionOk="0">
                  <a:moveTo>
                    <a:pt x="0" y="1"/>
                  </a:moveTo>
                  <a:lnTo>
                    <a:pt x="0" y="1963"/>
                  </a:lnTo>
                  <a:lnTo>
                    <a:pt x="7632" y="6366"/>
                  </a:lnTo>
                  <a:lnTo>
                    <a:pt x="7632" y="4407"/>
                  </a:lnTo>
                  <a:lnTo>
                    <a:pt x="0" y="1"/>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39" name="Google Shape;6689;p41">
              <a:extLst>
                <a:ext uri="{FF2B5EF4-FFF2-40B4-BE49-F238E27FC236}">
                  <a16:creationId xmlns:a16="http://schemas.microsoft.com/office/drawing/2014/main" id="{2A4BA8BE-64A4-ED4D-8014-15D40EF2B152}"/>
                </a:ext>
              </a:extLst>
            </p:cNvPr>
            <p:cNvSpPr/>
            <p:nvPr/>
          </p:nvSpPr>
          <p:spPr>
            <a:xfrm>
              <a:off x="4806825" y="3248800"/>
              <a:ext cx="190800" cy="159150"/>
            </a:xfrm>
            <a:custGeom>
              <a:avLst/>
              <a:gdLst/>
              <a:ahLst/>
              <a:cxnLst/>
              <a:rect l="l" t="t" r="r" b="b"/>
              <a:pathLst>
                <a:path w="7632" h="6366" extrusionOk="0">
                  <a:moveTo>
                    <a:pt x="0" y="1"/>
                  </a:moveTo>
                  <a:lnTo>
                    <a:pt x="0" y="1963"/>
                  </a:lnTo>
                  <a:lnTo>
                    <a:pt x="7632" y="6366"/>
                  </a:lnTo>
                  <a:lnTo>
                    <a:pt x="7632" y="4878"/>
                  </a:lnTo>
                  <a:lnTo>
                    <a:pt x="7632" y="4649"/>
                  </a:lnTo>
                  <a:lnTo>
                    <a:pt x="7632" y="4407"/>
                  </a:lnTo>
                  <a:lnTo>
                    <a:pt x="5843" y="3376"/>
                  </a:lnTo>
                  <a:lnTo>
                    <a:pt x="0" y="1"/>
                  </a:lnTo>
                  <a:close/>
                </a:path>
              </a:pathLst>
            </a:custGeom>
            <a:solidFill>
              <a:schemeClr val="accent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40" name="Google Shape;6690;p41">
              <a:extLst>
                <a:ext uri="{FF2B5EF4-FFF2-40B4-BE49-F238E27FC236}">
                  <a16:creationId xmlns:a16="http://schemas.microsoft.com/office/drawing/2014/main" id="{D617A0C4-0E48-EC44-B5DD-7D8E1C910F8A}"/>
                </a:ext>
              </a:extLst>
            </p:cNvPr>
            <p:cNvSpPr/>
            <p:nvPr/>
          </p:nvSpPr>
          <p:spPr>
            <a:xfrm>
              <a:off x="4942150" y="3344175"/>
              <a:ext cx="26225" cy="32300"/>
            </a:xfrm>
            <a:custGeom>
              <a:avLst/>
              <a:gdLst/>
              <a:ahLst/>
              <a:cxnLst/>
              <a:rect l="l" t="t" r="r" b="b"/>
              <a:pathLst>
                <a:path w="1049" h="1292" extrusionOk="0">
                  <a:moveTo>
                    <a:pt x="335" y="1"/>
                  </a:moveTo>
                  <a:cubicBezTo>
                    <a:pt x="137" y="1"/>
                    <a:pt x="0" y="162"/>
                    <a:pt x="0" y="401"/>
                  </a:cubicBezTo>
                  <a:cubicBezTo>
                    <a:pt x="0" y="708"/>
                    <a:pt x="209" y="1069"/>
                    <a:pt x="475" y="1223"/>
                  </a:cubicBezTo>
                  <a:cubicBezTo>
                    <a:pt x="557" y="1267"/>
                    <a:pt x="639" y="1291"/>
                    <a:pt x="713" y="1291"/>
                  </a:cubicBezTo>
                  <a:cubicBezTo>
                    <a:pt x="813" y="1291"/>
                    <a:pt x="901" y="1250"/>
                    <a:pt x="959" y="1176"/>
                  </a:cubicBezTo>
                  <a:cubicBezTo>
                    <a:pt x="1017" y="1104"/>
                    <a:pt x="1048" y="1008"/>
                    <a:pt x="1048" y="892"/>
                  </a:cubicBezTo>
                  <a:cubicBezTo>
                    <a:pt x="1048" y="585"/>
                    <a:pt x="840" y="226"/>
                    <a:pt x="573" y="73"/>
                  </a:cubicBezTo>
                  <a:cubicBezTo>
                    <a:pt x="491" y="25"/>
                    <a:pt x="410" y="1"/>
                    <a:pt x="335" y="1"/>
                  </a:cubicBezTo>
                  <a:close/>
                </a:path>
              </a:pathLst>
            </a:custGeom>
            <a:solidFill>
              <a:srgbClr val="455A6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41" name="Google Shape;6691;p41">
              <a:extLst>
                <a:ext uri="{FF2B5EF4-FFF2-40B4-BE49-F238E27FC236}">
                  <a16:creationId xmlns:a16="http://schemas.microsoft.com/office/drawing/2014/main" id="{8E4DC48D-CBF4-DC4C-8B97-F8EE210DDCDF}"/>
                </a:ext>
              </a:extLst>
            </p:cNvPr>
            <p:cNvSpPr/>
            <p:nvPr/>
          </p:nvSpPr>
          <p:spPr>
            <a:xfrm>
              <a:off x="4944625" y="3346650"/>
              <a:ext cx="21275" cy="27400"/>
            </a:xfrm>
            <a:custGeom>
              <a:avLst/>
              <a:gdLst/>
              <a:ahLst/>
              <a:cxnLst/>
              <a:rect l="l" t="t" r="r" b="b"/>
              <a:pathLst>
                <a:path w="851" h="1096" extrusionOk="0">
                  <a:moveTo>
                    <a:pt x="234" y="0"/>
                  </a:moveTo>
                  <a:cubicBezTo>
                    <a:pt x="96" y="0"/>
                    <a:pt x="0" y="111"/>
                    <a:pt x="0" y="302"/>
                  </a:cubicBezTo>
                  <a:cubicBezTo>
                    <a:pt x="0" y="574"/>
                    <a:pt x="192" y="902"/>
                    <a:pt x="427" y="1039"/>
                  </a:cubicBezTo>
                  <a:cubicBezTo>
                    <a:pt x="494" y="1077"/>
                    <a:pt x="557" y="1095"/>
                    <a:pt x="614" y="1095"/>
                  </a:cubicBezTo>
                  <a:cubicBezTo>
                    <a:pt x="753" y="1095"/>
                    <a:pt x="850" y="985"/>
                    <a:pt x="850" y="793"/>
                  </a:cubicBezTo>
                  <a:cubicBezTo>
                    <a:pt x="850" y="524"/>
                    <a:pt x="659" y="192"/>
                    <a:pt x="424" y="59"/>
                  </a:cubicBezTo>
                  <a:cubicBezTo>
                    <a:pt x="356" y="19"/>
                    <a:pt x="291" y="0"/>
                    <a:pt x="234" y="0"/>
                  </a:cubicBezTo>
                  <a:close/>
                </a:path>
              </a:pathLst>
            </a:custGeom>
            <a:solidFill>
              <a:srgbClr val="F5F5F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42" name="Google Shape;6692;p41">
              <a:extLst>
                <a:ext uri="{FF2B5EF4-FFF2-40B4-BE49-F238E27FC236}">
                  <a16:creationId xmlns:a16="http://schemas.microsoft.com/office/drawing/2014/main" id="{4F07CB56-842A-D946-85A0-F27F07966B87}"/>
                </a:ext>
              </a:extLst>
            </p:cNvPr>
            <p:cNvSpPr/>
            <p:nvPr/>
          </p:nvSpPr>
          <p:spPr>
            <a:xfrm>
              <a:off x="4821425" y="3272325"/>
              <a:ext cx="106000" cy="81550"/>
            </a:xfrm>
            <a:custGeom>
              <a:avLst/>
              <a:gdLst/>
              <a:ahLst/>
              <a:cxnLst/>
              <a:rect l="l" t="t" r="r" b="b"/>
              <a:pathLst>
                <a:path w="4240" h="3262" extrusionOk="0">
                  <a:moveTo>
                    <a:pt x="258" y="0"/>
                  </a:moveTo>
                  <a:cubicBezTo>
                    <a:pt x="105" y="0"/>
                    <a:pt x="0" y="122"/>
                    <a:pt x="0" y="332"/>
                  </a:cubicBezTo>
                  <a:lnTo>
                    <a:pt x="0" y="482"/>
                  </a:lnTo>
                  <a:cubicBezTo>
                    <a:pt x="0" y="780"/>
                    <a:pt x="208" y="1142"/>
                    <a:pt x="464" y="1288"/>
                  </a:cubicBezTo>
                  <a:lnTo>
                    <a:pt x="3772" y="3199"/>
                  </a:lnTo>
                  <a:cubicBezTo>
                    <a:pt x="3846" y="3242"/>
                    <a:pt x="3917" y="3262"/>
                    <a:pt x="3980" y="3262"/>
                  </a:cubicBezTo>
                  <a:cubicBezTo>
                    <a:pt x="4134" y="3262"/>
                    <a:pt x="4239" y="3141"/>
                    <a:pt x="4239" y="2930"/>
                  </a:cubicBezTo>
                  <a:lnTo>
                    <a:pt x="4239" y="2780"/>
                  </a:lnTo>
                  <a:cubicBezTo>
                    <a:pt x="4239" y="2483"/>
                    <a:pt x="4030" y="2125"/>
                    <a:pt x="3772" y="1974"/>
                  </a:cubicBezTo>
                  <a:lnTo>
                    <a:pt x="464" y="63"/>
                  </a:lnTo>
                  <a:cubicBezTo>
                    <a:pt x="390" y="21"/>
                    <a:pt x="320" y="0"/>
                    <a:pt x="258" y="0"/>
                  </a:cubicBezTo>
                  <a:close/>
                </a:path>
              </a:pathLst>
            </a:custGeom>
            <a:solidFill>
              <a:srgbClr val="F5F5F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43" name="Google Shape;6693;p41">
              <a:extLst>
                <a:ext uri="{FF2B5EF4-FFF2-40B4-BE49-F238E27FC236}">
                  <a16:creationId xmlns:a16="http://schemas.microsoft.com/office/drawing/2014/main" id="{AA8119D0-77AA-524D-A8B2-0B4F6880A492}"/>
                </a:ext>
              </a:extLst>
            </p:cNvPr>
            <p:cNvSpPr/>
            <p:nvPr/>
          </p:nvSpPr>
          <p:spPr>
            <a:xfrm>
              <a:off x="4997625" y="3357775"/>
              <a:ext cx="2575" cy="50175"/>
            </a:xfrm>
            <a:custGeom>
              <a:avLst/>
              <a:gdLst/>
              <a:ahLst/>
              <a:cxnLst/>
              <a:rect l="l" t="t" r="r" b="b"/>
              <a:pathLst>
                <a:path w="103" h="2007" extrusionOk="0">
                  <a:moveTo>
                    <a:pt x="102" y="0"/>
                  </a:moveTo>
                  <a:lnTo>
                    <a:pt x="0" y="48"/>
                  </a:lnTo>
                  <a:lnTo>
                    <a:pt x="0" y="2007"/>
                  </a:lnTo>
                  <a:lnTo>
                    <a:pt x="102" y="1949"/>
                  </a:lnTo>
                  <a:lnTo>
                    <a:pt x="102" y="0"/>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44" name="Google Shape;6694;p41">
              <a:extLst>
                <a:ext uri="{FF2B5EF4-FFF2-40B4-BE49-F238E27FC236}">
                  <a16:creationId xmlns:a16="http://schemas.microsoft.com/office/drawing/2014/main" id="{E73663B8-3EAD-A940-9D2E-9BF308CE36B3}"/>
                </a:ext>
              </a:extLst>
            </p:cNvPr>
            <p:cNvSpPr/>
            <p:nvPr/>
          </p:nvSpPr>
          <p:spPr>
            <a:xfrm>
              <a:off x="4997625" y="3357775"/>
              <a:ext cx="2575" cy="50175"/>
            </a:xfrm>
            <a:custGeom>
              <a:avLst/>
              <a:gdLst/>
              <a:ahLst/>
              <a:cxnLst/>
              <a:rect l="l" t="t" r="r" b="b"/>
              <a:pathLst>
                <a:path w="103" h="2007" extrusionOk="0">
                  <a:moveTo>
                    <a:pt x="102" y="0"/>
                  </a:moveTo>
                  <a:lnTo>
                    <a:pt x="65" y="17"/>
                  </a:lnTo>
                  <a:lnTo>
                    <a:pt x="0" y="48"/>
                  </a:lnTo>
                  <a:lnTo>
                    <a:pt x="0" y="2007"/>
                  </a:lnTo>
                  <a:lnTo>
                    <a:pt x="102" y="1949"/>
                  </a:lnTo>
                  <a:lnTo>
                    <a:pt x="102" y="314"/>
                  </a:lnTo>
                  <a:lnTo>
                    <a:pt x="102" y="147"/>
                  </a:lnTo>
                  <a:lnTo>
                    <a:pt x="102" y="0"/>
                  </a:ln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45" name="Google Shape;6695;p41">
              <a:extLst>
                <a:ext uri="{FF2B5EF4-FFF2-40B4-BE49-F238E27FC236}">
                  <a16:creationId xmlns:a16="http://schemas.microsoft.com/office/drawing/2014/main" id="{D4E9C04B-3212-954B-AB40-40B446F6B179}"/>
                </a:ext>
              </a:extLst>
            </p:cNvPr>
            <p:cNvSpPr/>
            <p:nvPr/>
          </p:nvSpPr>
          <p:spPr>
            <a:xfrm>
              <a:off x="4808525" y="3153425"/>
              <a:ext cx="360425" cy="199100"/>
            </a:xfrm>
            <a:custGeom>
              <a:avLst/>
              <a:gdLst/>
              <a:ahLst/>
              <a:cxnLst/>
              <a:rect l="l" t="t" r="r" b="b"/>
              <a:pathLst>
                <a:path w="14417" h="7964" extrusionOk="0">
                  <a:moveTo>
                    <a:pt x="6789" y="0"/>
                  </a:moveTo>
                  <a:lnTo>
                    <a:pt x="76" y="3392"/>
                  </a:lnTo>
                  <a:cubicBezTo>
                    <a:pt x="35" y="3416"/>
                    <a:pt x="0" y="3471"/>
                    <a:pt x="0" y="3512"/>
                  </a:cubicBezTo>
                  <a:cubicBezTo>
                    <a:pt x="0" y="3553"/>
                    <a:pt x="35" y="3604"/>
                    <a:pt x="76" y="3628"/>
                  </a:cubicBezTo>
                  <a:lnTo>
                    <a:pt x="7561" y="7946"/>
                  </a:lnTo>
                  <a:cubicBezTo>
                    <a:pt x="7581" y="7957"/>
                    <a:pt x="7608" y="7963"/>
                    <a:pt x="7636" y="7963"/>
                  </a:cubicBezTo>
                  <a:cubicBezTo>
                    <a:pt x="7663" y="7963"/>
                    <a:pt x="7690" y="7957"/>
                    <a:pt x="7711" y="7946"/>
                  </a:cubicBezTo>
                  <a:lnTo>
                    <a:pt x="14417" y="4553"/>
                  </a:lnTo>
                  <a:lnTo>
                    <a:pt x="14417" y="4406"/>
                  </a:lnTo>
                  <a:lnTo>
                    <a:pt x="6789" y="0"/>
                  </a:lnTo>
                  <a:close/>
                </a:path>
              </a:pathLst>
            </a:custGeom>
            <a:solidFill>
              <a:schemeClr val="accent6"/>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46" name="Google Shape;6696;p41">
              <a:extLst>
                <a:ext uri="{FF2B5EF4-FFF2-40B4-BE49-F238E27FC236}">
                  <a16:creationId xmlns:a16="http://schemas.microsoft.com/office/drawing/2014/main" id="{AD20A728-D447-AD49-8F41-83530F378387}"/>
                </a:ext>
              </a:extLst>
            </p:cNvPr>
            <p:cNvSpPr/>
            <p:nvPr/>
          </p:nvSpPr>
          <p:spPr>
            <a:xfrm>
              <a:off x="4809800" y="3238225"/>
              <a:ext cx="625" cy="450"/>
            </a:xfrm>
            <a:custGeom>
              <a:avLst/>
              <a:gdLst/>
              <a:ahLst/>
              <a:cxnLst/>
              <a:rect l="l" t="t" r="r" b="b"/>
              <a:pathLst>
                <a:path w="25" h="18" extrusionOk="0">
                  <a:moveTo>
                    <a:pt x="25" y="0"/>
                  </a:moveTo>
                  <a:lnTo>
                    <a:pt x="25" y="0"/>
                  </a:lnTo>
                  <a:cubicBezTo>
                    <a:pt x="23" y="1"/>
                    <a:pt x="22" y="2"/>
                    <a:pt x="22" y="3"/>
                  </a:cubicBezTo>
                  <a:lnTo>
                    <a:pt x="22" y="3"/>
                  </a:lnTo>
                  <a:cubicBezTo>
                    <a:pt x="23" y="2"/>
                    <a:pt x="24" y="1"/>
                    <a:pt x="25" y="0"/>
                  </a:cubicBezTo>
                  <a:close/>
                  <a:moveTo>
                    <a:pt x="22" y="3"/>
                  </a:moveTo>
                  <a:lnTo>
                    <a:pt x="22" y="3"/>
                  </a:lnTo>
                  <a:cubicBezTo>
                    <a:pt x="16" y="8"/>
                    <a:pt x="9" y="12"/>
                    <a:pt x="1" y="17"/>
                  </a:cubicBezTo>
                  <a:cubicBezTo>
                    <a:pt x="7" y="14"/>
                    <a:pt x="11" y="11"/>
                    <a:pt x="18" y="7"/>
                  </a:cubicBezTo>
                  <a:cubicBezTo>
                    <a:pt x="20" y="5"/>
                    <a:pt x="21" y="4"/>
                    <a:pt x="22" y="3"/>
                  </a:cubicBezTo>
                  <a:close/>
                </a:path>
              </a:pathLst>
            </a:custGeom>
            <a:solidFill>
              <a:srgbClr val="E1E1E1"/>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47" name="Google Shape;6697;p41">
              <a:extLst>
                <a:ext uri="{FF2B5EF4-FFF2-40B4-BE49-F238E27FC236}">
                  <a16:creationId xmlns:a16="http://schemas.microsoft.com/office/drawing/2014/main" id="{AA274CDA-448E-EA46-8621-9FE2F074DE51}"/>
                </a:ext>
              </a:extLst>
            </p:cNvPr>
            <p:cNvSpPr/>
            <p:nvPr/>
          </p:nvSpPr>
          <p:spPr>
            <a:xfrm>
              <a:off x="4997525" y="3352050"/>
              <a:ext cx="100" cy="100"/>
            </a:xfrm>
            <a:custGeom>
              <a:avLst/>
              <a:gdLst/>
              <a:ahLst/>
              <a:cxnLst/>
              <a:rect l="l" t="t" r="r" b="b"/>
              <a:pathLst>
                <a:path w="4" h="4" extrusionOk="0">
                  <a:moveTo>
                    <a:pt x="1" y="1"/>
                  </a:moveTo>
                  <a:cubicBezTo>
                    <a:pt x="1" y="4"/>
                    <a:pt x="4" y="4"/>
                    <a:pt x="4" y="4"/>
                  </a:cubicBezTo>
                  <a:lnTo>
                    <a:pt x="1" y="1"/>
                  </a:lnTo>
                  <a:close/>
                </a:path>
              </a:pathLst>
            </a:custGeom>
            <a:solidFill>
              <a:srgbClr val="23C7AC"/>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48" name="Google Shape;6698;p41">
              <a:extLst>
                <a:ext uri="{FF2B5EF4-FFF2-40B4-BE49-F238E27FC236}">
                  <a16:creationId xmlns:a16="http://schemas.microsoft.com/office/drawing/2014/main" id="{0C143539-1ACE-6A48-A2F6-2A8AAE97A7A0}"/>
                </a:ext>
              </a:extLst>
            </p:cNvPr>
            <p:cNvSpPr/>
            <p:nvPr/>
          </p:nvSpPr>
          <p:spPr>
            <a:xfrm>
              <a:off x="4808525" y="3238400"/>
              <a:ext cx="190900" cy="114075"/>
            </a:xfrm>
            <a:custGeom>
              <a:avLst/>
              <a:gdLst/>
              <a:ahLst/>
              <a:cxnLst/>
              <a:rect l="l" t="t" r="r" b="b"/>
              <a:pathLst>
                <a:path w="7636" h="4563" extrusionOk="0">
                  <a:moveTo>
                    <a:pt x="69" y="0"/>
                  </a:moveTo>
                  <a:cubicBezTo>
                    <a:pt x="62" y="4"/>
                    <a:pt x="58" y="7"/>
                    <a:pt x="52" y="10"/>
                  </a:cubicBezTo>
                  <a:cubicBezTo>
                    <a:pt x="38" y="24"/>
                    <a:pt x="25" y="45"/>
                    <a:pt x="14" y="62"/>
                  </a:cubicBezTo>
                  <a:cubicBezTo>
                    <a:pt x="8" y="78"/>
                    <a:pt x="0" y="95"/>
                    <a:pt x="0" y="113"/>
                  </a:cubicBezTo>
                  <a:cubicBezTo>
                    <a:pt x="0" y="130"/>
                    <a:pt x="8" y="147"/>
                    <a:pt x="17" y="164"/>
                  </a:cubicBezTo>
                  <a:cubicBezTo>
                    <a:pt x="25" y="181"/>
                    <a:pt x="35" y="195"/>
                    <a:pt x="49" y="208"/>
                  </a:cubicBezTo>
                  <a:cubicBezTo>
                    <a:pt x="58" y="218"/>
                    <a:pt x="66" y="226"/>
                    <a:pt x="76" y="229"/>
                  </a:cubicBezTo>
                  <a:lnTo>
                    <a:pt x="189" y="294"/>
                  </a:lnTo>
                  <a:lnTo>
                    <a:pt x="7561" y="4547"/>
                  </a:lnTo>
                  <a:lnTo>
                    <a:pt x="7564" y="4550"/>
                  </a:lnTo>
                  <a:cubicBezTo>
                    <a:pt x="7584" y="4560"/>
                    <a:pt x="7608" y="4563"/>
                    <a:pt x="7635" y="4563"/>
                  </a:cubicBezTo>
                  <a:lnTo>
                    <a:pt x="7635" y="4416"/>
                  </a:lnTo>
                  <a:cubicBezTo>
                    <a:pt x="7608" y="4416"/>
                    <a:pt x="7581" y="4413"/>
                    <a:pt x="7561" y="4399"/>
                  </a:cubicBezTo>
                  <a:lnTo>
                    <a:pt x="76" y="78"/>
                  </a:lnTo>
                  <a:cubicBezTo>
                    <a:pt x="55" y="68"/>
                    <a:pt x="45" y="51"/>
                    <a:pt x="45" y="37"/>
                  </a:cubicBezTo>
                  <a:cubicBezTo>
                    <a:pt x="45" y="24"/>
                    <a:pt x="55" y="10"/>
                    <a:pt x="69" y="0"/>
                  </a:cubicBez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49" name="Google Shape;6699;p41">
              <a:extLst>
                <a:ext uri="{FF2B5EF4-FFF2-40B4-BE49-F238E27FC236}">
                  <a16:creationId xmlns:a16="http://schemas.microsoft.com/office/drawing/2014/main" id="{66C0F1AE-BE26-EB48-9CAE-79BEBEBEC8CA}"/>
                </a:ext>
              </a:extLst>
            </p:cNvPr>
            <p:cNvSpPr/>
            <p:nvPr/>
          </p:nvSpPr>
          <p:spPr>
            <a:xfrm>
              <a:off x="4810250" y="3235575"/>
              <a:ext cx="5450" cy="2850"/>
            </a:xfrm>
            <a:custGeom>
              <a:avLst/>
              <a:gdLst/>
              <a:ahLst/>
              <a:cxnLst/>
              <a:rect l="l" t="t" r="r" b="b"/>
              <a:pathLst>
                <a:path w="218" h="114" extrusionOk="0">
                  <a:moveTo>
                    <a:pt x="218" y="0"/>
                  </a:moveTo>
                  <a:lnTo>
                    <a:pt x="7" y="106"/>
                  </a:lnTo>
                  <a:lnTo>
                    <a:pt x="7" y="106"/>
                  </a:lnTo>
                  <a:lnTo>
                    <a:pt x="7" y="106"/>
                  </a:lnTo>
                  <a:cubicBezTo>
                    <a:pt x="3" y="109"/>
                    <a:pt x="3" y="109"/>
                    <a:pt x="0" y="113"/>
                  </a:cubicBezTo>
                  <a:cubicBezTo>
                    <a:pt x="3" y="109"/>
                    <a:pt x="3" y="109"/>
                    <a:pt x="7" y="106"/>
                  </a:cubicBezTo>
                  <a:lnTo>
                    <a:pt x="218" y="0"/>
                  </a:lnTo>
                  <a:close/>
                </a:path>
              </a:pathLst>
            </a:custGeom>
            <a:solidFill>
              <a:srgbClr val="7D7D7D"/>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50" name="Google Shape;6700;p41">
              <a:extLst>
                <a:ext uri="{FF2B5EF4-FFF2-40B4-BE49-F238E27FC236}">
                  <a16:creationId xmlns:a16="http://schemas.microsoft.com/office/drawing/2014/main" id="{F5960BEA-A4E4-3A45-B200-D72EE1DA285D}"/>
                </a:ext>
              </a:extLst>
            </p:cNvPr>
            <p:cNvSpPr/>
            <p:nvPr/>
          </p:nvSpPr>
          <p:spPr>
            <a:xfrm>
              <a:off x="4809922" y="3235610"/>
              <a:ext cx="356575" cy="113250"/>
            </a:xfrm>
            <a:custGeom>
              <a:avLst/>
              <a:gdLst/>
              <a:ahLst/>
              <a:cxnLst/>
              <a:rect l="l" t="t" r="r" b="b"/>
              <a:pathLst>
                <a:path w="14263" h="4530" extrusionOk="0">
                  <a:moveTo>
                    <a:pt x="242" y="0"/>
                  </a:moveTo>
                  <a:lnTo>
                    <a:pt x="31" y="106"/>
                  </a:lnTo>
                  <a:cubicBezTo>
                    <a:pt x="27" y="109"/>
                    <a:pt x="27" y="109"/>
                    <a:pt x="24" y="113"/>
                  </a:cubicBezTo>
                  <a:cubicBezTo>
                    <a:pt x="10" y="123"/>
                    <a:pt x="0" y="137"/>
                    <a:pt x="0" y="150"/>
                  </a:cubicBezTo>
                  <a:cubicBezTo>
                    <a:pt x="0" y="164"/>
                    <a:pt x="10" y="181"/>
                    <a:pt x="31" y="191"/>
                  </a:cubicBezTo>
                  <a:lnTo>
                    <a:pt x="7516" y="4512"/>
                  </a:lnTo>
                  <a:cubicBezTo>
                    <a:pt x="7536" y="4526"/>
                    <a:pt x="7563" y="4529"/>
                    <a:pt x="7590" y="4529"/>
                  </a:cubicBezTo>
                  <a:cubicBezTo>
                    <a:pt x="7618" y="4529"/>
                    <a:pt x="7645" y="4526"/>
                    <a:pt x="7666" y="4512"/>
                  </a:cubicBezTo>
                  <a:lnTo>
                    <a:pt x="14263" y="1174"/>
                  </a:lnTo>
                  <a:lnTo>
                    <a:pt x="13707" y="851"/>
                  </a:lnTo>
                  <a:cubicBezTo>
                    <a:pt x="13601" y="1082"/>
                    <a:pt x="13444" y="1277"/>
                    <a:pt x="13273" y="1376"/>
                  </a:cubicBezTo>
                  <a:cubicBezTo>
                    <a:pt x="13198" y="1420"/>
                    <a:pt x="13119" y="1440"/>
                    <a:pt x="13048" y="1440"/>
                  </a:cubicBezTo>
                  <a:cubicBezTo>
                    <a:pt x="12990" y="1440"/>
                    <a:pt x="12935" y="1427"/>
                    <a:pt x="12888" y="1396"/>
                  </a:cubicBezTo>
                  <a:cubicBezTo>
                    <a:pt x="12884" y="1396"/>
                    <a:pt x="12881" y="1393"/>
                    <a:pt x="12881" y="1393"/>
                  </a:cubicBezTo>
                  <a:lnTo>
                    <a:pt x="13017" y="1314"/>
                  </a:lnTo>
                  <a:lnTo>
                    <a:pt x="13048" y="1314"/>
                  </a:lnTo>
                  <a:cubicBezTo>
                    <a:pt x="13109" y="1314"/>
                    <a:pt x="13168" y="1290"/>
                    <a:pt x="13209" y="1267"/>
                  </a:cubicBezTo>
                  <a:cubicBezTo>
                    <a:pt x="13362" y="1178"/>
                    <a:pt x="13499" y="1001"/>
                    <a:pt x="13598" y="789"/>
                  </a:cubicBezTo>
                  <a:lnTo>
                    <a:pt x="13368" y="659"/>
                  </a:lnTo>
                  <a:lnTo>
                    <a:pt x="13368" y="1109"/>
                  </a:lnTo>
                  <a:lnTo>
                    <a:pt x="7683" y="4184"/>
                  </a:lnTo>
                  <a:cubicBezTo>
                    <a:pt x="7659" y="4202"/>
                    <a:pt x="7625" y="4209"/>
                    <a:pt x="7590" y="4209"/>
                  </a:cubicBezTo>
                  <a:cubicBezTo>
                    <a:pt x="7573" y="4209"/>
                    <a:pt x="7553" y="4205"/>
                    <a:pt x="7536" y="4202"/>
                  </a:cubicBezTo>
                  <a:cubicBezTo>
                    <a:pt x="7522" y="4198"/>
                    <a:pt x="7508" y="4192"/>
                    <a:pt x="7495" y="4184"/>
                  </a:cubicBezTo>
                  <a:lnTo>
                    <a:pt x="242" y="0"/>
                  </a:lnTo>
                  <a:close/>
                </a:path>
              </a:pathLst>
            </a:custGeom>
            <a:solidFill>
              <a:schemeClr val="accent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51" name="Google Shape;6701;p41">
              <a:extLst>
                <a:ext uri="{FF2B5EF4-FFF2-40B4-BE49-F238E27FC236}">
                  <a16:creationId xmlns:a16="http://schemas.microsoft.com/office/drawing/2014/main" id="{B65D765B-CBC1-6F42-9D19-A74F86A7D366}"/>
                </a:ext>
              </a:extLst>
            </p:cNvPr>
            <p:cNvSpPr/>
            <p:nvPr/>
          </p:nvSpPr>
          <p:spPr>
            <a:xfrm>
              <a:off x="5158875" y="3267225"/>
              <a:ext cx="10075" cy="5150"/>
            </a:xfrm>
            <a:custGeom>
              <a:avLst/>
              <a:gdLst/>
              <a:ahLst/>
              <a:cxnLst/>
              <a:rect l="l" t="t" r="r" b="b"/>
              <a:pathLst>
                <a:path w="403" h="206" extrusionOk="0">
                  <a:moveTo>
                    <a:pt x="403" y="1"/>
                  </a:moveTo>
                  <a:lnTo>
                    <a:pt x="1" y="206"/>
                  </a:lnTo>
                  <a:lnTo>
                    <a:pt x="1" y="206"/>
                  </a:lnTo>
                  <a:close/>
                </a:path>
              </a:pathLst>
            </a:custGeom>
            <a:solidFill>
              <a:srgbClr val="374850"/>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52" name="Google Shape;6702;p41">
              <a:extLst>
                <a:ext uri="{FF2B5EF4-FFF2-40B4-BE49-F238E27FC236}">
                  <a16:creationId xmlns:a16="http://schemas.microsoft.com/office/drawing/2014/main" id="{65FC8B74-830E-394C-92E2-E9C072A93778}"/>
                </a:ext>
              </a:extLst>
            </p:cNvPr>
            <p:cNvSpPr/>
            <p:nvPr/>
          </p:nvSpPr>
          <p:spPr>
            <a:xfrm>
              <a:off x="5000500" y="3352050"/>
              <a:ext cx="800" cy="350"/>
            </a:xfrm>
            <a:custGeom>
              <a:avLst/>
              <a:gdLst/>
              <a:ahLst/>
              <a:cxnLst/>
              <a:rect l="l" t="t" r="r" b="b"/>
              <a:pathLst>
                <a:path w="32" h="14" extrusionOk="0">
                  <a:moveTo>
                    <a:pt x="32" y="1"/>
                  </a:moveTo>
                  <a:lnTo>
                    <a:pt x="32" y="1"/>
                  </a:lnTo>
                  <a:cubicBezTo>
                    <a:pt x="21" y="7"/>
                    <a:pt x="11" y="10"/>
                    <a:pt x="1" y="14"/>
                  </a:cubicBezTo>
                  <a:cubicBezTo>
                    <a:pt x="14" y="10"/>
                    <a:pt x="25" y="7"/>
                    <a:pt x="32" y="1"/>
                  </a:cubicBezTo>
                  <a:close/>
                </a:path>
              </a:pathLst>
            </a:custGeom>
            <a:solidFill>
              <a:srgbClr val="1FB299"/>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53" name="Google Shape;6703;p41">
              <a:extLst>
                <a:ext uri="{FF2B5EF4-FFF2-40B4-BE49-F238E27FC236}">
                  <a16:creationId xmlns:a16="http://schemas.microsoft.com/office/drawing/2014/main" id="{416AE301-6A8A-D647-BFDA-3B7A5B3356B2}"/>
                </a:ext>
              </a:extLst>
            </p:cNvPr>
            <p:cNvSpPr/>
            <p:nvPr/>
          </p:nvSpPr>
          <p:spPr>
            <a:xfrm>
              <a:off x="4999400" y="3263575"/>
              <a:ext cx="169550" cy="88900"/>
            </a:xfrm>
            <a:custGeom>
              <a:avLst/>
              <a:gdLst/>
              <a:ahLst/>
              <a:cxnLst/>
              <a:rect l="l" t="t" r="r" b="b"/>
              <a:pathLst>
                <a:path w="6782" h="3556" extrusionOk="0">
                  <a:moveTo>
                    <a:pt x="6782" y="0"/>
                  </a:moveTo>
                  <a:lnTo>
                    <a:pt x="6683" y="58"/>
                  </a:lnTo>
                  <a:lnTo>
                    <a:pt x="6673" y="54"/>
                  </a:lnTo>
                  <a:lnTo>
                    <a:pt x="76" y="3392"/>
                  </a:lnTo>
                  <a:cubicBezTo>
                    <a:pt x="55" y="3406"/>
                    <a:pt x="28" y="3409"/>
                    <a:pt x="0" y="3409"/>
                  </a:cubicBezTo>
                  <a:lnTo>
                    <a:pt x="0" y="3556"/>
                  </a:lnTo>
                  <a:cubicBezTo>
                    <a:pt x="14" y="3556"/>
                    <a:pt x="31" y="3556"/>
                    <a:pt x="45" y="3553"/>
                  </a:cubicBezTo>
                  <a:cubicBezTo>
                    <a:pt x="55" y="3549"/>
                    <a:pt x="65" y="3546"/>
                    <a:pt x="76" y="3540"/>
                  </a:cubicBezTo>
                  <a:lnTo>
                    <a:pt x="6380" y="352"/>
                  </a:lnTo>
                  <a:lnTo>
                    <a:pt x="6782" y="147"/>
                  </a:lnTo>
                  <a:lnTo>
                    <a:pt x="6782" y="0"/>
                  </a:lnTo>
                  <a:close/>
                </a:path>
              </a:pathLst>
            </a:custGeom>
            <a:solidFill>
              <a:srgbClr val="1FB299"/>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54" name="Google Shape;6704;p41">
              <a:extLst>
                <a:ext uri="{FF2B5EF4-FFF2-40B4-BE49-F238E27FC236}">
                  <a16:creationId xmlns:a16="http://schemas.microsoft.com/office/drawing/2014/main" id="{1EBA948F-7742-634C-ABA6-A4C95BF30B83}"/>
                </a:ext>
              </a:extLst>
            </p:cNvPr>
            <p:cNvSpPr/>
            <p:nvPr/>
          </p:nvSpPr>
          <p:spPr>
            <a:xfrm>
              <a:off x="4975600" y="3105875"/>
              <a:ext cx="190900" cy="159175"/>
            </a:xfrm>
            <a:custGeom>
              <a:avLst/>
              <a:gdLst/>
              <a:ahLst/>
              <a:cxnLst/>
              <a:rect l="l" t="t" r="r" b="b"/>
              <a:pathLst>
                <a:path w="7636" h="6367" extrusionOk="0">
                  <a:moveTo>
                    <a:pt x="0" y="1"/>
                  </a:moveTo>
                  <a:lnTo>
                    <a:pt x="0" y="1964"/>
                  </a:lnTo>
                  <a:lnTo>
                    <a:pt x="7635" y="6366"/>
                  </a:lnTo>
                  <a:lnTo>
                    <a:pt x="7635" y="4427"/>
                  </a:lnTo>
                  <a:lnTo>
                    <a:pt x="0" y="1"/>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55" name="Google Shape;6705;p41">
              <a:extLst>
                <a:ext uri="{FF2B5EF4-FFF2-40B4-BE49-F238E27FC236}">
                  <a16:creationId xmlns:a16="http://schemas.microsoft.com/office/drawing/2014/main" id="{A9CCB0EB-4F0F-8D48-A65A-1B7FB2200714}"/>
                </a:ext>
              </a:extLst>
            </p:cNvPr>
            <p:cNvSpPr/>
            <p:nvPr/>
          </p:nvSpPr>
          <p:spPr>
            <a:xfrm>
              <a:off x="5133525" y="3220050"/>
              <a:ext cx="32975" cy="45000"/>
            </a:xfrm>
            <a:custGeom>
              <a:avLst/>
              <a:gdLst/>
              <a:ahLst/>
              <a:cxnLst/>
              <a:rect l="l" t="t" r="r" b="b"/>
              <a:pathLst>
                <a:path w="1319" h="1800" extrusionOk="0">
                  <a:moveTo>
                    <a:pt x="618" y="427"/>
                  </a:moveTo>
                  <a:lnTo>
                    <a:pt x="69" y="761"/>
                  </a:lnTo>
                  <a:cubicBezTo>
                    <a:pt x="45" y="799"/>
                    <a:pt x="21" y="840"/>
                    <a:pt x="0" y="881"/>
                  </a:cubicBezTo>
                  <a:lnTo>
                    <a:pt x="413" y="1119"/>
                  </a:lnTo>
                  <a:lnTo>
                    <a:pt x="413" y="1280"/>
                  </a:lnTo>
                  <a:lnTo>
                    <a:pt x="643" y="1410"/>
                  </a:lnTo>
                  <a:cubicBezTo>
                    <a:pt x="717" y="1239"/>
                    <a:pt x="769" y="1045"/>
                    <a:pt x="772" y="864"/>
                  </a:cubicBezTo>
                  <a:cubicBezTo>
                    <a:pt x="779" y="653"/>
                    <a:pt x="725" y="489"/>
                    <a:pt x="622" y="427"/>
                  </a:cubicBezTo>
                  <a:close/>
                  <a:moveTo>
                    <a:pt x="1318" y="0"/>
                  </a:moveTo>
                  <a:lnTo>
                    <a:pt x="734" y="355"/>
                  </a:lnTo>
                  <a:cubicBezTo>
                    <a:pt x="847" y="454"/>
                    <a:pt x="909" y="635"/>
                    <a:pt x="898" y="867"/>
                  </a:cubicBezTo>
                  <a:cubicBezTo>
                    <a:pt x="895" y="1072"/>
                    <a:pt x="840" y="1283"/>
                    <a:pt x="752" y="1472"/>
                  </a:cubicBezTo>
                  <a:lnTo>
                    <a:pt x="1318" y="1799"/>
                  </a:lnTo>
                  <a:lnTo>
                    <a:pt x="1318" y="1792"/>
                  </a:lnTo>
                  <a:lnTo>
                    <a:pt x="1318" y="0"/>
                  </a:ln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56" name="Google Shape;6706;p41">
              <a:extLst>
                <a:ext uri="{FF2B5EF4-FFF2-40B4-BE49-F238E27FC236}">
                  <a16:creationId xmlns:a16="http://schemas.microsoft.com/office/drawing/2014/main" id="{1305210B-CE2F-EE4D-A4A0-18573957B979}"/>
                </a:ext>
              </a:extLst>
            </p:cNvPr>
            <p:cNvSpPr/>
            <p:nvPr/>
          </p:nvSpPr>
          <p:spPr>
            <a:xfrm>
              <a:off x="4808525" y="3137875"/>
              <a:ext cx="335350" cy="202900"/>
            </a:xfrm>
            <a:custGeom>
              <a:avLst/>
              <a:gdLst/>
              <a:ahLst/>
              <a:cxnLst/>
              <a:rect l="l" t="t" r="r" b="b"/>
              <a:pathLst>
                <a:path w="13414" h="8116" extrusionOk="0">
                  <a:moveTo>
                    <a:pt x="5782" y="0"/>
                  </a:moveTo>
                  <a:lnTo>
                    <a:pt x="96" y="3079"/>
                  </a:lnTo>
                  <a:cubicBezTo>
                    <a:pt x="41" y="3106"/>
                    <a:pt x="0" y="3182"/>
                    <a:pt x="0" y="3239"/>
                  </a:cubicBezTo>
                  <a:lnTo>
                    <a:pt x="0" y="3636"/>
                  </a:lnTo>
                  <a:cubicBezTo>
                    <a:pt x="0" y="3697"/>
                    <a:pt x="41" y="3768"/>
                    <a:pt x="96" y="3796"/>
                  </a:cubicBezTo>
                  <a:lnTo>
                    <a:pt x="7544" y="8092"/>
                  </a:lnTo>
                  <a:cubicBezTo>
                    <a:pt x="7569" y="8108"/>
                    <a:pt x="7602" y="8116"/>
                    <a:pt x="7635" y="8116"/>
                  </a:cubicBezTo>
                  <a:cubicBezTo>
                    <a:pt x="7669" y="8116"/>
                    <a:pt x="7702" y="8108"/>
                    <a:pt x="7728" y="8092"/>
                  </a:cubicBezTo>
                  <a:lnTo>
                    <a:pt x="13413" y="5017"/>
                  </a:lnTo>
                  <a:lnTo>
                    <a:pt x="13413" y="4406"/>
                  </a:lnTo>
                  <a:lnTo>
                    <a:pt x="5782" y="0"/>
                  </a:lnTo>
                  <a:close/>
                </a:path>
              </a:pathLst>
            </a:custGeom>
            <a:solidFill>
              <a:srgbClr val="EBEBEB"/>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57" name="Google Shape;6707;p41">
              <a:extLst>
                <a:ext uri="{FF2B5EF4-FFF2-40B4-BE49-F238E27FC236}">
                  <a16:creationId xmlns:a16="http://schemas.microsoft.com/office/drawing/2014/main" id="{033A64C5-B714-2B45-9B6B-1EA7710A5E07}"/>
                </a:ext>
              </a:extLst>
            </p:cNvPr>
            <p:cNvSpPr/>
            <p:nvPr/>
          </p:nvSpPr>
          <p:spPr>
            <a:xfrm>
              <a:off x="4809550" y="3137875"/>
              <a:ext cx="334325" cy="187625"/>
            </a:xfrm>
            <a:custGeom>
              <a:avLst/>
              <a:gdLst/>
              <a:ahLst/>
              <a:cxnLst/>
              <a:rect l="l" t="t" r="r" b="b"/>
              <a:pathLst>
                <a:path w="13373" h="7505" extrusionOk="0">
                  <a:moveTo>
                    <a:pt x="5741" y="0"/>
                  </a:moveTo>
                  <a:lnTo>
                    <a:pt x="55" y="3079"/>
                  </a:lnTo>
                  <a:cubicBezTo>
                    <a:pt x="0" y="3106"/>
                    <a:pt x="0" y="3154"/>
                    <a:pt x="55" y="3185"/>
                  </a:cubicBezTo>
                  <a:lnTo>
                    <a:pt x="7503" y="7482"/>
                  </a:lnTo>
                  <a:cubicBezTo>
                    <a:pt x="7528" y="7497"/>
                    <a:pt x="7561" y="7505"/>
                    <a:pt x="7594" y="7505"/>
                  </a:cubicBezTo>
                  <a:cubicBezTo>
                    <a:pt x="7628" y="7505"/>
                    <a:pt x="7661" y="7497"/>
                    <a:pt x="7687" y="7482"/>
                  </a:cubicBezTo>
                  <a:lnTo>
                    <a:pt x="13372" y="4406"/>
                  </a:lnTo>
                  <a:lnTo>
                    <a:pt x="5741" y="0"/>
                  </a:lnTo>
                  <a:close/>
                </a:path>
              </a:pathLst>
            </a:custGeom>
            <a:solidFill>
              <a:srgbClr val="FAFAFA"/>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58" name="Google Shape;6708;p41">
              <a:extLst>
                <a:ext uri="{FF2B5EF4-FFF2-40B4-BE49-F238E27FC236}">
                  <a16:creationId xmlns:a16="http://schemas.microsoft.com/office/drawing/2014/main" id="{455ECDBD-31E0-4A4A-B6CA-379F88359AF9}"/>
                </a:ext>
              </a:extLst>
            </p:cNvPr>
            <p:cNvSpPr/>
            <p:nvPr/>
          </p:nvSpPr>
          <p:spPr>
            <a:xfrm>
              <a:off x="5124225" y="3245950"/>
              <a:ext cx="7700" cy="4025"/>
            </a:xfrm>
            <a:custGeom>
              <a:avLst/>
              <a:gdLst/>
              <a:ahLst/>
              <a:cxnLst/>
              <a:rect l="l" t="t" r="r" b="b"/>
              <a:pathLst>
                <a:path w="308" h="161" extrusionOk="0">
                  <a:moveTo>
                    <a:pt x="136" y="1"/>
                  </a:moveTo>
                  <a:cubicBezTo>
                    <a:pt x="104" y="1"/>
                    <a:pt x="72" y="8"/>
                    <a:pt x="48" y="19"/>
                  </a:cubicBezTo>
                  <a:lnTo>
                    <a:pt x="38" y="29"/>
                  </a:lnTo>
                  <a:cubicBezTo>
                    <a:pt x="1" y="56"/>
                    <a:pt x="7" y="101"/>
                    <a:pt x="62" y="132"/>
                  </a:cubicBezTo>
                  <a:cubicBezTo>
                    <a:pt x="83" y="142"/>
                    <a:pt x="103" y="152"/>
                    <a:pt x="127" y="155"/>
                  </a:cubicBezTo>
                  <a:cubicBezTo>
                    <a:pt x="141" y="158"/>
                    <a:pt x="156" y="160"/>
                    <a:pt x="171" y="160"/>
                  </a:cubicBezTo>
                  <a:cubicBezTo>
                    <a:pt x="190" y="160"/>
                    <a:pt x="209" y="158"/>
                    <a:pt x="226" y="152"/>
                  </a:cubicBezTo>
                  <a:cubicBezTo>
                    <a:pt x="240" y="152"/>
                    <a:pt x="250" y="145"/>
                    <a:pt x="257" y="142"/>
                  </a:cubicBezTo>
                  <a:cubicBezTo>
                    <a:pt x="308" y="115"/>
                    <a:pt x="305" y="63"/>
                    <a:pt x="243" y="29"/>
                  </a:cubicBezTo>
                  <a:cubicBezTo>
                    <a:pt x="219" y="15"/>
                    <a:pt x="188" y="6"/>
                    <a:pt x="155" y="1"/>
                  </a:cubicBezTo>
                  <a:cubicBezTo>
                    <a:pt x="149" y="1"/>
                    <a:pt x="142" y="1"/>
                    <a:pt x="136" y="1"/>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59" name="Google Shape;6709;p41">
              <a:extLst>
                <a:ext uri="{FF2B5EF4-FFF2-40B4-BE49-F238E27FC236}">
                  <a16:creationId xmlns:a16="http://schemas.microsoft.com/office/drawing/2014/main" id="{127E7B1E-E5CC-454C-B5F3-087F5B8B045D}"/>
                </a:ext>
              </a:extLst>
            </p:cNvPr>
            <p:cNvSpPr/>
            <p:nvPr/>
          </p:nvSpPr>
          <p:spPr>
            <a:xfrm>
              <a:off x="4808525" y="3215250"/>
              <a:ext cx="190900" cy="125550"/>
            </a:xfrm>
            <a:custGeom>
              <a:avLst/>
              <a:gdLst/>
              <a:ahLst/>
              <a:cxnLst/>
              <a:rect l="l" t="t" r="r" b="b"/>
              <a:pathLst>
                <a:path w="7636" h="5022" extrusionOk="0">
                  <a:moveTo>
                    <a:pt x="72" y="1"/>
                  </a:moveTo>
                  <a:cubicBezTo>
                    <a:pt x="31" y="35"/>
                    <a:pt x="0" y="93"/>
                    <a:pt x="0" y="144"/>
                  </a:cubicBezTo>
                  <a:lnTo>
                    <a:pt x="0" y="541"/>
                  </a:lnTo>
                  <a:cubicBezTo>
                    <a:pt x="0" y="599"/>
                    <a:pt x="41" y="673"/>
                    <a:pt x="93" y="704"/>
                  </a:cubicBezTo>
                  <a:lnTo>
                    <a:pt x="7540" y="4997"/>
                  </a:lnTo>
                  <a:cubicBezTo>
                    <a:pt x="7567" y="5015"/>
                    <a:pt x="7602" y="5022"/>
                    <a:pt x="7635" y="5022"/>
                  </a:cubicBezTo>
                  <a:lnTo>
                    <a:pt x="7635" y="4408"/>
                  </a:lnTo>
                  <a:cubicBezTo>
                    <a:pt x="7631" y="4408"/>
                    <a:pt x="7627" y="4408"/>
                    <a:pt x="7623" y="4408"/>
                  </a:cubicBezTo>
                  <a:cubicBezTo>
                    <a:pt x="7593" y="4408"/>
                    <a:pt x="7564" y="4399"/>
                    <a:pt x="7540" y="4387"/>
                  </a:cubicBezTo>
                  <a:lnTo>
                    <a:pt x="93" y="90"/>
                  </a:lnTo>
                  <a:cubicBezTo>
                    <a:pt x="52" y="66"/>
                    <a:pt x="45" y="29"/>
                    <a:pt x="72" y="1"/>
                  </a:cubicBezTo>
                  <a:close/>
                </a:path>
              </a:pathLst>
            </a:custGeom>
            <a:solidFill>
              <a:srgbClr val="E6E6E6"/>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60" name="Google Shape;6710;p41">
              <a:extLst>
                <a:ext uri="{FF2B5EF4-FFF2-40B4-BE49-F238E27FC236}">
                  <a16:creationId xmlns:a16="http://schemas.microsoft.com/office/drawing/2014/main" id="{89B48237-4465-DB4F-817D-76DB1D18E300}"/>
                </a:ext>
              </a:extLst>
            </p:cNvPr>
            <p:cNvSpPr/>
            <p:nvPr/>
          </p:nvSpPr>
          <p:spPr>
            <a:xfrm>
              <a:off x="5127900" y="3226975"/>
              <a:ext cx="28350" cy="44625"/>
            </a:xfrm>
            <a:custGeom>
              <a:avLst/>
              <a:gdLst/>
              <a:ahLst/>
              <a:cxnLst/>
              <a:rect l="l" t="t" r="r" b="b"/>
              <a:pathLst>
                <a:path w="1134" h="1785" extrusionOk="0">
                  <a:moveTo>
                    <a:pt x="749" y="0"/>
                  </a:moveTo>
                  <a:cubicBezTo>
                    <a:pt x="679" y="0"/>
                    <a:pt x="603" y="22"/>
                    <a:pt x="526" y="64"/>
                  </a:cubicBezTo>
                  <a:cubicBezTo>
                    <a:pt x="294" y="201"/>
                    <a:pt x="93" y="508"/>
                    <a:pt x="0" y="846"/>
                  </a:cubicBezTo>
                  <a:cubicBezTo>
                    <a:pt x="44" y="853"/>
                    <a:pt x="99" y="860"/>
                    <a:pt x="126" y="863"/>
                  </a:cubicBezTo>
                  <a:cubicBezTo>
                    <a:pt x="212" y="566"/>
                    <a:pt x="389" y="289"/>
                    <a:pt x="588" y="174"/>
                  </a:cubicBezTo>
                  <a:cubicBezTo>
                    <a:pt x="632" y="150"/>
                    <a:pt x="690" y="126"/>
                    <a:pt x="748" y="126"/>
                  </a:cubicBezTo>
                  <a:cubicBezTo>
                    <a:pt x="782" y="126"/>
                    <a:pt x="816" y="133"/>
                    <a:pt x="847" y="150"/>
                  </a:cubicBezTo>
                  <a:cubicBezTo>
                    <a:pt x="950" y="212"/>
                    <a:pt x="1004" y="376"/>
                    <a:pt x="997" y="587"/>
                  </a:cubicBezTo>
                  <a:cubicBezTo>
                    <a:pt x="986" y="993"/>
                    <a:pt x="755" y="1450"/>
                    <a:pt x="479" y="1611"/>
                  </a:cubicBezTo>
                  <a:cubicBezTo>
                    <a:pt x="435" y="1637"/>
                    <a:pt x="379" y="1661"/>
                    <a:pt x="319" y="1661"/>
                  </a:cubicBezTo>
                  <a:cubicBezTo>
                    <a:pt x="308" y="1661"/>
                    <a:pt x="298" y="1660"/>
                    <a:pt x="287" y="1658"/>
                  </a:cubicBezTo>
                  <a:lnTo>
                    <a:pt x="151" y="1737"/>
                  </a:lnTo>
                  <a:cubicBezTo>
                    <a:pt x="151" y="1737"/>
                    <a:pt x="154" y="1740"/>
                    <a:pt x="158" y="1740"/>
                  </a:cubicBezTo>
                  <a:cubicBezTo>
                    <a:pt x="205" y="1771"/>
                    <a:pt x="260" y="1784"/>
                    <a:pt x="318" y="1784"/>
                  </a:cubicBezTo>
                  <a:cubicBezTo>
                    <a:pt x="389" y="1784"/>
                    <a:pt x="468" y="1764"/>
                    <a:pt x="543" y="1720"/>
                  </a:cubicBezTo>
                  <a:cubicBezTo>
                    <a:pt x="857" y="1539"/>
                    <a:pt x="1113" y="1044"/>
                    <a:pt x="1123" y="590"/>
                  </a:cubicBezTo>
                  <a:cubicBezTo>
                    <a:pt x="1134" y="327"/>
                    <a:pt x="1055" y="130"/>
                    <a:pt x="912" y="44"/>
                  </a:cubicBezTo>
                  <a:cubicBezTo>
                    <a:pt x="862" y="15"/>
                    <a:pt x="808" y="0"/>
                    <a:pt x="749" y="0"/>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61" name="Google Shape;6711;p41">
              <a:extLst>
                <a:ext uri="{FF2B5EF4-FFF2-40B4-BE49-F238E27FC236}">
                  <a16:creationId xmlns:a16="http://schemas.microsoft.com/office/drawing/2014/main" id="{D9287F65-3146-3E40-ADAD-BEAB46361D81}"/>
                </a:ext>
              </a:extLst>
            </p:cNvPr>
            <p:cNvSpPr/>
            <p:nvPr/>
          </p:nvSpPr>
          <p:spPr>
            <a:xfrm>
              <a:off x="4808525" y="3104600"/>
              <a:ext cx="360425" cy="216850"/>
            </a:xfrm>
            <a:custGeom>
              <a:avLst/>
              <a:gdLst/>
              <a:ahLst/>
              <a:cxnLst/>
              <a:rect l="l" t="t" r="r" b="b"/>
              <a:pathLst>
                <a:path w="14417" h="8674" extrusionOk="0">
                  <a:moveTo>
                    <a:pt x="6789" y="0"/>
                  </a:moveTo>
                  <a:lnTo>
                    <a:pt x="76" y="4099"/>
                  </a:lnTo>
                  <a:cubicBezTo>
                    <a:pt x="35" y="4124"/>
                    <a:pt x="0" y="4178"/>
                    <a:pt x="0" y="4219"/>
                  </a:cubicBezTo>
                  <a:cubicBezTo>
                    <a:pt x="0" y="4260"/>
                    <a:pt x="35" y="4311"/>
                    <a:pt x="76" y="4335"/>
                  </a:cubicBezTo>
                  <a:lnTo>
                    <a:pt x="7561" y="8656"/>
                  </a:lnTo>
                  <a:cubicBezTo>
                    <a:pt x="7581" y="8668"/>
                    <a:pt x="7608" y="8674"/>
                    <a:pt x="7636" y="8674"/>
                  </a:cubicBezTo>
                  <a:cubicBezTo>
                    <a:pt x="7663" y="8674"/>
                    <a:pt x="7690" y="8668"/>
                    <a:pt x="7711" y="8656"/>
                  </a:cubicBezTo>
                  <a:lnTo>
                    <a:pt x="14417" y="4554"/>
                  </a:lnTo>
                  <a:lnTo>
                    <a:pt x="14417" y="4406"/>
                  </a:lnTo>
                  <a:lnTo>
                    <a:pt x="6789" y="0"/>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62" name="Google Shape;6712;p41">
              <a:extLst>
                <a:ext uri="{FF2B5EF4-FFF2-40B4-BE49-F238E27FC236}">
                  <a16:creationId xmlns:a16="http://schemas.microsoft.com/office/drawing/2014/main" id="{81D1CCFD-EBA1-FF43-B97A-D3780D93D4FB}"/>
                </a:ext>
              </a:extLst>
            </p:cNvPr>
            <p:cNvSpPr/>
            <p:nvPr/>
          </p:nvSpPr>
          <p:spPr>
            <a:xfrm>
              <a:off x="4809725" y="3207075"/>
              <a:ext cx="2575" cy="7025"/>
            </a:xfrm>
            <a:custGeom>
              <a:avLst/>
              <a:gdLst/>
              <a:ahLst/>
              <a:cxnLst/>
              <a:rect l="l" t="t" r="r" b="b"/>
              <a:pathLst>
                <a:path w="103" h="281" extrusionOk="0">
                  <a:moveTo>
                    <a:pt x="28" y="0"/>
                  </a:moveTo>
                  <a:cubicBezTo>
                    <a:pt x="25" y="3"/>
                    <a:pt x="21" y="6"/>
                    <a:pt x="18" y="9"/>
                  </a:cubicBezTo>
                  <a:lnTo>
                    <a:pt x="18" y="9"/>
                  </a:lnTo>
                  <a:cubicBezTo>
                    <a:pt x="19" y="9"/>
                    <a:pt x="20" y="8"/>
                    <a:pt x="21" y="8"/>
                  </a:cubicBezTo>
                  <a:cubicBezTo>
                    <a:pt x="24" y="4"/>
                    <a:pt x="24" y="4"/>
                    <a:pt x="28" y="0"/>
                  </a:cubicBezTo>
                  <a:close/>
                  <a:moveTo>
                    <a:pt x="18" y="9"/>
                  </a:moveTo>
                  <a:lnTo>
                    <a:pt x="18" y="9"/>
                  </a:lnTo>
                  <a:cubicBezTo>
                    <a:pt x="13" y="12"/>
                    <a:pt x="9" y="15"/>
                    <a:pt x="4" y="21"/>
                  </a:cubicBezTo>
                  <a:cubicBezTo>
                    <a:pt x="8" y="17"/>
                    <a:pt x="13" y="13"/>
                    <a:pt x="18" y="9"/>
                  </a:cubicBezTo>
                  <a:close/>
                  <a:moveTo>
                    <a:pt x="1" y="216"/>
                  </a:moveTo>
                  <a:cubicBezTo>
                    <a:pt x="8" y="223"/>
                    <a:pt x="13" y="228"/>
                    <a:pt x="20" y="232"/>
                  </a:cubicBezTo>
                  <a:lnTo>
                    <a:pt x="20" y="232"/>
                  </a:lnTo>
                  <a:cubicBezTo>
                    <a:pt x="14" y="228"/>
                    <a:pt x="7" y="222"/>
                    <a:pt x="1" y="216"/>
                  </a:cubicBezTo>
                  <a:close/>
                  <a:moveTo>
                    <a:pt x="20" y="232"/>
                  </a:moveTo>
                  <a:lnTo>
                    <a:pt x="20" y="232"/>
                  </a:lnTo>
                  <a:cubicBezTo>
                    <a:pt x="23" y="235"/>
                    <a:pt x="25" y="237"/>
                    <a:pt x="28" y="239"/>
                  </a:cubicBezTo>
                  <a:lnTo>
                    <a:pt x="103" y="280"/>
                  </a:lnTo>
                  <a:lnTo>
                    <a:pt x="103" y="280"/>
                  </a:lnTo>
                  <a:lnTo>
                    <a:pt x="28" y="236"/>
                  </a:lnTo>
                  <a:cubicBezTo>
                    <a:pt x="25" y="235"/>
                    <a:pt x="22" y="234"/>
                    <a:pt x="20" y="232"/>
                  </a:cubicBezTo>
                  <a:close/>
                </a:path>
              </a:pathLst>
            </a:custGeom>
            <a:solidFill>
              <a:srgbClr val="E1E1E1"/>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63" name="Google Shape;6713;p41">
              <a:extLst>
                <a:ext uri="{FF2B5EF4-FFF2-40B4-BE49-F238E27FC236}">
                  <a16:creationId xmlns:a16="http://schemas.microsoft.com/office/drawing/2014/main" id="{9B6922E6-4B32-D340-BA40-FCA6FFF6AD95}"/>
                </a:ext>
              </a:extLst>
            </p:cNvPr>
            <p:cNvSpPr/>
            <p:nvPr/>
          </p:nvSpPr>
          <p:spPr>
            <a:xfrm>
              <a:off x="4812300" y="3214075"/>
              <a:ext cx="185325" cy="106925"/>
            </a:xfrm>
            <a:custGeom>
              <a:avLst/>
              <a:gdLst/>
              <a:ahLst/>
              <a:cxnLst/>
              <a:rect l="l" t="t" r="r" b="b"/>
              <a:pathLst>
                <a:path w="7413" h="4277" extrusionOk="0">
                  <a:moveTo>
                    <a:pt x="0" y="0"/>
                  </a:moveTo>
                  <a:lnTo>
                    <a:pt x="0" y="0"/>
                  </a:lnTo>
                  <a:lnTo>
                    <a:pt x="7410" y="4277"/>
                  </a:lnTo>
                  <a:lnTo>
                    <a:pt x="7413" y="4277"/>
                  </a:lnTo>
                  <a:lnTo>
                    <a:pt x="7410" y="4277"/>
                  </a:lnTo>
                  <a:close/>
                </a:path>
              </a:pathLst>
            </a:custGeom>
            <a:solidFill>
              <a:srgbClr val="E1E1E1"/>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64" name="Google Shape;6714;p41">
              <a:extLst>
                <a:ext uri="{FF2B5EF4-FFF2-40B4-BE49-F238E27FC236}">
                  <a16:creationId xmlns:a16="http://schemas.microsoft.com/office/drawing/2014/main" id="{EE894ED6-40DB-4F46-A806-4507FB2F6FC3}"/>
                </a:ext>
              </a:extLst>
            </p:cNvPr>
            <p:cNvSpPr/>
            <p:nvPr/>
          </p:nvSpPr>
          <p:spPr>
            <a:xfrm>
              <a:off x="4808525" y="3207250"/>
              <a:ext cx="190900" cy="114200"/>
            </a:xfrm>
            <a:custGeom>
              <a:avLst/>
              <a:gdLst/>
              <a:ahLst/>
              <a:cxnLst/>
              <a:rect l="l" t="t" r="r" b="b"/>
              <a:pathLst>
                <a:path w="7636" h="4568" extrusionOk="0">
                  <a:moveTo>
                    <a:pt x="69" y="1"/>
                  </a:moveTo>
                  <a:cubicBezTo>
                    <a:pt x="62" y="4"/>
                    <a:pt x="58" y="7"/>
                    <a:pt x="52" y="14"/>
                  </a:cubicBezTo>
                  <a:cubicBezTo>
                    <a:pt x="38" y="28"/>
                    <a:pt x="25" y="45"/>
                    <a:pt x="14" y="62"/>
                  </a:cubicBezTo>
                  <a:cubicBezTo>
                    <a:pt x="8" y="79"/>
                    <a:pt x="0" y="96"/>
                    <a:pt x="0" y="113"/>
                  </a:cubicBezTo>
                  <a:cubicBezTo>
                    <a:pt x="0" y="130"/>
                    <a:pt x="8" y="147"/>
                    <a:pt x="17" y="164"/>
                  </a:cubicBezTo>
                  <a:cubicBezTo>
                    <a:pt x="25" y="182"/>
                    <a:pt x="35" y="198"/>
                    <a:pt x="49" y="209"/>
                  </a:cubicBezTo>
                  <a:cubicBezTo>
                    <a:pt x="58" y="218"/>
                    <a:pt x="66" y="226"/>
                    <a:pt x="76" y="229"/>
                  </a:cubicBezTo>
                  <a:lnTo>
                    <a:pt x="151" y="273"/>
                  </a:lnTo>
                  <a:lnTo>
                    <a:pt x="7561" y="4550"/>
                  </a:lnTo>
                  <a:lnTo>
                    <a:pt x="7564" y="4550"/>
                  </a:lnTo>
                  <a:cubicBezTo>
                    <a:pt x="7584" y="4560"/>
                    <a:pt x="7608" y="4567"/>
                    <a:pt x="7635" y="4567"/>
                  </a:cubicBezTo>
                  <a:lnTo>
                    <a:pt x="7635" y="4416"/>
                  </a:lnTo>
                  <a:cubicBezTo>
                    <a:pt x="7608" y="4416"/>
                    <a:pt x="7581" y="4413"/>
                    <a:pt x="7561" y="4400"/>
                  </a:cubicBezTo>
                  <a:lnTo>
                    <a:pt x="76" y="79"/>
                  </a:lnTo>
                  <a:cubicBezTo>
                    <a:pt x="55" y="69"/>
                    <a:pt x="45" y="51"/>
                    <a:pt x="45" y="38"/>
                  </a:cubicBezTo>
                  <a:cubicBezTo>
                    <a:pt x="45" y="24"/>
                    <a:pt x="55" y="10"/>
                    <a:pt x="69" y="1"/>
                  </a:cubicBez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65" name="Google Shape;6715;p41">
              <a:extLst>
                <a:ext uri="{FF2B5EF4-FFF2-40B4-BE49-F238E27FC236}">
                  <a16:creationId xmlns:a16="http://schemas.microsoft.com/office/drawing/2014/main" id="{0F79A271-93E4-6241-BEC7-C3DACFCA0729}"/>
                </a:ext>
              </a:extLst>
            </p:cNvPr>
            <p:cNvSpPr/>
            <p:nvPr/>
          </p:nvSpPr>
          <p:spPr>
            <a:xfrm>
              <a:off x="4809375" y="3104600"/>
              <a:ext cx="359575" cy="213075"/>
            </a:xfrm>
            <a:custGeom>
              <a:avLst/>
              <a:gdLst/>
              <a:ahLst/>
              <a:cxnLst/>
              <a:rect l="l" t="t" r="r" b="b"/>
              <a:pathLst>
                <a:path w="14383" h="8523" extrusionOk="0">
                  <a:moveTo>
                    <a:pt x="6755" y="0"/>
                  </a:moveTo>
                  <a:lnTo>
                    <a:pt x="42" y="4099"/>
                  </a:lnTo>
                  <a:cubicBezTo>
                    <a:pt x="1" y="4124"/>
                    <a:pt x="1" y="4165"/>
                    <a:pt x="42" y="4185"/>
                  </a:cubicBezTo>
                  <a:lnTo>
                    <a:pt x="7527" y="8506"/>
                  </a:lnTo>
                  <a:cubicBezTo>
                    <a:pt x="7547" y="8519"/>
                    <a:pt x="7574" y="8522"/>
                    <a:pt x="7601" y="8522"/>
                  </a:cubicBezTo>
                  <a:cubicBezTo>
                    <a:pt x="7629" y="8522"/>
                    <a:pt x="7656" y="8519"/>
                    <a:pt x="7677" y="8506"/>
                  </a:cubicBezTo>
                  <a:lnTo>
                    <a:pt x="14383" y="4406"/>
                  </a:lnTo>
                  <a:lnTo>
                    <a:pt x="6755" y="0"/>
                  </a:lnTo>
                  <a:close/>
                </a:path>
              </a:pathLst>
            </a:custGeom>
            <a:solidFill>
              <a:schemeClr val="accent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66" name="Google Shape;6716;p41">
              <a:extLst>
                <a:ext uri="{FF2B5EF4-FFF2-40B4-BE49-F238E27FC236}">
                  <a16:creationId xmlns:a16="http://schemas.microsoft.com/office/drawing/2014/main" id="{6D17C950-C235-FB4E-B66A-C1747CC4E219}"/>
                </a:ext>
              </a:extLst>
            </p:cNvPr>
            <p:cNvSpPr/>
            <p:nvPr/>
          </p:nvSpPr>
          <p:spPr>
            <a:xfrm>
              <a:off x="5135250" y="3220050"/>
              <a:ext cx="31250" cy="19050"/>
            </a:xfrm>
            <a:custGeom>
              <a:avLst/>
              <a:gdLst/>
              <a:ahLst/>
              <a:cxnLst/>
              <a:rect l="l" t="t" r="r" b="b"/>
              <a:pathLst>
                <a:path w="1250" h="762" extrusionOk="0">
                  <a:moveTo>
                    <a:pt x="549" y="427"/>
                  </a:moveTo>
                  <a:lnTo>
                    <a:pt x="0" y="761"/>
                  </a:lnTo>
                  <a:lnTo>
                    <a:pt x="0" y="761"/>
                  </a:lnTo>
                  <a:lnTo>
                    <a:pt x="549" y="427"/>
                  </a:lnTo>
                  <a:lnTo>
                    <a:pt x="549" y="427"/>
                  </a:lnTo>
                  <a:close/>
                  <a:moveTo>
                    <a:pt x="1249" y="0"/>
                  </a:moveTo>
                  <a:lnTo>
                    <a:pt x="665" y="355"/>
                  </a:lnTo>
                  <a:lnTo>
                    <a:pt x="665" y="355"/>
                  </a:lnTo>
                  <a:lnTo>
                    <a:pt x="1249" y="0"/>
                  </a:lnTo>
                  <a:close/>
                </a:path>
              </a:pathLst>
            </a:custGeom>
            <a:solidFill>
              <a:srgbClr val="0A352E"/>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67" name="Google Shape;6717;p41">
              <a:extLst>
                <a:ext uri="{FF2B5EF4-FFF2-40B4-BE49-F238E27FC236}">
                  <a16:creationId xmlns:a16="http://schemas.microsoft.com/office/drawing/2014/main" id="{AE0FEFE8-10B2-314C-895F-61CA89628195}"/>
                </a:ext>
              </a:extLst>
            </p:cNvPr>
            <p:cNvSpPr/>
            <p:nvPr/>
          </p:nvSpPr>
          <p:spPr>
            <a:xfrm>
              <a:off x="5000500" y="3242300"/>
              <a:ext cx="129475" cy="78950"/>
            </a:xfrm>
            <a:custGeom>
              <a:avLst/>
              <a:gdLst/>
              <a:ahLst/>
              <a:cxnLst/>
              <a:rect l="l" t="t" r="r" b="b"/>
              <a:pathLst>
                <a:path w="5179" h="3158" extrusionOk="0">
                  <a:moveTo>
                    <a:pt x="5178" y="1"/>
                  </a:moveTo>
                  <a:lnTo>
                    <a:pt x="32" y="3148"/>
                  </a:lnTo>
                  <a:cubicBezTo>
                    <a:pt x="21" y="3151"/>
                    <a:pt x="11" y="3154"/>
                    <a:pt x="1" y="3158"/>
                  </a:cubicBezTo>
                  <a:cubicBezTo>
                    <a:pt x="11" y="3154"/>
                    <a:pt x="21" y="3151"/>
                    <a:pt x="32" y="3148"/>
                  </a:cubicBezTo>
                  <a:lnTo>
                    <a:pt x="5178" y="1"/>
                  </a:lnTo>
                  <a:close/>
                </a:path>
              </a:pathLst>
            </a:custGeom>
            <a:solidFill>
              <a:srgbClr val="C8C8C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68" name="Google Shape;6718;p41">
              <a:extLst>
                <a:ext uri="{FF2B5EF4-FFF2-40B4-BE49-F238E27FC236}">
                  <a16:creationId xmlns:a16="http://schemas.microsoft.com/office/drawing/2014/main" id="{451E7CFF-3DCC-644C-86F3-E1FB2110CF36}"/>
                </a:ext>
              </a:extLst>
            </p:cNvPr>
            <p:cNvSpPr/>
            <p:nvPr/>
          </p:nvSpPr>
          <p:spPr>
            <a:xfrm>
              <a:off x="5129950" y="3228925"/>
              <a:ext cx="21950" cy="13400"/>
            </a:xfrm>
            <a:custGeom>
              <a:avLst/>
              <a:gdLst/>
              <a:ahLst/>
              <a:cxnLst/>
              <a:rect l="l" t="t" r="r" b="b"/>
              <a:pathLst>
                <a:path w="878" h="536" extrusionOk="0">
                  <a:moveTo>
                    <a:pt x="212" y="406"/>
                  </a:moveTo>
                  <a:lnTo>
                    <a:pt x="0" y="536"/>
                  </a:lnTo>
                  <a:lnTo>
                    <a:pt x="0" y="536"/>
                  </a:lnTo>
                  <a:lnTo>
                    <a:pt x="212" y="406"/>
                  </a:lnTo>
                  <a:lnTo>
                    <a:pt x="212" y="406"/>
                  </a:lnTo>
                  <a:close/>
                  <a:moveTo>
                    <a:pt x="877" y="0"/>
                  </a:moveTo>
                  <a:lnTo>
                    <a:pt x="761" y="72"/>
                  </a:lnTo>
                  <a:lnTo>
                    <a:pt x="761" y="72"/>
                  </a:lnTo>
                  <a:lnTo>
                    <a:pt x="877" y="0"/>
                  </a:lnTo>
                  <a:close/>
                </a:path>
              </a:pathLst>
            </a:custGeom>
            <a:solidFill>
              <a:srgbClr val="1E282D"/>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69" name="Google Shape;6719;p41">
              <a:extLst>
                <a:ext uri="{FF2B5EF4-FFF2-40B4-BE49-F238E27FC236}">
                  <a16:creationId xmlns:a16="http://schemas.microsoft.com/office/drawing/2014/main" id="{D4C09869-70C0-7748-9535-2FCF993F0A13}"/>
                </a:ext>
              </a:extLst>
            </p:cNvPr>
            <p:cNvSpPr/>
            <p:nvPr/>
          </p:nvSpPr>
          <p:spPr>
            <a:xfrm>
              <a:off x="4999400" y="3214750"/>
              <a:ext cx="169550" cy="106700"/>
            </a:xfrm>
            <a:custGeom>
              <a:avLst/>
              <a:gdLst/>
              <a:ahLst/>
              <a:cxnLst/>
              <a:rect l="l" t="t" r="r" b="b"/>
              <a:pathLst>
                <a:path w="6782" h="4268" extrusionOk="0">
                  <a:moveTo>
                    <a:pt x="6782" y="0"/>
                  </a:moveTo>
                  <a:lnTo>
                    <a:pt x="76" y="4100"/>
                  </a:lnTo>
                  <a:cubicBezTo>
                    <a:pt x="55" y="4113"/>
                    <a:pt x="28" y="4116"/>
                    <a:pt x="0" y="4116"/>
                  </a:cubicBezTo>
                  <a:lnTo>
                    <a:pt x="0" y="4267"/>
                  </a:lnTo>
                  <a:cubicBezTo>
                    <a:pt x="14" y="4267"/>
                    <a:pt x="31" y="4264"/>
                    <a:pt x="45" y="4260"/>
                  </a:cubicBezTo>
                  <a:cubicBezTo>
                    <a:pt x="55" y="4256"/>
                    <a:pt x="65" y="4253"/>
                    <a:pt x="76" y="4250"/>
                  </a:cubicBezTo>
                  <a:lnTo>
                    <a:pt x="5222" y="1103"/>
                  </a:lnTo>
                  <a:lnTo>
                    <a:pt x="5434" y="973"/>
                  </a:lnTo>
                  <a:lnTo>
                    <a:pt x="5983" y="639"/>
                  </a:lnTo>
                  <a:lnTo>
                    <a:pt x="6099" y="567"/>
                  </a:lnTo>
                  <a:lnTo>
                    <a:pt x="6683" y="212"/>
                  </a:lnTo>
                  <a:lnTo>
                    <a:pt x="6683" y="72"/>
                  </a:lnTo>
                  <a:lnTo>
                    <a:pt x="6782" y="4"/>
                  </a:lnTo>
                  <a:lnTo>
                    <a:pt x="6782" y="0"/>
                  </a:ln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70" name="Google Shape;6720;p41">
              <a:extLst>
                <a:ext uri="{FF2B5EF4-FFF2-40B4-BE49-F238E27FC236}">
                  <a16:creationId xmlns:a16="http://schemas.microsoft.com/office/drawing/2014/main" id="{BDD62B60-6638-FA4C-AEC6-FD9C35D65A6C}"/>
                </a:ext>
              </a:extLst>
            </p:cNvPr>
            <p:cNvSpPr/>
            <p:nvPr/>
          </p:nvSpPr>
          <p:spPr>
            <a:xfrm>
              <a:off x="5166475" y="3214850"/>
              <a:ext cx="2475" cy="50200"/>
            </a:xfrm>
            <a:custGeom>
              <a:avLst/>
              <a:gdLst/>
              <a:ahLst/>
              <a:cxnLst/>
              <a:rect l="l" t="t" r="r" b="b"/>
              <a:pathLst>
                <a:path w="99" h="2008" extrusionOk="0">
                  <a:moveTo>
                    <a:pt x="99" y="0"/>
                  </a:moveTo>
                  <a:lnTo>
                    <a:pt x="0" y="68"/>
                  </a:lnTo>
                  <a:lnTo>
                    <a:pt x="0" y="2007"/>
                  </a:lnTo>
                  <a:lnTo>
                    <a:pt x="99" y="1949"/>
                  </a:lnTo>
                  <a:lnTo>
                    <a:pt x="99" y="0"/>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71" name="Google Shape;6721;p41">
              <a:extLst>
                <a:ext uri="{FF2B5EF4-FFF2-40B4-BE49-F238E27FC236}">
                  <a16:creationId xmlns:a16="http://schemas.microsoft.com/office/drawing/2014/main" id="{F6B47380-2804-A043-9CEC-7A235D1C6B3D}"/>
                </a:ext>
              </a:extLst>
            </p:cNvPr>
            <p:cNvSpPr/>
            <p:nvPr/>
          </p:nvSpPr>
          <p:spPr>
            <a:xfrm>
              <a:off x="5166475" y="3214850"/>
              <a:ext cx="2475" cy="50200"/>
            </a:xfrm>
            <a:custGeom>
              <a:avLst/>
              <a:gdLst/>
              <a:ahLst/>
              <a:cxnLst/>
              <a:rect l="l" t="t" r="r" b="b"/>
              <a:pathLst>
                <a:path w="99" h="2008" extrusionOk="0">
                  <a:moveTo>
                    <a:pt x="99" y="0"/>
                  </a:moveTo>
                  <a:lnTo>
                    <a:pt x="0" y="68"/>
                  </a:lnTo>
                  <a:lnTo>
                    <a:pt x="0" y="2007"/>
                  </a:lnTo>
                  <a:lnTo>
                    <a:pt x="99" y="1949"/>
                  </a:lnTo>
                  <a:lnTo>
                    <a:pt x="99" y="0"/>
                  </a:ln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72" name="Google Shape;6722;p41">
              <a:extLst>
                <a:ext uri="{FF2B5EF4-FFF2-40B4-BE49-F238E27FC236}">
                  <a16:creationId xmlns:a16="http://schemas.microsoft.com/office/drawing/2014/main" id="{368C0E64-B8C8-B549-9545-B10E9EA1FC57}"/>
                </a:ext>
              </a:extLst>
            </p:cNvPr>
            <p:cNvSpPr/>
            <p:nvPr/>
          </p:nvSpPr>
          <p:spPr>
            <a:xfrm>
              <a:off x="4806825" y="3102800"/>
              <a:ext cx="357875" cy="206675"/>
            </a:xfrm>
            <a:custGeom>
              <a:avLst/>
              <a:gdLst/>
              <a:ahLst/>
              <a:cxnLst/>
              <a:rect l="l" t="t" r="r" b="b"/>
              <a:pathLst>
                <a:path w="14315" h="8267" extrusionOk="0">
                  <a:moveTo>
                    <a:pt x="6784" y="1"/>
                  </a:moveTo>
                  <a:cubicBezTo>
                    <a:pt x="6722" y="1"/>
                    <a:pt x="6661" y="15"/>
                    <a:pt x="6615" y="42"/>
                  </a:cubicBezTo>
                  <a:lnTo>
                    <a:pt x="0" y="3861"/>
                  </a:lnTo>
                  <a:lnTo>
                    <a:pt x="7632" y="8267"/>
                  </a:lnTo>
                  <a:lnTo>
                    <a:pt x="14246" y="4448"/>
                  </a:lnTo>
                  <a:cubicBezTo>
                    <a:pt x="14291" y="4421"/>
                    <a:pt x="14314" y="4387"/>
                    <a:pt x="14314" y="4349"/>
                  </a:cubicBezTo>
                  <a:lnTo>
                    <a:pt x="14314" y="4199"/>
                  </a:lnTo>
                  <a:lnTo>
                    <a:pt x="6956" y="42"/>
                  </a:lnTo>
                  <a:cubicBezTo>
                    <a:pt x="6908" y="15"/>
                    <a:pt x="6846" y="1"/>
                    <a:pt x="6784" y="1"/>
                  </a:cubicBez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73" name="Google Shape;6723;p41">
              <a:extLst>
                <a:ext uri="{FF2B5EF4-FFF2-40B4-BE49-F238E27FC236}">
                  <a16:creationId xmlns:a16="http://schemas.microsoft.com/office/drawing/2014/main" id="{D77B7E10-EFA3-C248-BBDD-426358D81F2C}"/>
                </a:ext>
              </a:extLst>
            </p:cNvPr>
            <p:cNvSpPr/>
            <p:nvPr/>
          </p:nvSpPr>
          <p:spPr>
            <a:xfrm>
              <a:off x="5000175" y="3207850"/>
              <a:ext cx="164525" cy="100100"/>
            </a:xfrm>
            <a:custGeom>
              <a:avLst/>
              <a:gdLst/>
              <a:ahLst/>
              <a:cxnLst/>
              <a:rect l="l" t="t" r="r" b="b"/>
              <a:pathLst>
                <a:path w="6581" h="4004" extrusionOk="0">
                  <a:moveTo>
                    <a:pt x="6580" y="0"/>
                  </a:moveTo>
                  <a:cubicBezTo>
                    <a:pt x="6580" y="35"/>
                    <a:pt x="6557" y="72"/>
                    <a:pt x="6512" y="99"/>
                  </a:cubicBezTo>
                  <a:lnTo>
                    <a:pt x="0" y="3857"/>
                  </a:lnTo>
                  <a:lnTo>
                    <a:pt x="0" y="4003"/>
                  </a:lnTo>
                  <a:lnTo>
                    <a:pt x="6512" y="246"/>
                  </a:lnTo>
                  <a:cubicBezTo>
                    <a:pt x="6557" y="219"/>
                    <a:pt x="6580" y="185"/>
                    <a:pt x="6580" y="147"/>
                  </a:cubicBezTo>
                  <a:lnTo>
                    <a:pt x="6580" y="126"/>
                  </a:lnTo>
                  <a:lnTo>
                    <a:pt x="6580" y="123"/>
                  </a:lnTo>
                  <a:lnTo>
                    <a:pt x="6580" y="120"/>
                  </a:lnTo>
                  <a:lnTo>
                    <a:pt x="6580" y="117"/>
                  </a:lnTo>
                  <a:lnTo>
                    <a:pt x="6580" y="113"/>
                  </a:lnTo>
                  <a:lnTo>
                    <a:pt x="6580" y="109"/>
                  </a:lnTo>
                  <a:lnTo>
                    <a:pt x="6580" y="106"/>
                  </a:lnTo>
                  <a:lnTo>
                    <a:pt x="6580" y="103"/>
                  </a:lnTo>
                  <a:lnTo>
                    <a:pt x="6580" y="99"/>
                  </a:lnTo>
                  <a:lnTo>
                    <a:pt x="6580" y="96"/>
                  </a:lnTo>
                  <a:lnTo>
                    <a:pt x="6580" y="0"/>
                  </a:ln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74" name="Google Shape;6724;p41">
              <a:extLst>
                <a:ext uri="{FF2B5EF4-FFF2-40B4-BE49-F238E27FC236}">
                  <a16:creationId xmlns:a16="http://schemas.microsoft.com/office/drawing/2014/main" id="{C00E3E51-8ACF-B64F-81F4-42777CC011D6}"/>
                </a:ext>
              </a:extLst>
            </p:cNvPr>
            <p:cNvSpPr/>
            <p:nvPr/>
          </p:nvSpPr>
          <p:spPr>
            <a:xfrm>
              <a:off x="4806825" y="3099150"/>
              <a:ext cx="358475" cy="206575"/>
            </a:xfrm>
            <a:custGeom>
              <a:avLst/>
              <a:gdLst/>
              <a:ahLst/>
              <a:cxnLst/>
              <a:rect l="l" t="t" r="r" b="b"/>
              <a:pathLst>
                <a:path w="14339" h="8263" extrusionOk="0">
                  <a:moveTo>
                    <a:pt x="6784" y="0"/>
                  </a:moveTo>
                  <a:cubicBezTo>
                    <a:pt x="6722" y="0"/>
                    <a:pt x="6661" y="14"/>
                    <a:pt x="6615" y="41"/>
                  </a:cubicBezTo>
                  <a:lnTo>
                    <a:pt x="0" y="3860"/>
                  </a:lnTo>
                  <a:lnTo>
                    <a:pt x="7632" y="8263"/>
                  </a:lnTo>
                  <a:lnTo>
                    <a:pt x="14246" y="4447"/>
                  </a:lnTo>
                  <a:cubicBezTo>
                    <a:pt x="14338" y="4393"/>
                    <a:pt x="14338" y="4304"/>
                    <a:pt x="14246" y="4249"/>
                  </a:cubicBezTo>
                  <a:lnTo>
                    <a:pt x="6956" y="41"/>
                  </a:lnTo>
                  <a:cubicBezTo>
                    <a:pt x="6908" y="14"/>
                    <a:pt x="6846" y="0"/>
                    <a:pt x="6784" y="0"/>
                  </a:cubicBez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75" name="Google Shape;6725;p41">
              <a:extLst>
                <a:ext uri="{FF2B5EF4-FFF2-40B4-BE49-F238E27FC236}">
                  <a16:creationId xmlns:a16="http://schemas.microsoft.com/office/drawing/2014/main" id="{30DC68DE-3141-B540-BC6C-A19A22295F6C}"/>
                </a:ext>
              </a:extLst>
            </p:cNvPr>
            <p:cNvSpPr/>
            <p:nvPr/>
          </p:nvSpPr>
          <p:spPr>
            <a:xfrm>
              <a:off x="5000175" y="3203575"/>
              <a:ext cx="164525" cy="100700"/>
            </a:xfrm>
            <a:custGeom>
              <a:avLst/>
              <a:gdLst/>
              <a:ahLst/>
              <a:cxnLst/>
              <a:rect l="l" t="t" r="r" b="b"/>
              <a:pathLst>
                <a:path w="6581" h="4028" extrusionOk="0">
                  <a:moveTo>
                    <a:pt x="0" y="3093"/>
                  </a:moveTo>
                  <a:lnTo>
                    <a:pt x="0" y="3287"/>
                  </a:lnTo>
                  <a:cubicBezTo>
                    <a:pt x="27" y="3298"/>
                    <a:pt x="54" y="3304"/>
                    <a:pt x="86" y="3304"/>
                  </a:cubicBezTo>
                  <a:cubicBezTo>
                    <a:pt x="140" y="3304"/>
                    <a:pt x="205" y="3284"/>
                    <a:pt x="270" y="3250"/>
                  </a:cubicBezTo>
                  <a:lnTo>
                    <a:pt x="294" y="3260"/>
                  </a:lnTo>
                  <a:lnTo>
                    <a:pt x="0" y="3093"/>
                  </a:lnTo>
                  <a:close/>
                  <a:moveTo>
                    <a:pt x="6386" y="1"/>
                  </a:moveTo>
                  <a:lnTo>
                    <a:pt x="6386" y="124"/>
                  </a:lnTo>
                  <a:lnTo>
                    <a:pt x="6376" y="130"/>
                  </a:lnTo>
                  <a:cubicBezTo>
                    <a:pt x="6396" y="175"/>
                    <a:pt x="6379" y="226"/>
                    <a:pt x="6314" y="263"/>
                  </a:cubicBezTo>
                  <a:lnTo>
                    <a:pt x="706" y="3499"/>
                  </a:lnTo>
                  <a:lnTo>
                    <a:pt x="369" y="3304"/>
                  </a:lnTo>
                  <a:cubicBezTo>
                    <a:pt x="355" y="3314"/>
                    <a:pt x="338" y="3322"/>
                    <a:pt x="325" y="3328"/>
                  </a:cubicBezTo>
                  <a:cubicBezTo>
                    <a:pt x="243" y="3376"/>
                    <a:pt x="161" y="3400"/>
                    <a:pt x="86" y="3400"/>
                  </a:cubicBezTo>
                  <a:cubicBezTo>
                    <a:pt x="54" y="3400"/>
                    <a:pt x="27" y="3396"/>
                    <a:pt x="0" y="3390"/>
                  </a:cubicBezTo>
                  <a:lnTo>
                    <a:pt x="0" y="4028"/>
                  </a:lnTo>
                  <a:lnTo>
                    <a:pt x="6512" y="270"/>
                  </a:lnTo>
                  <a:cubicBezTo>
                    <a:pt x="6557" y="243"/>
                    <a:pt x="6580" y="206"/>
                    <a:pt x="6580" y="171"/>
                  </a:cubicBezTo>
                  <a:cubicBezTo>
                    <a:pt x="6580" y="134"/>
                    <a:pt x="6557" y="99"/>
                    <a:pt x="6512" y="72"/>
                  </a:cubicBezTo>
                  <a:lnTo>
                    <a:pt x="6386" y="1"/>
                  </a:ln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76" name="Google Shape;6726;p41">
              <a:extLst>
                <a:ext uri="{FF2B5EF4-FFF2-40B4-BE49-F238E27FC236}">
                  <a16:creationId xmlns:a16="http://schemas.microsoft.com/office/drawing/2014/main" id="{CACD95CC-0826-344F-9A86-810B288C1EB5}"/>
                </a:ext>
              </a:extLst>
            </p:cNvPr>
            <p:cNvSpPr/>
            <p:nvPr/>
          </p:nvSpPr>
          <p:spPr>
            <a:xfrm>
              <a:off x="4827050" y="3098975"/>
              <a:ext cx="333050" cy="192075"/>
            </a:xfrm>
            <a:custGeom>
              <a:avLst/>
              <a:gdLst/>
              <a:ahLst/>
              <a:cxnLst/>
              <a:rect l="l" t="t" r="r" b="b"/>
              <a:pathLst>
                <a:path w="13322" h="7683" extrusionOk="0">
                  <a:moveTo>
                    <a:pt x="5781" y="0"/>
                  </a:moveTo>
                  <a:cubicBezTo>
                    <a:pt x="5719" y="0"/>
                    <a:pt x="5657" y="14"/>
                    <a:pt x="5612" y="41"/>
                  </a:cubicBezTo>
                  <a:lnTo>
                    <a:pt x="713" y="2867"/>
                  </a:lnTo>
                  <a:lnTo>
                    <a:pt x="1" y="2457"/>
                  </a:lnTo>
                  <a:lnTo>
                    <a:pt x="1" y="3280"/>
                  </a:lnTo>
                  <a:lnTo>
                    <a:pt x="7631" y="7683"/>
                  </a:lnTo>
                  <a:lnTo>
                    <a:pt x="13239" y="4447"/>
                  </a:lnTo>
                  <a:cubicBezTo>
                    <a:pt x="13304" y="4410"/>
                    <a:pt x="13321" y="4359"/>
                    <a:pt x="13301" y="4314"/>
                  </a:cubicBezTo>
                  <a:lnTo>
                    <a:pt x="13311" y="4308"/>
                  </a:lnTo>
                  <a:lnTo>
                    <a:pt x="13311" y="3553"/>
                  </a:lnTo>
                  <a:lnTo>
                    <a:pt x="12676" y="3922"/>
                  </a:lnTo>
                  <a:lnTo>
                    <a:pt x="5952" y="41"/>
                  </a:lnTo>
                  <a:cubicBezTo>
                    <a:pt x="5905" y="14"/>
                    <a:pt x="5843" y="0"/>
                    <a:pt x="5781" y="0"/>
                  </a:cubicBezTo>
                  <a:close/>
                </a:path>
              </a:pathLst>
            </a:custGeom>
            <a:solidFill>
              <a:srgbClr val="EBEBEB"/>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77" name="Google Shape;6727;p41">
              <a:extLst>
                <a:ext uri="{FF2B5EF4-FFF2-40B4-BE49-F238E27FC236}">
                  <a16:creationId xmlns:a16="http://schemas.microsoft.com/office/drawing/2014/main" id="{23DEE9DA-521E-7142-8CC6-28FAEB27E97F}"/>
                </a:ext>
              </a:extLst>
            </p:cNvPr>
            <p:cNvSpPr/>
            <p:nvPr/>
          </p:nvSpPr>
          <p:spPr>
            <a:xfrm>
              <a:off x="4827050" y="3078400"/>
              <a:ext cx="333375" cy="192100"/>
            </a:xfrm>
            <a:custGeom>
              <a:avLst/>
              <a:gdLst/>
              <a:ahLst/>
              <a:cxnLst/>
              <a:rect l="l" t="t" r="r" b="b"/>
              <a:pathLst>
                <a:path w="13335" h="7684" extrusionOk="0">
                  <a:moveTo>
                    <a:pt x="5781" y="0"/>
                  </a:moveTo>
                  <a:cubicBezTo>
                    <a:pt x="5719" y="0"/>
                    <a:pt x="5657" y="14"/>
                    <a:pt x="5612" y="42"/>
                  </a:cubicBezTo>
                  <a:lnTo>
                    <a:pt x="1" y="3280"/>
                  </a:lnTo>
                  <a:lnTo>
                    <a:pt x="7631" y="7683"/>
                  </a:lnTo>
                  <a:lnTo>
                    <a:pt x="13239" y="4448"/>
                  </a:lnTo>
                  <a:cubicBezTo>
                    <a:pt x="13335" y="4394"/>
                    <a:pt x="13335" y="4304"/>
                    <a:pt x="13239" y="4250"/>
                  </a:cubicBezTo>
                  <a:lnTo>
                    <a:pt x="5952" y="42"/>
                  </a:lnTo>
                  <a:cubicBezTo>
                    <a:pt x="5905" y="14"/>
                    <a:pt x="5843" y="0"/>
                    <a:pt x="5781" y="0"/>
                  </a:cubicBezTo>
                  <a:close/>
                </a:path>
              </a:pathLst>
            </a:custGeom>
            <a:solidFill>
              <a:srgbClr val="FAFAFA"/>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78" name="Google Shape;6728;p41">
              <a:extLst>
                <a:ext uri="{FF2B5EF4-FFF2-40B4-BE49-F238E27FC236}">
                  <a16:creationId xmlns:a16="http://schemas.microsoft.com/office/drawing/2014/main" id="{DD153A7E-70A4-044D-A992-A444269403FC}"/>
                </a:ext>
              </a:extLst>
            </p:cNvPr>
            <p:cNvSpPr/>
            <p:nvPr/>
          </p:nvSpPr>
          <p:spPr>
            <a:xfrm>
              <a:off x="4827050" y="3160400"/>
              <a:ext cx="190800" cy="130650"/>
            </a:xfrm>
            <a:custGeom>
              <a:avLst/>
              <a:gdLst/>
              <a:ahLst/>
              <a:cxnLst/>
              <a:rect l="l" t="t" r="r" b="b"/>
              <a:pathLst>
                <a:path w="7632" h="5226" extrusionOk="0">
                  <a:moveTo>
                    <a:pt x="1" y="0"/>
                  </a:moveTo>
                  <a:lnTo>
                    <a:pt x="1" y="823"/>
                  </a:lnTo>
                  <a:lnTo>
                    <a:pt x="7631" y="5226"/>
                  </a:lnTo>
                  <a:lnTo>
                    <a:pt x="7631" y="4403"/>
                  </a:lnTo>
                  <a:lnTo>
                    <a:pt x="1" y="0"/>
                  </a:lnTo>
                  <a:close/>
                </a:path>
              </a:pathLst>
            </a:custGeom>
            <a:solidFill>
              <a:srgbClr val="E6E6E6"/>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79" name="Google Shape;6729;p41">
              <a:extLst>
                <a:ext uri="{FF2B5EF4-FFF2-40B4-BE49-F238E27FC236}">
                  <a16:creationId xmlns:a16="http://schemas.microsoft.com/office/drawing/2014/main" id="{7A9F02DE-476A-F143-8584-550862906DD6}"/>
                </a:ext>
              </a:extLst>
            </p:cNvPr>
            <p:cNvSpPr/>
            <p:nvPr/>
          </p:nvSpPr>
          <p:spPr>
            <a:xfrm>
              <a:off x="5014000" y="3259100"/>
              <a:ext cx="7775" cy="4000"/>
            </a:xfrm>
            <a:custGeom>
              <a:avLst/>
              <a:gdLst/>
              <a:ahLst/>
              <a:cxnLst/>
              <a:rect l="l" t="t" r="r" b="b"/>
              <a:pathLst>
                <a:path w="311" h="160" extrusionOk="0">
                  <a:moveTo>
                    <a:pt x="137" y="1"/>
                  </a:moveTo>
                  <a:cubicBezTo>
                    <a:pt x="104" y="1"/>
                    <a:pt x="74" y="7"/>
                    <a:pt x="51" y="22"/>
                  </a:cubicBezTo>
                  <a:cubicBezTo>
                    <a:pt x="45" y="22"/>
                    <a:pt x="41" y="25"/>
                    <a:pt x="41" y="28"/>
                  </a:cubicBezTo>
                  <a:cubicBezTo>
                    <a:pt x="0" y="60"/>
                    <a:pt x="7" y="100"/>
                    <a:pt x="65" y="135"/>
                  </a:cubicBezTo>
                  <a:cubicBezTo>
                    <a:pt x="82" y="145"/>
                    <a:pt x="103" y="151"/>
                    <a:pt x="126" y="155"/>
                  </a:cubicBezTo>
                  <a:cubicBezTo>
                    <a:pt x="142" y="158"/>
                    <a:pt x="157" y="160"/>
                    <a:pt x="173" y="160"/>
                  </a:cubicBezTo>
                  <a:cubicBezTo>
                    <a:pt x="192" y="160"/>
                    <a:pt x="211" y="157"/>
                    <a:pt x="229" y="151"/>
                  </a:cubicBezTo>
                  <a:cubicBezTo>
                    <a:pt x="239" y="151"/>
                    <a:pt x="249" y="148"/>
                    <a:pt x="259" y="141"/>
                  </a:cubicBezTo>
                  <a:cubicBezTo>
                    <a:pt x="311" y="114"/>
                    <a:pt x="304" y="63"/>
                    <a:pt x="246" y="28"/>
                  </a:cubicBezTo>
                  <a:cubicBezTo>
                    <a:pt x="218" y="15"/>
                    <a:pt x="188" y="5"/>
                    <a:pt x="157" y="1"/>
                  </a:cubicBezTo>
                  <a:cubicBezTo>
                    <a:pt x="150" y="1"/>
                    <a:pt x="143" y="1"/>
                    <a:pt x="137" y="1"/>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80" name="Google Shape;6730;p41">
              <a:extLst>
                <a:ext uri="{FF2B5EF4-FFF2-40B4-BE49-F238E27FC236}">
                  <a16:creationId xmlns:a16="http://schemas.microsoft.com/office/drawing/2014/main" id="{A81F9AE6-FC3C-824C-833D-300FDFCBB446}"/>
                </a:ext>
              </a:extLst>
            </p:cNvPr>
            <p:cNvSpPr/>
            <p:nvPr/>
          </p:nvSpPr>
          <p:spPr>
            <a:xfrm>
              <a:off x="4993950" y="3256325"/>
              <a:ext cx="25775" cy="32275"/>
            </a:xfrm>
            <a:custGeom>
              <a:avLst/>
              <a:gdLst/>
              <a:ahLst/>
              <a:cxnLst/>
              <a:rect l="l" t="t" r="r" b="b"/>
              <a:pathLst>
                <a:path w="1031" h="1291" extrusionOk="0">
                  <a:moveTo>
                    <a:pt x="713" y="0"/>
                  </a:moveTo>
                  <a:cubicBezTo>
                    <a:pt x="635" y="0"/>
                    <a:pt x="557" y="24"/>
                    <a:pt x="475" y="71"/>
                  </a:cubicBezTo>
                  <a:cubicBezTo>
                    <a:pt x="208" y="221"/>
                    <a:pt x="0" y="583"/>
                    <a:pt x="0" y="891"/>
                  </a:cubicBezTo>
                  <a:cubicBezTo>
                    <a:pt x="0" y="1007"/>
                    <a:pt x="31" y="1102"/>
                    <a:pt x="89" y="1174"/>
                  </a:cubicBezTo>
                  <a:cubicBezTo>
                    <a:pt x="147" y="1249"/>
                    <a:pt x="235" y="1290"/>
                    <a:pt x="335" y="1290"/>
                  </a:cubicBezTo>
                  <a:cubicBezTo>
                    <a:pt x="410" y="1290"/>
                    <a:pt x="492" y="1266"/>
                    <a:pt x="574" y="1218"/>
                  </a:cubicBezTo>
                  <a:cubicBezTo>
                    <a:pt x="587" y="1212"/>
                    <a:pt x="604" y="1204"/>
                    <a:pt x="618" y="1194"/>
                  </a:cubicBezTo>
                  <a:lnTo>
                    <a:pt x="519" y="1140"/>
                  </a:lnTo>
                  <a:cubicBezTo>
                    <a:pt x="453" y="1176"/>
                    <a:pt x="391" y="1194"/>
                    <a:pt x="336" y="1194"/>
                  </a:cubicBezTo>
                  <a:cubicBezTo>
                    <a:pt x="196" y="1194"/>
                    <a:pt x="99" y="1082"/>
                    <a:pt x="99" y="891"/>
                  </a:cubicBezTo>
                  <a:cubicBezTo>
                    <a:pt x="99" y="621"/>
                    <a:pt x="290" y="290"/>
                    <a:pt x="522" y="157"/>
                  </a:cubicBezTo>
                  <a:cubicBezTo>
                    <a:pt x="589" y="117"/>
                    <a:pt x="654" y="98"/>
                    <a:pt x="711" y="98"/>
                  </a:cubicBezTo>
                  <a:cubicBezTo>
                    <a:pt x="762" y="98"/>
                    <a:pt x="807" y="113"/>
                    <a:pt x="843" y="139"/>
                  </a:cubicBezTo>
                  <a:cubicBezTo>
                    <a:pt x="881" y="167"/>
                    <a:pt x="911" y="208"/>
                    <a:pt x="928" y="266"/>
                  </a:cubicBezTo>
                  <a:cubicBezTo>
                    <a:pt x="944" y="269"/>
                    <a:pt x="959" y="271"/>
                    <a:pt x="975" y="271"/>
                  </a:cubicBezTo>
                  <a:cubicBezTo>
                    <a:pt x="994" y="271"/>
                    <a:pt x="1013" y="268"/>
                    <a:pt x="1031" y="262"/>
                  </a:cubicBezTo>
                  <a:cubicBezTo>
                    <a:pt x="1017" y="205"/>
                    <a:pt x="993" y="153"/>
                    <a:pt x="959" y="112"/>
                  </a:cubicBezTo>
                  <a:cubicBezTo>
                    <a:pt x="901" y="41"/>
                    <a:pt x="815" y="0"/>
                    <a:pt x="713" y="0"/>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81" name="Google Shape;6731;p41">
              <a:extLst>
                <a:ext uri="{FF2B5EF4-FFF2-40B4-BE49-F238E27FC236}">
                  <a16:creationId xmlns:a16="http://schemas.microsoft.com/office/drawing/2014/main" id="{5583E87E-A71F-2E45-9B4A-D77096988925}"/>
                </a:ext>
              </a:extLst>
            </p:cNvPr>
            <p:cNvSpPr/>
            <p:nvPr/>
          </p:nvSpPr>
          <p:spPr>
            <a:xfrm>
              <a:off x="5000100" y="3178675"/>
              <a:ext cx="164600" cy="84125"/>
            </a:xfrm>
            <a:custGeom>
              <a:avLst/>
              <a:gdLst/>
              <a:ahLst/>
              <a:cxnLst/>
              <a:rect l="l" t="t" r="r" b="b"/>
              <a:pathLst>
                <a:path w="6584" h="3365" extrusionOk="0">
                  <a:moveTo>
                    <a:pt x="6583" y="0"/>
                  </a:moveTo>
                  <a:lnTo>
                    <a:pt x="0" y="3215"/>
                  </a:lnTo>
                  <a:lnTo>
                    <a:pt x="0" y="3365"/>
                  </a:lnTo>
                  <a:lnTo>
                    <a:pt x="6498" y="256"/>
                  </a:lnTo>
                  <a:cubicBezTo>
                    <a:pt x="6546" y="229"/>
                    <a:pt x="6583" y="161"/>
                    <a:pt x="6583" y="106"/>
                  </a:cubicBezTo>
                  <a:lnTo>
                    <a:pt x="6583" y="0"/>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82" name="Google Shape;6732;p41">
              <a:extLst>
                <a:ext uri="{FF2B5EF4-FFF2-40B4-BE49-F238E27FC236}">
                  <a16:creationId xmlns:a16="http://schemas.microsoft.com/office/drawing/2014/main" id="{D97D3F89-7A05-294F-9B13-53A3E191C9AF}"/>
                </a:ext>
              </a:extLst>
            </p:cNvPr>
            <p:cNvSpPr/>
            <p:nvPr/>
          </p:nvSpPr>
          <p:spPr>
            <a:xfrm>
              <a:off x="5000175" y="3178675"/>
              <a:ext cx="164525" cy="84125"/>
            </a:xfrm>
            <a:custGeom>
              <a:avLst/>
              <a:gdLst/>
              <a:ahLst/>
              <a:cxnLst/>
              <a:rect l="l" t="t" r="r" b="b"/>
              <a:pathLst>
                <a:path w="6581" h="3365" extrusionOk="0">
                  <a:moveTo>
                    <a:pt x="6580" y="0"/>
                  </a:moveTo>
                  <a:cubicBezTo>
                    <a:pt x="6580" y="34"/>
                    <a:pt x="6557" y="71"/>
                    <a:pt x="6512" y="99"/>
                  </a:cubicBezTo>
                  <a:lnTo>
                    <a:pt x="0" y="3222"/>
                  </a:lnTo>
                  <a:lnTo>
                    <a:pt x="0" y="3365"/>
                  </a:lnTo>
                  <a:lnTo>
                    <a:pt x="6495" y="256"/>
                  </a:lnTo>
                  <a:cubicBezTo>
                    <a:pt x="6543" y="229"/>
                    <a:pt x="6580" y="161"/>
                    <a:pt x="6580" y="106"/>
                  </a:cubicBezTo>
                  <a:lnTo>
                    <a:pt x="6580" y="0"/>
                  </a:ln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83" name="Google Shape;6733;p41">
              <a:extLst>
                <a:ext uri="{FF2B5EF4-FFF2-40B4-BE49-F238E27FC236}">
                  <a16:creationId xmlns:a16="http://schemas.microsoft.com/office/drawing/2014/main" id="{9574946A-FB83-0841-8A41-497D8DEB0372}"/>
                </a:ext>
              </a:extLst>
            </p:cNvPr>
            <p:cNvSpPr/>
            <p:nvPr/>
          </p:nvSpPr>
          <p:spPr>
            <a:xfrm>
              <a:off x="4806825" y="3069950"/>
              <a:ext cx="358475" cy="190575"/>
            </a:xfrm>
            <a:custGeom>
              <a:avLst/>
              <a:gdLst/>
              <a:ahLst/>
              <a:cxnLst/>
              <a:rect l="l" t="t" r="r" b="b"/>
              <a:pathLst>
                <a:path w="14339" h="7623" extrusionOk="0">
                  <a:moveTo>
                    <a:pt x="6784" y="1"/>
                  </a:moveTo>
                  <a:cubicBezTo>
                    <a:pt x="6722" y="1"/>
                    <a:pt x="6661" y="15"/>
                    <a:pt x="6615" y="42"/>
                  </a:cubicBezTo>
                  <a:lnTo>
                    <a:pt x="0" y="3216"/>
                  </a:lnTo>
                  <a:lnTo>
                    <a:pt x="7632" y="7622"/>
                  </a:lnTo>
                  <a:lnTo>
                    <a:pt x="14246" y="4448"/>
                  </a:lnTo>
                  <a:cubicBezTo>
                    <a:pt x="14338" y="4393"/>
                    <a:pt x="14338" y="4305"/>
                    <a:pt x="14246" y="4250"/>
                  </a:cubicBezTo>
                  <a:lnTo>
                    <a:pt x="6956" y="42"/>
                  </a:lnTo>
                  <a:cubicBezTo>
                    <a:pt x="6908" y="15"/>
                    <a:pt x="6846" y="1"/>
                    <a:pt x="6784" y="1"/>
                  </a:cubicBezTo>
                  <a:close/>
                </a:path>
              </a:pathLst>
            </a:custGeom>
            <a:solidFill>
              <a:schemeClr val="accent6"/>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84" name="Google Shape;6734;p41">
              <a:extLst>
                <a:ext uri="{FF2B5EF4-FFF2-40B4-BE49-F238E27FC236}">
                  <a16:creationId xmlns:a16="http://schemas.microsoft.com/office/drawing/2014/main" id="{1DD41419-B045-094A-A073-448CFB5ACEA2}"/>
                </a:ext>
              </a:extLst>
            </p:cNvPr>
            <p:cNvSpPr/>
            <p:nvPr/>
          </p:nvSpPr>
          <p:spPr>
            <a:xfrm>
              <a:off x="4806825" y="3150250"/>
              <a:ext cx="190800" cy="159225"/>
            </a:xfrm>
            <a:custGeom>
              <a:avLst/>
              <a:gdLst/>
              <a:ahLst/>
              <a:cxnLst/>
              <a:rect l="l" t="t" r="r" b="b"/>
              <a:pathLst>
                <a:path w="7632" h="6369" extrusionOk="0">
                  <a:moveTo>
                    <a:pt x="0" y="0"/>
                  </a:moveTo>
                  <a:lnTo>
                    <a:pt x="0" y="1963"/>
                  </a:lnTo>
                  <a:lnTo>
                    <a:pt x="7632" y="6369"/>
                  </a:lnTo>
                  <a:lnTo>
                    <a:pt x="7632" y="4410"/>
                  </a:lnTo>
                  <a:lnTo>
                    <a:pt x="0" y="0"/>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85" name="Google Shape;6735;p41">
              <a:extLst>
                <a:ext uri="{FF2B5EF4-FFF2-40B4-BE49-F238E27FC236}">
                  <a16:creationId xmlns:a16="http://schemas.microsoft.com/office/drawing/2014/main" id="{53821433-C0DE-5542-8703-A9FEAB2016DE}"/>
                </a:ext>
              </a:extLst>
            </p:cNvPr>
            <p:cNvSpPr/>
            <p:nvPr/>
          </p:nvSpPr>
          <p:spPr>
            <a:xfrm>
              <a:off x="4806825" y="3150350"/>
              <a:ext cx="190800" cy="159125"/>
            </a:xfrm>
            <a:custGeom>
              <a:avLst/>
              <a:gdLst/>
              <a:ahLst/>
              <a:cxnLst/>
              <a:rect l="l" t="t" r="r" b="b"/>
              <a:pathLst>
                <a:path w="7632" h="6365" extrusionOk="0">
                  <a:moveTo>
                    <a:pt x="0" y="0"/>
                  </a:moveTo>
                  <a:lnTo>
                    <a:pt x="0" y="1959"/>
                  </a:lnTo>
                  <a:lnTo>
                    <a:pt x="7632" y="6365"/>
                  </a:lnTo>
                  <a:lnTo>
                    <a:pt x="7632" y="4877"/>
                  </a:lnTo>
                  <a:lnTo>
                    <a:pt x="7632" y="4645"/>
                  </a:lnTo>
                  <a:lnTo>
                    <a:pt x="7632" y="4406"/>
                  </a:lnTo>
                  <a:lnTo>
                    <a:pt x="5843" y="3372"/>
                  </a:lnTo>
                  <a:lnTo>
                    <a:pt x="0" y="0"/>
                  </a:lnTo>
                  <a:close/>
                </a:path>
              </a:pathLst>
            </a:custGeom>
            <a:solidFill>
              <a:schemeClr val="accent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86" name="Google Shape;6736;p41">
              <a:extLst>
                <a:ext uri="{FF2B5EF4-FFF2-40B4-BE49-F238E27FC236}">
                  <a16:creationId xmlns:a16="http://schemas.microsoft.com/office/drawing/2014/main" id="{90E9788F-71B5-B246-94C5-890CC4D26EC4}"/>
                </a:ext>
              </a:extLst>
            </p:cNvPr>
            <p:cNvSpPr/>
            <p:nvPr/>
          </p:nvSpPr>
          <p:spPr>
            <a:xfrm>
              <a:off x="4942150" y="3245650"/>
              <a:ext cx="26225" cy="32350"/>
            </a:xfrm>
            <a:custGeom>
              <a:avLst/>
              <a:gdLst/>
              <a:ahLst/>
              <a:cxnLst/>
              <a:rect l="l" t="t" r="r" b="b"/>
              <a:pathLst>
                <a:path w="1049" h="1294" extrusionOk="0">
                  <a:moveTo>
                    <a:pt x="335" y="0"/>
                  </a:moveTo>
                  <a:cubicBezTo>
                    <a:pt x="137" y="0"/>
                    <a:pt x="0" y="161"/>
                    <a:pt x="0" y="403"/>
                  </a:cubicBezTo>
                  <a:cubicBezTo>
                    <a:pt x="0" y="710"/>
                    <a:pt x="209" y="1069"/>
                    <a:pt x="475" y="1222"/>
                  </a:cubicBezTo>
                  <a:cubicBezTo>
                    <a:pt x="557" y="1270"/>
                    <a:pt x="639" y="1294"/>
                    <a:pt x="713" y="1294"/>
                  </a:cubicBezTo>
                  <a:cubicBezTo>
                    <a:pt x="813" y="1294"/>
                    <a:pt x="901" y="1253"/>
                    <a:pt x="959" y="1177"/>
                  </a:cubicBezTo>
                  <a:cubicBezTo>
                    <a:pt x="1017" y="1106"/>
                    <a:pt x="1048" y="1007"/>
                    <a:pt x="1048" y="891"/>
                  </a:cubicBezTo>
                  <a:cubicBezTo>
                    <a:pt x="1048" y="584"/>
                    <a:pt x="840" y="226"/>
                    <a:pt x="573" y="72"/>
                  </a:cubicBezTo>
                  <a:cubicBezTo>
                    <a:pt x="491" y="24"/>
                    <a:pt x="410" y="0"/>
                    <a:pt x="335" y="0"/>
                  </a:cubicBezTo>
                  <a:close/>
                </a:path>
              </a:pathLst>
            </a:custGeom>
            <a:solidFill>
              <a:srgbClr val="455A6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87" name="Google Shape;6737;p41">
              <a:extLst>
                <a:ext uri="{FF2B5EF4-FFF2-40B4-BE49-F238E27FC236}">
                  <a16:creationId xmlns:a16="http://schemas.microsoft.com/office/drawing/2014/main" id="{83D7909D-5C5F-B848-9573-0AA15C80FE1E}"/>
                </a:ext>
              </a:extLst>
            </p:cNvPr>
            <p:cNvSpPr/>
            <p:nvPr/>
          </p:nvSpPr>
          <p:spPr>
            <a:xfrm>
              <a:off x="4944625" y="3248100"/>
              <a:ext cx="21275" cy="27425"/>
            </a:xfrm>
            <a:custGeom>
              <a:avLst/>
              <a:gdLst/>
              <a:ahLst/>
              <a:cxnLst/>
              <a:rect l="l" t="t" r="r" b="b"/>
              <a:pathLst>
                <a:path w="851" h="1097" extrusionOk="0">
                  <a:moveTo>
                    <a:pt x="236" y="1"/>
                  </a:moveTo>
                  <a:cubicBezTo>
                    <a:pt x="97" y="1"/>
                    <a:pt x="0" y="113"/>
                    <a:pt x="0" y="305"/>
                  </a:cubicBezTo>
                  <a:cubicBezTo>
                    <a:pt x="0" y="575"/>
                    <a:pt x="192" y="903"/>
                    <a:pt x="427" y="1038"/>
                  </a:cubicBezTo>
                  <a:cubicBezTo>
                    <a:pt x="494" y="1078"/>
                    <a:pt x="558" y="1097"/>
                    <a:pt x="614" y="1097"/>
                  </a:cubicBezTo>
                  <a:cubicBezTo>
                    <a:pt x="754" y="1097"/>
                    <a:pt x="850" y="984"/>
                    <a:pt x="850" y="793"/>
                  </a:cubicBezTo>
                  <a:cubicBezTo>
                    <a:pt x="850" y="523"/>
                    <a:pt x="659" y="196"/>
                    <a:pt x="424" y="59"/>
                  </a:cubicBezTo>
                  <a:cubicBezTo>
                    <a:pt x="357" y="20"/>
                    <a:pt x="293" y="1"/>
                    <a:pt x="236" y="1"/>
                  </a:cubicBezTo>
                  <a:close/>
                </a:path>
              </a:pathLst>
            </a:custGeom>
            <a:solidFill>
              <a:srgbClr val="F5F5F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88" name="Google Shape;6738;p41">
              <a:extLst>
                <a:ext uri="{FF2B5EF4-FFF2-40B4-BE49-F238E27FC236}">
                  <a16:creationId xmlns:a16="http://schemas.microsoft.com/office/drawing/2014/main" id="{D75E771B-F888-4745-BD85-3AC761CF16B0}"/>
                </a:ext>
              </a:extLst>
            </p:cNvPr>
            <p:cNvSpPr/>
            <p:nvPr/>
          </p:nvSpPr>
          <p:spPr>
            <a:xfrm>
              <a:off x="4821425" y="3173825"/>
              <a:ext cx="106000" cy="81550"/>
            </a:xfrm>
            <a:custGeom>
              <a:avLst/>
              <a:gdLst/>
              <a:ahLst/>
              <a:cxnLst/>
              <a:rect l="l" t="t" r="r" b="b"/>
              <a:pathLst>
                <a:path w="4240" h="3262" extrusionOk="0">
                  <a:moveTo>
                    <a:pt x="257" y="0"/>
                  </a:moveTo>
                  <a:cubicBezTo>
                    <a:pt x="105" y="0"/>
                    <a:pt x="0" y="123"/>
                    <a:pt x="0" y="334"/>
                  </a:cubicBezTo>
                  <a:lnTo>
                    <a:pt x="0" y="481"/>
                  </a:lnTo>
                  <a:cubicBezTo>
                    <a:pt x="0" y="777"/>
                    <a:pt x="208" y="1139"/>
                    <a:pt x="464" y="1286"/>
                  </a:cubicBezTo>
                  <a:lnTo>
                    <a:pt x="3772" y="3198"/>
                  </a:lnTo>
                  <a:cubicBezTo>
                    <a:pt x="3847" y="3241"/>
                    <a:pt x="3917" y="3262"/>
                    <a:pt x="3980" y="3262"/>
                  </a:cubicBezTo>
                  <a:cubicBezTo>
                    <a:pt x="4134" y="3262"/>
                    <a:pt x="4239" y="3139"/>
                    <a:pt x="4239" y="2927"/>
                  </a:cubicBezTo>
                  <a:lnTo>
                    <a:pt x="4239" y="2781"/>
                  </a:lnTo>
                  <a:cubicBezTo>
                    <a:pt x="4239" y="2484"/>
                    <a:pt x="4030" y="2122"/>
                    <a:pt x="3772" y="1972"/>
                  </a:cubicBezTo>
                  <a:lnTo>
                    <a:pt x="464" y="65"/>
                  </a:lnTo>
                  <a:cubicBezTo>
                    <a:pt x="390" y="21"/>
                    <a:pt x="319" y="0"/>
                    <a:pt x="257" y="0"/>
                  </a:cubicBezTo>
                  <a:close/>
                </a:path>
              </a:pathLst>
            </a:custGeom>
            <a:solidFill>
              <a:srgbClr val="F5F5F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89" name="Google Shape;6739;p41">
              <a:extLst>
                <a:ext uri="{FF2B5EF4-FFF2-40B4-BE49-F238E27FC236}">
                  <a16:creationId xmlns:a16="http://schemas.microsoft.com/office/drawing/2014/main" id="{54657B23-47B8-AC40-A488-BBD1A55D1DA8}"/>
                </a:ext>
              </a:extLst>
            </p:cNvPr>
            <p:cNvSpPr/>
            <p:nvPr/>
          </p:nvSpPr>
          <p:spPr>
            <a:xfrm>
              <a:off x="4997625" y="3259200"/>
              <a:ext cx="2575" cy="50275"/>
            </a:xfrm>
            <a:custGeom>
              <a:avLst/>
              <a:gdLst/>
              <a:ahLst/>
              <a:cxnLst/>
              <a:rect l="l" t="t" r="r" b="b"/>
              <a:pathLst>
                <a:path w="103" h="2011" extrusionOk="0">
                  <a:moveTo>
                    <a:pt x="102" y="1"/>
                  </a:moveTo>
                  <a:lnTo>
                    <a:pt x="0" y="52"/>
                  </a:lnTo>
                  <a:lnTo>
                    <a:pt x="0" y="2011"/>
                  </a:lnTo>
                  <a:lnTo>
                    <a:pt x="102" y="1953"/>
                  </a:lnTo>
                  <a:lnTo>
                    <a:pt x="102" y="1"/>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90" name="Google Shape;6740;p41">
              <a:extLst>
                <a:ext uri="{FF2B5EF4-FFF2-40B4-BE49-F238E27FC236}">
                  <a16:creationId xmlns:a16="http://schemas.microsoft.com/office/drawing/2014/main" id="{6767AABB-0DBC-F643-A328-42548A942C23}"/>
                </a:ext>
              </a:extLst>
            </p:cNvPr>
            <p:cNvSpPr/>
            <p:nvPr/>
          </p:nvSpPr>
          <p:spPr>
            <a:xfrm>
              <a:off x="4997625" y="3259200"/>
              <a:ext cx="2575" cy="50275"/>
            </a:xfrm>
            <a:custGeom>
              <a:avLst/>
              <a:gdLst/>
              <a:ahLst/>
              <a:cxnLst/>
              <a:rect l="l" t="t" r="r" b="b"/>
              <a:pathLst>
                <a:path w="103" h="2011" extrusionOk="0">
                  <a:moveTo>
                    <a:pt x="102" y="1"/>
                  </a:moveTo>
                  <a:lnTo>
                    <a:pt x="65" y="21"/>
                  </a:lnTo>
                  <a:lnTo>
                    <a:pt x="0" y="52"/>
                  </a:lnTo>
                  <a:lnTo>
                    <a:pt x="0" y="2011"/>
                  </a:lnTo>
                  <a:lnTo>
                    <a:pt x="102" y="1953"/>
                  </a:lnTo>
                  <a:lnTo>
                    <a:pt x="102" y="315"/>
                  </a:lnTo>
                  <a:lnTo>
                    <a:pt x="102" y="147"/>
                  </a:lnTo>
                  <a:lnTo>
                    <a:pt x="102" y="1"/>
                  </a:ln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91" name="Google Shape;6741;p41">
              <a:extLst>
                <a:ext uri="{FF2B5EF4-FFF2-40B4-BE49-F238E27FC236}">
                  <a16:creationId xmlns:a16="http://schemas.microsoft.com/office/drawing/2014/main" id="{31984EEA-8400-9A42-99B3-69839D6EE114}"/>
                </a:ext>
              </a:extLst>
            </p:cNvPr>
            <p:cNvSpPr/>
            <p:nvPr/>
          </p:nvSpPr>
          <p:spPr>
            <a:xfrm>
              <a:off x="4808525" y="3051950"/>
              <a:ext cx="360425" cy="199200"/>
            </a:xfrm>
            <a:custGeom>
              <a:avLst/>
              <a:gdLst/>
              <a:ahLst/>
              <a:cxnLst/>
              <a:rect l="l" t="t" r="r" b="b"/>
              <a:pathLst>
                <a:path w="14417" h="7968" extrusionOk="0">
                  <a:moveTo>
                    <a:pt x="6789" y="0"/>
                  </a:moveTo>
                  <a:lnTo>
                    <a:pt x="76" y="3393"/>
                  </a:lnTo>
                  <a:cubicBezTo>
                    <a:pt x="35" y="3417"/>
                    <a:pt x="0" y="3472"/>
                    <a:pt x="0" y="3513"/>
                  </a:cubicBezTo>
                  <a:cubicBezTo>
                    <a:pt x="0" y="3554"/>
                    <a:pt x="35" y="3609"/>
                    <a:pt x="76" y="3632"/>
                  </a:cubicBezTo>
                  <a:lnTo>
                    <a:pt x="7561" y="7950"/>
                  </a:lnTo>
                  <a:cubicBezTo>
                    <a:pt x="7581" y="7962"/>
                    <a:pt x="7608" y="7968"/>
                    <a:pt x="7636" y="7968"/>
                  </a:cubicBezTo>
                  <a:cubicBezTo>
                    <a:pt x="7663" y="7968"/>
                    <a:pt x="7690" y="7962"/>
                    <a:pt x="7711" y="7950"/>
                  </a:cubicBezTo>
                  <a:lnTo>
                    <a:pt x="14417" y="4554"/>
                  </a:lnTo>
                  <a:lnTo>
                    <a:pt x="14417" y="4407"/>
                  </a:lnTo>
                  <a:lnTo>
                    <a:pt x="6789" y="0"/>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92" name="Google Shape;6742;p41">
              <a:extLst>
                <a:ext uri="{FF2B5EF4-FFF2-40B4-BE49-F238E27FC236}">
                  <a16:creationId xmlns:a16="http://schemas.microsoft.com/office/drawing/2014/main" id="{5676A277-6182-454F-B879-AA4C1C4D0FE3}"/>
                </a:ext>
              </a:extLst>
            </p:cNvPr>
            <p:cNvSpPr/>
            <p:nvPr/>
          </p:nvSpPr>
          <p:spPr>
            <a:xfrm>
              <a:off x="4809800" y="3136775"/>
              <a:ext cx="625" cy="525"/>
            </a:xfrm>
            <a:custGeom>
              <a:avLst/>
              <a:gdLst/>
              <a:ahLst/>
              <a:cxnLst/>
              <a:rect l="l" t="t" r="r" b="b"/>
              <a:pathLst>
                <a:path w="25" h="21" extrusionOk="0">
                  <a:moveTo>
                    <a:pt x="24" y="0"/>
                  </a:moveTo>
                  <a:cubicBezTo>
                    <a:pt x="22" y="3"/>
                    <a:pt x="20" y="5"/>
                    <a:pt x="18" y="7"/>
                  </a:cubicBezTo>
                  <a:lnTo>
                    <a:pt x="18" y="7"/>
                  </a:lnTo>
                  <a:cubicBezTo>
                    <a:pt x="18" y="7"/>
                    <a:pt x="18" y="7"/>
                    <a:pt x="18" y="7"/>
                  </a:cubicBezTo>
                  <a:lnTo>
                    <a:pt x="24" y="0"/>
                  </a:lnTo>
                  <a:close/>
                  <a:moveTo>
                    <a:pt x="18" y="7"/>
                  </a:moveTo>
                  <a:cubicBezTo>
                    <a:pt x="11" y="11"/>
                    <a:pt x="7" y="14"/>
                    <a:pt x="1" y="21"/>
                  </a:cubicBezTo>
                  <a:cubicBezTo>
                    <a:pt x="7" y="16"/>
                    <a:pt x="13" y="11"/>
                    <a:pt x="18" y="7"/>
                  </a:cubicBezTo>
                  <a:close/>
                </a:path>
              </a:pathLst>
            </a:custGeom>
            <a:solidFill>
              <a:srgbClr val="E1E1E1"/>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93" name="Google Shape;6743;p41">
              <a:extLst>
                <a:ext uri="{FF2B5EF4-FFF2-40B4-BE49-F238E27FC236}">
                  <a16:creationId xmlns:a16="http://schemas.microsoft.com/office/drawing/2014/main" id="{11AB3FB3-E703-8F4C-A573-ABC630A2510B}"/>
                </a:ext>
              </a:extLst>
            </p:cNvPr>
            <p:cNvSpPr/>
            <p:nvPr/>
          </p:nvSpPr>
          <p:spPr>
            <a:xfrm>
              <a:off x="4816025" y="3145900"/>
              <a:ext cx="181600" cy="104800"/>
            </a:xfrm>
            <a:custGeom>
              <a:avLst/>
              <a:gdLst/>
              <a:ahLst/>
              <a:cxnLst/>
              <a:rect l="l" t="t" r="r" b="b"/>
              <a:pathLst>
                <a:path w="7264" h="4192" extrusionOk="0">
                  <a:moveTo>
                    <a:pt x="1" y="0"/>
                  </a:moveTo>
                  <a:lnTo>
                    <a:pt x="1" y="0"/>
                  </a:lnTo>
                  <a:lnTo>
                    <a:pt x="7261" y="4192"/>
                  </a:lnTo>
                  <a:lnTo>
                    <a:pt x="7264" y="4192"/>
                  </a:lnTo>
                  <a:lnTo>
                    <a:pt x="7261" y="4192"/>
                  </a:lnTo>
                  <a:close/>
                </a:path>
              </a:pathLst>
            </a:custGeom>
            <a:solidFill>
              <a:srgbClr val="23C7AC"/>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94" name="Google Shape;6744;p41">
              <a:extLst>
                <a:ext uri="{FF2B5EF4-FFF2-40B4-BE49-F238E27FC236}">
                  <a16:creationId xmlns:a16="http://schemas.microsoft.com/office/drawing/2014/main" id="{2D868508-E4B0-9940-AFDC-0A9E454D72B9}"/>
                </a:ext>
              </a:extLst>
            </p:cNvPr>
            <p:cNvSpPr/>
            <p:nvPr/>
          </p:nvSpPr>
          <p:spPr>
            <a:xfrm>
              <a:off x="4808525" y="3136925"/>
              <a:ext cx="190900" cy="114200"/>
            </a:xfrm>
            <a:custGeom>
              <a:avLst/>
              <a:gdLst/>
              <a:ahLst/>
              <a:cxnLst/>
              <a:rect l="l" t="t" r="r" b="b"/>
              <a:pathLst>
                <a:path w="7636" h="4568" extrusionOk="0">
                  <a:moveTo>
                    <a:pt x="69" y="1"/>
                  </a:moveTo>
                  <a:cubicBezTo>
                    <a:pt x="62" y="5"/>
                    <a:pt x="58" y="8"/>
                    <a:pt x="52" y="15"/>
                  </a:cubicBezTo>
                  <a:cubicBezTo>
                    <a:pt x="38" y="29"/>
                    <a:pt x="25" y="46"/>
                    <a:pt x="14" y="62"/>
                  </a:cubicBezTo>
                  <a:cubicBezTo>
                    <a:pt x="8" y="79"/>
                    <a:pt x="0" y="97"/>
                    <a:pt x="0" y="114"/>
                  </a:cubicBezTo>
                  <a:cubicBezTo>
                    <a:pt x="0" y="131"/>
                    <a:pt x="8" y="148"/>
                    <a:pt x="17" y="165"/>
                  </a:cubicBezTo>
                  <a:cubicBezTo>
                    <a:pt x="25" y="182"/>
                    <a:pt x="35" y="199"/>
                    <a:pt x="49" y="210"/>
                  </a:cubicBezTo>
                  <a:cubicBezTo>
                    <a:pt x="58" y="219"/>
                    <a:pt x="66" y="226"/>
                    <a:pt x="76" y="233"/>
                  </a:cubicBezTo>
                  <a:lnTo>
                    <a:pt x="301" y="359"/>
                  </a:lnTo>
                  <a:lnTo>
                    <a:pt x="7561" y="4551"/>
                  </a:lnTo>
                  <a:lnTo>
                    <a:pt x="7564" y="4551"/>
                  </a:lnTo>
                  <a:cubicBezTo>
                    <a:pt x="7584" y="4561"/>
                    <a:pt x="7608" y="4567"/>
                    <a:pt x="7635" y="4567"/>
                  </a:cubicBezTo>
                  <a:lnTo>
                    <a:pt x="7635" y="4417"/>
                  </a:lnTo>
                  <a:cubicBezTo>
                    <a:pt x="7608" y="4417"/>
                    <a:pt x="7581" y="4414"/>
                    <a:pt x="7561" y="4400"/>
                  </a:cubicBezTo>
                  <a:lnTo>
                    <a:pt x="76" y="83"/>
                  </a:lnTo>
                  <a:cubicBezTo>
                    <a:pt x="55" y="69"/>
                    <a:pt x="45" y="56"/>
                    <a:pt x="45" y="38"/>
                  </a:cubicBezTo>
                  <a:cubicBezTo>
                    <a:pt x="45" y="25"/>
                    <a:pt x="55" y="11"/>
                    <a:pt x="69" y="1"/>
                  </a:cubicBez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95" name="Google Shape;6745;p41">
              <a:extLst>
                <a:ext uri="{FF2B5EF4-FFF2-40B4-BE49-F238E27FC236}">
                  <a16:creationId xmlns:a16="http://schemas.microsoft.com/office/drawing/2014/main" id="{FFA53F4C-372C-1146-81BD-33BD9C71C9D1}"/>
                </a:ext>
              </a:extLst>
            </p:cNvPr>
            <p:cNvSpPr/>
            <p:nvPr/>
          </p:nvSpPr>
          <p:spPr>
            <a:xfrm>
              <a:off x="4810250" y="3134125"/>
              <a:ext cx="5450" cy="2825"/>
            </a:xfrm>
            <a:custGeom>
              <a:avLst/>
              <a:gdLst/>
              <a:ahLst/>
              <a:cxnLst/>
              <a:rect l="l" t="t" r="r" b="b"/>
              <a:pathLst>
                <a:path w="218" h="113" extrusionOk="0">
                  <a:moveTo>
                    <a:pt x="218" y="0"/>
                  </a:moveTo>
                  <a:lnTo>
                    <a:pt x="7" y="106"/>
                  </a:lnTo>
                  <a:lnTo>
                    <a:pt x="7" y="106"/>
                  </a:lnTo>
                  <a:lnTo>
                    <a:pt x="7" y="106"/>
                  </a:lnTo>
                  <a:lnTo>
                    <a:pt x="0" y="113"/>
                  </a:lnTo>
                  <a:lnTo>
                    <a:pt x="7" y="106"/>
                  </a:lnTo>
                  <a:lnTo>
                    <a:pt x="218" y="0"/>
                  </a:lnTo>
                  <a:close/>
                </a:path>
              </a:pathLst>
            </a:custGeom>
            <a:solidFill>
              <a:srgbClr val="7D7D7D"/>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96" name="Google Shape;6746;p41">
              <a:extLst>
                <a:ext uri="{FF2B5EF4-FFF2-40B4-BE49-F238E27FC236}">
                  <a16:creationId xmlns:a16="http://schemas.microsoft.com/office/drawing/2014/main" id="{CD2E8AAA-B4E2-D14D-9AAA-04973074226E}"/>
                </a:ext>
              </a:extLst>
            </p:cNvPr>
            <p:cNvSpPr/>
            <p:nvPr/>
          </p:nvSpPr>
          <p:spPr>
            <a:xfrm>
              <a:off x="4809650" y="3134125"/>
              <a:ext cx="356575" cy="113250"/>
            </a:xfrm>
            <a:custGeom>
              <a:avLst/>
              <a:gdLst/>
              <a:ahLst/>
              <a:cxnLst/>
              <a:rect l="l" t="t" r="r" b="b"/>
              <a:pathLst>
                <a:path w="14263" h="4530" extrusionOk="0">
                  <a:moveTo>
                    <a:pt x="242" y="0"/>
                  </a:moveTo>
                  <a:lnTo>
                    <a:pt x="31" y="106"/>
                  </a:lnTo>
                  <a:lnTo>
                    <a:pt x="24" y="113"/>
                  </a:lnTo>
                  <a:cubicBezTo>
                    <a:pt x="10" y="123"/>
                    <a:pt x="0" y="137"/>
                    <a:pt x="0" y="150"/>
                  </a:cubicBezTo>
                  <a:cubicBezTo>
                    <a:pt x="0" y="168"/>
                    <a:pt x="10" y="181"/>
                    <a:pt x="31" y="195"/>
                  </a:cubicBezTo>
                  <a:lnTo>
                    <a:pt x="7516" y="4512"/>
                  </a:lnTo>
                  <a:cubicBezTo>
                    <a:pt x="7536" y="4526"/>
                    <a:pt x="7563" y="4529"/>
                    <a:pt x="7590" y="4529"/>
                  </a:cubicBezTo>
                  <a:cubicBezTo>
                    <a:pt x="7618" y="4529"/>
                    <a:pt x="7645" y="4526"/>
                    <a:pt x="7666" y="4512"/>
                  </a:cubicBezTo>
                  <a:lnTo>
                    <a:pt x="14263" y="1174"/>
                  </a:lnTo>
                  <a:lnTo>
                    <a:pt x="13707" y="854"/>
                  </a:lnTo>
                  <a:cubicBezTo>
                    <a:pt x="13601" y="1083"/>
                    <a:pt x="13444" y="1277"/>
                    <a:pt x="13273" y="1376"/>
                  </a:cubicBezTo>
                  <a:cubicBezTo>
                    <a:pt x="13198" y="1420"/>
                    <a:pt x="13119" y="1444"/>
                    <a:pt x="13048" y="1444"/>
                  </a:cubicBezTo>
                  <a:cubicBezTo>
                    <a:pt x="12990" y="1444"/>
                    <a:pt x="12935" y="1427"/>
                    <a:pt x="12888" y="1400"/>
                  </a:cubicBezTo>
                  <a:cubicBezTo>
                    <a:pt x="12884" y="1396"/>
                    <a:pt x="12881" y="1396"/>
                    <a:pt x="12881" y="1393"/>
                  </a:cubicBezTo>
                  <a:lnTo>
                    <a:pt x="13017" y="1314"/>
                  </a:lnTo>
                  <a:cubicBezTo>
                    <a:pt x="13028" y="1314"/>
                    <a:pt x="13037" y="1318"/>
                    <a:pt x="13048" y="1318"/>
                  </a:cubicBezTo>
                  <a:cubicBezTo>
                    <a:pt x="13109" y="1318"/>
                    <a:pt x="13168" y="1294"/>
                    <a:pt x="13209" y="1267"/>
                  </a:cubicBezTo>
                  <a:cubicBezTo>
                    <a:pt x="13362" y="1178"/>
                    <a:pt x="13499" y="1001"/>
                    <a:pt x="13598" y="788"/>
                  </a:cubicBezTo>
                  <a:lnTo>
                    <a:pt x="13368" y="659"/>
                  </a:lnTo>
                  <a:lnTo>
                    <a:pt x="13368" y="1110"/>
                  </a:lnTo>
                  <a:lnTo>
                    <a:pt x="7683" y="4188"/>
                  </a:lnTo>
                  <a:cubicBezTo>
                    <a:pt x="7659" y="4202"/>
                    <a:pt x="7625" y="4208"/>
                    <a:pt x="7590" y="4208"/>
                  </a:cubicBezTo>
                  <a:cubicBezTo>
                    <a:pt x="7573" y="4208"/>
                    <a:pt x="7553" y="4205"/>
                    <a:pt x="7536" y="4202"/>
                  </a:cubicBezTo>
                  <a:cubicBezTo>
                    <a:pt x="7522" y="4198"/>
                    <a:pt x="7508" y="4195"/>
                    <a:pt x="7495" y="4188"/>
                  </a:cubicBezTo>
                  <a:lnTo>
                    <a:pt x="242" y="0"/>
                  </a:lnTo>
                  <a:close/>
                </a:path>
              </a:pathLst>
            </a:custGeom>
            <a:solidFill>
              <a:schemeClr val="accent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97" name="Google Shape;6747;p41">
              <a:extLst>
                <a:ext uri="{FF2B5EF4-FFF2-40B4-BE49-F238E27FC236}">
                  <a16:creationId xmlns:a16="http://schemas.microsoft.com/office/drawing/2014/main" id="{88C5FFBB-727D-3041-A49A-A1C59793D76F}"/>
                </a:ext>
              </a:extLst>
            </p:cNvPr>
            <p:cNvSpPr/>
            <p:nvPr/>
          </p:nvSpPr>
          <p:spPr>
            <a:xfrm>
              <a:off x="5156225" y="3165775"/>
              <a:ext cx="12725" cy="6500"/>
            </a:xfrm>
            <a:custGeom>
              <a:avLst/>
              <a:gdLst/>
              <a:ahLst/>
              <a:cxnLst/>
              <a:rect l="l" t="t" r="r" b="b"/>
              <a:pathLst>
                <a:path w="509" h="260" extrusionOk="0">
                  <a:moveTo>
                    <a:pt x="509" y="1"/>
                  </a:moveTo>
                  <a:lnTo>
                    <a:pt x="1" y="260"/>
                  </a:lnTo>
                  <a:lnTo>
                    <a:pt x="1" y="260"/>
                  </a:lnTo>
                  <a:close/>
                </a:path>
              </a:pathLst>
            </a:custGeom>
            <a:solidFill>
              <a:srgbClr val="374850"/>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98" name="Google Shape;6748;p41">
              <a:extLst>
                <a:ext uri="{FF2B5EF4-FFF2-40B4-BE49-F238E27FC236}">
                  <a16:creationId xmlns:a16="http://schemas.microsoft.com/office/drawing/2014/main" id="{FF92D787-D4BC-3946-AA09-D87BBC8690F1}"/>
                </a:ext>
              </a:extLst>
            </p:cNvPr>
            <p:cNvSpPr/>
            <p:nvPr/>
          </p:nvSpPr>
          <p:spPr>
            <a:xfrm>
              <a:off x="5000500" y="3250675"/>
              <a:ext cx="800" cy="275"/>
            </a:xfrm>
            <a:custGeom>
              <a:avLst/>
              <a:gdLst/>
              <a:ahLst/>
              <a:cxnLst/>
              <a:rect l="l" t="t" r="r" b="b"/>
              <a:pathLst>
                <a:path w="32" h="11" extrusionOk="0">
                  <a:moveTo>
                    <a:pt x="32" y="1"/>
                  </a:moveTo>
                  <a:lnTo>
                    <a:pt x="32" y="1"/>
                  </a:lnTo>
                  <a:cubicBezTo>
                    <a:pt x="21" y="4"/>
                    <a:pt x="11" y="7"/>
                    <a:pt x="1" y="11"/>
                  </a:cubicBezTo>
                  <a:cubicBezTo>
                    <a:pt x="14" y="7"/>
                    <a:pt x="25" y="4"/>
                    <a:pt x="32" y="1"/>
                  </a:cubicBezTo>
                  <a:close/>
                </a:path>
              </a:pathLst>
            </a:custGeom>
            <a:solidFill>
              <a:srgbClr val="1FB299"/>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299" name="Google Shape;6749;p41">
              <a:extLst>
                <a:ext uri="{FF2B5EF4-FFF2-40B4-BE49-F238E27FC236}">
                  <a16:creationId xmlns:a16="http://schemas.microsoft.com/office/drawing/2014/main" id="{442F973C-EEA1-5C45-BE87-92400EE3C42C}"/>
                </a:ext>
              </a:extLst>
            </p:cNvPr>
            <p:cNvSpPr/>
            <p:nvPr/>
          </p:nvSpPr>
          <p:spPr>
            <a:xfrm>
              <a:off x="4999400" y="3162125"/>
              <a:ext cx="169550" cy="89000"/>
            </a:xfrm>
            <a:custGeom>
              <a:avLst/>
              <a:gdLst/>
              <a:ahLst/>
              <a:cxnLst/>
              <a:rect l="l" t="t" r="r" b="b"/>
              <a:pathLst>
                <a:path w="6782" h="3560" extrusionOk="0">
                  <a:moveTo>
                    <a:pt x="6782" y="0"/>
                  </a:moveTo>
                  <a:lnTo>
                    <a:pt x="6683" y="58"/>
                  </a:lnTo>
                  <a:lnTo>
                    <a:pt x="6673" y="54"/>
                  </a:lnTo>
                  <a:lnTo>
                    <a:pt x="76" y="3392"/>
                  </a:lnTo>
                  <a:cubicBezTo>
                    <a:pt x="55" y="3406"/>
                    <a:pt x="28" y="3409"/>
                    <a:pt x="0" y="3409"/>
                  </a:cubicBezTo>
                  <a:lnTo>
                    <a:pt x="0" y="3559"/>
                  </a:lnTo>
                  <a:cubicBezTo>
                    <a:pt x="17" y="3559"/>
                    <a:pt x="31" y="3556"/>
                    <a:pt x="45" y="3553"/>
                  </a:cubicBezTo>
                  <a:cubicBezTo>
                    <a:pt x="55" y="3549"/>
                    <a:pt x="65" y="3546"/>
                    <a:pt x="76" y="3543"/>
                  </a:cubicBezTo>
                  <a:lnTo>
                    <a:pt x="6274" y="406"/>
                  </a:lnTo>
                  <a:lnTo>
                    <a:pt x="6782" y="147"/>
                  </a:lnTo>
                  <a:lnTo>
                    <a:pt x="6782" y="0"/>
                  </a:ln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00" name="Google Shape;6750;p41">
              <a:extLst>
                <a:ext uri="{FF2B5EF4-FFF2-40B4-BE49-F238E27FC236}">
                  <a16:creationId xmlns:a16="http://schemas.microsoft.com/office/drawing/2014/main" id="{2958DCEB-734F-5C4E-8383-B30B7BE30DBA}"/>
                </a:ext>
              </a:extLst>
            </p:cNvPr>
            <p:cNvSpPr/>
            <p:nvPr/>
          </p:nvSpPr>
          <p:spPr>
            <a:xfrm>
              <a:off x="4975600" y="3004425"/>
              <a:ext cx="190900" cy="159150"/>
            </a:xfrm>
            <a:custGeom>
              <a:avLst/>
              <a:gdLst/>
              <a:ahLst/>
              <a:cxnLst/>
              <a:rect l="l" t="t" r="r" b="b"/>
              <a:pathLst>
                <a:path w="7636" h="6366" extrusionOk="0">
                  <a:moveTo>
                    <a:pt x="0" y="1"/>
                  </a:moveTo>
                  <a:lnTo>
                    <a:pt x="0" y="1963"/>
                  </a:lnTo>
                  <a:lnTo>
                    <a:pt x="7635" y="6366"/>
                  </a:lnTo>
                  <a:lnTo>
                    <a:pt x="7635" y="4428"/>
                  </a:lnTo>
                  <a:lnTo>
                    <a:pt x="0" y="1"/>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01" name="Google Shape;6751;p41">
              <a:extLst>
                <a:ext uri="{FF2B5EF4-FFF2-40B4-BE49-F238E27FC236}">
                  <a16:creationId xmlns:a16="http://schemas.microsoft.com/office/drawing/2014/main" id="{F08334C8-8824-AC43-9F2E-FC18166F0BCD}"/>
                </a:ext>
              </a:extLst>
            </p:cNvPr>
            <p:cNvSpPr/>
            <p:nvPr/>
          </p:nvSpPr>
          <p:spPr>
            <a:xfrm>
              <a:off x="5133525" y="3118600"/>
              <a:ext cx="32975" cy="44975"/>
            </a:xfrm>
            <a:custGeom>
              <a:avLst/>
              <a:gdLst/>
              <a:ahLst/>
              <a:cxnLst/>
              <a:rect l="l" t="t" r="r" b="b"/>
              <a:pathLst>
                <a:path w="1319" h="1799" extrusionOk="0">
                  <a:moveTo>
                    <a:pt x="618" y="427"/>
                  </a:moveTo>
                  <a:lnTo>
                    <a:pt x="69" y="762"/>
                  </a:lnTo>
                  <a:cubicBezTo>
                    <a:pt x="45" y="802"/>
                    <a:pt x="21" y="840"/>
                    <a:pt x="0" y="881"/>
                  </a:cubicBezTo>
                  <a:lnTo>
                    <a:pt x="413" y="1119"/>
                  </a:lnTo>
                  <a:lnTo>
                    <a:pt x="413" y="1280"/>
                  </a:lnTo>
                  <a:lnTo>
                    <a:pt x="643" y="1409"/>
                  </a:lnTo>
                  <a:cubicBezTo>
                    <a:pt x="717" y="1239"/>
                    <a:pt x="769" y="1045"/>
                    <a:pt x="772" y="864"/>
                  </a:cubicBezTo>
                  <a:cubicBezTo>
                    <a:pt x="779" y="652"/>
                    <a:pt x="725" y="488"/>
                    <a:pt x="622" y="431"/>
                  </a:cubicBezTo>
                  <a:lnTo>
                    <a:pt x="618" y="427"/>
                  </a:lnTo>
                  <a:close/>
                  <a:moveTo>
                    <a:pt x="1318" y="1"/>
                  </a:moveTo>
                  <a:lnTo>
                    <a:pt x="734" y="355"/>
                  </a:lnTo>
                  <a:cubicBezTo>
                    <a:pt x="847" y="454"/>
                    <a:pt x="909" y="639"/>
                    <a:pt x="898" y="867"/>
                  </a:cubicBezTo>
                  <a:cubicBezTo>
                    <a:pt x="895" y="1072"/>
                    <a:pt x="840" y="1283"/>
                    <a:pt x="752" y="1475"/>
                  </a:cubicBezTo>
                  <a:lnTo>
                    <a:pt x="1318" y="1799"/>
                  </a:lnTo>
                  <a:lnTo>
                    <a:pt x="1318" y="1792"/>
                  </a:lnTo>
                  <a:lnTo>
                    <a:pt x="1318" y="1"/>
                  </a:lnTo>
                  <a:close/>
                </a:path>
              </a:pathLst>
            </a:custGeom>
            <a:solidFill>
              <a:schemeClr val="accent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02" name="Google Shape;6752;p41">
              <a:extLst>
                <a:ext uri="{FF2B5EF4-FFF2-40B4-BE49-F238E27FC236}">
                  <a16:creationId xmlns:a16="http://schemas.microsoft.com/office/drawing/2014/main" id="{1EF107FB-4458-7D4B-9161-30F2655BE6F6}"/>
                </a:ext>
              </a:extLst>
            </p:cNvPr>
            <p:cNvSpPr/>
            <p:nvPr/>
          </p:nvSpPr>
          <p:spPr>
            <a:xfrm>
              <a:off x="4808525" y="3036425"/>
              <a:ext cx="335350" cy="202925"/>
            </a:xfrm>
            <a:custGeom>
              <a:avLst/>
              <a:gdLst/>
              <a:ahLst/>
              <a:cxnLst/>
              <a:rect l="l" t="t" r="r" b="b"/>
              <a:pathLst>
                <a:path w="13414" h="8117" extrusionOk="0">
                  <a:moveTo>
                    <a:pt x="5782" y="0"/>
                  </a:moveTo>
                  <a:lnTo>
                    <a:pt x="96" y="3079"/>
                  </a:lnTo>
                  <a:cubicBezTo>
                    <a:pt x="41" y="3110"/>
                    <a:pt x="0" y="3181"/>
                    <a:pt x="0" y="3239"/>
                  </a:cubicBezTo>
                  <a:lnTo>
                    <a:pt x="0" y="3636"/>
                  </a:lnTo>
                  <a:cubicBezTo>
                    <a:pt x="0" y="3697"/>
                    <a:pt x="41" y="3768"/>
                    <a:pt x="96" y="3800"/>
                  </a:cubicBezTo>
                  <a:lnTo>
                    <a:pt x="7544" y="8096"/>
                  </a:lnTo>
                  <a:cubicBezTo>
                    <a:pt x="7569" y="8110"/>
                    <a:pt x="7602" y="8117"/>
                    <a:pt x="7635" y="8117"/>
                  </a:cubicBezTo>
                  <a:cubicBezTo>
                    <a:pt x="7669" y="8117"/>
                    <a:pt x="7702" y="8110"/>
                    <a:pt x="7728" y="8096"/>
                  </a:cubicBezTo>
                  <a:lnTo>
                    <a:pt x="13413" y="5018"/>
                  </a:lnTo>
                  <a:lnTo>
                    <a:pt x="13413" y="4406"/>
                  </a:lnTo>
                  <a:lnTo>
                    <a:pt x="5782" y="0"/>
                  </a:lnTo>
                  <a:close/>
                </a:path>
              </a:pathLst>
            </a:custGeom>
            <a:solidFill>
              <a:srgbClr val="EBEBEB"/>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03" name="Google Shape;6753;p41">
              <a:extLst>
                <a:ext uri="{FF2B5EF4-FFF2-40B4-BE49-F238E27FC236}">
                  <a16:creationId xmlns:a16="http://schemas.microsoft.com/office/drawing/2014/main" id="{07EFA3A0-B296-234B-8D5C-D3B2FA60307C}"/>
                </a:ext>
              </a:extLst>
            </p:cNvPr>
            <p:cNvSpPr/>
            <p:nvPr/>
          </p:nvSpPr>
          <p:spPr>
            <a:xfrm>
              <a:off x="4809550" y="3036425"/>
              <a:ext cx="334325" cy="187625"/>
            </a:xfrm>
            <a:custGeom>
              <a:avLst/>
              <a:gdLst/>
              <a:ahLst/>
              <a:cxnLst/>
              <a:rect l="l" t="t" r="r" b="b"/>
              <a:pathLst>
                <a:path w="13373" h="7505" extrusionOk="0">
                  <a:moveTo>
                    <a:pt x="5741" y="0"/>
                  </a:moveTo>
                  <a:lnTo>
                    <a:pt x="55" y="3079"/>
                  </a:lnTo>
                  <a:cubicBezTo>
                    <a:pt x="0" y="3110"/>
                    <a:pt x="0" y="3157"/>
                    <a:pt x="55" y="3185"/>
                  </a:cubicBezTo>
                  <a:lnTo>
                    <a:pt x="7503" y="7481"/>
                  </a:lnTo>
                  <a:cubicBezTo>
                    <a:pt x="7528" y="7497"/>
                    <a:pt x="7561" y="7505"/>
                    <a:pt x="7594" y="7505"/>
                  </a:cubicBezTo>
                  <a:cubicBezTo>
                    <a:pt x="7628" y="7505"/>
                    <a:pt x="7661" y="7497"/>
                    <a:pt x="7687" y="7481"/>
                  </a:cubicBezTo>
                  <a:lnTo>
                    <a:pt x="13372" y="4406"/>
                  </a:lnTo>
                  <a:lnTo>
                    <a:pt x="5741" y="0"/>
                  </a:lnTo>
                  <a:close/>
                </a:path>
              </a:pathLst>
            </a:custGeom>
            <a:solidFill>
              <a:srgbClr val="FAFAFA"/>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04" name="Google Shape;6754;p41">
              <a:extLst>
                <a:ext uri="{FF2B5EF4-FFF2-40B4-BE49-F238E27FC236}">
                  <a16:creationId xmlns:a16="http://schemas.microsoft.com/office/drawing/2014/main" id="{310D32EF-D258-D940-9943-992BED226D98}"/>
                </a:ext>
              </a:extLst>
            </p:cNvPr>
            <p:cNvSpPr/>
            <p:nvPr/>
          </p:nvSpPr>
          <p:spPr>
            <a:xfrm>
              <a:off x="5124225" y="3144500"/>
              <a:ext cx="7700" cy="4025"/>
            </a:xfrm>
            <a:custGeom>
              <a:avLst/>
              <a:gdLst/>
              <a:ahLst/>
              <a:cxnLst/>
              <a:rect l="l" t="t" r="r" b="b"/>
              <a:pathLst>
                <a:path w="308" h="161" extrusionOk="0">
                  <a:moveTo>
                    <a:pt x="136" y="1"/>
                  </a:moveTo>
                  <a:cubicBezTo>
                    <a:pt x="104" y="1"/>
                    <a:pt x="71" y="8"/>
                    <a:pt x="48" y="22"/>
                  </a:cubicBezTo>
                  <a:cubicBezTo>
                    <a:pt x="45" y="22"/>
                    <a:pt x="42" y="25"/>
                    <a:pt x="38" y="29"/>
                  </a:cubicBezTo>
                  <a:cubicBezTo>
                    <a:pt x="1" y="60"/>
                    <a:pt x="7" y="101"/>
                    <a:pt x="62" y="135"/>
                  </a:cubicBezTo>
                  <a:cubicBezTo>
                    <a:pt x="83" y="142"/>
                    <a:pt x="103" y="152"/>
                    <a:pt x="127" y="156"/>
                  </a:cubicBezTo>
                  <a:cubicBezTo>
                    <a:pt x="141" y="159"/>
                    <a:pt x="156" y="160"/>
                    <a:pt x="171" y="160"/>
                  </a:cubicBezTo>
                  <a:cubicBezTo>
                    <a:pt x="190" y="160"/>
                    <a:pt x="209" y="158"/>
                    <a:pt x="226" y="152"/>
                  </a:cubicBezTo>
                  <a:cubicBezTo>
                    <a:pt x="240" y="152"/>
                    <a:pt x="250" y="148"/>
                    <a:pt x="257" y="142"/>
                  </a:cubicBezTo>
                  <a:cubicBezTo>
                    <a:pt x="308" y="115"/>
                    <a:pt x="305" y="63"/>
                    <a:pt x="243" y="29"/>
                  </a:cubicBezTo>
                  <a:cubicBezTo>
                    <a:pt x="219" y="16"/>
                    <a:pt x="188" y="5"/>
                    <a:pt x="155" y="2"/>
                  </a:cubicBezTo>
                  <a:cubicBezTo>
                    <a:pt x="148" y="1"/>
                    <a:pt x="142" y="1"/>
                    <a:pt x="136" y="1"/>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05" name="Google Shape;6755;p41">
              <a:extLst>
                <a:ext uri="{FF2B5EF4-FFF2-40B4-BE49-F238E27FC236}">
                  <a16:creationId xmlns:a16="http://schemas.microsoft.com/office/drawing/2014/main" id="{A88CE3E5-D6EA-4245-BB16-4AF0826B641A}"/>
                </a:ext>
              </a:extLst>
            </p:cNvPr>
            <p:cNvSpPr/>
            <p:nvPr/>
          </p:nvSpPr>
          <p:spPr>
            <a:xfrm>
              <a:off x="4808525" y="3113800"/>
              <a:ext cx="190900" cy="125550"/>
            </a:xfrm>
            <a:custGeom>
              <a:avLst/>
              <a:gdLst/>
              <a:ahLst/>
              <a:cxnLst/>
              <a:rect l="l" t="t" r="r" b="b"/>
              <a:pathLst>
                <a:path w="7636" h="5022" extrusionOk="0">
                  <a:moveTo>
                    <a:pt x="72" y="1"/>
                  </a:moveTo>
                  <a:cubicBezTo>
                    <a:pt x="31" y="35"/>
                    <a:pt x="0" y="97"/>
                    <a:pt x="0" y="144"/>
                  </a:cubicBezTo>
                  <a:lnTo>
                    <a:pt x="0" y="544"/>
                  </a:lnTo>
                  <a:cubicBezTo>
                    <a:pt x="0" y="602"/>
                    <a:pt x="41" y="673"/>
                    <a:pt x="93" y="705"/>
                  </a:cubicBezTo>
                  <a:lnTo>
                    <a:pt x="7540" y="5001"/>
                  </a:lnTo>
                  <a:cubicBezTo>
                    <a:pt x="7567" y="5015"/>
                    <a:pt x="7602" y="5021"/>
                    <a:pt x="7635" y="5021"/>
                  </a:cubicBezTo>
                  <a:lnTo>
                    <a:pt x="7635" y="4407"/>
                  </a:lnTo>
                  <a:cubicBezTo>
                    <a:pt x="7630" y="4408"/>
                    <a:pt x="7625" y="4408"/>
                    <a:pt x="7620" y="4408"/>
                  </a:cubicBezTo>
                  <a:cubicBezTo>
                    <a:pt x="7592" y="4408"/>
                    <a:pt x="7563" y="4398"/>
                    <a:pt x="7540" y="4386"/>
                  </a:cubicBezTo>
                  <a:lnTo>
                    <a:pt x="93" y="90"/>
                  </a:lnTo>
                  <a:cubicBezTo>
                    <a:pt x="52" y="66"/>
                    <a:pt x="45" y="29"/>
                    <a:pt x="72" y="1"/>
                  </a:cubicBezTo>
                  <a:close/>
                </a:path>
              </a:pathLst>
            </a:custGeom>
            <a:solidFill>
              <a:srgbClr val="E6E6E6"/>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06" name="Google Shape;6756;p41">
              <a:extLst>
                <a:ext uri="{FF2B5EF4-FFF2-40B4-BE49-F238E27FC236}">
                  <a16:creationId xmlns:a16="http://schemas.microsoft.com/office/drawing/2014/main" id="{C0151202-A1E8-0145-8BE3-A0F28AF69086}"/>
                </a:ext>
              </a:extLst>
            </p:cNvPr>
            <p:cNvSpPr/>
            <p:nvPr/>
          </p:nvSpPr>
          <p:spPr>
            <a:xfrm>
              <a:off x="5127900" y="3125500"/>
              <a:ext cx="28350" cy="44725"/>
            </a:xfrm>
            <a:custGeom>
              <a:avLst/>
              <a:gdLst/>
              <a:ahLst/>
              <a:cxnLst/>
              <a:rect l="l" t="t" r="r" b="b"/>
              <a:pathLst>
                <a:path w="1134" h="1789" extrusionOk="0">
                  <a:moveTo>
                    <a:pt x="749" y="1"/>
                  </a:moveTo>
                  <a:cubicBezTo>
                    <a:pt x="678" y="1"/>
                    <a:pt x="603" y="22"/>
                    <a:pt x="526" y="65"/>
                  </a:cubicBezTo>
                  <a:cubicBezTo>
                    <a:pt x="294" y="202"/>
                    <a:pt x="93" y="509"/>
                    <a:pt x="0" y="847"/>
                  </a:cubicBezTo>
                  <a:cubicBezTo>
                    <a:pt x="44" y="854"/>
                    <a:pt x="99" y="861"/>
                    <a:pt x="126" y="864"/>
                  </a:cubicBezTo>
                  <a:cubicBezTo>
                    <a:pt x="212" y="567"/>
                    <a:pt x="389" y="291"/>
                    <a:pt x="588" y="178"/>
                  </a:cubicBezTo>
                  <a:cubicBezTo>
                    <a:pt x="632" y="151"/>
                    <a:pt x="690" y="127"/>
                    <a:pt x="748" y="127"/>
                  </a:cubicBezTo>
                  <a:cubicBezTo>
                    <a:pt x="782" y="127"/>
                    <a:pt x="816" y="134"/>
                    <a:pt x="847" y="155"/>
                  </a:cubicBezTo>
                  <a:cubicBezTo>
                    <a:pt x="950" y="212"/>
                    <a:pt x="1004" y="376"/>
                    <a:pt x="997" y="588"/>
                  </a:cubicBezTo>
                  <a:cubicBezTo>
                    <a:pt x="986" y="994"/>
                    <a:pt x="755" y="1455"/>
                    <a:pt x="479" y="1612"/>
                  </a:cubicBezTo>
                  <a:cubicBezTo>
                    <a:pt x="435" y="1638"/>
                    <a:pt x="379" y="1662"/>
                    <a:pt x="319" y="1662"/>
                  </a:cubicBezTo>
                  <a:cubicBezTo>
                    <a:pt x="308" y="1662"/>
                    <a:pt x="298" y="1661"/>
                    <a:pt x="287" y="1659"/>
                  </a:cubicBezTo>
                  <a:lnTo>
                    <a:pt x="151" y="1738"/>
                  </a:lnTo>
                  <a:cubicBezTo>
                    <a:pt x="151" y="1741"/>
                    <a:pt x="154" y="1741"/>
                    <a:pt x="158" y="1745"/>
                  </a:cubicBezTo>
                  <a:cubicBezTo>
                    <a:pt x="205" y="1772"/>
                    <a:pt x="260" y="1789"/>
                    <a:pt x="318" y="1789"/>
                  </a:cubicBezTo>
                  <a:cubicBezTo>
                    <a:pt x="389" y="1789"/>
                    <a:pt x="468" y="1765"/>
                    <a:pt x="543" y="1721"/>
                  </a:cubicBezTo>
                  <a:cubicBezTo>
                    <a:pt x="857" y="1540"/>
                    <a:pt x="1113" y="1045"/>
                    <a:pt x="1123" y="591"/>
                  </a:cubicBezTo>
                  <a:cubicBezTo>
                    <a:pt x="1134" y="328"/>
                    <a:pt x="1055" y="130"/>
                    <a:pt x="912" y="45"/>
                  </a:cubicBezTo>
                  <a:cubicBezTo>
                    <a:pt x="862" y="16"/>
                    <a:pt x="807" y="1"/>
                    <a:pt x="749" y="1"/>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07" name="Google Shape;6757;p41">
              <a:extLst>
                <a:ext uri="{FF2B5EF4-FFF2-40B4-BE49-F238E27FC236}">
                  <a16:creationId xmlns:a16="http://schemas.microsoft.com/office/drawing/2014/main" id="{48537864-96F2-994C-9625-A4D6014E6FD1}"/>
                </a:ext>
              </a:extLst>
            </p:cNvPr>
            <p:cNvSpPr/>
            <p:nvPr/>
          </p:nvSpPr>
          <p:spPr>
            <a:xfrm>
              <a:off x="4808525" y="3003150"/>
              <a:ext cx="360425" cy="216850"/>
            </a:xfrm>
            <a:custGeom>
              <a:avLst/>
              <a:gdLst/>
              <a:ahLst/>
              <a:cxnLst/>
              <a:rect l="l" t="t" r="r" b="b"/>
              <a:pathLst>
                <a:path w="14417" h="8674" extrusionOk="0">
                  <a:moveTo>
                    <a:pt x="6789" y="0"/>
                  </a:moveTo>
                  <a:lnTo>
                    <a:pt x="76" y="4103"/>
                  </a:lnTo>
                  <a:cubicBezTo>
                    <a:pt x="35" y="4127"/>
                    <a:pt x="0" y="4178"/>
                    <a:pt x="0" y="4219"/>
                  </a:cubicBezTo>
                  <a:cubicBezTo>
                    <a:pt x="0" y="4260"/>
                    <a:pt x="35" y="4315"/>
                    <a:pt x="76" y="4338"/>
                  </a:cubicBezTo>
                  <a:lnTo>
                    <a:pt x="7561" y="8656"/>
                  </a:lnTo>
                  <a:cubicBezTo>
                    <a:pt x="7581" y="8668"/>
                    <a:pt x="7608" y="8674"/>
                    <a:pt x="7636" y="8674"/>
                  </a:cubicBezTo>
                  <a:cubicBezTo>
                    <a:pt x="7663" y="8674"/>
                    <a:pt x="7690" y="8668"/>
                    <a:pt x="7711" y="8656"/>
                  </a:cubicBezTo>
                  <a:lnTo>
                    <a:pt x="14417" y="4557"/>
                  </a:lnTo>
                  <a:lnTo>
                    <a:pt x="14417" y="4406"/>
                  </a:lnTo>
                  <a:lnTo>
                    <a:pt x="6789" y="0"/>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08" name="Google Shape;6758;p41">
              <a:extLst>
                <a:ext uri="{FF2B5EF4-FFF2-40B4-BE49-F238E27FC236}">
                  <a16:creationId xmlns:a16="http://schemas.microsoft.com/office/drawing/2014/main" id="{261B33FC-1423-AF4F-945D-CC65D49F42D1}"/>
                </a:ext>
              </a:extLst>
            </p:cNvPr>
            <p:cNvSpPr/>
            <p:nvPr/>
          </p:nvSpPr>
          <p:spPr>
            <a:xfrm>
              <a:off x="4809800" y="3105625"/>
              <a:ext cx="625" cy="525"/>
            </a:xfrm>
            <a:custGeom>
              <a:avLst/>
              <a:gdLst/>
              <a:ahLst/>
              <a:cxnLst/>
              <a:rect l="l" t="t" r="r" b="b"/>
              <a:pathLst>
                <a:path w="25" h="21" extrusionOk="0">
                  <a:moveTo>
                    <a:pt x="25" y="0"/>
                  </a:moveTo>
                  <a:lnTo>
                    <a:pt x="25" y="0"/>
                  </a:lnTo>
                  <a:cubicBezTo>
                    <a:pt x="24" y="1"/>
                    <a:pt x="23" y="2"/>
                    <a:pt x="22" y="3"/>
                  </a:cubicBezTo>
                  <a:lnTo>
                    <a:pt x="22" y="3"/>
                  </a:lnTo>
                  <a:cubicBezTo>
                    <a:pt x="23" y="2"/>
                    <a:pt x="24" y="1"/>
                    <a:pt x="25" y="0"/>
                  </a:cubicBezTo>
                  <a:close/>
                  <a:moveTo>
                    <a:pt x="22" y="3"/>
                  </a:moveTo>
                  <a:cubicBezTo>
                    <a:pt x="20" y="5"/>
                    <a:pt x="17" y="7"/>
                    <a:pt x="14" y="10"/>
                  </a:cubicBezTo>
                  <a:lnTo>
                    <a:pt x="14" y="10"/>
                  </a:lnTo>
                  <a:cubicBezTo>
                    <a:pt x="15" y="9"/>
                    <a:pt x="17" y="8"/>
                    <a:pt x="18" y="8"/>
                  </a:cubicBezTo>
                  <a:cubicBezTo>
                    <a:pt x="18" y="8"/>
                    <a:pt x="20" y="5"/>
                    <a:pt x="22" y="3"/>
                  </a:cubicBezTo>
                  <a:close/>
                  <a:moveTo>
                    <a:pt x="14" y="10"/>
                  </a:moveTo>
                  <a:lnTo>
                    <a:pt x="14" y="10"/>
                  </a:lnTo>
                  <a:cubicBezTo>
                    <a:pt x="8" y="13"/>
                    <a:pt x="4" y="18"/>
                    <a:pt x="1" y="21"/>
                  </a:cubicBezTo>
                  <a:cubicBezTo>
                    <a:pt x="5" y="17"/>
                    <a:pt x="9" y="13"/>
                    <a:pt x="14" y="10"/>
                  </a:cubicBezTo>
                  <a:close/>
                </a:path>
              </a:pathLst>
            </a:custGeom>
            <a:solidFill>
              <a:srgbClr val="E1E1E1"/>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09" name="Google Shape;6759;p41">
              <a:extLst>
                <a:ext uri="{FF2B5EF4-FFF2-40B4-BE49-F238E27FC236}">
                  <a16:creationId xmlns:a16="http://schemas.microsoft.com/office/drawing/2014/main" id="{DA8553CF-7735-6A41-B4DB-1813E6F00DEC}"/>
                </a:ext>
              </a:extLst>
            </p:cNvPr>
            <p:cNvSpPr/>
            <p:nvPr/>
          </p:nvSpPr>
          <p:spPr>
            <a:xfrm>
              <a:off x="4812300" y="3112625"/>
              <a:ext cx="185325" cy="106925"/>
            </a:xfrm>
            <a:custGeom>
              <a:avLst/>
              <a:gdLst/>
              <a:ahLst/>
              <a:cxnLst/>
              <a:rect l="l" t="t" r="r" b="b"/>
              <a:pathLst>
                <a:path w="7413" h="4277" extrusionOk="0">
                  <a:moveTo>
                    <a:pt x="0" y="0"/>
                  </a:moveTo>
                  <a:lnTo>
                    <a:pt x="0" y="0"/>
                  </a:lnTo>
                  <a:lnTo>
                    <a:pt x="7410" y="4277"/>
                  </a:lnTo>
                  <a:lnTo>
                    <a:pt x="7413" y="4277"/>
                  </a:lnTo>
                  <a:lnTo>
                    <a:pt x="7410" y="4277"/>
                  </a:lnTo>
                  <a:close/>
                </a:path>
              </a:pathLst>
            </a:custGeom>
            <a:solidFill>
              <a:srgbClr val="E1E1E1"/>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10" name="Google Shape;6760;p41">
              <a:extLst>
                <a:ext uri="{FF2B5EF4-FFF2-40B4-BE49-F238E27FC236}">
                  <a16:creationId xmlns:a16="http://schemas.microsoft.com/office/drawing/2014/main" id="{4E22CC36-D0FA-0C4E-86B6-D6A4CA283799}"/>
                </a:ext>
              </a:extLst>
            </p:cNvPr>
            <p:cNvSpPr/>
            <p:nvPr/>
          </p:nvSpPr>
          <p:spPr>
            <a:xfrm>
              <a:off x="4808525" y="3105800"/>
              <a:ext cx="190900" cy="114200"/>
            </a:xfrm>
            <a:custGeom>
              <a:avLst/>
              <a:gdLst/>
              <a:ahLst/>
              <a:cxnLst/>
              <a:rect l="l" t="t" r="r" b="b"/>
              <a:pathLst>
                <a:path w="7636" h="4568" extrusionOk="0">
                  <a:moveTo>
                    <a:pt x="69" y="1"/>
                  </a:moveTo>
                  <a:lnTo>
                    <a:pt x="69" y="1"/>
                  </a:lnTo>
                  <a:cubicBezTo>
                    <a:pt x="62" y="4"/>
                    <a:pt x="55" y="10"/>
                    <a:pt x="52" y="14"/>
                  </a:cubicBezTo>
                  <a:cubicBezTo>
                    <a:pt x="35" y="28"/>
                    <a:pt x="25" y="45"/>
                    <a:pt x="14" y="62"/>
                  </a:cubicBezTo>
                  <a:cubicBezTo>
                    <a:pt x="8" y="78"/>
                    <a:pt x="0" y="96"/>
                    <a:pt x="0" y="113"/>
                  </a:cubicBezTo>
                  <a:cubicBezTo>
                    <a:pt x="0" y="130"/>
                    <a:pt x="8" y="147"/>
                    <a:pt x="17" y="168"/>
                  </a:cubicBezTo>
                  <a:cubicBezTo>
                    <a:pt x="25" y="181"/>
                    <a:pt x="35" y="198"/>
                    <a:pt x="49" y="209"/>
                  </a:cubicBezTo>
                  <a:cubicBezTo>
                    <a:pt x="58" y="219"/>
                    <a:pt x="66" y="226"/>
                    <a:pt x="76" y="232"/>
                  </a:cubicBezTo>
                  <a:lnTo>
                    <a:pt x="151" y="273"/>
                  </a:lnTo>
                  <a:lnTo>
                    <a:pt x="7561" y="4550"/>
                  </a:lnTo>
                  <a:lnTo>
                    <a:pt x="7564" y="4550"/>
                  </a:lnTo>
                  <a:cubicBezTo>
                    <a:pt x="7584" y="4560"/>
                    <a:pt x="7608" y="4567"/>
                    <a:pt x="7635" y="4567"/>
                  </a:cubicBezTo>
                  <a:lnTo>
                    <a:pt x="7635" y="4416"/>
                  </a:lnTo>
                  <a:cubicBezTo>
                    <a:pt x="7608" y="4416"/>
                    <a:pt x="7581" y="4413"/>
                    <a:pt x="7561" y="4399"/>
                  </a:cubicBezTo>
                  <a:lnTo>
                    <a:pt x="76" y="83"/>
                  </a:lnTo>
                  <a:cubicBezTo>
                    <a:pt x="55" y="69"/>
                    <a:pt x="45" y="55"/>
                    <a:pt x="45" y="37"/>
                  </a:cubicBezTo>
                  <a:cubicBezTo>
                    <a:pt x="45" y="24"/>
                    <a:pt x="52" y="10"/>
                    <a:pt x="69" y="1"/>
                  </a:cubicBezTo>
                  <a:close/>
                </a:path>
              </a:pathLst>
            </a:custGeom>
            <a:solidFill>
              <a:schemeClr val="accent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11" name="Google Shape;6761;p41">
              <a:extLst>
                <a:ext uri="{FF2B5EF4-FFF2-40B4-BE49-F238E27FC236}">
                  <a16:creationId xmlns:a16="http://schemas.microsoft.com/office/drawing/2014/main" id="{46D2225A-4881-7D45-A8A7-27C29AEBE2D8}"/>
                </a:ext>
              </a:extLst>
            </p:cNvPr>
            <p:cNvSpPr/>
            <p:nvPr/>
          </p:nvSpPr>
          <p:spPr>
            <a:xfrm>
              <a:off x="4809375" y="3003150"/>
              <a:ext cx="359575" cy="213075"/>
            </a:xfrm>
            <a:custGeom>
              <a:avLst/>
              <a:gdLst/>
              <a:ahLst/>
              <a:cxnLst/>
              <a:rect l="l" t="t" r="r" b="b"/>
              <a:pathLst>
                <a:path w="14383" h="8523" extrusionOk="0">
                  <a:moveTo>
                    <a:pt x="6755" y="0"/>
                  </a:moveTo>
                  <a:lnTo>
                    <a:pt x="42" y="4099"/>
                  </a:lnTo>
                  <a:cubicBezTo>
                    <a:pt x="1" y="4123"/>
                    <a:pt x="1" y="4164"/>
                    <a:pt x="42" y="4189"/>
                  </a:cubicBezTo>
                  <a:lnTo>
                    <a:pt x="7527" y="8505"/>
                  </a:lnTo>
                  <a:cubicBezTo>
                    <a:pt x="7547" y="8519"/>
                    <a:pt x="7574" y="8522"/>
                    <a:pt x="7601" y="8522"/>
                  </a:cubicBezTo>
                  <a:cubicBezTo>
                    <a:pt x="7629" y="8522"/>
                    <a:pt x="7656" y="8519"/>
                    <a:pt x="7677" y="8505"/>
                  </a:cubicBezTo>
                  <a:lnTo>
                    <a:pt x="14383" y="4406"/>
                  </a:lnTo>
                  <a:lnTo>
                    <a:pt x="6755" y="0"/>
                  </a:lnTo>
                  <a:close/>
                </a:path>
              </a:pathLst>
            </a:custGeom>
            <a:solidFill>
              <a:schemeClr val="accent6"/>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12" name="Google Shape;6762;p41">
              <a:extLst>
                <a:ext uri="{FF2B5EF4-FFF2-40B4-BE49-F238E27FC236}">
                  <a16:creationId xmlns:a16="http://schemas.microsoft.com/office/drawing/2014/main" id="{88B5F9C8-0434-084D-B79F-64338549973F}"/>
                </a:ext>
              </a:extLst>
            </p:cNvPr>
            <p:cNvSpPr/>
            <p:nvPr/>
          </p:nvSpPr>
          <p:spPr>
            <a:xfrm>
              <a:off x="5135250" y="3118600"/>
              <a:ext cx="31250" cy="19050"/>
            </a:xfrm>
            <a:custGeom>
              <a:avLst/>
              <a:gdLst/>
              <a:ahLst/>
              <a:cxnLst/>
              <a:rect l="l" t="t" r="r" b="b"/>
              <a:pathLst>
                <a:path w="1250" h="762" extrusionOk="0">
                  <a:moveTo>
                    <a:pt x="549" y="427"/>
                  </a:moveTo>
                  <a:lnTo>
                    <a:pt x="0" y="762"/>
                  </a:lnTo>
                  <a:lnTo>
                    <a:pt x="0" y="762"/>
                  </a:lnTo>
                  <a:lnTo>
                    <a:pt x="549" y="427"/>
                  </a:lnTo>
                  <a:lnTo>
                    <a:pt x="549" y="427"/>
                  </a:lnTo>
                  <a:close/>
                  <a:moveTo>
                    <a:pt x="1249" y="1"/>
                  </a:moveTo>
                  <a:lnTo>
                    <a:pt x="665" y="355"/>
                  </a:lnTo>
                  <a:lnTo>
                    <a:pt x="665" y="355"/>
                  </a:lnTo>
                  <a:lnTo>
                    <a:pt x="1249" y="1"/>
                  </a:lnTo>
                  <a:close/>
                </a:path>
              </a:pathLst>
            </a:custGeom>
            <a:solidFill>
              <a:srgbClr val="0A352E"/>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13" name="Google Shape;6763;p41">
              <a:extLst>
                <a:ext uri="{FF2B5EF4-FFF2-40B4-BE49-F238E27FC236}">
                  <a16:creationId xmlns:a16="http://schemas.microsoft.com/office/drawing/2014/main" id="{329B9525-1275-9D41-8FC4-7D06E3FA0F00}"/>
                </a:ext>
              </a:extLst>
            </p:cNvPr>
            <p:cNvSpPr/>
            <p:nvPr/>
          </p:nvSpPr>
          <p:spPr>
            <a:xfrm>
              <a:off x="5000500" y="3219550"/>
              <a:ext cx="800" cy="250"/>
            </a:xfrm>
            <a:custGeom>
              <a:avLst/>
              <a:gdLst/>
              <a:ahLst/>
              <a:cxnLst/>
              <a:rect l="l" t="t" r="r" b="b"/>
              <a:pathLst>
                <a:path w="32" h="10" extrusionOk="0">
                  <a:moveTo>
                    <a:pt x="32" y="0"/>
                  </a:moveTo>
                  <a:lnTo>
                    <a:pt x="32" y="0"/>
                  </a:lnTo>
                  <a:cubicBezTo>
                    <a:pt x="21" y="3"/>
                    <a:pt x="11" y="7"/>
                    <a:pt x="1" y="10"/>
                  </a:cubicBezTo>
                  <a:cubicBezTo>
                    <a:pt x="11" y="10"/>
                    <a:pt x="25" y="3"/>
                    <a:pt x="32" y="0"/>
                  </a:cubicBezTo>
                  <a:close/>
                </a:path>
              </a:pathLst>
            </a:custGeom>
            <a:solidFill>
              <a:srgbClr val="C8C8C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14" name="Google Shape;6764;p41">
              <a:extLst>
                <a:ext uri="{FF2B5EF4-FFF2-40B4-BE49-F238E27FC236}">
                  <a16:creationId xmlns:a16="http://schemas.microsoft.com/office/drawing/2014/main" id="{6A55621F-2BC7-934F-A06F-7B5C681BEEFA}"/>
                </a:ext>
              </a:extLst>
            </p:cNvPr>
            <p:cNvSpPr/>
            <p:nvPr/>
          </p:nvSpPr>
          <p:spPr>
            <a:xfrm>
              <a:off x="5129950" y="3127475"/>
              <a:ext cx="21950" cy="13400"/>
            </a:xfrm>
            <a:custGeom>
              <a:avLst/>
              <a:gdLst/>
              <a:ahLst/>
              <a:cxnLst/>
              <a:rect l="l" t="t" r="r" b="b"/>
              <a:pathLst>
                <a:path w="878" h="536" extrusionOk="0">
                  <a:moveTo>
                    <a:pt x="212" y="407"/>
                  </a:moveTo>
                  <a:lnTo>
                    <a:pt x="0" y="536"/>
                  </a:lnTo>
                  <a:lnTo>
                    <a:pt x="0" y="536"/>
                  </a:lnTo>
                  <a:lnTo>
                    <a:pt x="212" y="407"/>
                  </a:lnTo>
                  <a:lnTo>
                    <a:pt x="212" y="407"/>
                  </a:lnTo>
                  <a:close/>
                  <a:moveTo>
                    <a:pt x="877" y="0"/>
                  </a:moveTo>
                  <a:lnTo>
                    <a:pt x="761" y="72"/>
                  </a:lnTo>
                  <a:lnTo>
                    <a:pt x="761" y="72"/>
                  </a:lnTo>
                  <a:lnTo>
                    <a:pt x="877" y="0"/>
                  </a:lnTo>
                  <a:close/>
                </a:path>
              </a:pathLst>
            </a:custGeom>
            <a:solidFill>
              <a:srgbClr val="1E282D"/>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15" name="Google Shape;6765;p41">
              <a:extLst>
                <a:ext uri="{FF2B5EF4-FFF2-40B4-BE49-F238E27FC236}">
                  <a16:creationId xmlns:a16="http://schemas.microsoft.com/office/drawing/2014/main" id="{6DD97177-6045-574F-BE5F-9F6730B59D86}"/>
                </a:ext>
              </a:extLst>
            </p:cNvPr>
            <p:cNvSpPr/>
            <p:nvPr/>
          </p:nvSpPr>
          <p:spPr>
            <a:xfrm>
              <a:off x="4999400" y="3113300"/>
              <a:ext cx="169550" cy="106700"/>
            </a:xfrm>
            <a:custGeom>
              <a:avLst/>
              <a:gdLst/>
              <a:ahLst/>
              <a:cxnLst/>
              <a:rect l="l" t="t" r="r" b="b"/>
              <a:pathLst>
                <a:path w="6782" h="4268" extrusionOk="0">
                  <a:moveTo>
                    <a:pt x="6782" y="0"/>
                  </a:moveTo>
                  <a:lnTo>
                    <a:pt x="76" y="4099"/>
                  </a:lnTo>
                  <a:cubicBezTo>
                    <a:pt x="55" y="4113"/>
                    <a:pt x="28" y="4116"/>
                    <a:pt x="0" y="4116"/>
                  </a:cubicBezTo>
                  <a:lnTo>
                    <a:pt x="0" y="4267"/>
                  </a:lnTo>
                  <a:cubicBezTo>
                    <a:pt x="14" y="4267"/>
                    <a:pt x="31" y="4263"/>
                    <a:pt x="45" y="4260"/>
                  </a:cubicBezTo>
                  <a:cubicBezTo>
                    <a:pt x="55" y="4257"/>
                    <a:pt x="65" y="4253"/>
                    <a:pt x="76" y="4250"/>
                  </a:cubicBezTo>
                  <a:lnTo>
                    <a:pt x="5222" y="1103"/>
                  </a:lnTo>
                  <a:lnTo>
                    <a:pt x="5434" y="974"/>
                  </a:lnTo>
                  <a:lnTo>
                    <a:pt x="5983" y="639"/>
                  </a:lnTo>
                  <a:lnTo>
                    <a:pt x="6099" y="567"/>
                  </a:lnTo>
                  <a:lnTo>
                    <a:pt x="6683" y="213"/>
                  </a:lnTo>
                  <a:lnTo>
                    <a:pt x="6683" y="73"/>
                  </a:lnTo>
                  <a:lnTo>
                    <a:pt x="6782" y="4"/>
                  </a:lnTo>
                  <a:lnTo>
                    <a:pt x="6782" y="0"/>
                  </a:ln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16" name="Google Shape;6766;p41">
              <a:extLst>
                <a:ext uri="{FF2B5EF4-FFF2-40B4-BE49-F238E27FC236}">
                  <a16:creationId xmlns:a16="http://schemas.microsoft.com/office/drawing/2014/main" id="{F9839B37-37CA-A441-9A05-CE19910AD321}"/>
                </a:ext>
              </a:extLst>
            </p:cNvPr>
            <p:cNvSpPr/>
            <p:nvPr/>
          </p:nvSpPr>
          <p:spPr>
            <a:xfrm>
              <a:off x="5166475" y="3113375"/>
              <a:ext cx="2475" cy="50200"/>
            </a:xfrm>
            <a:custGeom>
              <a:avLst/>
              <a:gdLst/>
              <a:ahLst/>
              <a:cxnLst/>
              <a:rect l="l" t="t" r="r" b="b"/>
              <a:pathLst>
                <a:path w="99" h="2008" extrusionOk="0">
                  <a:moveTo>
                    <a:pt x="99" y="1"/>
                  </a:moveTo>
                  <a:lnTo>
                    <a:pt x="0" y="70"/>
                  </a:lnTo>
                  <a:lnTo>
                    <a:pt x="0" y="2008"/>
                  </a:lnTo>
                  <a:lnTo>
                    <a:pt x="99" y="1950"/>
                  </a:lnTo>
                  <a:lnTo>
                    <a:pt x="99" y="1"/>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17" name="Google Shape;6767;p41">
              <a:extLst>
                <a:ext uri="{FF2B5EF4-FFF2-40B4-BE49-F238E27FC236}">
                  <a16:creationId xmlns:a16="http://schemas.microsoft.com/office/drawing/2014/main" id="{411250B4-39A4-0B45-8230-E734B43312BA}"/>
                </a:ext>
              </a:extLst>
            </p:cNvPr>
            <p:cNvSpPr/>
            <p:nvPr/>
          </p:nvSpPr>
          <p:spPr>
            <a:xfrm>
              <a:off x="5166475" y="3113375"/>
              <a:ext cx="2475" cy="50200"/>
            </a:xfrm>
            <a:custGeom>
              <a:avLst/>
              <a:gdLst/>
              <a:ahLst/>
              <a:cxnLst/>
              <a:rect l="l" t="t" r="r" b="b"/>
              <a:pathLst>
                <a:path w="99" h="2008" extrusionOk="0">
                  <a:moveTo>
                    <a:pt x="99" y="1"/>
                  </a:moveTo>
                  <a:lnTo>
                    <a:pt x="0" y="70"/>
                  </a:lnTo>
                  <a:lnTo>
                    <a:pt x="0" y="2008"/>
                  </a:lnTo>
                  <a:lnTo>
                    <a:pt x="99" y="1950"/>
                  </a:lnTo>
                  <a:lnTo>
                    <a:pt x="99" y="1"/>
                  </a:ln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18" name="Google Shape;6768;p41">
              <a:extLst>
                <a:ext uri="{FF2B5EF4-FFF2-40B4-BE49-F238E27FC236}">
                  <a16:creationId xmlns:a16="http://schemas.microsoft.com/office/drawing/2014/main" id="{161185B5-B34B-3740-B789-C4C5164CFE32}"/>
                </a:ext>
              </a:extLst>
            </p:cNvPr>
            <p:cNvSpPr/>
            <p:nvPr/>
          </p:nvSpPr>
          <p:spPr>
            <a:xfrm>
              <a:off x="4806825" y="3001350"/>
              <a:ext cx="357875" cy="206675"/>
            </a:xfrm>
            <a:custGeom>
              <a:avLst/>
              <a:gdLst/>
              <a:ahLst/>
              <a:cxnLst/>
              <a:rect l="l" t="t" r="r" b="b"/>
              <a:pathLst>
                <a:path w="14315" h="8267" extrusionOk="0">
                  <a:moveTo>
                    <a:pt x="6784" y="1"/>
                  </a:moveTo>
                  <a:cubicBezTo>
                    <a:pt x="6722" y="1"/>
                    <a:pt x="6661" y="15"/>
                    <a:pt x="6615" y="42"/>
                  </a:cubicBezTo>
                  <a:lnTo>
                    <a:pt x="0" y="3861"/>
                  </a:lnTo>
                  <a:lnTo>
                    <a:pt x="7632" y="8267"/>
                  </a:lnTo>
                  <a:lnTo>
                    <a:pt x="14246" y="4448"/>
                  </a:lnTo>
                  <a:cubicBezTo>
                    <a:pt x="14291" y="4420"/>
                    <a:pt x="14314" y="4387"/>
                    <a:pt x="14314" y="4349"/>
                  </a:cubicBezTo>
                  <a:lnTo>
                    <a:pt x="14314" y="4199"/>
                  </a:lnTo>
                  <a:lnTo>
                    <a:pt x="6956" y="42"/>
                  </a:lnTo>
                  <a:cubicBezTo>
                    <a:pt x="6908" y="15"/>
                    <a:pt x="6846" y="1"/>
                    <a:pt x="6784" y="1"/>
                  </a:cubicBez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19" name="Google Shape;6769;p41">
              <a:extLst>
                <a:ext uri="{FF2B5EF4-FFF2-40B4-BE49-F238E27FC236}">
                  <a16:creationId xmlns:a16="http://schemas.microsoft.com/office/drawing/2014/main" id="{A196D783-1FAD-7444-AA49-09D3384121B7}"/>
                </a:ext>
              </a:extLst>
            </p:cNvPr>
            <p:cNvSpPr/>
            <p:nvPr/>
          </p:nvSpPr>
          <p:spPr>
            <a:xfrm>
              <a:off x="5000175" y="3106400"/>
              <a:ext cx="164525" cy="100100"/>
            </a:xfrm>
            <a:custGeom>
              <a:avLst/>
              <a:gdLst/>
              <a:ahLst/>
              <a:cxnLst/>
              <a:rect l="l" t="t" r="r" b="b"/>
              <a:pathLst>
                <a:path w="6581" h="4004" extrusionOk="0">
                  <a:moveTo>
                    <a:pt x="6580" y="0"/>
                  </a:moveTo>
                  <a:cubicBezTo>
                    <a:pt x="6580" y="34"/>
                    <a:pt x="6557" y="72"/>
                    <a:pt x="6512" y="99"/>
                  </a:cubicBezTo>
                  <a:lnTo>
                    <a:pt x="0" y="3857"/>
                  </a:lnTo>
                  <a:lnTo>
                    <a:pt x="0" y="4003"/>
                  </a:lnTo>
                  <a:lnTo>
                    <a:pt x="6512" y="246"/>
                  </a:lnTo>
                  <a:cubicBezTo>
                    <a:pt x="6557" y="218"/>
                    <a:pt x="6580" y="185"/>
                    <a:pt x="6580" y="147"/>
                  </a:cubicBezTo>
                  <a:lnTo>
                    <a:pt x="6580" y="127"/>
                  </a:lnTo>
                  <a:lnTo>
                    <a:pt x="6580" y="120"/>
                  </a:lnTo>
                  <a:lnTo>
                    <a:pt x="6580" y="116"/>
                  </a:lnTo>
                  <a:lnTo>
                    <a:pt x="6580" y="113"/>
                  </a:lnTo>
                  <a:lnTo>
                    <a:pt x="6580" y="109"/>
                  </a:lnTo>
                  <a:lnTo>
                    <a:pt x="6580" y="106"/>
                  </a:lnTo>
                  <a:lnTo>
                    <a:pt x="6580" y="103"/>
                  </a:lnTo>
                  <a:lnTo>
                    <a:pt x="6580" y="99"/>
                  </a:lnTo>
                  <a:lnTo>
                    <a:pt x="6580" y="95"/>
                  </a:lnTo>
                  <a:lnTo>
                    <a:pt x="6580" y="0"/>
                  </a:lnTo>
                  <a:close/>
                </a:path>
              </a:pathLst>
            </a:custGeom>
            <a:solidFill>
              <a:srgbClr val="1FB299"/>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20" name="Google Shape;6770;p41">
              <a:extLst>
                <a:ext uri="{FF2B5EF4-FFF2-40B4-BE49-F238E27FC236}">
                  <a16:creationId xmlns:a16="http://schemas.microsoft.com/office/drawing/2014/main" id="{CC44EE35-DD1D-3E45-8DC1-55AA3FC1C32E}"/>
                </a:ext>
              </a:extLst>
            </p:cNvPr>
            <p:cNvSpPr/>
            <p:nvPr/>
          </p:nvSpPr>
          <p:spPr>
            <a:xfrm>
              <a:off x="4806825" y="2997700"/>
              <a:ext cx="358475" cy="206575"/>
            </a:xfrm>
            <a:custGeom>
              <a:avLst/>
              <a:gdLst/>
              <a:ahLst/>
              <a:cxnLst/>
              <a:rect l="l" t="t" r="r" b="b"/>
              <a:pathLst>
                <a:path w="14339" h="8263" extrusionOk="0">
                  <a:moveTo>
                    <a:pt x="6784" y="0"/>
                  </a:moveTo>
                  <a:cubicBezTo>
                    <a:pt x="6722" y="0"/>
                    <a:pt x="6661" y="14"/>
                    <a:pt x="6615" y="41"/>
                  </a:cubicBezTo>
                  <a:lnTo>
                    <a:pt x="0" y="3860"/>
                  </a:lnTo>
                  <a:lnTo>
                    <a:pt x="7632" y="8263"/>
                  </a:lnTo>
                  <a:lnTo>
                    <a:pt x="14246" y="4447"/>
                  </a:lnTo>
                  <a:cubicBezTo>
                    <a:pt x="14338" y="4393"/>
                    <a:pt x="14338" y="4304"/>
                    <a:pt x="14246" y="4249"/>
                  </a:cubicBezTo>
                  <a:lnTo>
                    <a:pt x="6956" y="41"/>
                  </a:lnTo>
                  <a:cubicBezTo>
                    <a:pt x="6908" y="14"/>
                    <a:pt x="6846" y="0"/>
                    <a:pt x="6784" y="0"/>
                  </a:cubicBez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21" name="Google Shape;6771;p41">
              <a:extLst>
                <a:ext uri="{FF2B5EF4-FFF2-40B4-BE49-F238E27FC236}">
                  <a16:creationId xmlns:a16="http://schemas.microsoft.com/office/drawing/2014/main" id="{08A82529-C8FB-8E48-960C-88E82F862E8C}"/>
                </a:ext>
              </a:extLst>
            </p:cNvPr>
            <p:cNvSpPr/>
            <p:nvPr/>
          </p:nvSpPr>
          <p:spPr>
            <a:xfrm>
              <a:off x="5000175" y="3102125"/>
              <a:ext cx="164525" cy="100700"/>
            </a:xfrm>
            <a:custGeom>
              <a:avLst/>
              <a:gdLst/>
              <a:ahLst/>
              <a:cxnLst/>
              <a:rect l="l" t="t" r="r" b="b"/>
              <a:pathLst>
                <a:path w="6581" h="4028" extrusionOk="0">
                  <a:moveTo>
                    <a:pt x="0" y="3092"/>
                  </a:moveTo>
                  <a:lnTo>
                    <a:pt x="0" y="3287"/>
                  </a:lnTo>
                  <a:cubicBezTo>
                    <a:pt x="27" y="3297"/>
                    <a:pt x="54" y="3305"/>
                    <a:pt x="86" y="3305"/>
                  </a:cubicBezTo>
                  <a:cubicBezTo>
                    <a:pt x="140" y="3305"/>
                    <a:pt x="205" y="3287"/>
                    <a:pt x="270" y="3250"/>
                  </a:cubicBezTo>
                  <a:lnTo>
                    <a:pt x="270" y="3250"/>
                  </a:lnTo>
                  <a:lnTo>
                    <a:pt x="294" y="3264"/>
                  </a:lnTo>
                  <a:lnTo>
                    <a:pt x="270" y="3250"/>
                  </a:lnTo>
                  <a:cubicBezTo>
                    <a:pt x="270" y="3250"/>
                    <a:pt x="270" y="3250"/>
                    <a:pt x="270" y="3250"/>
                  </a:cubicBezTo>
                  <a:lnTo>
                    <a:pt x="270" y="3250"/>
                  </a:lnTo>
                  <a:lnTo>
                    <a:pt x="0" y="3092"/>
                  </a:lnTo>
                  <a:close/>
                  <a:moveTo>
                    <a:pt x="6386" y="0"/>
                  </a:moveTo>
                  <a:lnTo>
                    <a:pt x="6386" y="123"/>
                  </a:lnTo>
                  <a:lnTo>
                    <a:pt x="6376" y="130"/>
                  </a:lnTo>
                  <a:cubicBezTo>
                    <a:pt x="6396" y="178"/>
                    <a:pt x="6379" y="230"/>
                    <a:pt x="6314" y="263"/>
                  </a:cubicBezTo>
                  <a:lnTo>
                    <a:pt x="706" y="3502"/>
                  </a:lnTo>
                  <a:lnTo>
                    <a:pt x="369" y="3305"/>
                  </a:lnTo>
                  <a:cubicBezTo>
                    <a:pt x="355" y="3314"/>
                    <a:pt x="338" y="3322"/>
                    <a:pt x="325" y="3332"/>
                  </a:cubicBezTo>
                  <a:cubicBezTo>
                    <a:pt x="243" y="3376"/>
                    <a:pt x="161" y="3400"/>
                    <a:pt x="86" y="3400"/>
                  </a:cubicBezTo>
                  <a:cubicBezTo>
                    <a:pt x="54" y="3400"/>
                    <a:pt x="27" y="3396"/>
                    <a:pt x="0" y="3390"/>
                  </a:cubicBezTo>
                  <a:lnTo>
                    <a:pt x="0" y="4028"/>
                  </a:lnTo>
                  <a:lnTo>
                    <a:pt x="6512" y="270"/>
                  </a:lnTo>
                  <a:cubicBezTo>
                    <a:pt x="6557" y="243"/>
                    <a:pt x="6580" y="205"/>
                    <a:pt x="6580" y="171"/>
                  </a:cubicBezTo>
                  <a:cubicBezTo>
                    <a:pt x="6580" y="134"/>
                    <a:pt x="6557" y="99"/>
                    <a:pt x="6512" y="72"/>
                  </a:cubicBezTo>
                  <a:lnTo>
                    <a:pt x="6386" y="0"/>
                  </a:ln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22" name="Google Shape;6772;p41">
              <a:extLst>
                <a:ext uri="{FF2B5EF4-FFF2-40B4-BE49-F238E27FC236}">
                  <a16:creationId xmlns:a16="http://schemas.microsoft.com/office/drawing/2014/main" id="{B7A50DF6-FD3C-F047-97CE-923027745DC2}"/>
                </a:ext>
              </a:extLst>
            </p:cNvPr>
            <p:cNvSpPr/>
            <p:nvPr/>
          </p:nvSpPr>
          <p:spPr>
            <a:xfrm>
              <a:off x="4827050" y="2997600"/>
              <a:ext cx="333050" cy="192075"/>
            </a:xfrm>
            <a:custGeom>
              <a:avLst/>
              <a:gdLst/>
              <a:ahLst/>
              <a:cxnLst/>
              <a:rect l="l" t="t" r="r" b="b"/>
              <a:pathLst>
                <a:path w="13322" h="7683" extrusionOk="0">
                  <a:moveTo>
                    <a:pt x="5781" y="1"/>
                  </a:moveTo>
                  <a:cubicBezTo>
                    <a:pt x="5719" y="1"/>
                    <a:pt x="5657" y="14"/>
                    <a:pt x="5612" y="41"/>
                  </a:cubicBezTo>
                  <a:lnTo>
                    <a:pt x="713" y="2867"/>
                  </a:lnTo>
                  <a:lnTo>
                    <a:pt x="1" y="2454"/>
                  </a:lnTo>
                  <a:lnTo>
                    <a:pt x="1" y="3277"/>
                  </a:lnTo>
                  <a:lnTo>
                    <a:pt x="7631" y="7683"/>
                  </a:lnTo>
                  <a:lnTo>
                    <a:pt x="13239" y="4444"/>
                  </a:lnTo>
                  <a:cubicBezTo>
                    <a:pt x="13304" y="4411"/>
                    <a:pt x="13321" y="4359"/>
                    <a:pt x="13301" y="4311"/>
                  </a:cubicBezTo>
                  <a:lnTo>
                    <a:pt x="13311" y="4304"/>
                  </a:lnTo>
                  <a:lnTo>
                    <a:pt x="13311" y="3550"/>
                  </a:lnTo>
                  <a:lnTo>
                    <a:pt x="12676" y="3922"/>
                  </a:lnTo>
                  <a:lnTo>
                    <a:pt x="5952" y="41"/>
                  </a:lnTo>
                  <a:cubicBezTo>
                    <a:pt x="5905" y="14"/>
                    <a:pt x="5843" y="1"/>
                    <a:pt x="5781" y="1"/>
                  </a:cubicBezTo>
                  <a:close/>
                </a:path>
              </a:pathLst>
            </a:custGeom>
            <a:solidFill>
              <a:srgbClr val="EBEBEB"/>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23" name="Google Shape;6773;p41">
              <a:extLst>
                <a:ext uri="{FF2B5EF4-FFF2-40B4-BE49-F238E27FC236}">
                  <a16:creationId xmlns:a16="http://schemas.microsoft.com/office/drawing/2014/main" id="{6FE8E0C4-4228-C74F-AC54-0AFACB548902}"/>
                </a:ext>
              </a:extLst>
            </p:cNvPr>
            <p:cNvSpPr/>
            <p:nvPr/>
          </p:nvSpPr>
          <p:spPr>
            <a:xfrm>
              <a:off x="4827050" y="2976950"/>
              <a:ext cx="333375" cy="192100"/>
            </a:xfrm>
            <a:custGeom>
              <a:avLst/>
              <a:gdLst/>
              <a:ahLst/>
              <a:cxnLst/>
              <a:rect l="l" t="t" r="r" b="b"/>
              <a:pathLst>
                <a:path w="13335" h="7684" extrusionOk="0">
                  <a:moveTo>
                    <a:pt x="5781" y="1"/>
                  </a:moveTo>
                  <a:cubicBezTo>
                    <a:pt x="5719" y="1"/>
                    <a:pt x="5657" y="14"/>
                    <a:pt x="5612" y="42"/>
                  </a:cubicBezTo>
                  <a:lnTo>
                    <a:pt x="1" y="3280"/>
                  </a:lnTo>
                  <a:lnTo>
                    <a:pt x="7631" y="7683"/>
                  </a:lnTo>
                  <a:lnTo>
                    <a:pt x="13239" y="4448"/>
                  </a:lnTo>
                  <a:cubicBezTo>
                    <a:pt x="13335" y="4393"/>
                    <a:pt x="13335" y="4304"/>
                    <a:pt x="13239" y="4250"/>
                  </a:cubicBezTo>
                  <a:lnTo>
                    <a:pt x="5952" y="42"/>
                  </a:lnTo>
                  <a:cubicBezTo>
                    <a:pt x="5905" y="14"/>
                    <a:pt x="5843" y="1"/>
                    <a:pt x="5781" y="1"/>
                  </a:cubicBezTo>
                  <a:close/>
                </a:path>
              </a:pathLst>
            </a:custGeom>
            <a:solidFill>
              <a:srgbClr val="FAFAFA"/>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24" name="Google Shape;6774;p41">
              <a:extLst>
                <a:ext uri="{FF2B5EF4-FFF2-40B4-BE49-F238E27FC236}">
                  <a16:creationId xmlns:a16="http://schemas.microsoft.com/office/drawing/2014/main" id="{8E875A3F-6F23-D24E-90F2-AAC87ADB85E4}"/>
                </a:ext>
              </a:extLst>
            </p:cNvPr>
            <p:cNvSpPr/>
            <p:nvPr/>
          </p:nvSpPr>
          <p:spPr>
            <a:xfrm>
              <a:off x="4827050" y="3058950"/>
              <a:ext cx="190800" cy="130725"/>
            </a:xfrm>
            <a:custGeom>
              <a:avLst/>
              <a:gdLst/>
              <a:ahLst/>
              <a:cxnLst/>
              <a:rect l="l" t="t" r="r" b="b"/>
              <a:pathLst>
                <a:path w="7632" h="5229" extrusionOk="0">
                  <a:moveTo>
                    <a:pt x="1" y="0"/>
                  </a:moveTo>
                  <a:lnTo>
                    <a:pt x="1" y="823"/>
                  </a:lnTo>
                  <a:lnTo>
                    <a:pt x="7631" y="5229"/>
                  </a:lnTo>
                  <a:lnTo>
                    <a:pt x="7631" y="4403"/>
                  </a:lnTo>
                  <a:lnTo>
                    <a:pt x="1" y="0"/>
                  </a:lnTo>
                  <a:close/>
                </a:path>
              </a:pathLst>
            </a:custGeom>
            <a:solidFill>
              <a:srgbClr val="E6E6E6"/>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25" name="Google Shape;6775;p41">
              <a:extLst>
                <a:ext uri="{FF2B5EF4-FFF2-40B4-BE49-F238E27FC236}">
                  <a16:creationId xmlns:a16="http://schemas.microsoft.com/office/drawing/2014/main" id="{0A16CC33-3B15-F64D-82D0-A3C1B2836A75}"/>
                </a:ext>
              </a:extLst>
            </p:cNvPr>
            <p:cNvSpPr/>
            <p:nvPr/>
          </p:nvSpPr>
          <p:spPr>
            <a:xfrm>
              <a:off x="5014000" y="3157700"/>
              <a:ext cx="7775" cy="4025"/>
            </a:xfrm>
            <a:custGeom>
              <a:avLst/>
              <a:gdLst/>
              <a:ahLst/>
              <a:cxnLst/>
              <a:rect l="l" t="t" r="r" b="b"/>
              <a:pathLst>
                <a:path w="311" h="161" extrusionOk="0">
                  <a:moveTo>
                    <a:pt x="126" y="0"/>
                  </a:moveTo>
                  <a:cubicBezTo>
                    <a:pt x="98" y="0"/>
                    <a:pt x="72" y="7"/>
                    <a:pt x="51" y="20"/>
                  </a:cubicBezTo>
                  <a:cubicBezTo>
                    <a:pt x="45" y="20"/>
                    <a:pt x="41" y="23"/>
                    <a:pt x="41" y="26"/>
                  </a:cubicBezTo>
                  <a:cubicBezTo>
                    <a:pt x="0" y="58"/>
                    <a:pt x="7" y="102"/>
                    <a:pt x="65" y="132"/>
                  </a:cubicBezTo>
                  <a:cubicBezTo>
                    <a:pt x="82" y="143"/>
                    <a:pt x="103" y="149"/>
                    <a:pt x="126" y="153"/>
                  </a:cubicBezTo>
                  <a:cubicBezTo>
                    <a:pt x="144" y="158"/>
                    <a:pt x="161" y="161"/>
                    <a:pt x="179" y="161"/>
                  </a:cubicBezTo>
                  <a:cubicBezTo>
                    <a:pt x="196" y="161"/>
                    <a:pt x="213" y="158"/>
                    <a:pt x="229" y="153"/>
                  </a:cubicBezTo>
                  <a:cubicBezTo>
                    <a:pt x="239" y="149"/>
                    <a:pt x="249" y="146"/>
                    <a:pt x="259" y="140"/>
                  </a:cubicBezTo>
                  <a:cubicBezTo>
                    <a:pt x="311" y="112"/>
                    <a:pt x="304" y="61"/>
                    <a:pt x="246" y="26"/>
                  </a:cubicBezTo>
                  <a:cubicBezTo>
                    <a:pt x="218" y="13"/>
                    <a:pt x="188" y="3"/>
                    <a:pt x="157" y="3"/>
                  </a:cubicBezTo>
                  <a:cubicBezTo>
                    <a:pt x="146" y="1"/>
                    <a:pt x="136" y="0"/>
                    <a:pt x="126" y="0"/>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26" name="Google Shape;6776;p41">
              <a:extLst>
                <a:ext uri="{FF2B5EF4-FFF2-40B4-BE49-F238E27FC236}">
                  <a16:creationId xmlns:a16="http://schemas.microsoft.com/office/drawing/2014/main" id="{0561CD3D-C958-AB47-AFFF-E5FE7D50BEDE}"/>
                </a:ext>
              </a:extLst>
            </p:cNvPr>
            <p:cNvSpPr/>
            <p:nvPr/>
          </p:nvSpPr>
          <p:spPr>
            <a:xfrm>
              <a:off x="4993950" y="3154850"/>
              <a:ext cx="25775" cy="32275"/>
            </a:xfrm>
            <a:custGeom>
              <a:avLst/>
              <a:gdLst/>
              <a:ahLst/>
              <a:cxnLst/>
              <a:rect l="l" t="t" r="r" b="b"/>
              <a:pathLst>
                <a:path w="1031" h="1291" extrusionOk="0">
                  <a:moveTo>
                    <a:pt x="713" y="0"/>
                  </a:moveTo>
                  <a:cubicBezTo>
                    <a:pt x="635" y="0"/>
                    <a:pt x="557" y="25"/>
                    <a:pt x="475" y="72"/>
                  </a:cubicBezTo>
                  <a:cubicBezTo>
                    <a:pt x="208" y="226"/>
                    <a:pt x="0" y="584"/>
                    <a:pt x="0" y="892"/>
                  </a:cubicBezTo>
                  <a:cubicBezTo>
                    <a:pt x="0" y="1008"/>
                    <a:pt x="31" y="1103"/>
                    <a:pt x="89" y="1175"/>
                  </a:cubicBezTo>
                  <a:cubicBezTo>
                    <a:pt x="147" y="1250"/>
                    <a:pt x="235" y="1291"/>
                    <a:pt x="335" y="1291"/>
                  </a:cubicBezTo>
                  <a:cubicBezTo>
                    <a:pt x="410" y="1291"/>
                    <a:pt x="492" y="1267"/>
                    <a:pt x="574" y="1223"/>
                  </a:cubicBezTo>
                  <a:cubicBezTo>
                    <a:pt x="587" y="1213"/>
                    <a:pt x="604" y="1205"/>
                    <a:pt x="618" y="1196"/>
                  </a:cubicBezTo>
                  <a:lnTo>
                    <a:pt x="519" y="1141"/>
                  </a:lnTo>
                  <a:cubicBezTo>
                    <a:pt x="453" y="1177"/>
                    <a:pt x="390" y="1195"/>
                    <a:pt x="335" y="1195"/>
                  </a:cubicBezTo>
                  <a:cubicBezTo>
                    <a:pt x="195" y="1195"/>
                    <a:pt x="99" y="1084"/>
                    <a:pt x="99" y="892"/>
                  </a:cubicBezTo>
                  <a:cubicBezTo>
                    <a:pt x="99" y="622"/>
                    <a:pt x="290" y="291"/>
                    <a:pt x="522" y="158"/>
                  </a:cubicBezTo>
                  <a:cubicBezTo>
                    <a:pt x="589" y="118"/>
                    <a:pt x="654" y="99"/>
                    <a:pt x="711" y="99"/>
                  </a:cubicBezTo>
                  <a:cubicBezTo>
                    <a:pt x="761" y="99"/>
                    <a:pt x="806" y="113"/>
                    <a:pt x="843" y="140"/>
                  </a:cubicBezTo>
                  <a:cubicBezTo>
                    <a:pt x="881" y="168"/>
                    <a:pt x="911" y="209"/>
                    <a:pt x="928" y="267"/>
                  </a:cubicBezTo>
                  <a:cubicBezTo>
                    <a:pt x="946" y="272"/>
                    <a:pt x="963" y="275"/>
                    <a:pt x="981" y="275"/>
                  </a:cubicBezTo>
                  <a:cubicBezTo>
                    <a:pt x="998" y="275"/>
                    <a:pt x="1015" y="272"/>
                    <a:pt x="1031" y="267"/>
                  </a:cubicBezTo>
                  <a:cubicBezTo>
                    <a:pt x="1017" y="205"/>
                    <a:pt x="993" y="154"/>
                    <a:pt x="959" y="117"/>
                  </a:cubicBezTo>
                  <a:cubicBezTo>
                    <a:pt x="901" y="41"/>
                    <a:pt x="815" y="0"/>
                    <a:pt x="713" y="0"/>
                  </a:cubicBezTo>
                  <a:close/>
                </a:path>
              </a:pathLst>
            </a:custGeom>
            <a:solidFill>
              <a:srgbClr val="263238"/>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27" name="Google Shape;6777;p41">
              <a:extLst>
                <a:ext uri="{FF2B5EF4-FFF2-40B4-BE49-F238E27FC236}">
                  <a16:creationId xmlns:a16="http://schemas.microsoft.com/office/drawing/2014/main" id="{69B537DA-5A04-844F-9B27-50D1ABEE9DEE}"/>
                </a:ext>
              </a:extLst>
            </p:cNvPr>
            <p:cNvSpPr/>
            <p:nvPr/>
          </p:nvSpPr>
          <p:spPr>
            <a:xfrm>
              <a:off x="5000100" y="3077225"/>
              <a:ext cx="164600" cy="84150"/>
            </a:xfrm>
            <a:custGeom>
              <a:avLst/>
              <a:gdLst/>
              <a:ahLst/>
              <a:cxnLst/>
              <a:rect l="l" t="t" r="r" b="b"/>
              <a:pathLst>
                <a:path w="6584" h="3366" extrusionOk="0">
                  <a:moveTo>
                    <a:pt x="6583" y="0"/>
                  </a:moveTo>
                  <a:lnTo>
                    <a:pt x="0" y="3218"/>
                  </a:lnTo>
                  <a:lnTo>
                    <a:pt x="0" y="3365"/>
                  </a:lnTo>
                  <a:lnTo>
                    <a:pt x="6498" y="256"/>
                  </a:lnTo>
                  <a:cubicBezTo>
                    <a:pt x="6546" y="229"/>
                    <a:pt x="6583" y="161"/>
                    <a:pt x="6583" y="106"/>
                  </a:cubicBezTo>
                  <a:lnTo>
                    <a:pt x="6583" y="0"/>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28" name="Google Shape;6778;p41">
              <a:extLst>
                <a:ext uri="{FF2B5EF4-FFF2-40B4-BE49-F238E27FC236}">
                  <a16:creationId xmlns:a16="http://schemas.microsoft.com/office/drawing/2014/main" id="{3637C2A9-2079-8646-9195-DBEACB1D61FB}"/>
                </a:ext>
              </a:extLst>
            </p:cNvPr>
            <p:cNvSpPr/>
            <p:nvPr/>
          </p:nvSpPr>
          <p:spPr>
            <a:xfrm>
              <a:off x="5000175" y="3077225"/>
              <a:ext cx="164525" cy="84150"/>
            </a:xfrm>
            <a:custGeom>
              <a:avLst/>
              <a:gdLst/>
              <a:ahLst/>
              <a:cxnLst/>
              <a:rect l="l" t="t" r="r" b="b"/>
              <a:pathLst>
                <a:path w="6581" h="3366" extrusionOk="0">
                  <a:moveTo>
                    <a:pt x="6580" y="0"/>
                  </a:moveTo>
                  <a:cubicBezTo>
                    <a:pt x="6580" y="34"/>
                    <a:pt x="6557" y="71"/>
                    <a:pt x="6512" y="99"/>
                  </a:cubicBezTo>
                  <a:lnTo>
                    <a:pt x="0" y="3222"/>
                  </a:lnTo>
                  <a:lnTo>
                    <a:pt x="0" y="3365"/>
                  </a:lnTo>
                  <a:lnTo>
                    <a:pt x="6495" y="256"/>
                  </a:lnTo>
                  <a:cubicBezTo>
                    <a:pt x="6543" y="229"/>
                    <a:pt x="6580" y="161"/>
                    <a:pt x="6580" y="106"/>
                  </a:cubicBezTo>
                  <a:lnTo>
                    <a:pt x="6580" y="0"/>
                  </a:ln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29" name="Google Shape;6779;p41">
              <a:extLst>
                <a:ext uri="{FF2B5EF4-FFF2-40B4-BE49-F238E27FC236}">
                  <a16:creationId xmlns:a16="http://schemas.microsoft.com/office/drawing/2014/main" id="{9D8C63FD-1F33-4348-965E-4A5CCE267FF5}"/>
                </a:ext>
              </a:extLst>
            </p:cNvPr>
            <p:cNvSpPr/>
            <p:nvPr/>
          </p:nvSpPr>
          <p:spPr>
            <a:xfrm>
              <a:off x="4806825" y="2968500"/>
              <a:ext cx="358475" cy="190575"/>
            </a:xfrm>
            <a:custGeom>
              <a:avLst/>
              <a:gdLst/>
              <a:ahLst/>
              <a:cxnLst/>
              <a:rect l="l" t="t" r="r" b="b"/>
              <a:pathLst>
                <a:path w="14339" h="7623" extrusionOk="0">
                  <a:moveTo>
                    <a:pt x="6784" y="1"/>
                  </a:moveTo>
                  <a:cubicBezTo>
                    <a:pt x="6722" y="1"/>
                    <a:pt x="6661" y="14"/>
                    <a:pt x="6615" y="41"/>
                  </a:cubicBezTo>
                  <a:lnTo>
                    <a:pt x="0" y="3215"/>
                  </a:lnTo>
                  <a:lnTo>
                    <a:pt x="7632" y="7622"/>
                  </a:lnTo>
                  <a:lnTo>
                    <a:pt x="14246" y="4448"/>
                  </a:lnTo>
                  <a:cubicBezTo>
                    <a:pt x="14338" y="4393"/>
                    <a:pt x="14338" y="4305"/>
                    <a:pt x="14246" y="4250"/>
                  </a:cubicBezTo>
                  <a:lnTo>
                    <a:pt x="6956" y="41"/>
                  </a:lnTo>
                  <a:cubicBezTo>
                    <a:pt x="6908" y="14"/>
                    <a:pt x="6846" y="1"/>
                    <a:pt x="6784" y="1"/>
                  </a:cubicBezTo>
                  <a:close/>
                </a:path>
              </a:pathLst>
            </a:custGeom>
            <a:solidFill>
              <a:schemeClr val="accent6"/>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30" name="Google Shape;6780;p41">
              <a:extLst>
                <a:ext uri="{FF2B5EF4-FFF2-40B4-BE49-F238E27FC236}">
                  <a16:creationId xmlns:a16="http://schemas.microsoft.com/office/drawing/2014/main" id="{A852CB56-8E79-5646-83F2-51C040328E59}"/>
                </a:ext>
              </a:extLst>
            </p:cNvPr>
            <p:cNvSpPr/>
            <p:nvPr/>
          </p:nvSpPr>
          <p:spPr>
            <a:xfrm>
              <a:off x="4806825" y="3048875"/>
              <a:ext cx="190800" cy="159150"/>
            </a:xfrm>
            <a:custGeom>
              <a:avLst/>
              <a:gdLst/>
              <a:ahLst/>
              <a:cxnLst/>
              <a:rect l="l" t="t" r="r" b="b"/>
              <a:pathLst>
                <a:path w="7632" h="6366" extrusionOk="0">
                  <a:moveTo>
                    <a:pt x="0" y="0"/>
                  </a:moveTo>
                  <a:lnTo>
                    <a:pt x="0" y="1960"/>
                  </a:lnTo>
                  <a:lnTo>
                    <a:pt x="7632" y="6366"/>
                  </a:lnTo>
                  <a:lnTo>
                    <a:pt x="7632" y="4407"/>
                  </a:lnTo>
                  <a:lnTo>
                    <a:pt x="0" y="0"/>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31" name="Google Shape;6781;p41">
              <a:extLst>
                <a:ext uri="{FF2B5EF4-FFF2-40B4-BE49-F238E27FC236}">
                  <a16:creationId xmlns:a16="http://schemas.microsoft.com/office/drawing/2014/main" id="{4DAFE2C4-21B6-9F43-9A7B-C677C86B3919}"/>
                </a:ext>
              </a:extLst>
            </p:cNvPr>
            <p:cNvSpPr/>
            <p:nvPr/>
          </p:nvSpPr>
          <p:spPr>
            <a:xfrm>
              <a:off x="4806825" y="3048875"/>
              <a:ext cx="190800" cy="159150"/>
            </a:xfrm>
            <a:custGeom>
              <a:avLst/>
              <a:gdLst/>
              <a:ahLst/>
              <a:cxnLst/>
              <a:rect l="l" t="t" r="r" b="b"/>
              <a:pathLst>
                <a:path w="7632" h="6366" extrusionOk="0">
                  <a:moveTo>
                    <a:pt x="0" y="0"/>
                  </a:moveTo>
                  <a:lnTo>
                    <a:pt x="0" y="1960"/>
                  </a:lnTo>
                  <a:lnTo>
                    <a:pt x="7632" y="6366"/>
                  </a:lnTo>
                  <a:lnTo>
                    <a:pt x="7632" y="4878"/>
                  </a:lnTo>
                  <a:lnTo>
                    <a:pt x="7632" y="4646"/>
                  </a:lnTo>
                  <a:lnTo>
                    <a:pt x="7632" y="4407"/>
                  </a:lnTo>
                  <a:lnTo>
                    <a:pt x="5792" y="3346"/>
                  </a:lnTo>
                  <a:lnTo>
                    <a:pt x="0" y="0"/>
                  </a:lnTo>
                  <a:close/>
                </a:path>
              </a:pathLst>
            </a:custGeom>
            <a:solidFill>
              <a:schemeClr val="accent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32" name="Google Shape;6782;p41">
              <a:extLst>
                <a:ext uri="{FF2B5EF4-FFF2-40B4-BE49-F238E27FC236}">
                  <a16:creationId xmlns:a16="http://schemas.microsoft.com/office/drawing/2014/main" id="{06D5A1A1-A879-B848-B833-44D8C3E8BDC1}"/>
                </a:ext>
              </a:extLst>
            </p:cNvPr>
            <p:cNvSpPr/>
            <p:nvPr/>
          </p:nvSpPr>
          <p:spPr>
            <a:xfrm>
              <a:off x="4942150" y="3144200"/>
              <a:ext cx="26225" cy="32350"/>
            </a:xfrm>
            <a:custGeom>
              <a:avLst/>
              <a:gdLst/>
              <a:ahLst/>
              <a:cxnLst/>
              <a:rect l="l" t="t" r="r" b="b"/>
              <a:pathLst>
                <a:path w="1049" h="1294" extrusionOk="0">
                  <a:moveTo>
                    <a:pt x="335" y="0"/>
                  </a:moveTo>
                  <a:cubicBezTo>
                    <a:pt x="137" y="0"/>
                    <a:pt x="0" y="164"/>
                    <a:pt x="0" y="403"/>
                  </a:cubicBezTo>
                  <a:cubicBezTo>
                    <a:pt x="0" y="710"/>
                    <a:pt x="209" y="1069"/>
                    <a:pt x="475" y="1222"/>
                  </a:cubicBezTo>
                  <a:cubicBezTo>
                    <a:pt x="557" y="1270"/>
                    <a:pt x="639" y="1294"/>
                    <a:pt x="713" y="1294"/>
                  </a:cubicBezTo>
                  <a:cubicBezTo>
                    <a:pt x="813" y="1294"/>
                    <a:pt x="901" y="1253"/>
                    <a:pt x="959" y="1178"/>
                  </a:cubicBezTo>
                  <a:cubicBezTo>
                    <a:pt x="1017" y="1106"/>
                    <a:pt x="1048" y="1007"/>
                    <a:pt x="1048" y="891"/>
                  </a:cubicBezTo>
                  <a:cubicBezTo>
                    <a:pt x="1048" y="587"/>
                    <a:pt x="840" y="226"/>
                    <a:pt x="573" y="72"/>
                  </a:cubicBezTo>
                  <a:cubicBezTo>
                    <a:pt x="491" y="24"/>
                    <a:pt x="410" y="0"/>
                    <a:pt x="335" y="0"/>
                  </a:cubicBezTo>
                  <a:close/>
                </a:path>
              </a:pathLst>
            </a:custGeom>
            <a:solidFill>
              <a:srgbClr val="455A6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33" name="Google Shape;6783;p41">
              <a:extLst>
                <a:ext uri="{FF2B5EF4-FFF2-40B4-BE49-F238E27FC236}">
                  <a16:creationId xmlns:a16="http://schemas.microsoft.com/office/drawing/2014/main" id="{6C2E672B-1521-B44C-B990-F9781DAC2201}"/>
                </a:ext>
              </a:extLst>
            </p:cNvPr>
            <p:cNvSpPr/>
            <p:nvPr/>
          </p:nvSpPr>
          <p:spPr>
            <a:xfrm>
              <a:off x="4944625" y="3146700"/>
              <a:ext cx="21275" cy="27400"/>
            </a:xfrm>
            <a:custGeom>
              <a:avLst/>
              <a:gdLst/>
              <a:ahLst/>
              <a:cxnLst/>
              <a:rect l="l" t="t" r="r" b="b"/>
              <a:pathLst>
                <a:path w="851" h="1096" extrusionOk="0">
                  <a:moveTo>
                    <a:pt x="237" y="0"/>
                  </a:moveTo>
                  <a:cubicBezTo>
                    <a:pt x="97" y="0"/>
                    <a:pt x="0" y="111"/>
                    <a:pt x="0" y="303"/>
                  </a:cubicBezTo>
                  <a:cubicBezTo>
                    <a:pt x="0" y="572"/>
                    <a:pt x="192" y="904"/>
                    <a:pt x="427" y="1037"/>
                  </a:cubicBezTo>
                  <a:cubicBezTo>
                    <a:pt x="495" y="1077"/>
                    <a:pt x="559" y="1095"/>
                    <a:pt x="616" y="1095"/>
                  </a:cubicBezTo>
                  <a:cubicBezTo>
                    <a:pt x="754" y="1095"/>
                    <a:pt x="850" y="984"/>
                    <a:pt x="850" y="791"/>
                  </a:cubicBezTo>
                  <a:cubicBezTo>
                    <a:pt x="850" y="521"/>
                    <a:pt x="659" y="194"/>
                    <a:pt x="424" y="57"/>
                  </a:cubicBezTo>
                  <a:cubicBezTo>
                    <a:pt x="357" y="19"/>
                    <a:pt x="293" y="0"/>
                    <a:pt x="237" y="0"/>
                  </a:cubicBezTo>
                  <a:close/>
                </a:path>
              </a:pathLst>
            </a:custGeom>
            <a:solidFill>
              <a:srgbClr val="F5F5F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34" name="Google Shape;6784;p41">
              <a:extLst>
                <a:ext uri="{FF2B5EF4-FFF2-40B4-BE49-F238E27FC236}">
                  <a16:creationId xmlns:a16="http://schemas.microsoft.com/office/drawing/2014/main" id="{9E408A67-D5BD-9A44-891C-47E68B8906FB}"/>
                </a:ext>
              </a:extLst>
            </p:cNvPr>
            <p:cNvSpPr/>
            <p:nvPr/>
          </p:nvSpPr>
          <p:spPr>
            <a:xfrm>
              <a:off x="4821425" y="3072400"/>
              <a:ext cx="106000" cy="81525"/>
            </a:xfrm>
            <a:custGeom>
              <a:avLst/>
              <a:gdLst/>
              <a:ahLst/>
              <a:cxnLst/>
              <a:rect l="l" t="t" r="r" b="b"/>
              <a:pathLst>
                <a:path w="4240" h="3261" extrusionOk="0">
                  <a:moveTo>
                    <a:pt x="258" y="0"/>
                  </a:moveTo>
                  <a:cubicBezTo>
                    <a:pt x="105" y="0"/>
                    <a:pt x="0" y="122"/>
                    <a:pt x="0" y="333"/>
                  </a:cubicBezTo>
                  <a:lnTo>
                    <a:pt x="0" y="480"/>
                  </a:lnTo>
                  <a:cubicBezTo>
                    <a:pt x="0" y="776"/>
                    <a:pt x="208" y="1138"/>
                    <a:pt x="464" y="1288"/>
                  </a:cubicBezTo>
                  <a:lnTo>
                    <a:pt x="3772" y="3196"/>
                  </a:lnTo>
                  <a:cubicBezTo>
                    <a:pt x="3847" y="3240"/>
                    <a:pt x="3918" y="3261"/>
                    <a:pt x="3981" y="3261"/>
                  </a:cubicBezTo>
                  <a:cubicBezTo>
                    <a:pt x="4134" y="3261"/>
                    <a:pt x="4239" y="3137"/>
                    <a:pt x="4239" y="2927"/>
                  </a:cubicBezTo>
                  <a:lnTo>
                    <a:pt x="4239" y="2780"/>
                  </a:lnTo>
                  <a:cubicBezTo>
                    <a:pt x="4239" y="2483"/>
                    <a:pt x="4030" y="2121"/>
                    <a:pt x="3772" y="1975"/>
                  </a:cubicBezTo>
                  <a:lnTo>
                    <a:pt x="464" y="63"/>
                  </a:lnTo>
                  <a:cubicBezTo>
                    <a:pt x="390" y="20"/>
                    <a:pt x="320" y="0"/>
                    <a:pt x="258" y="0"/>
                  </a:cubicBezTo>
                  <a:close/>
                </a:path>
              </a:pathLst>
            </a:custGeom>
            <a:solidFill>
              <a:srgbClr val="F5F5F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35" name="Google Shape;6785;p41">
              <a:extLst>
                <a:ext uri="{FF2B5EF4-FFF2-40B4-BE49-F238E27FC236}">
                  <a16:creationId xmlns:a16="http://schemas.microsoft.com/office/drawing/2014/main" id="{17AE3FC3-3D54-F642-8BE4-44A908863385}"/>
                </a:ext>
              </a:extLst>
            </p:cNvPr>
            <p:cNvSpPr/>
            <p:nvPr/>
          </p:nvSpPr>
          <p:spPr>
            <a:xfrm>
              <a:off x="4997625" y="3157750"/>
              <a:ext cx="2575" cy="50275"/>
            </a:xfrm>
            <a:custGeom>
              <a:avLst/>
              <a:gdLst/>
              <a:ahLst/>
              <a:cxnLst/>
              <a:rect l="l" t="t" r="r" b="b"/>
              <a:pathLst>
                <a:path w="103" h="2011" extrusionOk="0">
                  <a:moveTo>
                    <a:pt x="102" y="1"/>
                  </a:moveTo>
                  <a:lnTo>
                    <a:pt x="0" y="52"/>
                  </a:lnTo>
                  <a:lnTo>
                    <a:pt x="0" y="2011"/>
                  </a:lnTo>
                  <a:lnTo>
                    <a:pt x="102" y="1953"/>
                  </a:lnTo>
                  <a:lnTo>
                    <a:pt x="102" y="1"/>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36" name="Google Shape;6786;p41">
              <a:extLst>
                <a:ext uri="{FF2B5EF4-FFF2-40B4-BE49-F238E27FC236}">
                  <a16:creationId xmlns:a16="http://schemas.microsoft.com/office/drawing/2014/main" id="{0C920072-3701-4246-9012-30C938600658}"/>
                </a:ext>
              </a:extLst>
            </p:cNvPr>
            <p:cNvSpPr/>
            <p:nvPr/>
          </p:nvSpPr>
          <p:spPr>
            <a:xfrm>
              <a:off x="4997625" y="3157750"/>
              <a:ext cx="2575" cy="50275"/>
            </a:xfrm>
            <a:custGeom>
              <a:avLst/>
              <a:gdLst/>
              <a:ahLst/>
              <a:cxnLst/>
              <a:rect l="l" t="t" r="r" b="b"/>
              <a:pathLst>
                <a:path w="103" h="2011" extrusionOk="0">
                  <a:moveTo>
                    <a:pt x="102" y="1"/>
                  </a:moveTo>
                  <a:lnTo>
                    <a:pt x="65" y="21"/>
                  </a:lnTo>
                  <a:lnTo>
                    <a:pt x="0" y="52"/>
                  </a:lnTo>
                  <a:lnTo>
                    <a:pt x="0" y="2011"/>
                  </a:lnTo>
                  <a:lnTo>
                    <a:pt x="102" y="1953"/>
                  </a:lnTo>
                  <a:lnTo>
                    <a:pt x="102" y="314"/>
                  </a:lnTo>
                  <a:lnTo>
                    <a:pt x="102" y="147"/>
                  </a:lnTo>
                  <a:lnTo>
                    <a:pt x="102" y="1"/>
                  </a:lnTo>
                  <a:close/>
                </a:path>
              </a:pathLst>
            </a:custGeom>
            <a:solidFill>
              <a:schemeClr val="accent4"/>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37" name="Google Shape;6787;p41">
              <a:extLst>
                <a:ext uri="{FF2B5EF4-FFF2-40B4-BE49-F238E27FC236}">
                  <a16:creationId xmlns:a16="http://schemas.microsoft.com/office/drawing/2014/main" id="{FF5E7398-F8F8-4748-8AD5-C11E68F0EA92}"/>
                </a:ext>
              </a:extLst>
            </p:cNvPr>
            <p:cNvSpPr/>
            <p:nvPr/>
          </p:nvSpPr>
          <p:spPr>
            <a:xfrm>
              <a:off x="4869275" y="2622425"/>
              <a:ext cx="334750" cy="386225"/>
            </a:xfrm>
            <a:custGeom>
              <a:avLst/>
              <a:gdLst/>
              <a:ahLst/>
              <a:cxnLst/>
              <a:rect l="l" t="t" r="r" b="b"/>
              <a:pathLst>
                <a:path w="13390" h="15449" extrusionOk="0">
                  <a:moveTo>
                    <a:pt x="4287" y="0"/>
                  </a:moveTo>
                  <a:cubicBezTo>
                    <a:pt x="3134" y="76"/>
                    <a:pt x="1793" y="1038"/>
                    <a:pt x="1455" y="2311"/>
                  </a:cubicBezTo>
                  <a:cubicBezTo>
                    <a:pt x="1065" y="3765"/>
                    <a:pt x="1" y="9663"/>
                    <a:pt x="21" y="10383"/>
                  </a:cubicBezTo>
                  <a:cubicBezTo>
                    <a:pt x="45" y="11154"/>
                    <a:pt x="530" y="11359"/>
                    <a:pt x="1424" y="11649"/>
                  </a:cubicBezTo>
                  <a:cubicBezTo>
                    <a:pt x="2710" y="12066"/>
                    <a:pt x="6943" y="13250"/>
                    <a:pt x="8127" y="13594"/>
                  </a:cubicBezTo>
                  <a:cubicBezTo>
                    <a:pt x="8127" y="13594"/>
                    <a:pt x="8745" y="13960"/>
                    <a:pt x="9113" y="14171"/>
                  </a:cubicBezTo>
                  <a:cubicBezTo>
                    <a:pt x="9549" y="14418"/>
                    <a:pt x="9996" y="14463"/>
                    <a:pt x="10265" y="14463"/>
                  </a:cubicBezTo>
                  <a:cubicBezTo>
                    <a:pt x="10421" y="14463"/>
                    <a:pt x="10516" y="14448"/>
                    <a:pt x="10516" y="14448"/>
                  </a:cubicBezTo>
                  <a:cubicBezTo>
                    <a:pt x="10516" y="14448"/>
                    <a:pt x="10854" y="14769"/>
                    <a:pt x="11164" y="14984"/>
                  </a:cubicBezTo>
                  <a:cubicBezTo>
                    <a:pt x="11535" y="15239"/>
                    <a:pt x="11907" y="15449"/>
                    <a:pt x="12328" y="15449"/>
                  </a:cubicBezTo>
                  <a:cubicBezTo>
                    <a:pt x="12458" y="15449"/>
                    <a:pt x="12593" y="15429"/>
                    <a:pt x="12735" y="15383"/>
                  </a:cubicBezTo>
                  <a:cubicBezTo>
                    <a:pt x="13390" y="15179"/>
                    <a:pt x="12929" y="14530"/>
                    <a:pt x="12735" y="14209"/>
                  </a:cubicBezTo>
                  <a:cubicBezTo>
                    <a:pt x="12544" y="13892"/>
                    <a:pt x="11547" y="12783"/>
                    <a:pt x="11339" y="12591"/>
                  </a:cubicBezTo>
                  <a:cubicBezTo>
                    <a:pt x="11131" y="12400"/>
                    <a:pt x="10154" y="12144"/>
                    <a:pt x="9611" y="12086"/>
                  </a:cubicBezTo>
                  <a:cubicBezTo>
                    <a:pt x="8929" y="12014"/>
                    <a:pt x="7779" y="11639"/>
                    <a:pt x="6922" y="11226"/>
                  </a:cubicBezTo>
                  <a:cubicBezTo>
                    <a:pt x="5202" y="10397"/>
                    <a:pt x="3035" y="9270"/>
                    <a:pt x="3035" y="9270"/>
                  </a:cubicBezTo>
                  <a:cubicBezTo>
                    <a:pt x="3035" y="9270"/>
                    <a:pt x="3475" y="6547"/>
                    <a:pt x="3850" y="5049"/>
                  </a:cubicBezTo>
                  <a:cubicBezTo>
                    <a:pt x="4865" y="4151"/>
                    <a:pt x="4670" y="1277"/>
                    <a:pt x="4287" y="0"/>
                  </a:cubicBezTo>
                  <a:close/>
                </a:path>
              </a:pathLst>
            </a:custGeom>
            <a:solidFill>
              <a:srgbClr val="FFA8A7"/>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38" name="Google Shape;6788;p41">
              <a:extLst>
                <a:ext uri="{FF2B5EF4-FFF2-40B4-BE49-F238E27FC236}">
                  <a16:creationId xmlns:a16="http://schemas.microsoft.com/office/drawing/2014/main" id="{A9B6767C-42A1-A14E-9A7B-546535C24E72}"/>
                </a:ext>
              </a:extLst>
            </p:cNvPr>
            <p:cNvSpPr/>
            <p:nvPr/>
          </p:nvSpPr>
          <p:spPr>
            <a:xfrm>
              <a:off x="5305100" y="2720275"/>
              <a:ext cx="326750" cy="433800"/>
            </a:xfrm>
            <a:custGeom>
              <a:avLst/>
              <a:gdLst/>
              <a:ahLst/>
              <a:cxnLst/>
              <a:rect l="l" t="t" r="r" b="b"/>
              <a:pathLst>
                <a:path w="13070" h="17352" extrusionOk="0">
                  <a:moveTo>
                    <a:pt x="12227" y="0"/>
                  </a:moveTo>
                  <a:cubicBezTo>
                    <a:pt x="12058" y="0"/>
                    <a:pt x="11884" y="39"/>
                    <a:pt x="11749" y="117"/>
                  </a:cubicBezTo>
                  <a:lnTo>
                    <a:pt x="1322" y="6138"/>
                  </a:lnTo>
                  <a:cubicBezTo>
                    <a:pt x="1066" y="6284"/>
                    <a:pt x="837" y="6646"/>
                    <a:pt x="813" y="6944"/>
                  </a:cubicBezTo>
                  <a:lnTo>
                    <a:pt x="29" y="16466"/>
                  </a:lnTo>
                  <a:cubicBezTo>
                    <a:pt x="1" y="16759"/>
                    <a:pt x="179" y="17114"/>
                    <a:pt x="421" y="17254"/>
                  </a:cubicBezTo>
                  <a:cubicBezTo>
                    <a:pt x="535" y="17319"/>
                    <a:pt x="688" y="17352"/>
                    <a:pt x="844" y="17352"/>
                  </a:cubicBezTo>
                  <a:cubicBezTo>
                    <a:pt x="1014" y="17352"/>
                    <a:pt x="1188" y="17313"/>
                    <a:pt x="1322" y="17237"/>
                  </a:cubicBezTo>
                  <a:lnTo>
                    <a:pt x="11749" y="11216"/>
                  </a:lnTo>
                  <a:cubicBezTo>
                    <a:pt x="12008" y="11066"/>
                    <a:pt x="12237" y="10708"/>
                    <a:pt x="12261" y="10411"/>
                  </a:cubicBezTo>
                  <a:lnTo>
                    <a:pt x="13045" y="889"/>
                  </a:lnTo>
                  <a:cubicBezTo>
                    <a:pt x="13070" y="591"/>
                    <a:pt x="12895" y="240"/>
                    <a:pt x="12653" y="100"/>
                  </a:cubicBezTo>
                  <a:cubicBezTo>
                    <a:pt x="12537" y="33"/>
                    <a:pt x="12384" y="0"/>
                    <a:pt x="12227" y="0"/>
                  </a:cubicBezTo>
                  <a:close/>
                </a:path>
              </a:pathLst>
            </a:custGeom>
            <a:solidFill>
              <a:srgbClr val="E0E0E0"/>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39" name="Google Shape;6789;p41">
              <a:extLst>
                <a:ext uri="{FF2B5EF4-FFF2-40B4-BE49-F238E27FC236}">
                  <a16:creationId xmlns:a16="http://schemas.microsoft.com/office/drawing/2014/main" id="{1D190FDE-6B3C-4B4F-AB5C-EA03A5AD92B8}"/>
                </a:ext>
              </a:extLst>
            </p:cNvPr>
            <p:cNvSpPr/>
            <p:nvPr/>
          </p:nvSpPr>
          <p:spPr>
            <a:xfrm>
              <a:off x="5329675" y="2720275"/>
              <a:ext cx="302175" cy="412425"/>
            </a:xfrm>
            <a:custGeom>
              <a:avLst/>
              <a:gdLst/>
              <a:ahLst/>
              <a:cxnLst/>
              <a:rect l="l" t="t" r="r" b="b"/>
              <a:pathLst>
                <a:path w="12087" h="16497" extrusionOk="0">
                  <a:moveTo>
                    <a:pt x="11244" y="0"/>
                  </a:moveTo>
                  <a:cubicBezTo>
                    <a:pt x="11075" y="0"/>
                    <a:pt x="10901" y="39"/>
                    <a:pt x="10766" y="117"/>
                  </a:cubicBezTo>
                  <a:lnTo>
                    <a:pt x="339" y="6138"/>
                  </a:lnTo>
                  <a:cubicBezTo>
                    <a:pt x="213" y="6210"/>
                    <a:pt x="93" y="6336"/>
                    <a:pt x="1" y="6479"/>
                  </a:cubicBezTo>
                  <a:lnTo>
                    <a:pt x="1623" y="7415"/>
                  </a:lnTo>
                  <a:lnTo>
                    <a:pt x="1623" y="16496"/>
                  </a:lnTo>
                  <a:lnTo>
                    <a:pt x="10766" y="11216"/>
                  </a:lnTo>
                  <a:cubicBezTo>
                    <a:pt x="11025" y="11066"/>
                    <a:pt x="11254" y="10708"/>
                    <a:pt x="11278" y="10411"/>
                  </a:cubicBezTo>
                  <a:lnTo>
                    <a:pt x="12062" y="889"/>
                  </a:lnTo>
                  <a:cubicBezTo>
                    <a:pt x="12087" y="591"/>
                    <a:pt x="11912" y="240"/>
                    <a:pt x="11670" y="100"/>
                  </a:cubicBezTo>
                  <a:cubicBezTo>
                    <a:pt x="11554" y="33"/>
                    <a:pt x="11401" y="0"/>
                    <a:pt x="11244" y="0"/>
                  </a:cubicBezTo>
                  <a:close/>
                </a:path>
              </a:pathLst>
            </a:custGeom>
            <a:solidFill>
              <a:srgbClr val="FAFAFA"/>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40" name="Google Shape;6790;p41">
              <a:extLst>
                <a:ext uri="{FF2B5EF4-FFF2-40B4-BE49-F238E27FC236}">
                  <a16:creationId xmlns:a16="http://schemas.microsoft.com/office/drawing/2014/main" id="{19FD000A-611A-C446-8D78-A3E87BCAA13D}"/>
                </a:ext>
              </a:extLst>
            </p:cNvPr>
            <p:cNvSpPr/>
            <p:nvPr/>
          </p:nvSpPr>
          <p:spPr>
            <a:xfrm>
              <a:off x="5327150" y="2734200"/>
              <a:ext cx="304525" cy="418575"/>
            </a:xfrm>
            <a:custGeom>
              <a:avLst/>
              <a:gdLst/>
              <a:ahLst/>
              <a:cxnLst/>
              <a:rect l="l" t="t" r="r" b="b"/>
              <a:pathLst>
                <a:path w="12181" h="16743" extrusionOk="0">
                  <a:moveTo>
                    <a:pt x="11947" y="1"/>
                  </a:moveTo>
                  <a:cubicBezTo>
                    <a:pt x="11886" y="1"/>
                    <a:pt x="11817" y="22"/>
                    <a:pt x="11741" y="66"/>
                  </a:cubicBezTo>
                  <a:lnTo>
                    <a:pt x="1314" y="6086"/>
                  </a:lnTo>
                  <a:cubicBezTo>
                    <a:pt x="1058" y="6233"/>
                    <a:pt x="829" y="6595"/>
                    <a:pt x="805" y="6891"/>
                  </a:cubicBezTo>
                  <a:lnTo>
                    <a:pt x="20" y="16414"/>
                  </a:lnTo>
                  <a:cubicBezTo>
                    <a:pt x="1" y="16622"/>
                    <a:pt x="91" y="16743"/>
                    <a:pt x="237" y="16743"/>
                  </a:cubicBezTo>
                  <a:cubicBezTo>
                    <a:pt x="297" y="16743"/>
                    <a:pt x="366" y="16722"/>
                    <a:pt x="440" y="16680"/>
                  </a:cubicBezTo>
                  <a:lnTo>
                    <a:pt x="10867" y="10659"/>
                  </a:lnTo>
                  <a:cubicBezTo>
                    <a:pt x="11126" y="10509"/>
                    <a:pt x="11355" y="10151"/>
                    <a:pt x="11379" y="9854"/>
                  </a:cubicBezTo>
                  <a:lnTo>
                    <a:pt x="12163" y="332"/>
                  </a:lnTo>
                  <a:cubicBezTo>
                    <a:pt x="12181" y="122"/>
                    <a:pt x="12092" y="1"/>
                    <a:pt x="11947" y="1"/>
                  </a:cubicBezTo>
                  <a:close/>
                </a:path>
              </a:pathLst>
            </a:custGeom>
            <a:solidFill>
              <a:srgbClr val="F0F0F0"/>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41" name="Google Shape;6791;p41">
              <a:extLst>
                <a:ext uri="{FF2B5EF4-FFF2-40B4-BE49-F238E27FC236}">
                  <a16:creationId xmlns:a16="http://schemas.microsoft.com/office/drawing/2014/main" id="{D0C600F8-3675-DD4B-A455-221DFE61C252}"/>
                </a:ext>
              </a:extLst>
            </p:cNvPr>
            <p:cNvSpPr/>
            <p:nvPr/>
          </p:nvSpPr>
          <p:spPr>
            <a:xfrm>
              <a:off x="5461450" y="2919250"/>
              <a:ext cx="36000" cy="48475"/>
            </a:xfrm>
            <a:custGeom>
              <a:avLst/>
              <a:gdLst/>
              <a:ahLst/>
              <a:cxnLst/>
              <a:rect l="l" t="t" r="r" b="b"/>
              <a:pathLst>
                <a:path w="1440" h="1939" extrusionOk="0">
                  <a:moveTo>
                    <a:pt x="1070" y="0"/>
                  </a:moveTo>
                  <a:cubicBezTo>
                    <a:pt x="987" y="0"/>
                    <a:pt x="893" y="28"/>
                    <a:pt x="791" y="86"/>
                  </a:cubicBezTo>
                  <a:cubicBezTo>
                    <a:pt x="410" y="308"/>
                    <a:pt x="68" y="882"/>
                    <a:pt x="30" y="1370"/>
                  </a:cubicBezTo>
                  <a:cubicBezTo>
                    <a:pt x="0" y="1728"/>
                    <a:pt x="141" y="1939"/>
                    <a:pt x="367" y="1939"/>
                  </a:cubicBezTo>
                  <a:cubicBezTo>
                    <a:pt x="450" y="1939"/>
                    <a:pt x="544" y="1911"/>
                    <a:pt x="645" y="1852"/>
                  </a:cubicBezTo>
                  <a:cubicBezTo>
                    <a:pt x="1027" y="1633"/>
                    <a:pt x="1369" y="1056"/>
                    <a:pt x="1410" y="571"/>
                  </a:cubicBezTo>
                  <a:cubicBezTo>
                    <a:pt x="1440" y="213"/>
                    <a:pt x="1298" y="0"/>
                    <a:pt x="1070" y="0"/>
                  </a:cubicBezTo>
                  <a:close/>
                </a:path>
              </a:pathLst>
            </a:custGeom>
            <a:solidFill>
              <a:schemeClr val="accent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42" name="Google Shape;6792;p41">
              <a:extLst>
                <a:ext uri="{FF2B5EF4-FFF2-40B4-BE49-F238E27FC236}">
                  <a16:creationId xmlns:a16="http://schemas.microsoft.com/office/drawing/2014/main" id="{DB750A5B-A7DD-7847-901C-5F91CE673ADE}"/>
                </a:ext>
              </a:extLst>
            </p:cNvPr>
            <p:cNvSpPr/>
            <p:nvPr/>
          </p:nvSpPr>
          <p:spPr>
            <a:xfrm>
              <a:off x="5446675" y="2975000"/>
              <a:ext cx="98325" cy="56750"/>
            </a:xfrm>
            <a:custGeom>
              <a:avLst/>
              <a:gdLst/>
              <a:ahLst/>
              <a:cxnLst/>
              <a:rect l="l" t="t" r="r" b="b"/>
              <a:pathLst>
                <a:path w="3933" h="2270" extrusionOk="0">
                  <a:moveTo>
                    <a:pt x="3496" y="0"/>
                  </a:moveTo>
                  <a:lnTo>
                    <a:pt x="0" y="2021"/>
                  </a:lnTo>
                  <a:lnTo>
                    <a:pt x="437" y="2270"/>
                  </a:lnTo>
                  <a:lnTo>
                    <a:pt x="3932" y="252"/>
                  </a:lnTo>
                  <a:lnTo>
                    <a:pt x="3496" y="0"/>
                  </a:lnTo>
                  <a:close/>
                </a:path>
              </a:pathLst>
            </a:custGeom>
            <a:solidFill>
              <a:srgbClr val="FAFAFA"/>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43" name="Google Shape;6793;p41">
              <a:extLst>
                <a:ext uri="{FF2B5EF4-FFF2-40B4-BE49-F238E27FC236}">
                  <a16:creationId xmlns:a16="http://schemas.microsoft.com/office/drawing/2014/main" id="{9F8F3E3A-FDB6-4546-A106-618732F3D170}"/>
                </a:ext>
              </a:extLst>
            </p:cNvPr>
            <p:cNvSpPr/>
            <p:nvPr/>
          </p:nvSpPr>
          <p:spPr>
            <a:xfrm>
              <a:off x="5435750" y="2981300"/>
              <a:ext cx="130575" cy="162425"/>
            </a:xfrm>
            <a:custGeom>
              <a:avLst/>
              <a:gdLst/>
              <a:ahLst/>
              <a:cxnLst/>
              <a:rect l="l" t="t" r="r" b="b"/>
              <a:pathLst>
                <a:path w="5223" h="6497" extrusionOk="0">
                  <a:moveTo>
                    <a:pt x="4369" y="0"/>
                  </a:moveTo>
                  <a:lnTo>
                    <a:pt x="874" y="2021"/>
                  </a:lnTo>
                  <a:lnTo>
                    <a:pt x="437" y="1769"/>
                  </a:lnTo>
                  <a:lnTo>
                    <a:pt x="1161" y="5529"/>
                  </a:lnTo>
                  <a:lnTo>
                    <a:pt x="1202" y="5738"/>
                  </a:lnTo>
                  <a:lnTo>
                    <a:pt x="1202" y="5738"/>
                  </a:lnTo>
                  <a:lnTo>
                    <a:pt x="1014" y="5632"/>
                  </a:lnTo>
                  <a:lnTo>
                    <a:pt x="185" y="5154"/>
                  </a:lnTo>
                  <a:cubicBezTo>
                    <a:pt x="155" y="5136"/>
                    <a:pt x="127" y="5128"/>
                    <a:pt x="103" y="5128"/>
                  </a:cubicBezTo>
                  <a:cubicBezTo>
                    <a:pt x="42" y="5128"/>
                    <a:pt x="1" y="5178"/>
                    <a:pt x="1" y="5260"/>
                  </a:cubicBezTo>
                  <a:lnTo>
                    <a:pt x="1" y="5335"/>
                  </a:lnTo>
                  <a:cubicBezTo>
                    <a:pt x="1" y="5452"/>
                    <a:pt x="79" y="5591"/>
                    <a:pt x="178" y="5652"/>
                  </a:cubicBezTo>
                  <a:cubicBezTo>
                    <a:pt x="181" y="5656"/>
                    <a:pt x="181" y="5656"/>
                    <a:pt x="185" y="5656"/>
                  </a:cubicBezTo>
                  <a:lnTo>
                    <a:pt x="1560" y="6451"/>
                  </a:lnTo>
                  <a:cubicBezTo>
                    <a:pt x="1560" y="6451"/>
                    <a:pt x="1560" y="6455"/>
                    <a:pt x="1564" y="6455"/>
                  </a:cubicBezTo>
                  <a:cubicBezTo>
                    <a:pt x="1611" y="6479"/>
                    <a:pt x="1673" y="6492"/>
                    <a:pt x="1734" y="6496"/>
                  </a:cubicBezTo>
                  <a:cubicBezTo>
                    <a:pt x="1740" y="6496"/>
                    <a:pt x="1746" y="6496"/>
                    <a:pt x="1752" y="6496"/>
                  </a:cubicBezTo>
                  <a:cubicBezTo>
                    <a:pt x="1818" y="6496"/>
                    <a:pt x="1882" y="6480"/>
                    <a:pt x="1932" y="6451"/>
                  </a:cubicBezTo>
                  <a:lnTo>
                    <a:pt x="5055" y="4649"/>
                  </a:lnTo>
                  <a:cubicBezTo>
                    <a:pt x="5157" y="4592"/>
                    <a:pt x="5223" y="4444"/>
                    <a:pt x="5202" y="4329"/>
                  </a:cubicBezTo>
                  <a:lnTo>
                    <a:pt x="4369" y="0"/>
                  </a:lnTo>
                  <a:close/>
                </a:path>
              </a:pathLst>
            </a:custGeom>
            <a:solidFill>
              <a:srgbClr val="F5F5F5"/>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44" name="Google Shape;6794;p41">
              <a:extLst>
                <a:ext uri="{FF2B5EF4-FFF2-40B4-BE49-F238E27FC236}">
                  <a16:creationId xmlns:a16="http://schemas.microsoft.com/office/drawing/2014/main" id="{445F4B8B-60CF-C64E-A631-28FC67E6FC17}"/>
                </a:ext>
              </a:extLst>
            </p:cNvPr>
            <p:cNvSpPr/>
            <p:nvPr/>
          </p:nvSpPr>
          <p:spPr>
            <a:xfrm>
              <a:off x="5437200" y="3094350"/>
              <a:ext cx="32025" cy="35875"/>
            </a:xfrm>
            <a:custGeom>
              <a:avLst/>
              <a:gdLst/>
              <a:ahLst/>
              <a:cxnLst/>
              <a:rect l="l" t="t" r="r" b="b"/>
              <a:pathLst>
                <a:path w="1281" h="1435" extrusionOk="0">
                  <a:moveTo>
                    <a:pt x="1065" y="1"/>
                  </a:moveTo>
                  <a:lnTo>
                    <a:pt x="0" y="615"/>
                  </a:lnTo>
                  <a:lnTo>
                    <a:pt x="1280" y="1434"/>
                  </a:lnTo>
                  <a:lnTo>
                    <a:pt x="1065" y="1"/>
                  </a:lnTo>
                  <a:close/>
                </a:path>
              </a:pathLst>
            </a:custGeom>
            <a:solidFill>
              <a:srgbClr val="E0E0E0"/>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45" name="Google Shape;6795;p41">
              <a:extLst>
                <a:ext uri="{FF2B5EF4-FFF2-40B4-BE49-F238E27FC236}">
                  <a16:creationId xmlns:a16="http://schemas.microsoft.com/office/drawing/2014/main" id="{AAB7AB2D-601A-2E49-A614-0E20A968CEE8}"/>
                </a:ext>
              </a:extLst>
            </p:cNvPr>
            <p:cNvSpPr/>
            <p:nvPr/>
          </p:nvSpPr>
          <p:spPr>
            <a:xfrm>
              <a:off x="5435750" y="3025500"/>
              <a:ext cx="43375" cy="118200"/>
            </a:xfrm>
            <a:custGeom>
              <a:avLst/>
              <a:gdLst/>
              <a:ahLst/>
              <a:cxnLst/>
              <a:rect l="l" t="t" r="r" b="b"/>
              <a:pathLst>
                <a:path w="1735" h="4728" extrusionOk="0">
                  <a:moveTo>
                    <a:pt x="437" y="1"/>
                  </a:moveTo>
                  <a:lnTo>
                    <a:pt x="1161" y="3761"/>
                  </a:lnTo>
                  <a:cubicBezTo>
                    <a:pt x="1175" y="3843"/>
                    <a:pt x="1147" y="3889"/>
                    <a:pt x="1094" y="3889"/>
                  </a:cubicBezTo>
                  <a:cubicBezTo>
                    <a:pt x="1072" y="3889"/>
                    <a:pt x="1045" y="3881"/>
                    <a:pt x="1014" y="3864"/>
                  </a:cubicBezTo>
                  <a:lnTo>
                    <a:pt x="185" y="3386"/>
                  </a:lnTo>
                  <a:cubicBezTo>
                    <a:pt x="155" y="3368"/>
                    <a:pt x="127" y="3360"/>
                    <a:pt x="103" y="3360"/>
                  </a:cubicBezTo>
                  <a:cubicBezTo>
                    <a:pt x="42" y="3360"/>
                    <a:pt x="1" y="3410"/>
                    <a:pt x="1" y="3492"/>
                  </a:cubicBezTo>
                  <a:lnTo>
                    <a:pt x="1" y="3567"/>
                  </a:lnTo>
                  <a:cubicBezTo>
                    <a:pt x="1" y="3684"/>
                    <a:pt x="79" y="3823"/>
                    <a:pt x="178" y="3884"/>
                  </a:cubicBezTo>
                  <a:cubicBezTo>
                    <a:pt x="181" y="3888"/>
                    <a:pt x="181" y="3888"/>
                    <a:pt x="185" y="3888"/>
                  </a:cubicBezTo>
                  <a:lnTo>
                    <a:pt x="1560" y="4683"/>
                  </a:lnTo>
                  <a:cubicBezTo>
                    <a:pt x="1560" y="4683"/>
                    <a:pt x="1560" y="4687"/>
                    <a:pt x="1564" y="4687"/>
                  </a:cubicBezTo>
                  <a:cubicBezTo>
                    <a:pt x="1611" y="4711"/>
                    <a:pt x="1673" y="4724"/>
                    <a:pt x="1734" y="4728"/>
                  </a:cubicBezTo>
                  <a:lnTo>
                    <a:pt x="874" y="253"/>
                  </a:lnTo>
                  <a:lnTo>
                    <a:pt x="437" y="1"/>
                  </a:lnTo>
                  <a:close/>
                </a:path>
              </a:pathLst>
            </a:custGeom>
            <a:solidFill>
              <a:srgbClr val="EBEBEB"/>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46" name="Google Shape;6796;p41">
              <a:extLst>
                <a:ext uri="{FF2B5EF4-FFF2-40B4-BE49-F238E27FC236}">
                  <a16:creationId xmlns:a16="http://schemas.microsoft.com/office/drawing/2014/main" id="{4AC52E00-D73F-514D-AFC0-5241ECE861C7}"/>
                </a:ext>
              </a:extLst>
            </p:cNvPr>
            <p:cNvSpPr/>
            <p:nvPr/>
          </p:nvSpPr>
          <p:spPr>
            <a:xfrm>
              <a:off x="5035575" y="2643850"/>
              <a:ext cx="68125" cy="34200"/>
            </a:xfrm>
            <a:custGeom>
              <a:avLst/>
              <a:gdLst/>
              <a:ahLst/>
              <a:cxnLst/>
              <a:rect l="l" t="t" r="r" b="b"/>
              <a:pathLst>
                <a:path w="2725" h="1368" extrusionOk="0">
                  <a:moveTo>
                    <a:pt x="1792" y="0"/>
                  </a:moveTo>
                  <a:lnTo>
                    <a:pt x="1663" y="772"/>
                  </a:lnTo>
                  <a:lnTo>
                    <a:pt x="782" y="14"/>
                  </a:lnTo>
                  <a:lnTo>
                    <a:pt x="1" y="696"/>
                  </a:lnTo>
                  <a:cubicBezTo>
                    <a:pt x="292" y="1043"/>
                    <a:pt x="943" y="1368"/>
                    <a:pt x="1519" y="1368"/>
                  </a:cubicBezTo>
                  <a:cubicBezTo>
                    <a:pt x="1545" y="1368"/>
                    <a:pt x="1570" y="1367"/>
                    <a:pt x="1595" y="1366"/>
                  </a:cubicBezTo>
                  <a:cubicBezTo>
                    <a:pt x="2185" y="1339"/>
                    <a:pt x="2523" y="1188"/>
                    <a:pt x="2724" y="782"/>
                  </a:cubicBezTo>
                  <a:lnTo>
                    <a:pt x="1792" y="0"/>
                  </a:lnTo>
                  <a:close/>
                </a:path>
              </a:pathLst>
            </a:custGeom>
            <a:solidFill>
              <a:srgbClr val="27DEBF"/>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47" name="Google Shape;6797;p41">
              <a:extLst>
                <a:ext uri="{FF2B5EF4-FFF2-40B4-BE49-F238E27FC236}">
                  <a16:creationId xmlns:a16="http://schemas.microsoft.com/office/drawing/2014/main" id="{3C8A1DFD-F106-3C47-9412-CE22A8731DEB}"/>
                </a:ext>
              </a:extLst>
            </p:cNvPr>
            <p:cNvSpPr/>
            <p:nvPr/>
          </p:nvSpPr>
          <p:spPr>
            <a:xfrm>
              <a:off x="5035575" y="2643850"/>
              <a:ext cx="68125" cy="31850"/>
            </a:xfrm>
            <a:custGeom>
              <a:avLst/>
              <a:gdLst/>
              <a:ahLst/>
              <a:cxnLst/>
              <a:rect l="l" t="t" r="r" b="b"/>
              <a:pathLst>
                <a:path w="2725" h="1274" extrusionOk="0">
                  <a:moveTo>
                    <a:pt x="1792" y="0"/>
                  </a:moveTo>
                  <a:lnTo>
                    <a:pt x="1663" y="772"/>
                  </a:lnTo>
                  <a:lnTo>
                    <a:pt x="2277" y="523"/>
                  </a:lnTo>
                  <a:cubicBezTo>
                    <a:pt x="2277" y="523"/>
                    <a:pt x="2373" y="857"/>
                    <a:pt x="2342" y="1199"/>
                  </a:cubicBezTo>
                  <a:cubicBezTo>
                    <a:pt x="2506" y="1106"/>
                    <a:pt x="2628" y="970"/>
                    <a:pt x="2724" y="782"/>
                  </a:cubicBezTo>
                  <a:lnTo>
                    <a:pt x="1792" y="0"/>
                  </a:lnTo>
                  <a:close/>
                  <a:moveTo>
                    <a:pt x="782" y="14"/>
                  </a:moveTo>
                  <a:lnTo>
                    <a:pt x="1" y="696"/>
                  </a:lnTo>
                  <a:cubicBezTo>
                    <a:pt x="199" y="929"/>
                    <a:pt x="557" y="1150"/>
                    <a:pt x="943" y="1273"/>
                  </a:cubicBezTo>
                  <a:cubicBezTo>
                    <a:pt x="875" y="1076"/>
                    <a:pt x="840" y="860"/>
                    <a:pt x="867" y="628"/>
                  </a:cubicBezTo>
                  <a:lnTo>
                    <a:pt x="867" y="628"/>
                  </a:lnTo>
                  <a:lnTo>
                    <a:pt x="1663" y="772"/>
                  </a:lnTo>
                  <a:lnTo>
                    <a:pt x="782" y="14"/>
                  </a:lnTo>
                  <a:close/>
                </a:path>
              </a:pathLst>
            </a:custGeom>
            <a:solidFill>
              <a:srgbClr val="23C7AC"/>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48" name="Google Shape;6798;p41">
              <a:extLst>
                <a:ext uri="{FF2B5EF4-FFF2-40B4-BE49-F238E27FC236}">
                  <a16:creationId xmlns:a16="http://schemas.microsoft.com/office/drawing/2014/main" id="{561E726F-838C-E248-BB8B-A581FA66DE79}"/>
                </a:ext>
              </a:extLst>
            </p:cNvPr>
            <p:cNvSpPr/>
            <p:nvPr/>
          </p:nvSpPr>
          <p:spPr>
            <a:xfrm>
              <a:off x="5055700" y="2656900"/>
              <a:ext cx="39800" cy="37800"/>
            </a:xfrm>
            <a:custGeom>
              <a:avLst/>
              <a:gdLst/>
              <a:ahLst/>
              <a:cxnLst/>
              <a:rect l="l" t="t" r="r" b="b"/>
              <a:pathLst>
                <a:path w="1592" h="1512" extrusionOk="0">
                  <a:moveTo>
                    <a:pt x="1472" y="1"/>
                  </a:moveTo>
                  <a:lnTo>
                    <a:pt x="858" y="250"/>
                  </a:lnTo>
                  <a:lnTo>
                    <a:pt x="62" y="106"/>
                  </a:lnTo>
                  <a:lnTo>
                    <a:pt x="62" y="106"/>
                  </a:lnTo>
                  <a:cubicBezTo>
                    <a:pt x="1" y="666"/>
                    <a:pt x="288" y="1148"/>
                    <a:pt x="582" y="1455"/>
                  </a:cubicBezTo>
                  <a:cubicBezTo>
                    <a:pt x="696" y="1497"/>
                    <a:pt x="799" y="1512"/>
                    <a:pt x="886" y="1512"/>
                  </a:cubicBezTo>
                  <a:cubicBezTo>
                    <a:pt x="1094" y="1512"/>
                    <a:pt x="1216" y="1427"/>
                    <a:pt x="1216" y="1427"/>
                  </a:cubicBezTo>
                  <a:cubicBezTo>
                    <a:pt x="1216" y="1427"/>
                    <a:pt x="1442" y="1195"/>
                    <a:pt x="1519" y="792"/>
                  </a:cubicBezTo>
                  <a:cubicBezTo>
                    <a:pt x="1592" y="414"/>
                    <a:pt x="1472" y="1"/>
                    <a:pt x="1472" y="1"/>
                  </a:cubicBezTo>
                  <a:close/>
                </a:path>
              </a:pathLst>
            </a:custGeom>
            <a:solidFill>
              <a:schemeClr val="accent6"/>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49" name="Google Shape;6799;p41">
              <a:extLst>
                <a:ext uri="{FF2B5EF4-FFF2-40B4-BE49-F238E27FC236}">
                  <a16:creationId xmlns:a16="http://schemas.microsoft.com/office/drawing/2014/main" id="{15B7425E-1813-DF49-8997-6E4ABFE44C50}"/>
                </a:ext>
              </a:extLst>
            </p:cNvPr>
            <p:cNvSpPr/>
            <p:nvPr/>
          </p:nvSpPr>
          <p:spPr>
            <a:xfrm>
              <a:off x="5051275" y="2692550"/>
              <a:ext cx="50875" cy="190750"/>
            </a:xfrm>
            <a:custGeom>
              <a:avLst/>
              <a:gdLst/>
              <a:ahLst/>
              <a:cxnLst/>
              <a:rect l="l" t="t" r="r" b="b"/>
              <a:pathLst>
                <a:path w="2035" h="7630" extrusionOk="0">
                  <a:moveTo>
                    <a:pt x="1393" y="1"/>
                  </a:moveTo>
                  <a:lnTo>
                    <a:pt x="759" y="29"/>
                  </a:lnTo>
                  <a:cubicBezTo>
                    <a:pt x="759" y="29"/>
                    <a:pt x="28" y="5438"/>
                    <a:pt x="14" y="5824"/>
                  </a:cubicBezTo>
                  <a:cubicBezTo>
                    <a:pt x="1" y="6210"/>
                    <a:pt x="625" y="7619"/>
                    <a:pt x="990" y="7629"/>
                  </a:cubicBezTo>
                  <a:cubicBezTo>
                    <a:pt x="992" y="7629"/>
                    <a:pt x="993" y="7629"/>
                    <a:pt x="994" y="7629"/>
                  </a:cubicBezTo>
                  <a:cubicBezTo>
                    <a:pt x="1357" y="7629"/>
                    <a:pt x="2035" y="6171"/>
                    <a:pt x="2024" y="5745"/>
                  </a:cubicBezTo>
                  <a:cubicBezTo>
                    <a:pt x="2011" y="5319"/>
                    <a:pt x="1393" y="1"/>
                    <a:pt x="1393" y="1"/>
                  </a:cubicBezTo>
                  <a:close/>
                </a:path>
              </a:pathLst>
            </a:custGeom>
            <a:solidFill>
              <a:schemeClr val="accent6"/>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50" name="Google Shape;6800;p41">
              <a:extLst>
                <a:ext uri="{FF2B5EF4-FFF2-40B4-BE49-F238E27FC236}">
                  <a16:creationId xmlns:a16="http://schemas.microsoft.com/office/drawing/2014/main" id="{2CC386B8-F823-DA4B-BCB2-6948A5846842}"/>
                </a:ext>
              </a:extLst>
            </p:cNvPr>
            <p:cNvSpPr/>
            <p:nvPr/>
          </p:nvSpPr>
          <p:spPr>
            <a:xfrm>
              <a:off x="5086100" y="2692550"/>
              <a:ext cx="25" cy="25"/>
            </a:xfrm>
            <a:custGeom>
              <a:avLst/>
              <a:gdLst/>
              <a:ahLst/>
              <a:cxnLst/>
              <a:rect l="l" t="t" r="r" b="b"/>
              <a:pathLst>
                <a:path w="1" h="1" extrusionOk="0">
                  <a:moveTo>
                    <a:pt x="0" y="1"/>
                  </a:moveTo>
                  <a:lnTo>
                    <a:pt x="0" y="1"/>
                  </a:lnTo>
                  <a:lnTo>
                    <a:pt x="0" y="1"/>
                  </a:lnTo>
                  <a:close/>
                </a:path>
              </a:pathLst>
            </a:custGeom>
            <a:solidFill>
              <a:srgbClr val="DCDCDC"/>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51" name="Google Shape;6801;p41">
              <a:extLst>
                <a:ext uri="{FF2B5EF4-FFF2-40B4-BE49-F238E27FC236}">
                  <a16:creationId xmlns:a16="http://schemas.microsoft.com/office/drawing/2014/main" id="{4D6DC958-D9C1-8047-ABB8-722959796F2D}"/>
                </a:ext>
              </a:extLst>
            </p:cNvPr>
            <p:cNvSpPr/>
            <p:nvPr/>
          </p:nvSpPr>
          <p:spPr>
            <a:xfrm>
              <a:off x="5086100" y="2692550"/>
              <a:ext cx="25" cy="25"/>
            </a:xfrm>
            <a:custGeom>
              <a:avLst/>
              <a:gdLst/>
              <a:ahLst/>
              <a:cxnLst/>
              <a:rect l="l" t="t" r="r" b="b"/>
              <a:pathLst>
                <a:path w="1" h="1" extrusionOk="0">
                  <a:moveTo>
                    <a:pt x="0" y="1"/>
                  </a:moveTo>
                  <a:lnTo>
                    <a:pt x="0" y="1"/>
                  </a:lnTo>
                  <a:close/>
                </a:path>
              </a:pathLst>
            </a:custGeom>
            <a:solidFill>
              <a:srgbClr val="DCDCDC"/>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52" name="Google Shape;6802;p41">
              <a:extLst>
                <a:ext uri="{FF2B5EF4-FFF2-40B4-BE49-F238E27FC236}">
                  <a16:creationId xmlns:a16="http://schemas.microsoft.com/office/drawing/2014/main" id="{A97459D3-BE90-E547-9E22-21E96925FD8C}"/>
                </a:ext>
              </a:extLst>
            </p:cNvPr>
            <p:cNvSpPr/>
            <p:nvPr/>
          </p:nvSpPr>
          <p:spPr>
            <a:xfrm>
              <a:off x="5069725" y="2696650"/>
              <a:ext cx="25" cy="300"/>
            </a:xfrm>
            <a:custGeom>
              <a:avLst/>
              <a:gdLst/>
              <a:ahLst/>
              <a:cxnLst/>
              <a:rect l="l" t="t" r="r" b="b"/>
              <a:pathLst>
                <a:path w="1" h="12" extrusionOk="0">
                  <a:moveTo>
                    <a:pt x="0" y="1"/>
                  </a:moveTo>
                  <a:lnTo>
                    <a:pt x="0" y="11"/>
                  </a:lnTo>
                  <a:lnTo>
                    <a:pt x="0" y="11"/>
                  </a:lnTo>
                  <a:lnTo>
                    <a:pt x="0" y="1"/>
                  </a:lnTo>
                  <a:close/>
                  <a:moveTo>
                    <a:pt x="0" y="1"/>
                  </a:moveTo>
                  <a:lnTo>
                    <a:pt x="0" y="1"/>
                  </a:lnTo>
                  <a:close/>
                </a:path>
              </a:pathLst>
            </a:custGeom>
            <a:solidFill>
              <a:srgbClr val="DCDCDC"/>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53" name="Google Shape;6803;p41">
              <a:extLst>
                <a:ext uri="{FF2B5EF4-FFF2-40B4-BE49-F238E27FC236}">
                  <a16:creationId xmlns:a16="http://schemas.microsoft.com/office/drawing/2014/main" id="{1EC66280-EE95-5044-B930-2C7A7D516199}"/>
                </a:ext>
              </a:extLst>
            </p:cNvPr>
            <p:cNvSpPr/>
            <p:nvPr/>
          </p:nvSpPr>
          <p:spPr>
            <a:xfrm>
              <a:off x="5069725" y="2692550"/>
              <a:ext cx="16650" cy="5425"/>
            </a:xfrm>
            <a:custGeom>
              <a:avLst/>
              <a:gdLst/>
              <a:ahLst/>
              <a:cxnLst/>
              <a:rect l="l" t="t" r="r" b="b"/>
              <a:pathLst>
                <a:path w="666" h="217" extrusionOk="0">
                  <a:moveTo>
                    <a:pt x="655" y="1"/>
                  </a:moveTo>
                  <a:cubicBezTo>
                    <a:pt x="539" y="79"/>
                    <a:pt x="420" y="103"/>
                    <a:pt x="320" y="103"/>
                  </a:cubicBezTo>
                  <a:cubicBezTo>
                    <a:pt x="147" y="103"/>
                    <a:pt x="21" y="29"/>
                    <a:pt x="21" y="29"/>
                  </a:cubicBezTo>
                  <a:lnTo>
                    <a:pt x="0" y="165"/>
                  </a:lnTo>
                  <a:lnTo>
                    <a:pt x="0" y="175"/>
                  </a:lnTo>
                  <a:cubicBezTo>
                    <a:pt x="89" y="206"/>
                    <a:pt x="174" y="216"/>
                    <a:pt x="249" y="216"/>
                  </a:cubicBezTo>
                  <a:cubicBezTo>
                    <a:pt x="498" y="216"/>
                    <a:pt x="665" y="87"/>
                    <a:pt x="665" y="87"/>
                  </a:cubicBezTo>
                  <a:lnTo>
                    <a:pt x="655" y="1"/>
                  </a:lnTo>
                  <a:close/>
                </a:path>
              </a:pathLst>
            </a:custGeom>
            <a:solidFill>
              <a:srgbClr val="23C7AC"/>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54" name="Google Shape;6804;p41">
              <a:extLst>
                <a:ext uri="{FF2B5EF4-FFF2-40B4-BE49-F238E27FC236}">
                  <a16:creationId xmlns:a16="http://schemas.microsoft.com/office/drawing/2014/main" id="{B2ACB26B-29B8-BA47-AB47-F8CE34AC9D62}"/>
                </a:ext>
              </a:extLst>
            </p:cNvPr>
            <p:cNvSpPr/>
            <p:nvPr/>
          </p:nvSpPr>
          <p:spPr>
            <a:xfrm>
              <a:off x="4992150" y="2590600"/>
              <a:ext cx="85000" cy="93200"/>
            </a:xfrm>
            <a:custGeom>
              <a:avLst/>
              <a:gdLst/>
              <a:ahLst/>
              <a:cxnLst/>
              <a:rect l="l" t="t" r="r" b="b"/>
              <a:pathLst>
                <a:path w="3400" h="3728" extrusionOk="0">
                  <a:moveTo>
                    <a:pt x="823" y="0"/>
                  </a:moveTo>
                  <a:cubicBezTo>
                    <a:pt x="823" y="0"/>
                    <a:pt x="451" y="69"/>
                    <a:pt x="0" y="1168"/>
                  </a:cubicBezTo>
                  <a:cubicBezTo>
                    <a:pt x="328" y="2079"/>
                    <a:pt x="997" y="3083"/>
                    <a:pt x="1977" y="3727"/>
                  </a:cubicBezTo>
                  <a:lnTo>
                    <a:pt x="2604" y="2758"/>
                  </a:lnTo>
                  <a:lnTo>
                    <a:pt x="3400" y="2902"/>
                  </a:lnTo>
                  <a:lnTo>
                    <a:pt x="806" y="679"/>
                  </a:lnTo>
                  <a:lnTo>
                    <a:pt x="823" y="0"/>
                  </a:lnTo>
                  <a:close/>
                </a:path>
              </a:pathLst>
            </a:custGeom>
            <a:solidFill>
              <a:srgbClr val="E0E0E0"/>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55" name="Google Shape;6805;p41">
              <a:extLst>
                <a:ext uri="{FF2B5EF4-FFF2-40B4-BE49-F238E27FC236}">
                  <a16:creationId xmlns:a16="http://schemas.microsoft.com/office/drawing/2014/main" id="{26D4F10D-679F-D947-8A23-4F866668A3D7}"/>
                </a:ext>
              </a:extLst>
            </p:cNvPr>
            <p:cNvSpPr/>
            <p:nvPr/>
          </p:nvSpPr>
          <p:spPr>
            <a:xfrm>
              <a:off x="5077125" y="2601525"/>
              <a:ext cx="30500" cy="71000"/>
            </a:xfrm>
            <a:custGeom>
              <a:avLst/>
              <a:gdLst/>
              <a:ahLst/>
              <a:cxnLst/>
              <a:rect l="l" t="t" r="r" b="b"/>
              <a:pathLst>
                <a:path w="1220" h="2840" extrusionOk="0">
                  <a:moveTo>
                    <a:pt x="322" y="1"/>
                  </a:moveTo>
                  <a:lnTo>
                    <a:pt x="270" y="885"/>
                  </a:lnTo>
                  <a:cubicBezTo>
                    <a:pt x="270" y="885"/>
                    <a:pt x="96" y="1905"/>
                    <a:pt x="1" y="2465"/>
                  </a:cubicBezTo>
                  <a:lnTo>
                    <a:pt x="615" y="2216"/>
                  </a:lnTo>
                  <a:lnTo>
                    <a:pt x="1219" y="2840"/>
                  </a:lnTo>
                  <a:cubicBezTo>
                    <a:pt x="1219" y="2840"/>
                    <a:pt x="1195" y="1144"/>
                    <a:pt x="966" y="677"/>
                  </a:cubicBezTo>
                  <a:cubicBezTo>
                    <a:pt x="687" y="99"/>
                    <a:pt x="322" y="1"/>
                    <a:pt x="322" y="1"/>
                  </a:cubicBezTo>
                  <a:close/>
                </a:path>
              </a:pathLst>
            </a:custGeom>
            <a:solidFill>
              <a:srgbClr val="E0E0E0"/>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sp>
          <p:nvSpPr>
            <p:cNvPr id="356" name="Google Shape;6806;p41">
              <a:extLst>
                <a:ext uri="{FF2B5EF4-FFF2-40B4-BE49-F238E27FC236}">
                  <a16:creationId xmlns:a16="http://schemas.microsoft.com/office/drawing/2014/main" id="{3160C4EB-B3E2-1741-8E29-2E87ADD5D40E}"/>
                </a:ext>
              </a:extLst>
            </p:cNvPr>
            <p:cNvSpPr/>
            <p:nvPr/>
          </p:nvSpPr>
          <p:spPr>
            <a:xfrm>
              <a:off x="4876025" y="2622325"/>
              <a:ext cx="118275" cy="214050"/>
            </a:xfrm>
            <a:custGeom>
              <a:avLst/>
              <a:gdLst/>
              <a:ahLst/>
              <a:cxnLst/>
              <a:rect l="l" t="t" r="r" b="b"/>
              <a:pathLst>
                <a:path w="4731" h="8562" extrusionOk="0">
                  <a:moveTo>
                    <a:pt x="3886" y="1"/>
                  </a:moveTo>
                  <a:cubicBezTo>
                    <a:pt x="3542" y="1"/>
                    <a:pt x="2590" y="62"/>
                    <a:pt x="1908" y="697"/>
                  </a:cubicBezTo>
                  <a:cubicBezTo>
                    <a:pt x="1062" y="1489"/>
                    <a:pt x="912" y="2172"/>
                    <a:pt x="573" y="4165"/>
                  </a:cubicBezTo>
                  <a:cubicBezTo>
                    <a:pt x="236" y="6158"/>
                    <a:pt x="0" y="7855"/>
                    <a:pt x="0" y="7855"/>
                  </a:cubicBezTo>
                  <a:cubicBezTo>
                    <a:pt x="0" y="7855"/>
                    <a:pt x="996" y="8562"/>
                    <a:pt x="2344" y="8562"/>
                  </a:cubicBezTo>
                  <a:cubicBezTo>
                    <a:pt x="2599" y="8562"/>
                    <a:pt x="2867" y="8536"/>
                    <a:pt x="3144" y="8476"/>
                  </a:cubicBezTo>
                  <a:lnTo>
                    <a:pt x="3744" y="5148"/>
                  </a:lnTo>
                  <a:cubicBezTo>
                    <a:pt x="3744" y="5148"/>
                    <a:pt x="4311" y="4046"/>
                    <a:pt x="4478" y="3142"/>
                  </a:cubicBezTo>
                  <a:cubicBezTo>
                    <a:pt x="4730" y="1783"/>
                    <a:pt x="4434" y="448"/>
                    <a:pt x="4017" y="4"/>
                  </a:cubicBezTo>
                  <a:cubicBezTo>
                    <a:pt x="4017" y="4"/>
                    <a:pt x="3969" y="1"/>
                    <a:pt x="3886" y="1"/>
                  </a:cubicBezTo>
                  <a:close/>
                </a:path>
              </a:pathLst>
            </a:custGeom>
            <a:solidFill>
              <a:srgbClr val="E0E0E0"/>
            </a:solidFill>
            <a:ln>
              <a:noFill/>
            </a:ln>
          </p:spPr>
          <p:txBody>
            <a:bodyPr spcFirstLastPara="1" wrap="square" lIns="155459" tIns="155459" rIns="155459" bIns="155459" anchor="ctr" anchorCtr="0">
              <a:noAutofit/>
            </a:bodyPr>
            <a:lstStyle/>
            <a:p>
              <a:pPr marL="0" marR="0" lvl="0" indent="0" algn="l" defTabSz="767942" rtl="0" eaLnBrk="1" fontAlgn="auto" latinLnBrk="0" hangingPunct="1">
                <a:lnSpc>
                  <a:spcPct val="100000"/>
                </a:lnSpc>
                <a:spcBef>
                  <a:spcPts val="0"/>
                </a:spcBef>
                <a:spcAft>
                  <a:spcPts val="0"/>
                </a:spcAft>
                <a:buClr>
                  <a:srgbClr val="000000"/>
                </a:buClr>
                <a:buSzTx/>
                <a:buFontTx/>
                <a:buNone/>
                <a:tabLst/>
                <a:defRPr/>
              </a:pPr>
              <a:endParaRPr kumimoji="0" sz="2381" b="0" i="0" u="none" strike="noStrike" kern="0" cap="none" spc="0" normalizeH="0" baseline="0" noProof="0">
                <a:ln>
                  <a:noFill/>
                </a:ln>
                <a:solidFill>
                  <a:srgbClr val="000000"/>
                </a:solidFill>
                <a:effectLst/>
                <a:uLnTx/>
                <a:uFillTx/>
                <a:latin typeface="Montserrat" pitchFamily="2" charset="77"/>
                <a:ea typeface="Arial"/>
                <a:cs typeface="Arial"/>
                <a:sym typeface="Arial"/>
              </a:endParaRPr>
            </a:p>
          </p:txBody>
        </p:sp>
      </p:grpSp>
      <p:sp>
        <p:nvSpPr>
          <p:cNvPr id="357" name="Oval 356">
            <a:extLst>
              <a:ext uri="{FF2B5EF4-FFF2-40B4-BE49-F238E27FC236}">
                <a16:creationId xmlns:a16="http://schemas.microsoft.com/office/drawing/2014/main" id="{ED908CC4-2740-3D41-BB34-26C750923764}"/>
              </a:ext>
            </a:extLst>
          </p:cNvPr>
          <p:cNvSpPr/>
          <p:nvPr/>
        </p:nvSpPr>
        <p:spPr>
          <a:xfrm>
            <a:off x="10085506" y="3978343"/>
            <a:ext cx="966428" cy="96642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7942" rtl="0" eaLnBrk="1" fontAlgn="auto" latinLnBrk="0" hangingPunct="1">
              <a:lnSpc>
                <a:spcPct val="100000"/>
              </a:lnSpc>
              <a:spcBef>
                <a:spcPts val="0"/>
              </a:spcBef>
              <a:spcAft>
                <a:spcPts val="0"/>
              </a:spcAft>
              <a:buClrTx/>
              <a:buSzTx/>
              <a:buFontTx/>
              <a:buNone/>
              <a:tabLst/>
              <a:defRPr/>
            </a:pPr>
            <a:r>
              <a:rPr kumimoji="0" lang="en-US" sz="5611" b="1" i="0" u="none" strike="noStrike" kern="1200" cap="none" spc="0" normalizeH="0" baseline="0" noProof="0" dirty="0">
                <a:ln>
                  <a:noFill/>
                </a:ln>
                <a:solidFill>
                  <a:prstClr val="white"/>
                </a:solidFill>
                <a:effectLst/>
                <a:uLnTx/>
                <a:uFillTx/>
                <a:latin typeface="Montserrat" pitchFamily="2" charset="77"/>
                <a:ea typeface="Century Gothic" charset="0"/>
                <a:cs typeface="Century Gothic" charset="0"/>
              </a:rPr>
              <a:t>2</a:t>
            </a:r>
          </a:p>
        </p:txBody>
      </p:sp>
      <p:sp>
        <p:nvSpPr>
          <p:cNvPr id="360" name="Google Shape;642;p21">
            <a:extLst>
              <a:ext uri="{FF2B5EF4-FFF2-40B4-BE49-F238E27FC236}">
                <a16:creationId xmlns:a16="http://schemas.microsoft.com/office/drawing/2014/main" id="{C218E0D1-D96E-AF4C-BD59-DAE3F731B5A7}"/>
              </a:ext>
            </a:extLst>
          </p:cNvPr>
          <p:cNvSpPr txBox="1">
            <a:spLocks/>
          </p:cNvSpPr>
          <p:nvPr/>
        </p:nvSpPr>
        <p:spPr>
          <a:xfrm>
            <a:off x="4252451" y="5063536"/>
            <a:ext cx="4434282" cy="1689753"/>
          </a:xfrm>
          <a:prstGeom prst="rect">
            <a:avLst/>
          </a:prstGeom>
          <a:noFill/>
          <a:ln>
            <a:noFill/>
          </a:ln>
        </p:spPr>
        <p:txBody>
          <a:bodyPr spcFirstLastPara="1" wrap="square" lIns="116594" tIns="116594" rIns="116594" bIns="116594"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434343"/>
              </a:buClr>
              <a:buSzPts val="1800"/>
              <a:buFont typeface="Arvo"/>
              <a:buChar char="●"/>
              <a:defRPr sz="1800" b="0" i="0" u="none" strike="noStrike" cap="none">
                <a:solidFill>
                  <a:srgbClr val="434343"/>
                </a:solidFill>
                <a:latin typeface="Arvo"/>
                <a:ea typeface="Arvo"/>
                <a:cs typeface="Arvo"/>
                <a:sym typeface="Arvo"/>
              </a:defRPr>
            </a:lvl1pPr>
            <a:lvl2pPr marL="914400" marR="0" lvl="1"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2pPr>
            <a:lvl3pPr marL="1371600" marR="0" lvl="2"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3pPr>
            <a:lvl4pPr marL="1828800" marR="0" lvl="3"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4pPr>
            <a:lvl5pPr marL="2286000" marR="0" lvl="4"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5pPr>
            <a:lvl6pPr marL="2743200" marR="0" lvl="5"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6pPr>
            <a:lvl7pPr marL="3200400" marR="0" lvl="6"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7pPr>
            <a:lvl8pPr marL="3657600" marR="0" lvl="7"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8pPr>
            <a:lvl9pPr marL="4114800" marR="0" lvl="8" indent="-317500" algn="l" rtl="0">
              <a:lnSpc>
                <a:spcPct val="115000"/>
              </a:lnSpc>
              <a:spcBef>
                <a:spcPts val="1600"/>
              </a:spcBef>
              <a:spcAft>
                <a:spcPts val="1600"/>
              </a:spcAft>
              <a:buClr>
                <a:srgbClr val="434343"/>
              </a:buClr>
              <a:buSzPts val="1400"/>
              <a:buFont typeface="Arvo"/>
              <a:buChar char="■"/>
              <a:defRPr sz="1400" b="0" i="0" u="none" strike="noStrike" cap="none">
                <a:solidFill>
                  <a:srgbClr val="434343"/>
                </a:solidFill>
                <a:latin typeface="Arvo"/>
                <a:ea typeface="Arvo"/>
                <a:cs typeface="Arvo"/>
                <a:sym typeface="Arvo"/>
              </a:defRPr>
            </a:lvl9pPr>
          </a:lstStyle>
          <a:p>
            <a:pPr marL="0" marR="0" lvl="0" indent="0" algn="l" defTabSz="1166200" rtl="0" eaLnBrk="1" fontAlgn="auto" latinLnBrk="0" hangingPunct="1">
              <a:lnSpc>
                <a:spcPct val="100000"/>
              </a:lnSpc>
              <a:spcBef>
                <a:spcPts val="0"/>
              </a:spcBef>
              <a:spcAft>
                <a:spcPts val="0"/>
              </a:spcAft>
              <a:buClr>
                <a:srgbClr val="434343"/>
              </a:buClr>
              <a:buSzPts val="1800"/>
              <a:buFont typeface="Arvo"/>
              <a:buNone/>
              <a:tabLst/>
              <a:defRPr/>
            </a:pPr>
            <a:r>
              <a:rPr kumimoji="0" lang="en-US" sz="1800" b="1" i="0" u="none" strike="noStrike" kern="0" cap="none" spc="0" normalizeH="0" baseline="0" noProof="0" dirty="0">
                <a:ln>
                  <a:noFill/>
                </a:ln>
                <a:solidFill>
                  <a:srgbClr val="1D3166"/>
                </a:solidFill>
                <a:effectLst/>
                <a:uLnTx/>
                <a:uFillTx/>
                <a:latin typeface="Montserrat" pitchFamily="2" charset="77"/>
                <a:ea typeface="Century Gothic" charset="0"/>
                <a:cs typeface="Century Gothic" charset="0"/>
                <a:sym typeface="Arvo"/>
              </a:rPr>
              <a:t>TERTIB PEMANFAATAN </a:t>
            </a:r>
          </a:p>
          <a:p>
            <a:pPr marL="0" marR="0" lvl="0" indent="0" algn="l" defTabSz="1166200" rtl="0" eaLnBrk="1" fontAlgn="auto" latinLnBrk="0" hangingPunct="1">
              <a:lnSpc>
                <a:spcPct val="100000"/>
              </a:lnSpc>
              <a:spcBef>
                <a:spcPts val="0"/>
              </a:spcBef>
              <a:spcAft>
                <a:spcPts val="0"/>
              </a:spcAft>
              <a:buClr>
                <a:srgbClr val="434343"/>
              </a:buClr>
              <a:buSzPts val="1800"/>
              <a:buFont typeface="Arvo"/>
              <a:buNone/>
              <a:tabLst/>
              <a:defRPr/>
            </a:pPr>
            <a:r>
              <a:rPr kumimoji="0" lang="en-US" sz="1800" b="1" i="0" u="none" strike="noStrike" kern="0" cap="none" spc="0" normalizeH="0" baseline="0" noProof="0" dirty="0">
                <a:ln>
                  <a:noFill/>
                </a:ln>
                <a:solidFill>
                  <a:srgbClr val="1D3166"/>
                </a:solidFill>
                <a:effectLst/>
                <a:uLnTx/>
                <a:uFillTx/>
                <a:latin typeface="Montserrat" pitchFamily="2" charset="77"/>
                <a:ea typeface="Century Gothic" charset="0"/>
                <a:cs typeface="Century Gothic" charset="0"/>
                <a:sym typeface="Arvo"/>
              </a:rPr>
              <a:t>PRODUK JAKON</a:t>
            </a:r>
            <a:endParaRPr kumimoji="0" lang="en-US" sz="1600" b="0" i="0" u="none" strike="noStrike" kern="0" cap="none" spc="0" normalizeH="0" baseline="0" noProof="0" dirty="0">
              <a:ln>
                <a:noFill/>
              </a:ln>
              <a:solidFill>
                <a:srgbClr val="1D3166"/>
              </a:solidFill>
              <a:effectLst/>
              <a:uLnTx/>
              <a:uFillTx/>
              <a:latin typeface="Montserrat" pitchFamily="2" charset="77"/>
              <a:ea typeface="Century Gothic" charset="0"/>
              <a:cs typeface="Century Gothic" charset="0"/>
              <a:sym typeface="Arvo"/>
            </a:endParaRPr>
          </a:p>
          <a:p>
            <a:pPr marL="342900" marR="0" lvl="0" indent="-342900" algn="l" defTabSz="1166200" rtl="0" eaLnBrk="1" fontAlgn="auto" latinLnBrk="0" hangingPunct="1">
              <a:lnSpc>
                <a:spcPct val="100000"/>
              </a:lnSpc>
              <a:spcBef>
                <a:spcPts val="0"/>
              </a:spcBef>
              <a:spcAft>
                <a:spcPts val="383"/>
              </a:spcAft>
              <a:buClr>
                <a:srgbClr val="434343"/>
              </a:buClr>
              <a:buSzPct val="100000"/>
              <a:buFont typeface="+mj-lt"/>
              <a:buAutoNum type="arabicPeriod"/>
              <a:tabLst/>
              <a:defRPr/>
            </a:pP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fungsi</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peruntuk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konstruksi</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a:t>
            </a:r>
          </a:p>
          <a:p>
            <a:pPr marL="342900" marR="0" lvl="0" indent="-342900" algn="l" defTabSz="1166200" rtl="0" eaLnBrk="1" fontAlgn="auto" latinLnBrk="0" hangingPunct="1">
              <a:lnSpc>
                <a:spcPct val="100000"/>
              </a:lnSpc>
              <a:spcBef>
                <a:spcPts val="0"/>
              </a:spcBef>
              <a:spcAft>
                <a:spcPts val="383"/>
              </a:spcAft>
              <a:buClr>
                <a:srgbClr val="434343"/>
              </a:buClr>
              <a:buSzPct val="100000"/>
              <a:buFont typeface="+mj-lt"/>
              <a:buAutoNum type="arabicPeriod"/>
              <a:tabLst/>
              <a:defRPr/>
            </a:pP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rencana</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umur</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konstruksi</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a:t>
            </a:r>
          </a:p>
          <a:p>
            <a:pPr marL="342900" marR="0" lvl="0" indent="-342900" algn="l" defTabSz="1166200" rtl="0" eaLnBrk="1" fontAlgn="auto" latinLnBrk="0" hangingPunct="1">
              <a:lnSpc>
                <a:spcPct val="100000"/>
              </a:lnSpc>
              <a:spcBef>
                <a:spcPts val="0"/>
              </a:spcBef>
              <a:spcAft>
                <a:spcPts val="383"/>
              </a:spcAft>
              <a:buClr>
                <a:srgbClr val="434343"/>
              </a:buClr>
              <a:buSzPct val="100000"/>
              <a:buFont typeface="+mj-lt"/>
              <a:buAutoNum type="arabicPeriod"/>
              <a:tabLst/>
              <a:defRPr/>
            </a:pP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pelaksana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kapasitas</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dan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beb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p>
          <a:p>
            <a:pPr marL="342900" marR="0" lvl="0" indent="-342900" algn="l" defTabSz="1166200" rtl="0" eaLnBrk="1" fontAlgn="auto" latinLnBrk="0" hangingPunct="1">
              <a:lnSpc>
                <a:spcPct val="100000"/>
              </a:lnSpc>
              <a:spcBef>
                <a:spcPts val="0"/>
              </a:spcBef>
              <a:spcAft>
                <a:spcPts val="383"/>
              </a:spcAft>
              <a:buClr>
                <a:srgbClr val="434343"/>
              </a:buClr>
              <a:buSzPct val="100000"/>
              <a:buFont typeface="+mj-lt"/>
              <a:buAutoNum type="arabicPeriod"/>
              <a:tabLst/>
              <a:defRPr/>
            </a:pP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pemelihara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produk</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Jasa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Konstruksi</a:t>
            </a:r>
            <a:r>
              <a:rPr kumimoji="0" lang="en-US" sz="1400" b="0" i="0" u="none" strike="noStrike" kern="0" cap="none" spc="0" normalizeH="0" baseline="0" noProof="0" dirty="0">
                <a:ln>
                  <a:noFill/>
                </a:ln>
                <a:solidFill>
                  <a:srgbClr val="434343"/>
                </a:solidFill>
                <a:effectLst/>
                <a:uLnTx/>
                <a:uFillTx/>
                <a:latin typeface="Montserrat" pitchFamily="2" charset="77"/>
                <a:ea typeface="Century Gothic" charset="0"/>
                <a:cs typeface="Century Gothic" charset="0"/>
                <a:sym typeface="Arvo"/>
              </a:rPr>
              <a:t>.</a:t>
            </a:r>
          </a:p>
        </p:txBody>
      </p:sp>
      <p:sp>
        <p:nvSpPr>
          <p:cNvPr id="365" name="Google Shape;642;p21">
            <a:extLst>
              <a:ext uri="{FF2B5EF4-FFF2-40B4-BE49-F238E27FC236}">
                <a16:creationId xmlns:a16="http://schemas.microsoft.com/office/drawing/2014/main" id="{8CC65073-4FAB-DA4E-9862-C706E17D7435}"/>
              </a:ext>
            </a:extLst>
          </p:cNvPr>
          <p:cNvSpPr txBox="1">
            <a:spLocks/>
          </p:cNvSpPr>
          <p:nvPr/>
        </p:nvSpPr>
        <p:spPr>
          <a:xfrm>
            <a:off x="4252451" y="6192"/>
            <a:ext cx="6270308" cy="1689753"/>
          </a:xfrm>
          <a:prstGeom prst="rect">
            <a:avLst/>
          </a:prstGeom>
          <a:noFill/>
          <a:ln>
            <a:noFill/>
          </a:ln>
        </p:spPr>
        <p:txBody>
          <a:bodyPr spcFirstLastPara="1" wrap="square" lIns="116594" tIns="116594" rIns="116594" bIns="116594"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434343"/>
              </a:buClr>
              <a:buSzPts val="1800"/>
              <a:buFont typeface="Arvo"/>
              <a:buChar char="●"/>
              <a:defRPr sz="1800" b="0" i="0" u="none" strike="noStrike" cap="none">
                <a:solidFill>
                  <a:srgbClr val="434343"/>
                </a:solidFill>
                <a:latin typeface="Arvo"/>
                <a:ea typeface="Arvo"/>
                <a:cs typeface="Arvo"/>
                <a:sym typeface="Arvo"/>
              </a:defRPr>
            </a:lvl1pPr>
            <a:lvl2pPr marL="914400" marR="0" lvl="1"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2pPr>
            <a:lvl3pPr marL="1371600" marR="0" lvl="2"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3pPr>
            <a:lvl4pPr marL="1828800" marR="0" lvl="3"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4pPr>
            <a:lvl5pPr marL="2286000" marR="0" lvl="4"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5pPr>
            <a:lvl6pPr marL="2743200" marR="0" lvl="5"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6pPr>
            <a:lvl7pPr marL="3200400" marR="0" lvl="6"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7pPr>
            <a:lvl8pPr marL="3657600" marR="0" lvl="7"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8pPr>
            <a:lvl9pPr marL="4114800" marR="0" lvl="8" indent="-317500" algn="l" rtl="0">
              <a:lnSpc>
                <a:spcPct val="115000"/>
              </a:lnSpc>
              <a:spcBef>
                <a:spcPts val="1600"/>
              </a:spcBef>
              <a:spcAft>
                <a:spcPts val="1600"/>
              </a:spcAft>
              <a:buClr>
                <a:srgbClr val="434343"/>
              </a:buClr>
              <a:buSzPts val="1400"/>
              <a:buFont typeface="Arvo"/>
              <a:buChar char="■"/>
              <a:defRPr sz="1400" b="0" i="0" u="none" strike="noStrike" cap="none">
                <a:solidFill>
                  <a:srgbClr val="434343"/>
                </a:solidFill>
                <a:latin typeface="Arvo"/>
                <a:ea typeface="Arvo"/>
                <a:cs typeface="Arvo"/>
                <a:sym typeface="Arvo"/>
              </a:defRPr>
            </a:lvl9pPr>
          </a:lstStyle>
          <a:p>
            <a:pPr marL="0" marR="0" lvl="0" indent="0" algn="l" defTabSz="1166200" rtl="0" eaLnBrk="1" fontAlgn="auto" latinLnBrk="0" hangingPunct="1">
              <a:lnSpc>
                <a:spcPct val="100000"/>
              </a:lnSpc>
              <a:spcBef>
                <a:spcPts val="0"/>
              </a:spcBef>
              <a:spcAft>
                <a:spcPts val="0"/>
              </a:spcAft>
              <a:buClr>
                <a:srgbClr val="1D3166"/>
              </a:buClr>
              <a:buSzPts val="1800"/>
              <a:buFont typeface="Arvo"/>
              <a:buNone/>
              <a:tabLst/>
              <a:defRPr/>
            </a:pPr>
            <a:r>
              <a:rPr kumimoji="0" lang="en-US" sz="1800" b="1" i="0" u="none" strike="noStrike" kern="0" cap="none" spc="0" normalizeH="0" baseline="0" noProof="0" dirty="0">
                <a:ln>
                  <a:noFill/>
                </a:ln>
                <a:solidFill>
                  <a:srgbClr val="1D3166"/>
                </a:solidFill>
                <a:effectLst/>
                <a:uLnTx/>
                <a:uFillTx/>
                <a:latin typeface="Montserrat" pitchFamily="2" charset="77"/>
                <a:ea typeface="Century Gothic" charset="0"/>
                <a:cs typeface="Century Gothic" charset="0"/>
                <a:sym typeface="Arvo"/>
              </a:rPr>
              <a:t>TERTIB USAHA</a:t>
            </a:r>
            <a:endParaRPr kumimoji="0" lang="en-US" sz="1600" b="0" i="0" u="none" strike="noStrike" kern="0" cap="none" spc="0" normalizeH="0" baseline="0" noProof="0" dirty="0">
              <a:ln>
                <a:noFill/>
              </a:ln>
              <a:solidFill>
                <a:srgbClr val="1D3166"/>
              </a:solidFill>
              <a:effectLst/>
              <a:uLnTx/>
              <a:uFillTx/>
              <a:latin typeface="Montserrat" pitchFamily="2" charset="77"/>
              <a:ea typeface="Century Gothic" charset="0"/>
              <a:cs typeface="Century Gothic" charset="0"/>
              <a:sym typeface="Arvo"/>
            </a:endParaRPr>
          </a:p>
          <a:p>
            <a:pPr marL="342900" marR="0" lvl="0" indent="-342900" algn="l" defTabSz="1166200" rtl="0" eaLnBrk="1" fontAlgn="auto" latinLnBrk="0" hangingPunct="1">
              <a:lnSpc>
                <a:spcPct val="100000"/>
              </a:lnSpc>
              <a:spcBef>
                <a:spcPts val="0"/>
              </a:spcBef>
              <a:spcAft>
                <a:spcPts val="383"/>
              </a:spcAft>
              <a:buClr>
                <a:srgbClr val="1D3166"/>
              </a:buClr>
              <a:buSzPct val="100000"/>
              <a:buFont typeface="+mj-lt"/>
              <a:buAutoNum type="arabicPeriod"/>
              <a:tabLst/>
              <a:defRPr/>
            </a:pP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pemenuh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persyarat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usaha</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rantai</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pasok</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sumber</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daya</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konstruksi</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pada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lingkup</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wilayahnya</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p>
          <a:p>
            <a:pPr marL="342900" marR="0" lvl="0" indent="-342900" algn="l" defTabSz="1166200" rtl="0" eaLnBrk="1" fontAlgn="auto" latinLnBrk="0" hangingPunct="1">
              <a:lnSpc>
                <a:spcPct val="100000"/>
              </a:lnSpc>
              <a:spcBef>
                <a:spcPts val="0"/>
              </a:spcBef>
              <a:spcAft>
                <a:spcPts val="383"/>
              </a:spcAft>
              <a:buClr>
                <a:srgbClr val="1D3166"/>
              </a:buClr>
              <a:buSzPct val="100000"/>
              <a:buFont typeface="+mj-lt"/>
              <a:buAutoNum type="arabicPeriod"/>
              <a:tabLst/>
              <a:defRPr/>
            </a:pP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kesesuai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jenis</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sifat</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Klasifikasi</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dan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Layan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Usaha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deng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kegiat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usaha</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Jasa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Konstruksi</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a:t>
            </a:r>
          </a:p>
          <a:p>
            <a:pPr marL="342900" marR="0" lvl="0" indent="-342900" algn="l" defTabSz="1166200" rtl="0" eaLnBrk="1" fontAlgn="auto" latinLnBrk="0" hangingPunct="1">
              <a:lnSpc>
                <a:spcPct val="100000"/>
              </a:lnSpc>
              <a:spcBef>
                <a:spcPts val="0"/>
              </a:spcBef>
              <a:spcAft>
                <a:spcPts val="383"/>
              </a:spcAft>
              <a:buClr>
                <a:srgbClr val="1D3166"/>
              </a:buClr>
              <a:buSzPct val="100000"/>
              <a:buFont typeface="+mj-lt"/>
              <a:buAutoNum type="arabicPeriod"/>
              <a:tabLst/>
              <a:defRPr/>
            </a:pP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kesesuai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bentuk</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dan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Kualifikasi</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usaha</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deng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kegiat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usaha</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Jasa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Konstruksi</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dan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segmentasi</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pasar Jasa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Konstruksi</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a:t>
            </a:r>
          </a:p>
          <a:p>
            <a:pPr marL="342900" marR="0" lvl="0" indent="-342900" algn="l" defTabSz="1166200" rtl="0" eaLnBrk="1" fontAlgn="auto" latinLnBrk="0" hangingPunct="1">
              <a:lnSpc>
                <a:spcPct val="100000"/>
              </a:lnSpc>
              <a:spcBef>
                <a:spcPts val="0"/>
              </a:spcBef>
              <a:spcAft>
                <a:spcPts val="383"/>
              </a:spcAft>
              <a:buClr>
                <a:srgbClr val="1D3166"/>
              </a:buClr>
              <a:buSzPct val="100000"/>
              <a:buFont typeface="+mj-lt"/>
              <a:buAutoNum type="arabicPeriod"/>
              <a:tabLst/>
              <a:defRPr/>
            </a:pP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pemenuh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persyarat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usaha</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Jasa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Konstruksi</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dan</a:t>
            </a:r>
          </a:p>
          <a:p>
            <a:pPr marL="342900" marR="0" lvl="0" indent="-342900" algn="l" defTabSz="1166200" rtl="0" eaLnBrk="1" fontAlgn="auto" latinLnBrk="0" hangingPunct="1">
              <a:lnSpc>
                <a:spcPct val="100000"/>
              </a:lnSpc>
              <a:spcBef>
                <a:spcPts val="0"/>
              </a:spcBef>
              <a:spcAft>
                <a:spcPts val="383"/>
              </a:spcAft>
              <a:buClr>
                <a:srgbClr val="1D3166"/>
              </a:buClr>
              <a:buSzPct val="100000"/>
              <a:buFont typeface="+mj-lt"/>
              <a:buAutoNum type="arabicPeriod"/>
              <a:tabLst/>
              <a:defRPr/>
            </a:pP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pelaksana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pengembangan</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usaha</a:t>
            </a:r>
            <a:r>
              <a:rPr kumimoji="0" lang="en-US" sz="1400" b="0" i="0" u="none" strike="noStrike" kern="0" cap="none" spc="0" normalizeH="0" baseline="0" noProof="0" dirty="0">
                <a:ln>
                  <a:noFill/>
                </a:ln>
                <a:solidFill>
                  <a:srgbClr val="1D3166"/>
                </a:solidFill>
                <a:effectLst/>
                <a:uLnTx/>
                <a:uFillTx/>
                <a:latin typeface="Montserrat Medium" pitchFamily="2" charset="77"/>
                <a:ea typeface="Century Gothic" charset="0"/>
                <a:cs typeface="Century Gothic" charset="0"/>
                <a:sym typeface="Arvo"/>
              </a:rPr>
              <a:t> </a:t>
            </a:r>
            <a:r>
              <a:rPr kumimoji="0" lang="en-US" sz="1400" b="0" i="0" u="none" strike="noStrike" kern="0" cap="none" spc="0" normalizeH="0" baseline="0" noProof="0" dirty="0" err="1">
                <a:ln>
                  <a:noFill/>
                </a:ln>
                <a:solidFill>
                  <a:srgbClr val="1D3166"/>
                </a:solidFill>
                <a:effectLst/>
                <a:uLnTx/>
                <a:uFillTx/>
                <a:latin typeface="Montserrat Medium" pitchFamily="2" charset="77"/>
                <a:ea typeface="Century Gothic" charset="0"/>
                <a:cs typeface="Century Gothic" charset="0"/>
                <a:sym typeface="Arvo"/>
              </a:rPr>
              <a:t>berkelanjutan</a:t>
            </a:r>
            <a:r>
              <a:rPr kumimoji="0" lang="en-US" sz="1400" b="0" i="0" u="none" strike="noStrike" kern="0" cap="none" spc="0" normalizeH="0" baseline="0" noProof="0" dirty="0">
                <a:ln>
                  <a:noFill/>
                </a:ln>
                <a:solidFill>
                  <a:srgbClr val="1D3166"/>
                </a:solidFill>
                <a:effectLst/>
                <a:uLnTx/>
                <a:uFillTx/>
                <a:latin typeface="Montserrat" pitchFamily="2" charset="77"/>
                <a:ea typeface="Century Gothic" charset="0"/>
                <a:cs typeface="Century Gothic" charset="0"/>
                <a:sym typeface="Arvo"/>
              </a:rPr>
              <a:t>.</a:t>
            </a:r>
          </a:p>
        </p:txBody>
      </p:sp>
      <p:sp>
        <p:nvSpPr>
          <p:cNvPr id="364" name="Google Shape;642;p21">
            <a:extLst>
              <a:ext uri="{FF2B5EF4-FFF2-40B4-BE49-F238E27FC236}">
                <a16:creationId xmlns:a16="http://schemas.microsoft.com/office/drawing/2014/main" id="{6F15B2A9-5362-524F-80A7-0C09BDE08DFA}"/>
              </a:ext>
            </a:extLst>
          </p:cNvPr>
          <p:cNvSpPr txBox="1">
            <a:spLocks/>
          </p:cNvSpPr>
          <p:nvPr/>
        </p:nvSpPr>
        <p:spPr>
          <a:xfrm>
            <a:off x="-213842" y="39626"/>
            <a:ext cx="4897244" cy="527268"/>
          </a:xfrm>
          <a:prstGeom prst="rect">
            <a:avLst/>
          </a:prstGeom>
          <a:noFill/>
          <a:ln>
            <a:noFill/>
          </a:ln>
        </p:spPr>
        <p:txBody>
          <a:bodyPr spcFirstLastPara="1" wrap="square" lIns="116594" tIns="116594" rIns="116594" bIns="116594"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434343"/>
              </a:buClr>
              <a:buSzPts val="1800"/>
              <a:buFont typeface="Arvo"/>
              <a:buChar char="●"/>
              <a:defRPr sz="1800" b="0" i="0" u="none" strike="noStrike" cap="none">
                <a:solidFill>
                  <a:srgbClr val="434343"/>
                </a:solidFill>
                <a:latin typeface="Arvo"/>
                <a:ea typeface="Arvo"/>
                <a:cs typeface="Arvo"/>
                <a:sym typeface="Arvo"/>
              </a:defRPr>
            </a:lvl1pPr>
            <a:lvl2pPr marL="914400" marR="0" lvl="1"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2pPr>
            <a:lvl3pPr marL="1371600" marR="0" lvl="2"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3pPr>
            <a:lvl4pPr marL="1828800" marR="0" lvl="3"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4pPr>
            <a:lvl5pPr marL="2286000" marR="0" lvl="4"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5pPr>
            <a:lvl6pPr marL="2743200" marR="0" lvl="5"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6pPr>
            <a:lvl7pPr marL="3200400" marR="0" lvl="6"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7pPr>
            <a:lvl8pPr marL="3657600" marR="0" lvl="7"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8pPr>
            <a:lvl9pPr marL="4114800" marR="0" lvl="8" indent="-317500" algn="l" rtl="0">
              <a:lnSpc>
                <a:spcPct val="115000"/>
              </a:lnSpc>
              <a:spcBef>
                <a:spcPts val="1600"/>
              </a:spcBef>
              <a:spcAft>
                <a:spcPts val="1600"/>
              </a:spcAft>
              <a:buClr>
                <a:srgbClr val="434343"/>
              </a:buClr>
              <a:buSzPts val="1400"/>
              <a:buFont typeface="Arvo"/>
              <a:buChar char="■"/>
              <a:defRPr sz="1400" b="0" i="0" u="none" strike="noStrike" cap="none">
                <a:solidFill>
                  <a:srgbClr val="434343"/>
                </a:solidFill>
                <a:latin typeface="Arvo"/>
                <a:ea typeface="Arvo"/>
                <a:cs typeface="Arvo"/>
                <a:sym typeface="Arvo"/>
              </a:defRPr>
            </a:lvl9pPr>
          </a:lstStyle>
          <a:p>
            <a:pPr marL="0" marR="0" lvl="0" indent="0" algn="ctr" defTabSz="1166200" rtl="0" eaLnBrk="1" fontAlgn="auto" latinLnBrk="0" hangingPunct="1">
              <a:lnSpc>
                <a:spcPct val="100000"/>
              </a:lnSpc>
              <a:spcBef>
                <a:spcPts val="0"/>
              </a:spcBef>
              <a:spcAft>
                <a:spcPts val="0"/>
              </a:spcAft>
              <a:buClr>
                <a:srgbClr val="434343"/>
              </a:buClr>
              <a:buSzPts val="1800"/>
              <a:buFont typeface="Arvo"/>
              <a:buNone/>
              <a:tabLst/>
              <a:defRPr/>
            </a:pPr>
            <a:r>
              <a:rPr kumimoji="0" lang="en-US" sz="2800" b="1" i="0" u="none" strike="noStrike" kern="0" cap="none" spc="0" normalizeH="0" baseline="0" noProof="0" dirty="0">
                <a:ln>
                  <a:noFill/>
                </a:ln>
                <a:solidFill>
                  <a:srgbClr val="1D3166"/>
                </a:solidFill>
                <a:effectLst/>
                <a:uLnTx/>
                <a:uFillTx/>
                <a:latin typeface="Montserrat" pitchFamily="2" charset="77"/>
                <a:ea typeface="Century Gothic" charset="0"/>
                <a:cs typeface="Century Gothic" charset="0"/>
                <a:sym typeface="Arvo"/>
              </a:rPr>
              <a:t>PENGAWASAN </a:t>
            </a:r>
          </a:p>
          <a:p>
            <a:pPr marL="0" marR="0" lvl="0" indent="0" algn="ctr" defTabSz="1166200" rtl="0" eaLnBrk="1" fontAlgn="auto" latinLnBrk="0" hangingPunct="1">
              <a:lnSpc>
                <a:spcPct val="100000"/>
              </a:lnSpc>
              <a:spcBef>
                <a:spcPts val="0"/>
              </a:spcBef>
              <a:spcAft>
                <a:spcPts val="0"/>
              </a:spcAft>
              <a:buClr>
                <a:srgbClr val="434343"/>
              </a:buClr>
              <a:buSzPts val="1800"/>
              <a:buFont typeface="Arvo"/>
              <a:buNone/>
              <a:tabLst/>
              <a:defRPr/>
            </a:pPr>
            <a:r>
              <a:rPr kumimoji="0" lang="en-US" sz="2800" b="1" i="0" u="none" strike="noStrike" kern="0" cap="none" spc="0" normalizeH="0" baseline="0" noProof="0" dirty="0">
                <a:ln>
                  <a:noFill/>
                </a:ln>
                <a:solidFill>
                  <a:srgbClr val="1D3166"/>
                </a:solidFill>
                <a:effectLst/>
                <a:uLnTx/>
                <a:uFillTx/>
                <a:latin typeface="Montserrat" pitchFamily="2" charset="77"/>
                <a:ea typeface="Century Gothic" charset="0"/>
                <a:cs typeface="Century Gothic" charset="0"/>
                <a:sym typeface="Arvo"/>
              </a:rPr>
              <a:t>PENYELENGARAAN </a:t>
            </a:r>
          </a:p>
          <a:p>
            <a:pPr marL="0" marR="0" lvl="0" indent="0" algn="ctr" defTabSz="1166200" rtl="0" eaLnBrk="1" fontAlgn="auto" latinLnBrk="0" hangingPunct="1">
              <a:lnSpc>
                <a:spcPct val="100000"/>
              </a:lnSpc>
              <a:spcBef>
                <a:spcPts val="0"/>
              </a:spcBef>
              <a:spcAft>
                <a:spcPts val="0"/>
              </a:spcAft>
              <a:buClr>
                <a:srgbClr val="434343"/>
              </a:buClr>
              <a:buSzPts val="1800"/>
              <a:buFont typeface="Arvo"/>
              <a:buNone/>
              <a:tabLst/>
              <a:defRPr/>
            </a:pPr>
            <a:r>
              <a:rPr kumimoji="0" lang="en-US" sz="2800" b="1" i="0" u="none" strike="noStrike" kern="0" cap="none" spc="0" normalizeH="0" baseline="0" noProof="0" dirty="0">
                <a:ln>
                  <a:noFill/>
                </a:ln>
                <a:solidFill>
                  <a:srgbClr val="1D3166"/>
                </a:solidFill>
                <a:effectLst/>
                <a:uLnTx/>
                <a:uFillTx/>
                <a:latin typeface="Montserrat" pitchFamily="2" charset="77"/>
                <a:ea typeface="Century Gothic" charset="0"/>
                <a:cs typeface="Century Gothic" charset="0"/>
                <a:sym typeface="Arvo"/>
              </a:rPr>
              <a:t>KONSTRUSI</a:t>
            </a:r>
          </a:p>
        </p:txBody>
      </p:sp>
      <p:sp>
        <p:nvSpPr>
          <p:cNvPr id="366" name="Freeform: Shape 90">
            <a:extLst>
              <a:ext uri="{FF2B5EF4-FFF2-40B4-BE49-F238E27FC236}">
                <a16:creationId xmlns:a16="http://schemas.microsoft.com/office/drawing/2014/main" id="{E1845BB1-251C-E841-812D-82538987179B}"/>
              </a:ext>
            </a:extLst>
          </p:cNvPr>
          <p:cNvSpPr/>
          <p:nvPr/>
        </p:nvSpPr>
        <p:spPr>
          <a:xfrm>
            <a:off x="470160" y="1626759"/>
            <a:ext cx="3225573" cy="601998"/>
          </a:xfrm>
          <a:custGeom>
            <a:avLst/>
            <a:gdLst>
              <a:gd name="connsiteX0" fmla="*/ 325384 w 4047850"/>
              <a:gd name="connsiteY0" fmla="*/ 0 h 651348"/>
              <a:gd name="connsiteX1" fmla="*/ 593248 w 4047850"/>
              <a:gd name="connsiteY1" fmla="*/ 0 h 651348"/>
              <a:gd name="connsiteX2" fmla="*/ 1005630 w 4047850"/>
              <a:gd name="connsiteY2" fmla="*/ 0 h 651348"/>
              <a:gd name="connsiteX3" fmla="*/ 1022869 w 4047850"/>
              <a:gd name="connsiteY3" fmla="*/ 0 h 651348"/>
              <a:gd name="connsiteX4" fmla="*/ 3042220 w 4047850"/>
              <a:gd name="connsiteY4" fmla="*/ 0 h 651348"/>
              <a:gd name="connsiteX5" fmla="*/ 3394765 w 4047850"/>
              <a:gd name="connsiteY5" fmla="*/ 0 h 651348"/>
              <a:gd name="connsiteX6" fmla="*/ 3722465 w 4047850"/>
              <a:gd name="connsiteY6" fmla="*/ 0 h 651348"/>
              <a:gd name="connsiteX7" fmla="*/ 3739704 w 4047850"/>
              <a:gd name="connsiteY7" fmla="*/ 0 h 651348"/>
              <a:gd name="connsiteX8" fmla="*/ 3739704 w 4047850"/>
              <a:gd name="connsiteY8" fmla="*/ 385 h 651348"/>
              <a:gd name="connsiteX9" fmla="*/ 4047850 w 4047850"/>
              <a:gd name="connsiteY9" fmla="*/ 385 h 651348"/>
              <a:gd name="connsiteX10" fmla="*/ 4047850 w 4047850"/>
              <a:gd name="connsiteY10" fmla="*/ 325477 h 651348"/>
              <a:gd name="connsiteX11" fmla="*/ 4047850 w 4047850"/>
              <a:gd name="connsiteY11" fmla="*/ 325669 h 651348"/>
              <a:gd name="connsiteX12" fmla="*/ 4047850 w 4047850"/>
              <a:gd name="connsiteY12" fmla="*/ 325672 h 651348"/>
              <a:gd name="connsiteX13" fmla="*/ 4047850 w 4047850"/>
              <a:gd name="connsiteY13" fmla="*/ 325675 h 651348"/>
              <a:gd name="connsiteX14" fmla="*/ 4047850 w 4047850"/>
              <a:gd name="connsiteY14" fmla="*/ 340954 h 651348"/>
              <a:gd name="connsiteX15" fmla="*/ 4047117 w 4047850"/>
              <a:gd name="connsiteY15" fmla="*/ 340954 h 651348"/>
              <a:gd name="connsiteX16" fmla="*/ 4046371 w 4047850"/>
              <a:gd name="connsiteY16" fmla="*/ 356703 h 651348"/>
              <a:gd name="connsiteX17" fmla="*/ 4046235 w 4047850"/>
              <a:gd name="connsiteY17" fmla="*/ 357658 h 651348"/>
              <a:gd name="connsiteX18" fmla="*/ 4046171 w 4047850"/>
              <a:gd name="connsiteY18" fmla="*/ 358931 h 651348"/>
              <a:gd name="connsiteX19" fmla="*/ 4035441 w 4047850"/>
              <a:gd name="connsiteY19" fmla="*/ 414965 h 651348"/>
              <a:gd name="connsiteX20" fmla="*/ 4035003 w 4047850"/>
              <a:gd name="connsiteY20" fmla="*/ 416283 h 651348"/>
              <a:gd name="connsiteX21" fmla="*/ 4034948 w 4047850"/>
              <a:gd name="connsiteY21" fmla="*/ 416510 h 651348"/>
              <a:gd name="connsiteX22" fmla="*/ 4034176 w 4047850"/>
              <a:gd name="connsiteY22" fmla="*/ 418772 h 651348"/>
              <a:gd name="connsiteX23" fmla="*/ 4026589 w 4047850"/>
              <a:gd name="connsiteY23" fmla="*/ 441591 h 651348"/>
              <a:gd name="connsiteX24" fmla="*/ 4025578 w 4047850"/>
              <a:gd name="connsiteY24" fmla="*/ 443933 h 651348"/>
              <a:gd name="connsiteX25" fmla="*/ 4025273 w 4047850"/>
              <a:gd name="connsiteY25" fmla="*/ 444823 h 651348"/>
              <a:gd name="connsiteX26" fmla="*/ 4023116 w 4047850"/>
              <a:gd name="connsiteY26" fmla="*/ 449636 h 651348"/>
              <a:gd name="connsiteX27" fmla="*/ 4015559 w 4047850"/>
              <a:gd name="connsiteY27" fmla="*/ 467142 h 651348"/>
              <a:gd name="connsiteX28" fmla="*/ 4013802 w 4047850"/>
              <a:gd name="connsiteY28" fmla="*/ 470409 h 651348"/>
              <a:gd name="connsiteX29" fmla="*/ 4013136 w 4047850"/>
              <a:gd name="connsiteY29" fmla="*/ 471896 h 651348"/>
              <a:gd name="connsiteX30" fmla="*/ 4010197 w 4047850"/>
              <a:gd name="connsiteY30" fmla="*/ 477118 h 651348"/>
              <a:gd name="connsiteX31" fmla="*/ 4002462 w 4047850"/>
              <a:gd name="connsiteY31" fmla="*/ 491507 h 651348"/>
              <a:gd name="connsiteX32" fmla="*/ 3999801 w 4047850"/>
              <a:gd name="connsiteY32" fmla="*/ 495585 h 651348"/>
              <a:gd name="connsiteX33" fmla="*/ 3998671 w 4047850"/>
              <a:gd name="connsiteY33" fmla="*/ 497594 h 651348"/>
              <a:gd name="connsiteX34" fmla="*/ 3995246 w 4047850"/>
              <a:gd name="connsiteY34" fmla="*/ 502566 h 651348"/>
              <a:gd name="connsiteX35" fmla="*/ 3987410 w 4047850"/>
              <a:gd name="connsiteY35" fmla="*/ 514574 h 651348"/>
              <a:gd name="connsiteX36" fmla="*/ 3983699 w 4047850"/>
              <a:gd name="connsiteY36" fmla="*/ 519333 h 651348"/>
              <a:gd name="connsiteX37" fmla="*/ 3982012 w 4047850"/>
              <a:gd name="connsiteY37" fmla="*/ 521781 h 651348"/>
              <a:gd name="connsiteX38" fmla="*/ 3978310 w 4047850"/>
              <a:gd name="connsiteY38" fmla="*/ 526240 h 651348"/>
              <a:gd name="connsiteX39" fmla="*/ 3970514 w 4047850"/>
              <a:gd name="connsiteY39" fmla="*/ 536234 h 651348"/>
              <a:gd name="connsiteX40" fmla="*/ 3965618 w 4047850"/>
              <a:gd name="connsiteY40" fmla="*/ 541527 h 651348"/>
              <a:gd name="connsiteX41" fmla="*/ 3963295 w 4047850"/>
              <a:gd name="connsiteY41" fmla="*/ 544324 h 651348"/>
              <a:gd name="connsiteX42" fmla="*/ 3959482 w 4047850"/>
              <a:gd name="connsiteY42" fmla="*/ 548161 h 651348"/>
              <a:gd name="connsiteX43" fmla="*/ 3951885 w 4047850"/>
              <a:gd name="connsiteY43" fmla="*/ 556374 h 651348"/>
              <a:gd name="connsiteX44" fmla="*/ 3945682 w 4047850"/>
              <a:gd name="connsiteY44" fmla="*/ 562043 h 651348"/>
              <a:gd name="connsiteX45" fmla="*/ 3942656 w 4047850"/>
              <a:gd name="connsiteY45" fmla="*/ 565087 h 651348"/>
              <a:gd name="connsiteX46" fmla="*/ 3938872 w 4047850"/>
              <a:gd name="connsiteY46" fmla="*/ 568267 h 651348"/>
              <a:gd name="connsiteX47" fmla="*/ 3931633 w 4047850"/>
              <a:gd name="connsiteY47" fmla="*/ 574884 h 651348"/>
              <a:gd name="connsiteX48" fmla="*/ 3924011 w 4047850"/>
              <a:gd name="connsiteY48" fmla="*/ 580756 h 651348"/>
              <a:gd name="connsiteX49" fmla="*/ 3920227 w 4047850"/>
              <a:gd name="connsiteY49" fmla="*/ 583936 h 651348"/>
              <a:gd name="connsiteX50" fmla="*/ 3916599 w 4047850"/>
              <a:gd name="connsiteY50" fmla="*/ 586467 h 651348"/>
              <a:gd name="connsiteX51" fmla="*/ 3909870 w 4047850"/>
              <a:gd name="connsiteY51" fmla="*/ 591652 h 651348"/>
              <a:gd name="connsiteX52" fmla="*/ 3900723 w 4047850"/>
              <a:gd name="connsiteY52" fmla="*/ 597543 h 651348"/>
              <a:gd name="connsiteX53" fmla="*/ 3896145 w 4047850"/>
              <a:gd name="connsiteY53" fmla="*/ 600736 h 651348"/>
              <a:gd name="connsiteX54" fmla="*/ 3892785 w 4047850"/>
              <a:gd name="connsiteY54" fmla="*/ 602655 h 651348"/>
              <a:gd name="connsiteX55" fmla="*/ 3886706 w 4047850"/>
              <a:gd name="connsiteY55" fmla="*/ 606569 h 651348"/>
              <a:gd name="connsiteX56" fmla="*/ 3875923 w 4047850"/>
              <a:gd name="connsiteY56" fmla="*/ 612281 h 651348"/>
              <a:gd name="connsiteX57" fmla="*/ 3870544 w 4047850"/>
              <a:gd name="connsiteY57" fmla="*/ 615352 h 651348"/>
              <a:gd name="connsiteX58" fmla="*/ 3867552 w 4047850"/>
              <a:gd name="connsiteY58" fmla="*/ 616715 h 651348"/>
              <a:gd name="connsiteX59" fmla="*/ 3862253 w 4047850"/>
              <a:gd name="connsiteY59" fmla="*/ 619522 h 651348"/>
              <a:gd name="connsiteX60" fmla="*/ 3849702 w 4047850"/>
              <a:gd name="connsiteY60" fmla="*/ 624849 h 651348"/>
              <a:gd name="connsiteX61" fmla="*/ 3843559 w 4047850"/>
              <a:gd name="connsiteY61" fmla="*/ 627649 h 651348"/>
              <a:gd name="connsiteX62" fmla="*/ 3841026 w 4047850"/>
              <a:gd name="connsiteY62" fmla="*/ 628532 h 651348"/>
              <a:gd name="connsiteX63" fmla="*/ 3836622 w 4047850"/>
              <a:gd name="connsiteY63" fmla="*/ 630401 h 651348"/>
              <a:gd name="connsiteX64" fmla="*/ 3822109 w 4047850"/>
              <a:gd name="connsiteY64" fmla="*/ 635127 h 651348"/>
              <a:gd name="connsiteX65" fmla="*/ 3815324 w 4047850"/>
              <a:gd name="connsiteY65" fmla="*/ 637492 h 651348"/>
              <a:gd name="connsiteX66" fmla="*/ 3813334 w 4047850"/>
              <a:gd name="connsiteY66" fmla="*/ 637984 h 651348"/>
              <a:gd name="connsiteX67" fmla="*/ 3809924 w 4047850"/>
              <a:gd name="connsiteY67" fmla="*/ 639095 h 651348"/>
              <a:gd name="connsiteX68" fmla="*/ 3793067 w 4047850"/>
              <a:gd name="connsiteY68" fmla="*/ 642994 h 651348"/>
              <a:gd name="connsiteX69" fmla="*/ 3785975 w 4047850"/>
              <a:gd name="connsiteY69" fmla="*/ 644747 h 651348"/>
              <a:gd name="connsiteX70" fmla="*/ 3784601 w 4047850"/>
              <a:gd name="connsiteY70" fmla="*/ 644952 h 651348"/>
              <a:gd name="connsiteX71" fmla="*/ 3782269 w 4047850"/>
              <a:gd name="connsiteY71" fmla="*/ 645492 h 651348"/>
              <a:gd name="connsiteX72" fmla="*/ 3761990 w 4047850"/>
              <a:gd name="connsiteY72" fmla="*/ 648331 h 651348"/>
              <a:gd name="connsiteX73" fmla="*/ 3755647 w 4047850"/>
              <a:gd name="connsiteY73" fmla="*/ 649279 h 651348"/>
              <a:gd name="connsiteX74" fmla="*/ 3754979 w 4047850"/>
              <a:gd name="connsiteY74" fmla="*/ 649313 h 651348"/>
              <a:gd name="connsiteX75" fmla="*/ 3753769 w 4047850"/>
              <a:gd name="connsiteY75" fmla="*/ 649482 h 651348"/>
              <a:gd name="connsiteX76" fmla="*/ 3739704 w 4047850"/>
              <a:gd name="connsiteY76" fmla="*/ 650148 h 651348"/>
              <a:gd name="connsiteX77" fmla="*/ 3739704 w 4047850"/>
              <a:gd name="connsiteY77" fmla="*/ 650959 h 651348"/>
              <a:gd name="connsiteX78" fmla="*/ 3726737 w 4047850"/>
              <a:gd name="connsiteY78" fmla="*/ 650959 h 651348"/>
              <a:gd name="connsiteX79" fmla="*/ 3722563 w 4047850"/>
              <a:gd name="connsiteY79" fmla="*/ 650959 h 651348"/>
              <a:gd name="connsiteX80" fmla="*/ 3722465 w 4047850"/>
              <a:gd name="connsiteY80" fmla="*/ 650959 h 651348"/>
              <a:gd name="connsiteX81" fmla="*/ 3722465 w 4047850"/>
              <a:gd name="connsiteY81" fmla="*/ 651348 h 651348"/>
              <a:gd name="connsiteX82" fmla="*/ 3394765 w 4047850"/>
              <a:gd name="connsiteY82" fmla="*/ 651348 h 651348"/>
              <a:gd name="connsiteX83" fmla="*/ 3042220 w 4047850"/>
              <a:gd name="connsiteY83" fmla="*/ 651348 h 651348"/>
              <a:gd name="connsiteX84" fmla="*/ 3024981 w 4047850"/>
              <a:gd name="connsiteY84" fmla="*/ 651348 h 651348"/>
              <a:gd name="connsiteX85" fmla="*/ 1005630 w 4047850"/>
              <a:gd name="connsiteY85" fmla="*/ 651348 h 651348"/>
              <a:gd name="connsiteX86" fmla="*/ 593248 w 4047850"/>
              <a:gd name="connsiteY86" fmla="*/ 651348 h 651348"/>
              <a:gd name="connsiteX87" fmla="*/ 325384 w 4047850"/>
              <a:gd name="connsiteY87" fmla="*/ 651348 h 651348"/>
              <a:gd name="connsiteX88" fmla="*/ 308146 w 4047850"/>
              <a:gd name="connsiteY88" fmla="*/ 651348 h 651348"/>
              <a:gd name="connsiteX89" fmla="*/ 308146 w 4047850"/>
              <a:gd name="connsiteY89" fmla="*/ 650963 h 651348"/>
              <a:gd name="connsiteX90" fmla="*/ 0 w 4047850"/>
              <a:gd name="connsiteY90" fmla="*/ 650963 h 651348"/>
              <a:gd name="connsiteX91" fmla="*/ 0 w 4047850"/>
              <a:gd name="connsiteY91" fmla="*/ 325871 h 651348"/>
              <a:gd name="connsiteX92" fmla="*/ 0 w 4047850"/>
              <a:gd name="connsiteY92" fmla="*/ 325679 h 651348"/>
              <a:gd name="connsiteX93" fmla="*/ 0 w 4047850"/>
              <a:gd name="connsiteY93" fmla="*/ 325676 h 651348"/>
              <a:gd name="connsiteX94" fmla="*/ 0 w 4047850"/>
              <a:gd name="connsiteY94" fmla="*/ 325673 h 651348"/>
              <a:gd name="connsiteX95" fmla="*/ 0 w 4047850"/>
              <a:gd name="connsiteY95" fmla="*/ 310394 h 651348"/>
              <a:gd name="connsiteX96" fmla="*/ 733 w 4047850"/>
              <a:gd name="connsiteY96" fmla="*/ 310394 h 651348"/>
              <a:gd name="connsiteX97" fmla="*/ 1478 w 4047850"/>
              <a:gd name="connsiteY97" fmla="*/ 294646 h 651348"/>
              <a:gd name="connsiteX98" fmla="*/ 1615 w 4047850"/>
              <a:gd name="connsiteY98" fmla="*/ 293690 h 651348"/>
              <a:gd name="connsiteX99" fmla="*/ 1679 w 4047850"/>
              <a:gd name="connsiteY99" fmla="*/ 292417 h 651348"/>
              <a:gd name="connsiteX100" fmla="*/ 12408 w 4047850"/>
              <a:gd name="connsiteY100" fmla="*/ 236384 h 651348"/>
              <a:gd name="connsiteX101" fmla="*/ 12847 w 4047850"/>
              <a:gd name="connsiteY101" fmla="*/ 235065 h 651348"/>
              <a:gd name="connsiteX102" fmla="*/ 12901 w 4047850"/>
              <a:gd name="connsiteY102" fmla="*/ 234838 h 651348"/>
              <a:gd name="connsiteX103" fmla="*/ 13674 w 4047850"/>
              <a:gd name="connsiteY103" fmla="*/ 232576 h 651348"/>
              <a:gd name="connsiteX104" fmla="*/ 21261 w 4047850"/>
              <a:gd name="connsiteY104" fmla="*/ 209757 h 651348"/>
              <a:gd name="connsiteX105" fmla="*/ 22272 w 4047850"/>
              <a:gd name="connsiteY105" fmla="*/ 207415 h 651348"/>
              <a:gd name="connsiteX106" fmla="*/ 22576 w 4047850"/>
              <a:gd name="connsiteY106" fmla="*/ 206525 h 651348"/>
              <a:gd name="connsiteX107" fmla="*/ 24734 w 4047850"/>
              <a:gd name="connsiteY107" fmla="*/ 201713 h 651348"/>
              <a:gd name="connsiteX108" fmla="*/ 32291 w 4047850"/>
              <a:gd name="connsiteY108" fmla="*/ 184206 h 651348"/>
              <a:gd name="connsiteX109" fmla="*/ 34047 w 4047850"/>
              <a:gd name="connsiteY109" fmla="*/ 180939 h 651348"/>
              <a:gd name="connsiteX110" fmla="*/ 34714 w 4047850"/>
              <a:gd name="connsiteY110" fmla="*/ 179452 h 651348"/>
              <a:gd name="connsiteX111" fmla="*/ 37653 w 4047850"/>
              <a:gd name="connsiteY111" fmla="*/ 174231 h 651348"/>
              <a:gd name="connsiteX112" fmla="*/ 45388 w 4047850"/>
              <a:gd name="connsiteY112" fmla="*/ 159842 h 651348"/>
              <a:gd name="connsiteX113" fmla="*/ 48048 w 4047850"/>
              <a:gd name="connsiteY113" fmla="*/ 155764 h 651348"/>
              <a:gd name="connsiteX114" fmla="*/ 49179 w 4047850"/>
              <a:gd name="connsiteY114" fmla="*/ 153755 h 651348"/>
              <a:gd name="connsiteX115" fmla="*/ 52604 w 4047850"/>
              <a:gd name="connsiteY115" fmla="*/ 148783 h 651348"/>
              <a:gd name="connsiteX116" fmla="*/ 60439 w 4047850"/>
              <a:gd name="connsiteY116" fmla="*/ 136774 h 651348"/>
              <a:gd name="connsiteX117" fmla="*/ 64151 w 4047850"/>
              <a:gd name="connsiteY117" fmla="*/ 132016 h 651348"/>
              <a:gd name="connsiteX118" fmla="*/ 65838 w 4047850"/>
              <a:gd name="connsiteY118" fmla="*/ 129567 h 651348"/>
              <a:gd name="connsiteX119" fmla="*/ 69540 w 4047850"/>
              <a:gd name="connsiteY119" fmla="*/ 125108 h 651348"/>
              <a:gd name="connsiteX120" fmla="*/ 77336 w 4047850"/>
              <a:gd name="connsiteY120" fmla="*/ 115115 h 651348"/>
              <a:gd name="connsiteX121" fmla="*/ 82232 w 4047850"/>
              <a:gd name="connsiteY121" fmla="*/ 109821 h 651348"/>
              <a:gd name="connsiteX122" fmla="*/ 84554 w 4047850"/>
              <a:gd name="connsiteY122" fmla="*/ 107024 h 651348"/>
              <a:gd name="connsiteX123" fmla="*/ 88368 w 4047850"/>
              <a:gd name="connsiteY123" fmla="*/ 103188 h 651348"/>
              <a:gd name="connsiteX124" fmla="*/ 95965 w 4047850"/>
              <a:gd name="connsiteY124" fmla="*/ 94974 h 651348"/>
              <a:gd name="connsiteX125" fmla="*/ 102168 w 4047850"/>
              <a:gd name="connsiteY125" fmla="*/ 89305 h 651348"/>
              <a:gd name="connsiteX126" fmla="*/ 105194 w 4047850"/>
              <a:gd name="connsiteY126" fmla="*/ 86261 h 651348"/>
              <a:gd name="connsiteX127" fmla="*/ 108977 w 4047850"/>
              <a:gd name="connsiteY127" fmla="*/ 83081 h 651348"/>
              <a:gd name="connsiteX128" fmla="*/ 116217 w 4047850"/>
              <a:gd name="connsiteY128" fmla="*/ 76465 h 651348"/>
              <a:gd name="connsiteX129" fmla="*/ 123838 w 4047850"/>
              <a:gd name="connsiteY129" fmla="*/ 70592 h 651348"/>
              <a:gd name="connsiteX130" fmla="*/ 127623 w 4047850"/>
              <a:gd name="connsiteY130" fmla="*/ 67412 h 651348"/>
              <a:gd name="connsiteX131" fmla="*/ 131250 w 4047850"/>
              <a:gd name="connsiteY131" fmla="*/ 64881 h 651348"/>
              <a:gd name="connsiteX132" fmla="*/ 137980 w 4047850"/>
              <a:gd name="connsiteY132" fmla="*/ 59696 h 651348"/>
              <a:gd name="connsiteX133" fmla="*/ 147127 w 4047850"/>
              <a:gd name="connsiteY133" fmla="*/ 53805 h 651348"/>
              <a:gd name="connsiteX134" fmla="*/ 151705 w 4047850"/>
              <a:gd name="connsiteY134" fmla="*/ 50612 h 651348"/>
              <a:gd name="connsiteX135" fmla="*/ 155065 w 4047850"/>
              <a:gd name="connsiteY135" fmla="*/ 48694 h 651348"/>
              <a:gd name="connsiteX136" fmla="*/ 161144 w 4047850"/>
              <a:gd name="connsiteY136" fmla="*/ 44779 h 651348"/>
              <a:gd name="connsiteX137" fmla="*/ 171927 w 4047850"/>
              <a:gd name="connsiteY137" fmla="*/ 39067 h 651348"/>
              <a:gd name="connsiteX138" fmla="*/ 177306 w 4047850"/>
              <a:gd name="connsiteY138" fmla="*/ 35997 h 651348"/>
              <a:gd name="connsiteX139" fmla="*/ 180298 w 4047850"/>
              <a:gd name="connsiteY139" fmla="*/ 34633 h 651348"/>
              <a:gd name="connsiteX140" fmla="*/ 185596 w 4047850"/>
              <a:gd name="connsiteY140" fmla="*/ 31826 h 651348"/>
              <a:gd name="connsiteX141" fmla="*/ 198148 w 4047850"/>
              <a:gd name="connsiteY141" fmla="*/ 26499 h 651348"/>
              <a:gd name="connsiteX142" fmla="*/ 204291 w 4047850"/>
              <a:gd name="connsiteY142" fmla="*/ 23700 h 651348"/>
              <a:gd name="connsiteX143" fmla="*/ 206823 w 4047850"/>
              <a:gd name="connsiteY143" fmla="*/ 22817 h 651348"/>
              <a:gd name="connsiteX144" fmla="*/ 211228 w 4047850"/>
              <a:gd name="connsiteY144" fmla="*/ 20947 h 651348"/>
              <a:gd name="connsiteX145" fmla="*/ 225741 w 4047850"/>
              <a:gd name="connsiteY145" fmla="*/ 16221 h 651348"/>
              <a:gd name="connsiteX146" fmla="*/ 232526 w 4047850"/>
              <a:gd name="connsiteY146" fmla="*/ 13856 h 651348"/>
              <a:gd name="connsiteX147" fmla="*/ 234516 w 4047850"/>
              <a:gd name="connsiteY147" fmla="*/ 13364 h 651348"/>
              <a:gd name="connsiteX148" fmla="*/ 237926 w 4047850"/>
              <a:gd name="connsiteY148" fmla="*/ 12254 h 651348"/>
              <a:gd name="connsiteX149" fmla="*/ 254783 w 4047850"/>
              <a:gd name="connsiteY149" fmla="*/ 8354 h 651348"/>
              <a:gd name="connsiteX150" fmla="*/ 261875 w 4047850"/>
              <a:gd name="connsiteY150" fmla="*/ 6601 h 651348"/>
              <a:gd name="connsiteX151" fmla="*/ 263248 w 4047850"/>
              <a:gd name="connsiteY151" fmla="*/ 6396 h 651348"/>
              <a:gd name="connsiteX152" fmla="*/ 265581 w 4047850"/>
              <a:gd name="connsiteY152" fmla="*/ 5856 h 651348"/>
              <a:gd name="connsiteX153" fmla="*/ 285860 w 4047850"/>
              <a:gd name="connsiteY153" fmla="*/ 3017 h 651348"/>
              <a:gd name="connsiteX154" fmla="*/ 292203 w 4047850"/>
              <a:gd name="connsiteY154" fmla="*/ 2069 h 651348"/>
              <a:gd name="connsiteX155" fmla="*/ 292871 w 4047850"/>
              <a:gd name="connsiteY155" fmla="*/ 2036 h 651348"/>
              <a:gd name="connsiteX156" fmla="*/ 294080 w 4047850"/>
              <a:gd name="connsiteY156" fmla="*/ 1866 h 651348"/>
              <a:gd name="connsiteX157" fmla="*/ 308146 w 4047850"/>
              <a:gd name="connsiteY157" fmla="*/ 1201 h 651348"/>
              <a:gd name="connsiteX158" fmla="*/ 308146 w 4047850"/>
              <a:gd name="connsiteY158" fmla="*/ 389 h 651348"/>
              <a:gd name="connsiteX159" fmla="*/ 321113 w 4047850"/>
              <a:gd name="connsiteY159" fmla="*/ 389 h 651348"/>
              <a:gd name="connsiteX160" fmla="*/ 325287 w 4047850"/>
              <a:gd name="connsiteY160" fmla="*/ 389 h 651348"/>
              <a:gd name="connsiteX161" fmla="*/ 325384 w 4047850"/>
              <a:gd name="connsiteY161" fmla="*/ 389 h 65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4047850" h="651348">
                <a:moveTo>
                  <a:pt x="325384" y="0"/>
                </a:moveTo>
                <a:lnTo>
                  <a:pt x="593248" y="0"/>
                </a:lnTo>
                <a:lnTo>
                  <a:pt x="1005630" y="0"/>
                </a:lnTo>
                <a:lnTo>
                  <a:pt x="1022869" y="0"/>
                </a:lnTo>
                <a:lnTo>
                  <a:pt x="3042220" y="0"/>
                </a:lnTo>
                <a:lnTo>
                  <a:pt x="3394765" y="0"/>
                </a:lnTo>
                <a:lnTo>
                  <a:pt x="3722465" y="0"/>
                </a:lnTo>
                <a:lnTo>
                  <a:pt x="3739704" y="0"/>
                </a:lnTo>
                <a:lnTo>
                  <a:pt x="3739704" y="385"/>
                </a:lnTo>
                <a:lnTo>
                  <a:pt x="4047850" y="385"/>
                </a:lnTo>
                <a:lnTo>
                  <a:pt x="4047850" y="325477"/>
                </a:lnTo>
                <a:lnTo>
                  <a:pt x="4047850" y="325669"/>
                </a:lnTo>
                <a:lnTo>
                  <a:pt x="4047850" y="325672"/>
                </a:lnTo>
                <a:lnTo>
                  <a:pt x="4047850" y="325675"/>
                </a:lnTo>
                <a:lnTo>
                  <a:pt x="4047850" y="340954"/>
                </a:lnTo>
                <a:lnTo>
                  <a:pt x="4047117" y="340954"/>
                </a:lnTo>
                <a:lnTo>
                  <a:pt x="4046371" y="356703"/>
                </a:lnTo>
                <a:lnTo>
                  <a:pt x="4046235" y="357658"/>
                </a:lnTo>
                <a:lnTo>
                  <a:pt x="4046171" y="358931"/>
                </a:lnTo>
                <a:cubicBezTo>
                  <a:pt x="4044218" y="378153"/>
                  <a:pt x="4040593" y="396880"/>
                  <a:pt x="4035441" y="414965"/>
                </a:cubicBezTo>
                <a:lnTo>
                  <a:pt x="4035003" y="416283"/>
                </a:lnTo>
                <a:lnTo>
                  <a:pt x="4034948" y="416510"/>
                </a:lnTo>
                <a:lnTo>
                  <a:pt x="4034176" y="418772"/>
                </a:lnTo>
                <a:lnTo>
                  <a:pt x="4026589" y="441591"/>
                </a:lnTo>
                <a:lnTo>
                  <a:pt x="4025578" y="443933"/>
                </a:lnTo>
                <a:lnTo>
                  <a:pt x="4025273" y="444823"/>
                </a:lnTo>
                <a:lnTo>
                  <a:pt x="4023116" y="449636"/>
                </a:lnTo>
                <a:lnTo>
                  <a:pt x="4015559" y="467142"/>
                </a:lnTo>
                <a:lnTo>
                  <a:pt x="4013802" y="470409"/>
                </a:lnTo>
                <a:lnTo>
                  <a:pt x="4013136" y="471896"/>
                </a:lnTo>
                <a:lnTo>
                  <a:pt x="4010197" y="477118"/>
                </a:lnTo>
                <a:lnTo>
                  <a:pt x="4002462" y="491507"/>
                </a:lnTo>
                <a:lnTo>
                  <a:pt x="3999801" y="495585"/>
                </a:lnTo>
                <a:lnTo>
                  <a:pt x="3998671" y="497594"/>
                </a:lnTo>
                <a:lnTo>
                  <a:pt x="3995246" y="502566"/>
                </a:lnTo>
                <a:lnTo>
                  <a:pt x="3987410" y="514574"/>
                </a:lnTo>
                <a:lnTo>
                  <a:pt x="3983699" y="519333"/>
                </a:lnTo>
                <a:lnTo>
                  <a:pt x="3982012" y="521781"/>
                </a:lnTo>
                <a:lnTo>
                  <a:pt x="3978310" y="526240"/>
                </a:lnTo>
                <a:lnTo>
                  <a:pt x="3970514" y="536234"/>
                </a:lnTo>
                <a:lnTo>
                  <a:pt x="3965618" y="541527"/>
                </a:lnTo>
                <a:lnTo>
                  <a:pt x="3963295" y="544324"/>
                </a:lnTo>
                <a:lnTo>
                  <a:pt x="3959482" y="548161"/>
                </a:lnTo>
                <a:lnTo>
                  <a:pt x="3951885" y="556374"/>
                </a:lnTo>
                <a:lnTo>
                  <a:pt x="3945682" y="562043"/>
                </a:lnTo>
                <a:lnTo>
                  <a:pt x="3942656" y="565087"/>
                </a:lnTo>
                <a:lnTo>
                  <a:pt x="3938872" y="568267"/>
                </a:lnTo>
                <a:lnTo>
                  <a:pt x="3931633" y="574884"/>
                </a:lnTo>
                <a:lnTo>
                  <a:pt x="3924011" y="580756"/>
                </a:lnTo>
                <a:lnTo>
                  <a:pt x="3920227" y="583936"/>
                </a:lnTo>
                <a:lnTo>
                  <a:pt x="3916599" y="586467"/>
                </a:lnTo>
                <a:lnTo>
                  <a:pt x="3909870" y="591652"/>
                </a:lnTo>
                <a:lnTo>
                  <a:pt x="3900723" y="597543"/>
                </a:lnTo>
                <a:lnTo>
                  <a:pt x="3896145" y="600736"/>
                </a:lnTo>
                <a:lnTo>
                  <a:pt x="3892785" y="602655"/>
                </a:lnTo>
                <a:lnTo>
                  <a:pt x="3886706" y="606569"/>
                </a:lnTo>
                <a:lnTo>
                  <a:pt x="3875923" y="612281"/>
                </a:lnTo>
                <a:lnTo>
                  <a:pt x="3870544" y="615352"/>
                </a:lnTo>
                <a:lnTo>
                  <a:pt x="3867552" y="616715"/>
                </a:lnTo>
                <a:lnTo>
                  <a:pt x="3862253" y="619522"/>
                </a:lnTo>
                <a:lnTo>
                  <a:pt x="3849702" y="624849"/>
                </a:lnTo>
                <a:lnTo>
                  <a:pt x="3843559" y="627649"/>
                </a:lnTo>
                <a:lnTo>
                  <a:pt x="3841026" y="628532"/>
                </a:lnTo>
                <a:lnTo>
                  <a:pt x="3836622" y="630401"/>
                </a:lnTo>
                <a:lnTo>
                  <a:pt x="3822109" y="635127"/>
                </a:lnTo>
                <a:lnTo>
                  <a:pt x="3815324" y="637492"/>
                </a:lnTo>
                <a:lnTo>
                  <a:pt x="3813334" y="637984"/>
                </a:lnTo>
                <a:lnTo>
                  <a:pt x="3809924" y="639095"/>
                </a:lnTo>
                <a:lnTo>
                  <a:pt x="3793067" y="642994"/>
                </a:lnTo>
                <a:lnTo>
                  <a:pt x="3785975" y="644747"/>
                </a:lnTo>
                <a:lnTo>
                  <a:pt x="3784601" y="644952"/>
                </a:lnTo>
                <a:lnTo>
                  <a:pt x="3782269" y="645492"/>
                </a:lnTo>
                <a:lnTo>
                  <a:pt x="3761990" y="648331"/>
                </a:lnTo>
                <a:lnTo>
                  <a:pt x="3755647" y="649279"/>
                </a:lnTo>
                <a:lnTo>
                  <a:pt x="3754979" y="649313"/>
                </a:lnTo>
                <a:lnTo>
                  <a:pt x="3753769" y="649482"/>
                </a:lnTo>
                <a:lnTo>
                  <a:pt x="3739704" y="650148"/>
                </a:lnTo>
                <a:lnTo>
                  <a:pt x="3739704" y="650959"/>
                </a:lnTo>
                <a:lnTo>
                  <a:pt x="3726737" y="650959"/>
                </a:lnTo>
                <a:lnTo>
                  <a:pt x="3722563" y="650959"/>
                </a:lnTo>
                <a:lnTo>
                  <a:pt x="3722465" y="650959"/>
                </a:lnTo>
                <a:lnTo>
                  <a:pt x="3722465" y="651348"/>
                </a:lnTo>
                <a:lnTo>
                  <a:pt x="3394765" y="651348"/>
                </a:lnTo>
                <a:lnTo>
                  <a:pt x="3042220" y="651348"/>
                </a:lnTo>
                <a:lnTo>
                  <a:pt x="3024981" y="651348"/>
                </a:lnTo>
                <a:lnTo>
                  <a:pt x="1005630" y="651348"/>
                </a:lnTo>
                <a:lnTo>
                  <a:pt x="593248" y="651348"/>
                </a:lnTo>
                <a:lnTo>
                  <a:pt x="325384" y="651348"/>
                </a:lnTo>
                <a:lnTo>
                  <a:pt x="308146" y="651348"/>
                </a:lnTo>
                <a:lnTo>
                  <a:pt x="308146" y="650963"/>
                </a:lnTo>
                <a:lnTo>
                  <a:pt x="0" y="650963"/>
                </a:lnTo>
                <a:lnTo>
                  <a:pt x="0" y="325871"/>
                </a:lnTo>
                <a:lnTo>
                  <a:pt x="0" y="325679"/>
                </a:lnTo>
                <a:lnTo>
                  <a:pt x="0" y="325676"/>
                </a:lnTo>
                <a:lnTo>
                  <a:pt x="0" y="325673"/>
                </a:lnTo>
                <a:lnTo>
                  <a:pt x="0" y="310394"/>
                </a:lnTo>
                <a:lnTo>
                  <a:pt x="733" y="310394"/>
                </a:lnTo>
                <a:lnTo>
                  <a:pt x="1478" y="294646"/>
                </a:lnTo>
                <a:lnTo>
                  <a:pt x="1615" y="293690"/>
                </a:lnTo>
                <a:lnTo>
                  <a:pt x="1679" y="292417"/>
                </a:lnTo>
                <a:cubicBezTo>
                  <a:pt x="3631" y="273195"/>
                  <a:pt x="7257" y="254468"/>
                  <a:pt x="12408" y="236384"/>
                </a:cubicBezTo>
                <a:lnTo>
                  <a:pt x="12847" y="235065"/>
                </a:lnTo>
                <a:lnTo>
                  <a:pt x="12901" y="234838"/>
                </a:lnTo>
                <a:lnTo>
                  <a:pt x="13674" y="232576"/>
                </a:lnTo>
                <a:lnTo>
                  <a:pt x="21261" y="209757"/>
                </a:lnTo>
                <a:lnTo>
                  <a:pt x="22272" y="207415"/>
                </a:lnTo>
                <a:lnTo>
                  <a:pt x="22576" y="206525"/>
                </a:lnTo>
                <a:lnTo>
                  <a:pt x="24734" y="201713"/>
                </a:lnTo>
                <a:lnTo>
                  <a:pt x="32291" y="184206"/>
                </a:lnTo>
                <a:lnTo>
                  <a:pt x="34047" y="180939"/>
                </a:lnTo>
                <a:lnTo>
                  <a:pt x="34714" y="179452"/>
                </a:lnTo>
                <a:lnTo>
                  <a:pt x="37653" y="174231"/>
                </a:lnTo>
                <a:lnTo>
                  <a:pt x="45388" y="159842"/>
                </a:lnTo>
                <a:lnTo>
                  <a:pt x="48048" y="155764"/>
                </a:lnTo>
                <a:lnTo>
                  <a:pt x="49179" y="153755"/>
                </a:lnTo>
                <a:lnTo>
                  <a:pt x="52604" y="148783"/>
                </a:lnTo>
                <a:lnTo>
                  <a:pt x="60439" y="136774"/>
                </a:lnTo>
                <a:lnTo>
                  <a:pt x="64151" y="132016"/>
                </a:lnTo>
                <a:lnTo>
                  <a:pt x="65838" y="129567"/>
                </a:lnTo>
                <a:lnTo>
                  <a:pt x="69540" y="125108"/>
                </a:lnTo>
                <a:lnTo>
                  <a:pt x="77336" y="115115"/>
                </a:lnTo>
                <a:lnTo>
                  <a:pt x="82232" y="109821"/>
                </a:lnTo>
                <a:lnTo>
                  <a:pt x="84554" y="107024"/>
                </a:lnTo>
                <a:lnTo>
                  <a:pt x="88368" y="103188"/>
                </a:lnTo>
                <a:lnTo>
                  <a:pt x="95965" y="94974"/>
                </a:lnTo>
                <a:lnTo>
                  <a:pt x="102168" y="89305"/>
                </a:lnTo>
                <a:lnTo>
                  <a:pt x="105194" y="86261"/>
                </a:lnTo>
                <a:lnTo>
                  <a:pt x="108977" y="83081"/>
                </a:lnTo>
                <a:lnTo>
                  <a:pt x="116217" y="76465"/>
                </a:lnTo>
                <a:lnTo>
                  <a:pt x="123838" y="70592"/>
                </a:lnTo>
                <a:lnTo>
                  <a:pt x="127623" y="67412"/>
                </a:lnTo>
                <a:lnTo>
                  <a:pt x="131250" y="64881"/>
                </a:lnTo>
                <a:lnTo>
                  <a:pt x="137980" y="59696"/>
                </a:lnTo>
                <a:lnTo>
                  <a:pt x="147127" y="53805"/>
                </a:lnTo>
                <a:lnTo>
                  <a:pt x="151705" y="50612"/>
                </a:lnTo>
                <a:lnTo>
                  <a:pt x="155065" y="48694"/>
                </a:lnTo>
                <a:lnTo>
                  <a:pt x="161144" y="44779"/>
                </a:lnTo>
                <a:lnTo>
                  <a:pt x="171927" y="39067"/>
                </a:lnTo>
                <a:lnTo>
                  <a:pt x="177306" y="35997"/>
                </a:lnTo>
                <a:lnTo>
                  <a:pt x="180298" y="34633"/>
                </a:lnTo>
                <a:lnTo>
                  <a:pt x="185596" y="31826"/>
                </a:lnTo>
                <a:lnTo>
                  <a:pt x="198148" y="26499"/>
                </a:lnTo>
                <a:lnTo>
                  <a:pt x="204291" y="23700"/>
                </a:lnTo>
                <a:lnTo>
                  <a:pt x="206823" y="22817"/>
                </a:lnTo>
                <a:lnTo>
                  <a:pt x="211228" y="20947"/>
                </a:lnTo>
                <a:lnTo>
                  <a:pt x="225741" y="16221"/>
                </a:lnTo>
                <a:lnTo>
                  <a:pt x="232526" y="13856"/>
                </a:lnTo>
                <a:lnTo>
                  <a:pt x="234516" y="13364"/>
                </a:lnTo>
                <a:lnTo>
                  <a:pt x="237926" y="12254"/>
                </a:lnTo>
                <a:lnTo>
                  <a:pt x="254783" y="8354"/>
                </a:lnTo>
                <a:lnTo>
                  <a:pt x="261875" y="6601"/>
                </a:lnTo>
                <a:lnTo>
                  <a:pt x="263248" y="6396"/>
                </a:lnTo>
                <a:lnTo>
                  <a:pt x="265581" y="5856"/>
                </a:lnTo>
                <a:lnTo>
                  <a:pt x="285860" y="3017"/>
                </a:lnTo>
                <a:lnTo>
                  <a:pt x="292203" y="2069"/>
                </a:lnTo>
                <a:lnTo>
                  <a:pt x="292871" y="2036"/>
                </a:lnTo>
                <a:lnTo>
                  <a:pt x="294080" y="1866"/>
                </a:lnTo>
                <a:lnTo>
                  <a:pt x="308146" y="1201"/>
                </a:lnTo>
                <a:lnTo>
                  <a:pt x="308146" y="389"/>
                </a:lnTo>
                <a:lnTo>
                  <a:pt x="321113" y="389"/>
                </a:lnTo>
                <a:lnTo>
                  <a:pt x="325287" y="389"/>
                </a:lnTo>
                <a:lnTo>
                  <a:pt x="325384" y="389"/>
                </a:lnTo>
                <a:close/>
              </a:path>
            </a:pathLst>
          </a:custGeom>
          <a:solidFill>
            <a:srgbClr val="FEB81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370" name="Title 1">
            <a:extLst>
              <a:ext uri="{FF2B5EF4-FFF2-40B4-BE49-F238E27FC236}">
                <a16:creationId xmlns:a16="http://schemas.microsoft.com/office/drawing/2014/main" id="{05B7A514-0371-8547-B95B-04231BA51DEC}"/>
              </a:ext>
            </a:extLst>
          </p:cNvPr>
          <p:cNvSpPr txBox="1">
            <a:spLocks/>
          </p:cNvSpPr>
          <p:nvPr/>
        </p:nvSpPr>
        <p:spPr>
          <a:xfrm>
            <a:off x="-250874" y="1706227"/>
            <a:ext cx="4395380" cy="443061"/>
          </a:xfrm>
          <a:prstGeom prst="rect">
            <a:avLst/>
          </a:prstGeom>
        </p:spPr>
        <p:txBody>
          <a:bodyP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309"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1200" cap="none" spc="0" normalizeH="0" baseline="0" noProof="0" dirty="0">
                <a:ln w="0"/>
                <a:solidFill>
                  <a:srgbClr val="1D3166"/>
                </a:solidFill>
                <a:effectLst/>
                <a:uLnTx/>
                <a:uFillTx/>
                <a:latin typeface="Montserrat" pitchFamily="2" charset="77"/>
                <a:ea typeface="Tahoma" pitchFamily="34" charset="0"/>
                <a:cs typeface="Tahoma" pitchFamily="34" charset="0"/>
                <a:sym typeface="Arial"/>
              </a:rPr>
              <a:t>PASAL 6-PASAL 10</a:t>
            </a:r>
          </a:p>
        </p:txBody>
      </p:sp>
      <p:sp>
        <p:nvSpPr>
          <p:cNvPr id="372" name="Google Shape;642;p21">
            <a:extLst>
              <a:ext uri="{FF2B5EF4-FFF2-40B4-BE49-F238E27FC236}">
                <a16:creationId xmlns:a16="http://schemas.microsoft.com/office/drawing/2014/main" id="{29C5C224-875B-F84C-86D0-BC29DB6F1DFA}"/>
              </a:ext>
            </a:extLst>
          </p:cNvPr>
          <p:cNvSpPr txBox="1">
            <a:spLocks/>
          </p:cNvSpPr>
          <p:nvPr/>
        </p:nvSpPr>
        <p:spPr>
          <a:xfrm>
            <a:off x="-93345" y="6101362"/>
            <a:ext cx="4197029" cy="1513275"/>
          </a:xfrm>
          <a:prstGeom prst="rect">
            <a:avLst/>
          </a:prstGeom>
          <a:noFill/>
          <a:ln>
            <a:noFill/>
          </a:ln>
        </p:spPr>
        <p:txBody>
          <a:bodyPr spcFirstLastPara="1" wrap="square" lIns="116594" tIns="116594" rIns="116594" bIns="116594"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434343"/>
              </a:buClr>
              <a:buSzPts val="1800"/>
              <a:buFont typeface="Arvo"/>
              <a:buChar char="●"/>
              <a:defRPr sz="1800" b="0" i="0" u="none" strike="noStrike" cap="none">
                <a:solidFill>
                  <a:srgbClr val="434343"/>
                </a:solidFill>
                <a:latin typeface="Arvo"/>
                <a:ea typeface="Arvo"/>
                <a:cs typeface="Arvo"/>
                <a:sym typeface="Arvo"/>
              </a:defRPr>
            </a:lvl1pPr>
            <a:lvl2pPr marL="914400" marR="0" lvl="1"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2pPr>
            <a:lvl3pPr marL="1371600" marR="0" lvl="2"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3pPr>
            <a:lvl4pPr marL="1828800" marR="0" lvl="3"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4pPr>
            <a:lvl5pPr marL="2286000" marR="0" lvl="4"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5pPr>
            <a:lvl6pPr marL="2743200" marR="0" lvl="5"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6pPr>
            <a:lvl7pPr marL="3200400" marR="0" lvl="6"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7pPr>
            <a:lvl8pPr marL="3657600" marR="0" lvl="7"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8pPr>
            <a:lvl9pPr marL="4114800" marR="0" lvl="8" indent="-317500" algn="l" rtl="0">
              <a:lnSpc>
                <a:spcPct val="115000"/>
              </a:lnSpc>
              <a:spcBef>
                <a:spcPts val="1600"/>
              </a:spcBef>
              <a:spcAft>
                <a:spcPts val="1600"/>
              </a:spcAft>
              <a:buClr>
                <a:srgbClr val="434343"/>
              </a:buClr>
              <a:buSzPts val="1400"/>
              <a:buFont typeface="Arvo"/>
              <a:buChar char="■"/>
              <a:defRPr sz="1400" b="0" i="0" u="none" strike="noStrike" cap="none">
                <a:solidFill>
                  <a:srgbClr val="434343"/>
                </a:solidFill>
                <a:latin typeface="Arvo"/>
                <a:ea typeface="Arvo"/>
                <a:cs typeface="Arvo"/>
                <a:sym typeface="Arvo"/>
              </a:defRPr>
            </a:lvl9pPr>
          </a:lstStyle>
          <a:p>
            <a:pPr marL="0" marR="0" lvl="0" indent="0" algn="ctr" defTabSz="1166200" rtl="0" eaLnBrk="1" fontAlgn="auto" latinLnBrk="0" hangingPunct="1">
              <a:lnSpc>
                <a:spcPct val="100000"/>
              </a:lnSpc>
              <a:spcBef>
                <a:spcPts val="0"/>
              </a:spcBef>
              <a:spcAft>
                <a:spcPts val="0"/>
              </a:spcAft>
              <a:buClr>
                <a:srgbClr val="434343"/>
              </a:buClr>
              <a:buSzPts val="1800"/>
              <a:buFont typeface="Arvo"/>
              <a:buNone/>
              <a:tabLst/>
              <a:defRPr/>
            </a:pPr>
            <a:r>
              <a:rPr kumimoji="0" lang="en-US" sz="1400" b="1" i="0" u="none" strike="noStrike" kern="0" cap="none" spc="0" normalizeH="0" baseline="0" noProof="0" dirty="0">
                <a:ln>
                  <a:noFill/>
                </a:ln>
                <a:solidFill>
                  <a:srgbClr val="C00000"/>
                </a:solidFill>
                <a:effectLst/>
                <a:uLnTx/>
                <a:uFillTx/>
                <a:latin typeface="Montserrat" pitchFamily="2" charset="77"/>
                <a:ea typeface="Century Gothic" charset="0"/>
                <a:cs typeface="Century Gothic" charset="0"/>
                <a:sym typeface="Arvo"/>
              </a:rPr>
              <a:t>*</a:t>
            </a:r>
            <a:r>
              <a:rPr kumimoji="0" lang="en-US" sz="1400" b="1" i="0" u="none" strike="noStrike" kern="0" cap="none" spc="0" normalizeH="0" baseline="0" noProof="0" dirty="0" err="1">
                <a:ln>
                  <a:noFill/>
                </a:ln>
                <a:solidFill>
                  <a:srgbClr val="C00000"/>
                </a:solidFill>
                <a:effectLst/>
                <a:uLnTx/>
                <a:uFillTx/>
                <a:latin typeface="Montserrat" pitchFamily="2" charset="77"/>
                <a:ea typeface="Century Gothic" charset="0"/>
                <a:cs typeface="Century Gothic" charset="0"/>
                <a:sym typeface="Arvo"/>
              </a:rPr>
              <a:t>Untuk</a:t>
            </a:r>
            <a:r>
              <a:rPr kumimoji="0" lang="en-US" sz="1400" b="1" i="0" u="none" strike="noStrike" kern="0" cap="none" spc="0" normalizeH="0" baseline="0" noProof="0" dirty="0">
                <a:ln>
                  <a:noFill/>
                </a:ln>
                <a:solidFill>
                  <a:srgbClr val="C00000"/>
                </a:solidFill>
                <a:effectLst/>
                <a:uLnTx/>
                <a:uFillTx/>
                <a:latin typeface="Montserrat" pitchFamily="2" charset="77"/>
                <a:ea typeface="Century Gothic" charset="0"/>
                <a:cs typeface="Century Gothic" charset="0"/>
                <a:sym typeface="Arvo"/>
              </a:rPr>
              <a:t> </a:t>
            </a:r>
            <a:r>
              <a:rPr kumimoji="0" lang="en-US" sz="1400" b="1" i="0" u="none" strike="noStrike" kern="0" cap="none" spc="0" normalizeH="0" baseline="0" noProof="0" dirty="0" err="1">
                <a:ln>
                  <a:noFill/>
                </a:ln>
                <a:solidFill>
                  <a:srgbClr val="C00000"/>
                </a:solidFill>
                <a:effectLst/>
                <a:uLnTx/>
                <a:uFillTx/>
                <a:latin typeface="Montserrat" pitchFamily="2" charset="77"/>
                <a:ea typeface="Century Gothic" charset="0"/>
                <a:cs typeface="Century Gothic" charset="0"/>
                <a:sym typeface="Arvo"/>
              </a:rPr>
              <a:t>Pemerintah</a:t>
            </a:r>
            <a:r>
              <a:rPr kumimoji="0" lang="en-US" sz="1400" b="1" i="0" u="none" strike="noStrike" kern="0" cap="none" spc="0" normalizeH="0" baseline="0" noProof="0" dirty="0">
                <a:ln>
                  <a:noFill/>
                </a:ln>
                <a:solidFill>
                  <a:srgbClr val="C00000"/>
                </a:solidFill>
                <a:effectLst/>
                <a:uLnTx/>
                <a:uFillTx/>
                <a:latin typeface="Montserrat" pitchFamily="2" charset="77"/>
                <a:ea typeface="Century Gothic" charset="0"/>
                <a:cs typeface="Century Gothic" charset="0"/>
                <a:sym typeface="Arvo"/>
              </a:rPr>
              <a:t> Daerah </a:t>
            </a:r>
            <a:r>
              <a:rPr kumimoji="0" lang="en-US" sz="1400" b="1" i="0" u="none" strike="noStrike" kern="0" cap="none" spc="0" normalizeH="0" baseline="0" noProof="0" dirty="0" err="1">
                <a:ln>
                  <a:noFill/>
                </a:ln>
                <a:solidFill>
                  <a:srgbClr val="C00000"/>
                </a:solidFill>
                <a:effectLst/>
                <a:uLnTx/>
                <a:uFillTx/>
                <a:latin typeface="Montserrat" pitchFamily="2" charset="77"/>
                <a:ea typeface="Century Gothic" charset="0"/>
                <a:cs typeface="Century Gothic" charset="0"/>
                <a:sym typeface="Arvo"/>
              </a:rPr>
              <a:t>Kab</a:t>
            </a:r>
            <a:r>
              <a:rPr kumimoji="0" lang="en-US" sz="1400" b="1" i="0" u="none" strike="noStrike" kern="0" cap="none" spc="0" normalizeH="0" baseline="0" noProof="0" dirty="0">
                <a:ln>
                  <a:noFill/>
                </a:ln>
                <a:solidFill>
                  <a:srgbClr val="C00000"/>
                </a:solidFill>
                <a:effectLst/>
                <a:uLnTx/>
                <a:uFillTx/>
                <a:latin typeface="Montserrat" pitchFamily="2" charset="77"/>
                <a:ea typeface="Century Gothic" charset="0"/>
                <a:cs typeface="Century Gothic" charset="0"/>
                <a:sym typeface="Arvo"/>
              </a:rPr>
              <a:t>/Kota</a:t>
            </a:r>
          </a:p>
          <a:p>
            <a:pPr marL="0" marR="0" lvl="0" indent="0" algn="ctr" defTabSz="1166200" rtl="0" eaLnBrk="1" fontAlgn="auto" latinLnBrk="0" hangingPunct="1">
              <a:lnSpc>
                <a:spcPct val="100000"/>
              </a:lnSpc>
              <a:spcBef>
                <a:spcPts val="0"/>
              </a:spcBef>
              <a:spcAft>
                <a:spcPts val="0"/>
              </a:spcAft>
              <a:buClr>
                <a:srgbClr val="434343"/>
              </a:buClr>
              <a:buSzPts val="1800"/>
              <a:buFont typeface="Arvo"/>
              <a:buNone/>
              <a:tabLst/>
              <a:defRPr/>
            </a:pPr>
            <a:r>
              <a:rPr kumimoji="0" lang="en-US" sz="1400" b="1" i="0" u="none" strike="noStrike" kern="0" cap="none" spc="0" normalizeH="0" baseline="0" noProof="0" dirty="0">
                <a:ln>
                  <a:noFill/>
                </a:ln>
                <a:solidFill>
                  <a:srgbClr val="C00000"/>
                </a:solidFill>
                <a:effectLst/>
                <a:uLnTx/>
                <a:uFillTx/>
                <a:latin typeface="Montserrat" pitchFamily="2" charset="77"/>
                <a:ea typeface="Century Gothic" charset="0"/>
                <a:cs typeface="Century Gothic" charset="0"/>
                <a:sym typeface="Arvo"/>
              </a:rPr>
              <a:t>(</a:t>
            </a:r>
            <a:r>
              <a:rPr kumimoji="0" lang="en-US" sz="1400" b="1" i="0" u="none" strike="noStrike" kern="0" cap="none" spc="0" normalizeH="0" baseline="0" noProof="0" dirty="0" err="1">
                <a:ln>
                  <a:noFill/>
                </a:ln>
                <a:solidFill>
                  <a:srgbClr val="C00000"/>
                </a:solidFill>
                <a:effectLst/>
                <a:uLnTx/>
                <a:uFillTx/>
                <a:latin typeface="Montserrat" pitchFamily="2" charset="77"/>
                <a:ea typeface="Century Gothic" charset="0"/>
                <a:cs typeface="Century Gothic" charset="0"/>
                <a:sym typeface="Arvo"/>
              </a:rPr>
              <a:t>Bupati</a:t>
            </a:r>
            <a:r>
              <a:rPr kumimoji="0" lang="en-US" sz="1400" b="1" i="0" u="none" strike="noStrike" kern="0" cap="none" spc="0" normalizeH="0" baseline="0" noProof="0" dirty="0">
                <a:ln>
                  <a:noFill/>
                </a:ln>
                <a:solidFill>
                  <a:srgbClr val="C00000"/>
                </a:solidFill>
                <a:effectLst/>
                <a:uLnTx/>
                <a:uFillTx/>
                <a:latin typeface="Montserrat" pitchFamily="2" charset="77"/>
                <a:ea typeface="Century Gothic" charset="0"/>
                <a:cs typeface="Century Gothic" charset="0"/>
                <a:sym typeface="Arvo"/>
              </a:rPr>
              <a:t>/</a:t>
            </a:r>
            <a:r>
              <a:rPr kumimoji="0" lang="en-US" sz="1400" b="1" i="0" u="none" strike="noStrike" kern="0" cap="none" spc="0" normalizeH="0" baseline="0" noProof="0" dirty="0" err="1">
                <a:ln>
                  <a:noFill/>
                </a:ln>
                <a:solidFill>
                  <a:srgbClr val="C00000"/>
                </a:solidFill>
                <a:effectLst/>
                <a:uLnTx/>
                <a:uFillTx/>
                <a:latin typeface="Montserrat" pitchFamily="2" charset="77"/>
                <a:ea typeface="Century Gothic" charset="0"/>
                <a:cs typeface="Century Gothic" charset="0"/>
                <a:sym typeface="Arvo"/>
              </a:rPr>
              <a:t>Walikota</a:t>
            </a:r>
            <a:r>
              <a:rPr kumimoji="0" lang="en-US" sz="1400" b="1" i="0" u="none" strike="noStrike" kern="0" cap="none" spc="0" normalizeH="0" baseline="0" noProof="0" dirty="0">
                <a:ln>
                  <a:noFill/>
                </a:ln>
                <a:solidFill>
                  <a:srgbClr val="C00000"/>
                </a:solidFill>
                <a:effectLst/>
                <a:uLnTx/>
                <a:uFillTx/>
                <a:latin typeface="Montserrat" pitchFamily="2" charset="77"/>
                <a:ea typeface="Century Gothic" charset="0"/>
                <a:cs typeface="Century Gothic" charset="0"/>
                <a:sym typeface="Arvo"/>
              </a:rPr>
              <a:t>)</a:t>
            </a:r>
          </a:p>
          <a:p>
            <a:pPr marL="0" marR="0" lvl="0" indent="0" algn="l" defTabSz="1166200" rtl="0" eaLnBrk="1" fontAlgn="auto" latinLnBrk="0" hangingPunct="1">
              <a:lnSpc>
                <a:spcPct val="100000"/>
              </a:lnSpc>
              <a:spcBef>
                <a:spcPts val="0"/>
              </a:spcBef>
              <a:spcAft>
                <a:spcPts val="383"/>
              </a:spcAft>
              <a:buClr>
                <a:srgbClr val="434343"/>
              </a:buClr>
              <a:buSzPct val="100000"/>
              <a:buFont typeface="Arvo"/>
              <a:buNone/>
              <a:tabLst/>
              <a:defRPr/>
            </a:pPr>
            <a:endParaRPr kumimoji="0" lang="en-US" sz="1400" b="1" i="0" u="none" strike="noStrike" kern="0" cap="none" spc="0" normalizeH="0" baseline="0" noProof="0" dirty="0">
              <a:ln>
                <a:noFill/>
              </a:ln>
              <a:solidFill>
                <a:srgbClr val="C00000"/>
              </a:solidFill>
              <a:effectLst/>
              <a:uLnTx/>
              <a:uFillTx/>
              <a:latin typeface="Montserrat" pitchFamily="2" charset="77"/>
              <a:ea typeface="Century Gothic" charset="0"/>
              <a:cs typeface="Century Gothic" charset="0"/>
              <a:sym typeface="Arvo"/>
            </a:endParaRPr>
          </a:p>
        </p:txBody>
      </p:sp>
    </p:spTree>
    <p:extLst>
      <p:ext uri="{BB962C8B-B14F-4D97-AF65-F5344CB8AC3E}">
        <p14:creationId xmlns:p14="http://schemas.microsoft.com/office/powerpoint/2010/main" val="34750750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alphaModFix amt="16721"/>
            <a:lum/>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0" name="Picture 39">
            <a:extLst>
              <a:ext uri="{FF2B5EF4-FFF2-40B4-BE49-F238E27FC236}">
                <a16:creationId xmlns:a16="http://schemas.microsoft.com/office/drawing/2014/main" id="{02821B42-FF45-C944-86AA-C36B73158E2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447044" y="174323"/>
            <a:ext cx="1589283" cy="527268"/>
          </a:xfrm>
          <a:prstGeom prst="rect">
            <a:avLst/>
          </a:prstGeom>
        </p:spPr>
      </p:pic>
      <p:sp>
        <p:nvSpPr>
          <p:cNvPr id="367" name="Google Shape;642;p21">
            <a:extLst>
              <a:ext uri="{FF2B5EF4-FFF2-40B4-BE49-F238E27FC236}">
                <a16:creationId xmlns:a16="http://schemas.microsoft.com/office/drawing/2014/main" id="{B53510E3-F1FC-754A-BA38-73668CB2CAC4}"/>
              </a:ext>
            </a:extLst>
          </p:cNvPr>
          <p:cNvSpPr txBox="1">
            <a:spLocks/>
          </p:cNvSpPr>
          <p:nvPr/>
        </p:nvSpPr>
        <p:spPr>
          <a:xfrm>
            <a:off x="1684591" y="137345"/>
            <a:ext cx="9117139" cy="519555"/>
          </a:xfrm>
          <a:prstGeom prst="rect">
            <a:avLst/>
          </a:prstGeom>
          <a:noFill/>
          <a:ln>
            <a:noFill/>
          </a:ln>
        </p:spPr>
        <p:txBody>
          <a:bodyPr spcFirstLastPara="1" wrap="square" lIns="116594" tIns="116594" rIns="116594" bIns="116594"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434343"/>
              </a:buClr>
              <a:buSzPts val="1800"/>
              <a:buFont typeface="Arvo"/>
              <a:buChar char="●"/>
              <a:defRPr sz="1800" b="0" i="0" u="none" strike="noStrike" cap="none">
                <a:solidFill>
                  <a:srgbClr val="434343"/>
                </a:solidFill>
                <a:latin typeface="Arvo"/>
                <a:ea typeface="Arvo"/>
                <a:cs typeface="Arvo"/>
                <a:sym typeface="Arvo"/>
              </a:defRPr>
            </a:lvl1pPr>
            <a:lvl2pPr marL="914400" marR="0" lvl="1"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2pPr>
            <a:lvl3pPr marL="1371600" marR="0" lvl="2"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3pPr>
            <a:lvl4pPr marL="1828800" marR="0" lvl="3"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4pPr>
            <a:lvl5pPr marL="2286000" marR="0" lvl="4"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5pPr>
            <a:lvl6pPr marL="2743200" marR="0" lvl="5"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6pPr>
            <a:lvl7pPr marL="3200400" marR="0" lvl="6"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7pPr>
            <a:lvl8pPr marL="3657600" marR="0" lvl="7" indent="-317500" algn="l" rtl="0">
              <a:lnSpc>
                <a:spcPct val="115000"/>
              </a:lnSpc>
              <a:spcBef>
                <a:spcPts val="1600"/>
              </a:spcBef>
              <a:spcAft>
                <a:spcPts val="0"/>
              </a:spcAft>
              <a:buClr>
                <a:srgbClr val="434343"/>
              </a:buClr>
              <a:buSzPts val="1400"/>
              <a:buFont typeface="Arvo"/>
              <a:buChar char="○"/>
              <a:defRPr sz="1400" b="0" i="0" u="none" strike="noStrike" cap="none">
                <a:solidFill>
                  <a:srgbClr val="434343"/>
                </a:solidFill>
                <a:latin typeface="Arvo"/>
                <a:ea typeface="Arvo"/>
                <a:cs typeface="Arvo"/>
                <a:sym typeface="Arvo"/>
              </a:defRPr>
            </a:lvl8pPr>
            <a:lvl9pPr marL="4114800" marR="0" lvl="8" indent="-317500" algn="l" rtl="0">
              <a:lnSpc>
                <a:spcPct val="115000"/>
              </a:lnSpc>
              <a:spcBef>
                <a:spcPts val="1600"/>
              </a:spcBef>
              <a:spcAft>
                <a:spcPts val="1600"/>
              </a:spcAft>
              <a:buClr>
                <a:srgbClr val="434343"/>
              </a:buClr>
              <a:buSzPts val="1400"/>
              <a:buFont typeface="Arvo"/>
              <a:buChar char="■"/>
              <a:defRPr sz="1400" b="0" i="0" u="none" strike="noStrike" cap="none">
                <a:solidFill>
                  <a:srgbClr val="434343"/>
                </a:solidFill>
                <a:latin typeface="Arvo"/>
                <a:ea typeface="Arvo"/>
                <a:cs typeface="Arvo"/>
                <a:sym typeface="Arvo"/>
              </a:defRPr>
            </a:lvl9pPr>
          </a:lstStyle>
          <a:p>
            <a:pPr marL="0" marR="0" lvl="0" indent="0" algn="ctr" defTabSz="1166200" rtl="0" eaLnBrk="1" fontAlgn="auto" latinLnBrk="0" hangingPunct="1">
              <a:lnSpc>
                <a:spcPct val="100000"/>
              </a:lnSpc>
              <a:spcBef>
                <a:spcPts val="0"/>
              </a:spcBef>
              <a:spcAft>
                <a:spcPts val="0"/>
              </a:spcAft>
              <a:buClr>
                <a:srgbClr val="434343"/>
              </a:buClr>
              <a:buSzPts val="1800"/>
              <a:buFont typeface="Arvo"/>
              <a:buNone/>
              <a:tabLst/>
              <a:defRPr/>
            </a:pPr>
            <a:r>
              <a:rPr kumimoji="0" lang="en-US" sz="2800" b="1" i="0" u="none" strike="noStrike" kern="0" cap="none" spc="0" normalizeH="0" baseline="0" noProof="0" dirty="0">
                <a:ln>
                  <a:noFill/>
                </a:ln>
                <a:solidFill>
                  <a:srgbClr val="1D3166"/>
                </a:solidFill>
                <a:effectLst/>
                <a:uLnTx/>
                <a:uFillTx/>
                <a:latin typeface="Montserrat" pitchFamily="2" charset="77"/>
                <a:ea typeface="Century Gothic" charset="0"/>
                <a:cs typeface="Century Gothic" charset="0"/>
                <a:sym typeface="Arvo"/>
              </a:rPr>
              <a:t>KEWENANGAN PENGAWASAN  </a:t>
            </a:r>
          </a:p>
        </p:txBody>
      </p:sp>
      <p:sp>
        <p:nvSpPr>
          <p:cNvPr id="358" name="Freeform: Shape 46">
            <a:extLst>
              <a:ext uri="{FF2B5EF4-FFF2-40B4-BE49-F238E27FC236}">
                <a16:creationId xmlns:a16="http://schemas.microsoft.com/office/drawing/2014/main" id="{A72DCC20-54A7-3C4D-B0A5-F71AF1788066}"/>
              </a:ext>
            </a:extLst>
          </p:cNvPr>
          <p:cNvSpPr/>
          <p:nvPr/>
        </p:nvSpPr>
        <p:spPr>
          <a:xfrm rot="10800000" flipH="1">
            <a:off x="309354" y="1099101"/>
            <a:ext cx="5746861" cy="4702069"/>
          </a:xfrm>
          <a:custGeom>
            <a:avLst/>
            <a:gdLst>
              <a:gd name="connsiteX0" fmla="*/ 0 w 5431992"/>
              <a:gd name="connsiteY0" fmla="*/ 3727301 h 3727301"/>
              <a:gd name="connsiteX1" fmla="*/ 844165 w 5431992"/>
              <a:gd name="connsiteY1" fmla="*/ 3727301 h 3727301"/>
              <a:gd name="connsiteX2" fmla="*/ 891390 w 5431992"/>
              <a:gd name="connsiteY2" fmla="*/ 3727301 h 3727301"/>
              <a:gd name="connsiteX3" fmla="*/ 2371823 w 5431992"/>
              <a:gd name="connsiteY3" fmla="*/ 3727301 h 3727301"/>
              <a:gd name="connsiteX4" fmla="*/ 2754923 w 5431992"/>
              <a:gd name="connsiteY4" fmla="*/ 3727301 h 3727301"/>
              <a:gd name="connsiteX5" fmla="*/ 4157501 w 5431992"/>
              <a:gd name="connsiteY5" fmla="*/ 3727301 h 3727301"/>
              <a:gd name="connsiteX6" fmla="*/ 4540601 w 5431992"/>
              <a:gd name="connsiteY6" fmla="*/ 3727301 h 3727301"/>
              <a:gd name="connsiteX7" fmla="*/ 4540601 w 5431992"/>
              <a:gd name="connsiteY7" fmla="*/ 3726212 h 3727301"/>
              <a:gd name="connsiteX8" fmla="*/ 4540602 w 5431992"/>
              <a:gd name="connsiteY8" fmla="*/ 3726212 h 3727301"/>
              <a:gd name="connsiteX9" fmla="*/ 4540868 w 5431992"/>
              <a:gd name="connsiteY9" fmla="*/ 3726212 h 3727301"/>
              <a:gd name="connsiteX10" fmla="*/ 4552303 w 5431992"/>
              <a:gd name="connsiteY10" fmla="*/ 3726212 h 3727301"/>
              <a:gd name="connsiteX11" fmla="*/ 4587827 w 5431992"/>
              <a:gd name="connsiteY11" fmla="*/ 3726212 h 3727301"/>
              <a:gd name="connsiteX12" fmla="*/ 4587827 w 5431992"/>
              <a:gd name="connsiteY12" fmla="*/ 3723939 h 3727301"/>
              <a:gd name="connsiteX13" fmla="*/ 4626359 w 5431992"/>
              <a:gd name="connsiteY13" fmla="*/ 3722075 h 3727301"/>
              <a:gd name="connsiteX14" fmla="*/ 4629673 w 5431992"/>
              <a:gd name="connsiteY14" fmla="*/ 3721600 h 3727301"/>
              <a:gd name="connsiteX15" fmla="*/ 4631501 w 5431992"/>
              <a:gd name="connsiteY15" fmla="*/ 3721506 h 3727301"/>
              <a:gd name="connsiteX16" fmla="*/ 4648879 w 5431992"/>
              <a:gd name="connsiteY16" fmla="*/ 3718852 h 3727301"/>
              <a:gd name="connsiteX17" fmla="*/ 4704433 w 5431992"/>
              <a:gd name="connsiteY17" fmla="*/ 3710902 h 3727301"/>
              <a:gd name="connsiteX18" fmla="*/ 4710823 w 5431992"/>
              <a:gd name="connsiteY18" fmla="*/ 3709391 h 3727301"/>
              <a:gd name="connsiteX19" fmla="*/ 4714586 w 5431992"/>
              <a:gd name="connsiteY19" fmla="*/ 3708817 h 3727301"/>
              <a:gd name="connsiteX20" fmla="*/ 4734014 w 5431992"/>
              <a:gd name="connsiteY20" fmla="*/ 3703907 h 3727301"/>
              <a:gd name="connsiteX21" fmla="*/ 4780194 w 5431992"/>
              <a:gd name="connsiteY21" fmla="*/ 3692988 h 3727301"/>
              <a:gd name="connsiteX22" fmla="*/ 4789537 w 5431992"/>
              <a:gd name="connsiteY22" fmla="*/ 3689878 h 3727301"/>
              <a:gd name="connsiteX23" fmla="*/ 4794988 w 5431992"/>
              <a:gd name="connsiteY23" fmla="*/ 3688501 h 3727301"/>
              <a:gd name="connsiteX24" fmla="*/ 4813574 w 5431992"/>
              <a:gd name="connsiteY24" fmla="*/ 3681879 h 3727301"/>
              <a:gd name="connsiteX25" fmla="*/ 4853335 w 5431992"/>
              <a:gd name="connsiteY25" fmla="*/ 3668644 h 3727301"/>
              <a:gd name="connsiteX26" fmla="*/ 4865400 w 5431992"/>
              <a:gd name="connsiteY26" fmla="*/ 3663410 h 3727301"/>
              <a:gd name="connsiteX27" fmla="*/ 4872337 w 5431992"/>
              <a:gd name="connsiteY27" fmla="*/ 3660937 h 3727301"/>
              <a:gd name="connsiteX28" fmla="*/ 4889166 w 5431992"/>
              <a:gd name="connsiteY28" fmla="*/ 3653099 h 3727301"/>
              <a:gd name="connsiteX29" fmla="*/ 4923551 w 5431992"/>
              <a:gd name="connsiteY29" fmla="*/ 3638182 h 3727301"/>
              <a:gd name="connsiteX30" fmla="*/ 4938066 w 5431992"/>
              <a:gd name="connsiteY30" fmla="*/ 3630322 h 3727301"/>
              <a:gd name="connsiteX31" fmla="*/ 4946263 w 5431992"/>
              <a:gd name="connsiteY31" fmla="*/ 3626504 h 3727301"/>
              <a:gd name="connsiteX32" fmla="*/ 4960997 w 5431992"/>
              <a:gd name="connsiteY32" fmla="*/ 3617905 h 3727301"/>
              <a:gd name="connsiteX33" fmla="*/ 4990539 w 5431992"/>
              <a:gd name="connsiteY33" fmla="*/ 3601910 h 3727301"/>
              <a:gd name="connsiteX34" fmla="*/ 5007191 w 5431992"/>
              <a:gd name="connsiteY34" fmla="*/ 3590949 h 3727301"/>
              <a:gd name="connsiteX35" fmla="*/ 5016397 w 5431992"/>
              <a:gd name="connsiteY35" fmla="*/ 3585577 h 3727301"/>
              <a:gd name="connsiteX36" fmla="*/ 5028936 w 5431992"/>
              <a:gd name="connsiteY36" fmla="*/ 3576636 h 3727301"/>
              <a:gd name="connsiteX37" fmla="*/ 5053995 w 5431992"/>
              <a:gd name="connsiteY37" fmla="*/ 3560142 h 3727301"/>
              <a:gd name="connsiteX38" fmla="*/ 5072432 w 5431992"/>
              <a:gd name="connsiteY38" fmla="*/ 3545621 h 3727301"/>
              <a:gd name="connsiteX39" fmla="*/ 5082370 w 5431992"/>
              <a:gd name="connsiteY39" fmla="*/ 3538535 h 3727301"/>
              <a:gd name="connsiteX40" fmla="*/ 5092737 w 5431992"/>
              <a:gd name="connsiteY40" fmla="*/ 3529630 h 3727301"/>
              <a:gd name="connsiteX41" fmla="*/ 5113615 w 5431992"/>
              <a:gd name="connsiteY41" fmla="*/ 3513186 h 3727301"/>
              <a:gd name="connsiteX42" fmla="*/ 5133448 w 5431992"/>
              <a:gd name="connsiteY42" fmla="*/ 3494657 h 3727301"/>
              <a:gd name="connsiteX43" fmla="*/ 5143812 w 5431992"/>
              <a:gd name="connsiteY43" fmla="*/ 3485754 h 3727301"/>
              <a:gd name="connsiteX44" fmla="*/ 5152102 w 5431992"/>
              <a:gd name="connsiteY44" fmla="*/ 3477230 h 3727301"/>
              <a:gd name="connsiteX45" fmla="*/ 5169095 w 5431992"/>
              <a:gd name="connsiteY45" fmla="*/ 3461355 h 3727301"/>
              <a:gd name="connsiteX46" fmla="*/ 5189909 w 5431992"/>
              <a:gd name="connsiteY46" fmla="*/ 3438356 h 3727301"/>
              <a:gd name="connsiteX47" fmla="*/ 5200355 w 5431992"/>
              <a:gd name="connsiteY47" fmla="*/ 3427614 h 3727301"/>
              <a:gd name="connsiteX48" fmla="*/ 5206717 w 5431992"/>
              <a:gd name="connsiteY48" fmla="*/ 3419781 h 3727301"/>
              <a:gd name="connsiteX49" fmla="*/ 5220131 w 5431992"/>
              <a:gd name="connsiteY49" fmla="*/ 3404959 h 3727301"/>
              <a:gd name="connsiteX50" fmla="*/ 5241486 w 5431992"/>
              <a:gd name="connsiteY50" fmla="*/ 3376975 h 3727301"/>
              <a:gd name="connsiteX51" fmla="*/ 5251629 w 5431992"/>
              <a:gd name="connsiteY51" fmla="*/ 3364490 h 3727301"/>
              <a:gd name="connsiteX52" fmla="*/ 5256249 w 5431992"/>
              <a:gd name="connsiteY52" fmla="*/ 3357632 h 3727301"/>
              <a:gd name="connsiteX53" fmla="*/ 5266418 w 5431992"/>
              <a:gd name="connsiteY53" fmla="*/ 3344309 h 3727301"/>
              <a:gd name="connsiteX54" fmla="*/ 5287884 w 5431992"/>
              <a:gd name="connsiteY54" fmla="*/ 3310683 h 3727301"/>
              <a:gd name="connsiteX55" fmla="*/ 5297265 w 5431992"/>
              <a:gd name="connsiteY55" fmla="*/ 3296759 h 3727301"/>
              <a:gd name="connsiteX56" fmla="*/ 5300364 w 5431992"/>
              <a:gd name="connsiteY56" fmla="*/ 3291135 h 3727301"/>
              <a:gd name="connsiteX57" fmla="*/ 5307652 w 5431992"/>
              <a:gd name="connsiteY57" fmla="*/ 3279716 h 3727301"/>
              <a:gd name="connsiteX58" fmla="*/ 5328841 w 5431992"/>
              <a:gd name="connsiteY58" fmla="*/ 3239424 h 3727301"/>
              <a:gd name="connsiteX59" fmla="*/ 5336893 w 5431992"/>
              <a:gd name="connsiteY59" fmla="*/ 3224802 h 3727301"/>
              <a:gd name="connsiteX60" fmla="*/ 5338719 w 5431992"/>
              <a:gd name="connsiteY60" fmla="*/ 3220638 h 3727301"/>
              <a:gd name="connsiteX61" fmla="*/ 5343530 w 5431992"/>
              <a:gd name="connsiteY61" fmla="*/ 3211490 h 3727301"/>
              <a:gd name="connsiteX62" fmla="*/ 5364233 w 5431992"/>
              <a:gd name="connsiteY62" fmla="*/ 3162469 h 3727301"/>
              <a:gd name="connsiteX63" fmla="*/ 5370144 w 5431992"/>
              <a:gd name="connsiteY63" fmla="*/ 3148994 h 3727301"/>
              <a:gd name="connsiteX64" fmla="*/ 5370977 w 5431992"/>
              <a:gd name="connsiteY64" fmla="*/ 3146500 h 3727301"/>
              <a:gd name="connsiteX65" fmla="*/ 5373748 w 5431992"/>
              <a:gd name="connsiteY65" fmla="*/ 3139941 h 3727301"/>
              <a:gd name="connsiteX66" fmla="*/ 5394531 w 5431992"/>
              <a:gd name="connsiteY66" fmla="*/ 3076045 h 3727301"/>
              <a:gd name="connsiteX67" fmla="*/ 5396648 w 5431992"/>
              <a:gd name="connsiteY67" fmla="*/ 3069712 h 3727301"/>
              <a:gd name="connsiteX68" fmla="*/ 5396798 w 5431992"/>
              <a:gd name="connsiteY68" fmla="*/ 3069075 h 3727301"/>
              <a:gd name="connsiteX69" fmla="*/ 5397999 w 5431992"/>
              <a:gd name="connsiteY69" fmla="*/ 3065384 h 3727301"/>
              <a:gd name="connsiteX70" fmla="*/ 5427392 w 5431992"/>
              <a:gd name="connsiteY70" fmla="*/ 2908479 h 3727301"/>
              <a:gd name="connsiteX71" fmla="*/ 5427567 w 5431992"/>
              <a:gd name="connsiteY71" fmla="*/ 2904915 h 3727301"/>
              <a:gd name="connsiteX72" fmla="*/ 5427942 w 5431992"/>
              <a:gd name="connsiteY72" fmla="*/ 2902239 h 3727301"/>
              <a:gd name="connsiteX73" fmla="*/ 5429984 w 5431992"/>
              <a:gd name="connsiteY73" fmla="*/ 2858141 h 3727301"/>
              <a:gd name="connsiteX74" fmla="*/ 5431992 w 5431992"/>
              <a:gd name="connsiteY74" fmla="*/ 2858141 h 3727301"/>
              <a:gd name="connsiteX75" fmla="*/ 5431992 w 5431992"/>
              <a:gd name="connsiteY75" fmla="*/ 2815358 h 3727301"/>
              <a:gd name="connsiteX76" fmla="*/ 5431992 w 5431992"/>
              <a:gd name="connsiteY76" fmla="*/ 2815349 h 3727301"/>
              <a:gd name="connsiteX77" fmla="*/ 5431992 w 5431992"/>
              <a:gd name="connsiteY77" fmla="*/ 2815340 h 3727301"/>
              <a:gd name="connsiteX78" fmla="*/ 5431992 w 5431992"/>
              <a:gd name="connsiteY78" fmla="*/ 2814803 h 3727301"/>
              <a:gd name="connsiteX79" fmla="*/ 5431992 w 5431992"/>
              <a:gd name="connsiteY79" fmla="*/ 2806157 h 3727301"/>
              <a:gd name="connsiteX80" fmla="*/ 5431992 w 5431992"/>
              <a:gd name="connsiteY80" fmla="*/ 2439693 h 3727301"/>
              <a:gd name="connsiteX81" fmla="*/ 5431992 w 5431992"/>
              <a:gd name="connsiteY81" fmla="*/ 2396910 h 3727301"/>
              <a:gd name="connsiteX82" fmla="*/ 5431992 w 5431992"/>
              <a:gd name="connsiteY82" fmla="*/ 2396901 h 3727301"/>
              <a:gd name="connsiteX83" fmla="*/ 5431992 w 5431992"/>
              <a:gd name="connsiteY83" fmla="*/ 2396892 h 3727301"/>
              <a:gd name="connsiteX84" fmla="*/ 5431992 w 5431992"/>
              <a:gd name="connsiteY84" fmla="*/ 2396355 h 3727301"/>
              <a:gd name="connsiteX85" fmla="*/ 5431992 w 5431992"/>
              <a:gd name="connsiteY85" fmla="*/ 2387709 h 3727301"/>
              <a:gd name="connsiteX86" fmla="*/ 5431992 w 5431992"/>
              <a:gd name="connsiteY86" fmla="*/ 2251532 h 3727301"/>
              <a:gd name="connsiteX87" fmla="*/ 5431992 w 5431992"/>
              <a:gd name="connsiteY87" fmla="*/ 1894207 h 3727301"/>
              <a:gd name="connsiteX88" fmla="*/ 5431992 w 5431992"/>
              <a:gd name="connsiteY88" fmla="*/ 1833084 h 3727301"/>
              <a:gd name="connsiteX89" fmla="*/ 5431992 w 5431992"/>
              <a:gd name="connsiteY89" fmla="*/ 1475759 h 3727301"/>
              <a:gd name="connsiteX90" fmla="*/ 5431992 w 5431992"/>
              <a:gd name="connsiteY90" fmla="*/ 1330390 h 3727301"/>
              <a:gd name="connsiteX91" fmla="*/ 5431992 w 5431992"/>
              <a:gd name="connsiteY91" fmla="*/ 911942 h 3727301"/>
              <a:gd name="connsiteX92" fmla="*/ 5431992 w 5431992"/>
              <a:gd name="connsiteY92" fmla="*/ 418448 h 3727301"/>
              <a:gd name="connsiteX93" fmla="*/ 5431992 w 5431992"/>
              <a:gd name="connsiteY93" fmla="*/ 0 h 3727301"/>
              <a:gd name="connsiteX94" fmla="*/ 4587827 w 5431992"/>
              <a:gd name="connsiteY94" fmla="*/ 0 h 3727301"/>
              <a:gd name="connsiteX95" fmla="*/ 4540602 w 5431992"/>
              <a:gd name="connsiteY95" fmla="*/ 0 h 3727301"/>
              <a:gd name="connsiteX96" fmla="*/ 3646314 w 5431992"/>
              <a:gd name="connsiteY96" fmla="*/ 0 h 3727301"/>
              <a:gd name="connsiteX97" fmla="*/ 3060170 w 5431992"/>
              <a:gd name="connsiteY97" fmla="*/ 0 h 3727301"/>
              <a:gd name="connsiteX98" fmla="*/ 2802149 w 5431992"/>
              <a:gd name="connsiteY98" fmla="*/ 0 h 3727301"/>
              <a:gd name="connsiteX99" fmla="*/ 2754924 w 5431992"/>
              <a:gd name="connsiteY99" fmla="*/ 0 h 3727301"/>
              <a:gd name="connsiteX100" fmla="*/ 2677069 w 5431992"/>
              <a:gd name="connsiteY100" fmla="*/ 0 h 3727301"/>
              <a:gd name="connsiteX101" fmla="*/ 1274492 w 5431992"/>
              <a:gd name="connsiteY101" fmla="*/ 0 h 3727301"/>
              <a:gd name="connsiteX102" fmla="*/ 891391 w 5431992"/>
              <a:gd name="connsiteY102" fmla="*/ 0 h 3727301"/>
              <a:gd name="connsiteX103" fmla="*/ 891391 w 5431992"/>
              <a:gd name="connsiteY103" fmla="*/ 1089 h 3727301"/>
              <a:gd name="connsiteX104" fmla="*/ 891390 w 5431992"/>
              <a:gd name="connsiteY104" fmla="*/ 1089 h 3727301"/>
              <a:gd name="connsiteX105" fmla="*/ 891124 w 5431992"/>
              <a:gd name="connsiteY105" fmla="*/ 1089 h 3727301"/>
              <a:gd name="connsiteX106" fmla="*/ 879689 w 5431992"/>
              <a:gd name="connsiteY106" fmla="*/ 1089 h 3727301"/>
              <a:gd name="connsiteX107" fmla="*/ 844165 w 5431992"/>
              <a:gd name="connsiteY107" fmla="*/ 1089 h 3727301"/>
              <a:gd name="connsiteX108" fmla="*/ 844165 w 5431992"/>
              <a:gd name="connsiteY108" fmla="*/ 3362 h 3727301"/>
              <a:gd name="connsiteX109" fmla="*/ 805634 w 5431992"/>
              <a:gd name="connsiteY109" fmla="*/ 5226 h 3727301"/>
              <a:gd name="connsiteX110" fmla="*/ 802321 w 5431992"/>
              <a:gd name="connsiteY110" fmla="*/ 5701 h 3727301"/>
              <a:gd name="connsiteX111" fmla="*/ 800491 w 5431992"/>
              <a:gd name="connsiteY111" fmla="*/ 5795 h 3727301"/>
              <a:gd name="connsiteX112" fmla="*/ 783113 w 5431992"/>
              <a:gd name="connsiteY112" fmla="*/ 8449 h 3727301"/>
              <a:gd name="connsiteX113" fmla="*/ 727559 w 5431992"/>
              <a:gd name="connsiteY113" fmla="*/ 16399 h 3727301"/>
              <a:gd name="connsiteX114" fmla="*/ 721169 w 5431992"/>
              <a:gd name="connsiteY114" fmla="*/ 17910 h 3727301"/>
              <a:gd name="connsiteX115" fmla="*/ 717406 w 5431992"/>
              <a:gd name="connsiteY115" fmla="*/ 18484 h 3727301"/>
              <a:gd name="connsiteX116" fmla="*/ 697980 w 5431992"/>
              <a:gd name="connsiteY116" fmla="*/ 23394 h 3727301"/>
              <a:gd name="connsiteX117" fmla="*/ 651798 w 5431992"/>
              <a:gd name="connsiteY117" fmla="*/ 34313 h 3727301"/>
              <a:gd name="connsiteX118" fmla="*/ 642455 w 5431992"/>
              <a:gd name="connsiteY118" fmla="*/ 37423 h 3727301"/>
              <a:gd name="connsiteX119" fmla="*/ 637004 w 5431992"/>
              <a:gd name="connsiteY119" fmla="*/ 38800 h 3727301"/>
              <a:gd name="connsiteX120" fmla="*/ 618418 w 5431992"/>
              <a:gd name="connsiteY120" fmla="*/ 45422 h 3727301"/>
              <a:gd name="connsiteX121" fmla="*/ 578659 w 5431992"/>
              <a:gd name="connsiteY121" fmla="*/ 58657 h 3727301"/>
              <a:gd name="connsiteX122" fmla="*/ 566594 w 5431992"/>
              <a:gd name="connsiteY122" fmla="*/ 63891 h 3727301"/>
              <a:gd name="connsiteX123" fmla="*/ 559656 w 5431992"/>
              <a:gd name="connsiteY123" fmla="*/ 66364 h 3727301"/>
              <a:gd name="connsiteX124" fmla="*/ 542827 w 5431992"/>
              <a:gd name="connsiteY124" fmla="*/ 74202 h 3727301"/>
              <a:gd name="connsiteX125" fmla="*/ 508443 w 5431992"/>
              <a:gd name="connsiteY125" fmla="*/ 89119 h 3727301"/>
              <a:gd name="connsiteX126" fmla="*/ 493927 w 5431992"/>
              <a:gd name="connsiteY126" fmla="*/ 96979 h 3727301"/>
              <a:gd name="connsiteX127" fmla="*/ 485730 w 5431992"/>
              <a:gd name="connsiteY127" fmla="*/ 100797 h 3727301"/>
              <a:gd name="connsiteX128" fmla="*/ 470995 w 5431992"/>
              <a:gd name="connsiteY128" fmla="*/ 109396 h 3727301"/>
              <a:gd name="connsiteX129" fmla="*/ 441454 w 5431992"/>
              <a:gd name="connsiteY129" fmla="*/ 125391 h 3727301"/>
              <a:gd name="connsiteX130" fmla="*/ 424802 w 5431992"/>
              <a:gd name="connsiteY130" fmla="*/ 136352 h 3727301"/>
              <a:gd name="connsiteX131" fmla="*/ 415596 w 5431992"/>
              <a:gd name="connsiteY131" fmla="*/ 141724 h 3727301"/>
              <a:gd name="connsiteX132" fmla="*/ 403056 w 5431992"/>
              <a:gd name="connsiteY132" fmla="*/ 150665 h 3727301"/>
              <a:gd name="connsiteX133" fmla="*/ 377997 w 5431992"/>
              <a:gd name="connsiteY133" fmla="*/ 167159 h 3727301"/>
              <a:gd name="connsiteX134" fmla="*/ 359561 w 5431992"/>
              <a:gd name="connsiteY134" fmla="*/ 181680 h 3727301"/>
              <a:gd name="connsiteX135" fmla="*/ 349622 w 5431992"/>
              <a:gd name="connsiteY135" fmla="*/ 188766 h 3727301"/>
              <a:gd name="connsiteX136" fmla="*/ 339257 w 5431992"/>
              <a:gd name="connsiteY136" fmla="*/ 197671 h 3727301"/>
              <a:gd name="connsiteX137" fmla="*/ 318377 w 5431992"/>
              <a:gd name="connsiteY137" fmla="*/ 214115 h 3727301"/>
              <a:gd name="connsiteX138" fmla="*/ 298544 w 5431992"/>
              <a:gd name="connsiteY138" fmla="*/ 232644 h 3727301"/>
              <a:gd name="connsiteX139" fmla="*/ 288180 w 5431992"/>
              <a:gd name="connsiteY139" fmla="*/ 241547 h 3727301"/>
              <a:gd name="connsiteX140" fmla="*/ 279890 w 5431992"/>
              <a:gd name="connsiteY140" fmla="*/ 250071 h 3727301"/>
              <a:gd name="connsiteX141" fmla="*/ 262898 w 5431992"/>
              <a:gd name="connsiteY141" fmla="*/ 265946 h 3727301"/>
              <a:gd name="connsiteX142" fmla="*/ 242085 w 5431992"/>
              <a:gd name="connsiteY142" fmla="*/ 288944 h 3727301"/>
              <a:gd name="connsiteX143" fmla="*/ 231637 w 5431992"/>
              <a:gd name="connsiteY143" fmla="*/ 299687 h 3727301"/>
              <a:gd name="connsiteX144" fmla="*/ 225275 w 5431992"/>
              <a:gd name="connsiteY144" fmla="*/ 307520 h 3727301"/>
              <a:gd name="connsiteX145" fmla="*/ 211862 w 5431992"/>
              <a:gd name="connsiteY145" fmla="*/ 322342 h 3727301"/>
              <a:gd name="connsiteX146" fmla="*/ 190506 w 5431992"/>
              <a:gd name="connsiteY146" fmla="*/ 350326 h 3727301"/>
              <a:gd name="connsiteX147" fmla="*/ 180363 w 5431992"/>
              <a:gd name="connsiteY147" fmla="*/ 362811 h 3727301"/>
              <a:gd name="connsiteX148" fmla="*/ 175743 w 5431992"/>
              <a:gd name="connsiteY148" fmla="*/ 369669 h 3727301"/>
              <a:gd name="connsiteX149" fmla="*/ 165574 w 5431992"/>
              <a:gd name="connsiteY149" fmla="*/ 382992 h 3727301"/>
              <a:gd name="connsiteX150" fmla="*/ 144110 w 5431992"/>
              <a:gd name="connsiteY150" fmla="*/ 416618 h 3727301"/>
              <a:gd name="connsiteX151" fmla="*/ 134728 w 5431992"/>
              <a:gd name="connsiteY151" fmla="*/ 430542 h 3727301"/>
              <a:gd name="connsiteX152" fmla="*/ 131630 w 5431992"/>
              <a:gd name="connsiteY152" fmla="*/ 436167 h 3727301"/>
              <a:gd name="connsiteX153" fmla="*/ 124340 w 5431992"/>
              <a:gd name="connsiteY153" fmla="*/ 447585 h 3727301"/>
              <a:gd name="connsiteX154" fmla="*/ 103153 w 5431992"/>
              <a:gd name="connsiteY154" fmla="*/ 487877 h 3727301"/>
              <a:gd name="connsiteX155" fmla="*/ 95100 w 5431992"/>
              <a:gd name="connsiteY155" fmla="*/ 502499 h 3727301"/>
              <a:gd name="connsiteX156" fmla="*/ 93274 w 5431992"/>
              <a:gd name="connsiteY156" fmla="*/ 506663 h 3727301"/>
              <a:gd name="connsiteX157" fmla="*/ 88463 w 5431992"/>
              <a:gd name="connsiteY157" fmla="*/ 515811 h 3727301"/>
              <a:gd name="connsiteX158" fmla="*/ 67759 w 5431992"/>
              <a:gd name="connsiteY158" fmla="*/ 564832 h 3727301"/>
              <a:gd name="connsiteX159" fmla="*/ 61850 w 5431992"/>
              <a:gd name="connsiteY159" fmla="*/ 578307 h 3727301"/>
              <a:gd name="connsiteX160" fmla="*/ 61016 w 5431992"/>
              <a:gd name="connsiteY160" fmla="*/ 580801 h 3727301"/>
              <a:gd name="connsiteX161" fmla="*/ 58246 w 5431992"/>
              <a:gd name="connsiteY161" fmla="*/ 587360 h 3727301"/>
              <a:gd name="connsiteX162" fmla="*/ 37462 w 5431992"/>
              <a:gd name="connsiteY162" fmla="*/ 651256 h 3727301"/>
              <a:gd name="connsiteX163" fmla="*/ 35344 w 5431992"/>
              <a:gd name="connsiteY163" fmla="*/ 657589 h 3727301"/>
              <a:gd name="connsiteX164" fmla="*/ 35195 w 5431992"/>
              <a:gd name="connsiteY164" fmla="*/ 658226 h 3727301"/>
              <a:gd name="connsiteX165" fmla="*/ 33994 w 5431992"/>
              <a:gd name="connsiteY165" fmla="*/ 661917 h 3727301"/>
              <a:gd name="connsiteX166" fmla="*/ 4602 w 5431992"/>
              <a:gd name="connsiteY166" fmla="*/ 818822 h 3727301"/>
              <a:gd name="connsiteX167" fmla="*/ 4426 w 5431992"/>
              <a:gd name="connsiteY167" fmla="*/ 822387 h 3727301"/>
              <a:gd name="connsiteX168" fmla="*/ 4051 w 5431992"/>
              <a:gd name="connsiteY168" fmla="*/ 825062 h 3727301"/>
              <a:gd name="connsiteX169" fmla="*/ 2008 w 5431992"/>
              <a:gd name="connsiteY169" fmla="*/ 869160 h 3727301"/>
              <a:gd name="connsiteX170" fmla="*/ 1 w 5431992"/>
              <a:gd name="connsiteY170" fmla="*/ 869160 h 3727301"/>
              <a:gd name="connsiteX171" fmla="*/ 1 w 5431992"/>
              <a:gd name="connsiteY171" fmla="*/ 911944 h 3727301"/>
              <a:gd name="connsiteX172" fmla="*/ 0 w 5431992"/>
              <a:gd name="connsiteY172" fmla="*/ 911952 h 3727301"/>
              <a:gd name="connsiteX173" fmla="*/ 1 w 5431992"/>
              <a:gd name="connsiteY173" fmla="*/ 911961 h 3727301"/>
              <a:gd name="connsiteX174" fmla="*/ 1 w 5431992"/>
              <a:gd name="connsiteY174" fmla="*/ 912498 h 3727301"/>
              <a:gd name="connsiteX175" fmla="*/ 1 w 5431992"/>
              <a:gd name="connsiteY175" fmla="*/ 921144 h 3727301"/>
              <a:gd name="connsiteX176" fmla="*/ 0 w 5431992"/>
              <a:gd name="connsiteY176" fmla="*/ 921144 h 3727301"/>
              <a:gd name="connsiteX177" fmla="*/ 0 w 5431992"/>
              <a:gd name="connsiteY177" fmla="*/ 1330400 h 3727301"/>
              <a:gd name="connsiteX178" fmla="*/ 0 w 5431992"/>
              <a:gd name="connsiteY178" fmla="*/ 1339592 h 3727301"/>
              <a:gd name="connsiteX179" fmla="*/ 0 w 5431992"/>
              <a:gd name="connsiteY179" fmla="*/ 1475768 h 3727301"/>
              <a:gd name="connsiteX180" fmla="*/ 0 w 5431992"/>
              <a:gd name="connsiteY180" fmla="*/ 1475769 h 3727301"/>
              <a:gd name="connsiteX181" fmla="*/ 0 w 5431992"/>
              <a:gd name="connsiteY181" fmla="*/ 1475770 h 3727301"/>
              <a:gd name="connsiteX182" fmla="*/ 0 w 5431992"/>
              <a:gd name="connsiteY182" fmla="*/ 1833095 h 3727301"/>
              <a:gd name="connsiteX183" fmla="*/ 0 w 5431992"/>
              <a:gd name="connsiteY183" fmla="*/ 1894216 h 3727301"/>
              <a:gd name="connsiteX184" fmla="*/ 0 w 5431992"/>
              <a:gd name="connsiteY184" fmla="*/ 1894217 h 3727301"/>
              <a:gd name="connsiteX185" fmla="*/ 0 w 5431992"/>
              <a:gd name="connsiteY185" fmla="*/ 1894218 h 3727301"/>
              <a:gd name="connsiteX186" fmla="*/ 0 w 5431992"/>
              <a:gd name="connsiteY186" fmla="*/ 2251543 h 3727301"/>
              <a:gd name="connsiteX187" fmla="*/ 0 w 5431992"/>
              <a:gd name="connsiteY187" fmla="*/ 2396911 h 3727301"/>
              <a:gd name="connsiteX188" fmla="*/ 0 w 5431992"/>
              <a:gd name="connsiteY188" fmla="*/ 2815359 h 3727301"/>
              <a:gd name="connsiteX189" fmla="*/ 0 w 5431992"/>
              <a:gd name="connsiteY189" fmla="*/ 3308853 h 372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5431992" h="3727301">
                <a:moveTo>
                  <a:pt x="0" y="3727301"/>
                </a:moveTo>
                <a:lnTo>
                  <a:pt x="844165" y="3727301"/>
                </a:lnTo>
                <a:lnTo>
                  <a:pt x="891390" y="3727301"/>
                </a:lnTo>
                <a:lnTo>
                  <a:pt x="2371823" y="3727301"/>
                </a:lnTo>
                <a:lnTo>
                  <a:pt x="2754923" y="3727301"/>
                </a:lnTo>
                <a:lnTo>
                  <a:pt x="4157501" y="3727301"/>
                </a:lnTo>
                <a:lnTo>
                  <a:pt x="4540601" y="3727301"/>
                </a:lnTo>
                <a:lnTo>
                  <a:pt x="4540601" y="3726212"/>
                </a:lnTo>
                <a:lnTo>
                  <a:pt x="4540602" y="3726212"/>
                </a:lnTo>
                <a:lnTo>
                  <a:pt x="4540868" y="3726212"/>
                </a:lnTo>
                <a:lnTo>
                  <a:pt x="4552303" y="3726212"/>
                </a:lnTo>
                <a:lnTo>
                  <a:pt x="4587827" y="3726212"/>
                </a:lnTo>
                <a:lnTo>
                  <a:pt x="4587827" y="3723939"/>
                </a:lnTo>
                <a:lnTo>
                  <a:pt x="4626359" y="3722075"/>
                </a:lnTo>
                <a:lnTo>
                  <a:pt x="4629673" y="3721600"/>
                </a:lnTo>
                <a:lnTo>
                  <a:pt x="4631501" y="3721506"/>
                </a:lnTo>
                <a:lnTo>
                  <a:pt x="4648879" y="3718852"/>
                </a:lnTo>
                <a:lnTo>
                  <a:pt x="4704433" y="3710902"/>
                </a:lnTo>
                <a:lnTo>
                  <a:pt x="4710823" y="3709391"/>
                </a:lnTo>
                <a:lnTo>
                  <a:pt x="4714586" y="3708817"/>
                </a:lnTo>
                <a:lnTo>
                  <a:pt x="4734014" y="3703907"/>
                </a:lnTo>
                <a:lnTo>
                  <a:pt x="4780194" y="3692988"/>
                </a:lnTo>
                <a:lnTo>
                  <a:pt x="4789537" y="3689878"/>
                </a:lnTo>
                <a:lnTo>
                  <a:pt x="4794988" y="3688501"/>
                </a:lnTo>
                <a:lnTo>
                  <a:pt x="4813574" y="3681879"/>
                </a:lnTo>
                <a:lnTo>
                  <a:pt x="4853335" y="3668644"/>
                </a:lnTo>
                <a:lnTo>
                  <a:pt x="4865400" y="3663410"/>
                </a:lnTo>
                <a:lnTo>
                  <a:pt x="4872337" y="3660937"/>
                </a:lnTo>
                <a:lnTo>
                  <a:pt x="4889166" y="3653099"/>
                </a:lnTo>
                <a:lnTo>
                  <a:pt x="4923551" y="3638182"/>
                </a:lnTo>
                <a:lnTo>
                  <a:pt x="4938066" y="3630322"/>
                </a:lnTo>
                <a:lnTo>
                  <a:pt x="4946263" y="3626504"/>
                </a:lnTo>
                <a:lnTo>
                  <a:pt x="4960997" y="3617905"/>
                </a:lnTo>
                <a:lnTo>
                  <a:pt x="4990539" y="3601910"/>
                </a:lnTo>
                <a:lnTo>
                  <a:pt x="5007191" y="3590949"/>
                </a:lnTo>
                <a:lnTo>
                  <a:pt x="5016397" y="3585577"/>
                </a:lnTo>
                <a:lnTo>
                  <a:pt x="5028936" y="3576636"/>
                </a:lnTo>
                <a:lnTo>
                  <a:pt x="5053995" y="3560142"/>
                </a:lnTo>
                <a:lnTo>
                  <a:pt x="5072432" y="3545621"/>
                </a:lnTo>
                <a:lnTo>
                  <a:pt x="5082370" y="3538535"/>
                </a:lnTo>
                <a:lnTo>
                  <a:pt x="5092737" y="3529630"/>
                </a:lnTo>
                <a:lnTo>
                  <a:pt x="5113615" y="3513186"/>
                </a:lnTo>
                <a:lnTo>
                  <a:pt x="5133448" y="3494657"/>
                </a:lnTo>
                <a:lnTo>
                  <a:pt x="5143812" y="3485754"/>
                </a:lnTo>
                <a:lnTo>
                  <a:pt x="5152102" y="3477230"/>
                </a:lnTo>
                <a:lnTo>
                  <a:pt x="5169095" y="3461355"/>
                </a:lnTo>
                <a:lnTo>
                  <a:pt x="5189909" y="3438356"/>
                </a:lnTo>
                <a:lnTo>
                  <a:pt x="5200355" y="3427614"/>
                </a:lnTo>
                <a:lnTo>
                  <a:pt x="5206717" y="3419781"/>
                </a:lnTo>
                <a:lnTo>
                  <a:pt x="5220131" y="3404959"/>
                </a:lnTo>
                <a:lnTo>
                  <a:pt x="5241486" y="3376975"/>
                </a:lnTo>
                <a:lnTo>
                  <a:pt x="5251629" y="3364490"/>
                </a:lnTo>
                <a:lnTo>
                  <a:pt x="5256249" y="3357632"/>
                </a:lnTo>
                <a:lnTo>
                  <a:pt x="5266418" y="3344309"/>
                </a:lnTo>
                <a:lnTo>
                  <a:pt x="5287884" y="3310683"/>
                </a:lnTo>
                <a:lnTo>
                  <a:pt x="5297265" y="3296759"/>
                </a:lnTo>
                <a:lnTo>
                  <a:pt x="5300364" y="3291135"/>
                </a:lnTo>
                <a:lnTo>
                  <a:pt x="5307652" y="3279716"/>
                </a:lnTo>
                <a:lnTo>
                  <a:pt x="5328841" y="3239424"/>
                </a:lnTo>
                <a:lnTo>
                  <a:pt x="5336893" y="3224802"/>
                </a:lnTo>
                <a:lnTo>
                  <a:pt x="5338719" y="3220638"/>
                </a:lnTo>
                <a:lnTo>
                  <a:pt x="5343530" y="3211490"/>
                </a:lnTo>
                <a:lnTo>
                  <a:pt x="5364233" y="3162469"/>
                </a:lnTo>
                <a:lnTo>
                  <a:pt x="5370144" y="3148994"/>
                </a:lnTo>
                <a:lnTo>
                  <a:pt x="5370977" y="3146500"/>
                </a:lnTo>
                <a:lnTo>
                  <a:pt x="5373748" y="3139941"/>
                </a:lnTo>
                <a:lnTo>
                  <a:pt x="5394531" y="3076045"/>
                </a:lnTo>
                <a:lnTo>
                  <a:pt x="5396648" y="3069712"/>
                </a:lnTo>
                <a:lnTo>
                  <a:pt x="5396798" y="3069075"/>
                </a:lnTo>
                <a:lnTo>
                  <a:pt x="5397999" y="3065384"/>
                </a:lnTo>
                <a:cubicBezTo>
                  <a:pt x="5412111" y="3014743"/>
                  <a:pt x="5422044" y="2962304"/>
                  <a:pt x="5427392" y="2908479"/>
                </a:cubicBezTo>
                <a:lnTo>
                  <a:pt x="5427567" y="2904915"/>
                </a:lnTo>
                <a:lnTo>
                  <a:pt x="5427942" y="2902239"/>
                </a:lnTo>
                <a:lnTo>
                  <a:pt x="5429984" y="2858141"/>
                </a:lnTo>
                <a:lnTo>
                  <a:pt x="5431992" y="2858141"/>
                </a:lnTo>
                <a:lnTo>
                  <a:pt x="5431992" y="2815358"/>
                </a:lnTo>
                <a:lnTo>
                  <a:pt x="5431992" y="2815349"/>
                </a:lnTo>
                <a:lnTo>
                  <a:pt x="5431992" y="2815340"/>
                </a:lnTo>
                <a:lnTo>
                  <a:pt x="5431992" y="2814803"/>
                </a:lnTo>
                <a:lnTo>
                  <a:pt x="5431992" y="2806157"/>
                </a:lnTo>
                <a:lnTo>
                  <a:pt x="5431992" y="2439693"/>
                </a:lnTo>
                <a:lnTo>
                  <a:pt x="5431992" y="2396910"/>
                </a:lnTo>
                <a:lnTo>
                  <a:pt x="5431992" y="2396901"/>
                </a:lnTo>
                <a:lnTo>
                  <a:pt x="5431992" y="2396892"/>
                </a:lnTo>
                <a:lnTo>
                  <a:pt x="5431992" y="2396355"/>
                </a:lnTo>
                <a:lnTo>
                  <a:pt x="5431992" y="2387709"/>
                </a:lnTo>
                <a:lnTo>
                  <a:pt x="5431992" y="2251532"/>
                </a:lnTo>
                <a:lnTo>
                  <a:pt x="5431992" y="1894207"/>
                </a:lnTo>
                <a:lnTo>
                  <a:pt x="5431992" y="1833084"/>
                </a:lnTo>
                <a:lnTo>
                  <a:pt x="5431992" y="1475759"/>
                </a:lnTo>
                <a:lnTo>
                  <a:pt x="5431992" y="1330390"/>
                </a:lnTo>
                <a:lnTo>
                  <a:pt x="5431992" y="911942"/>
                </a:lnTo>
                <a:lnTo>
                  <a:pt x="5431992" y="418448"/>
                </a:lnTo>
                <a:lnTo>
                  <a:pt x="5431992" y="0"/>
                </a:lnTo>
                <a:lnTo>
                  <a:pt x="4587827" y="0"/>
                </a:lnTo>
                <a:lnTo>
                  <a:pt x="4540602" y="0"/>
                </a:lnTo>
                <a:lnTo>
                  <a:pt x="3646314" y="0"/>
                </a:lnTo>
                <a:lnTo>
                  <a:pt x="3060170" y="0"/>
                </a:lnTo>
                <a:lnTo>
                  <a:pt x="2802149" y="0"/>
                </a:lnTo>
                <a:lnTo>
                  <a:pt x="2754924" y="0"/>
                </a:lnTo>
                <a:lnTo>
                  <a:pt x="2677069" y="0"/>
                </a:lnTo>
                <a:lnTo>
                  <a:pt x="1274492" y="0"/>
                </a:lnTo>
                <a:lnTo>
                  <a:pt x="891391" y="0"/>
                </a:lnTo>
                <a:lnTo>
                  <a:pt x="891391" y="1089"/>
                </a:lnTo>
                <a:lnTo>
                  <a:pt x="891390" y="1089"/>
                </a:lnTo>
                <a:lnTo>
                  <a:pt x="891124" y="1089"/>
                </a:lnTo>
                <a:lnTo>
                  <a:pt x="879689" y="1089"/>
                </a:lnTo>
                <a:lnTo>
                  <a:pt x="844165" y="1089"/>
                </a:lnTo>
                <a:lnTo>
                  <a:pt x="844165" y="3362"/>
                </a:lnTo>
                <a:lnTo>
                  <a:pt x="805634" y="5226"/>
                </a:lnTo>
                <a:lnTo>
                  <a:pt x="802321" y="5701"/>
                </a:lnTo>
                <a:lnTo>
                  <a:pt x="800491" y="5795"/>
                </a:lnTo>
                <a:lnTo>
                  <a:pt x="783113" y="8449"/>
                </a:lnTo>
                <a:lnTo>
                  <a:pt x="727559" y="16399"/>
                </a:lnTo>
                <a:lnTo>
                  <a:pt x="721169" y="17910"/>
                </a:lnTo>
                <a:lnTo>
                  <a:pt x="717406" y="18484"/>
                </a:lnTo>
                <a:lnTo>
                  <a:pt x="697980" y="23394"/>
                </a:lnTo>
                <a:lnTo>
                  <a:pt x="651798" y="34313"/>
                </a:lnTo>
                <a:lnTo>
                  <a:pt x="642455" y="37423"/>
                </a:lnTo>
                <a:lnTo>
                  <a:pt x="637004" y="38800"/>
                </a:lnTo>
                <a:lnTo>
                  <a:pt x="618418" y="45422"/>
                </a:lnTo>
                <a:lnTo>
                  <a:pt x="578659" y="58657"/>
                </a:lnTo>
                <a:lnTo>
                  <a:pt x="566594" y="63891"/>
                </a:lnTo>
                <a:lnTo>
                  <a:pt x="559656" y="66364"/>
                </a:lnTo>
                <a:lnTo>
                  <a:pt x="542827" y="74202"/>
                </a:lnTo>
                <a:lnTo>
                  <a:pt x="508443" y="89119"/>
                </a:lnTo>
                <a:lnTo>
                  <a:pt x="493927" y="96979"/>
                </a:lnTo>
                <a:lnTo>
                  <a:pt x="485730" y="100797"/>
                </a:lnTo>
                <a:lnTo>
                  <a:pt x="470995" y="109396"/>
                </a:lnTo>
                <a:lnTo>
                  <a:pt x="441454" y="125391"/>
                </a:lnTo>
                <a:lnTo>
                  <a:pt x="424802" y="136352"/>
                </a:lnTo>
                <a:lnTo>
                  <a:pt x="415596" y="141724"/>
                </a:lnTo>
                <a:lnTo>
                  <a:pt x="403056" y="150665"/>
                </a:lnTo>
                <a:lnTo>
                  <a:pt x="377997" y="167159"/>
                </a:lnTo>
                <a:lnTo>
                  <a:pt x="359561" y="181680"/>
                </a:lnTo>
                <a:lnTo>
                  <a:pt x="349622" y="188766"/>
                </a:lnTo>
                <a:lnTo>
                  <a:pt x="339257" y="197671"/>
                </a:lnTo>
                <a:lnTo>
                  <a:pt x="318377" y="214115"/>
                </a:lnTo>
                <a:lnTo>
                  <a:pt x="298544" y="232644"/>
                </a:lnTo>
                <a:lnTo>
                  <a:pt x="288180" y="241547"/>
                </a:lnTo>
                <a:lnTo>
                  <a:pt x="279890" y="250071"/>
                </a:lnTo>
                <a:lnTo>
                  <a:pt x="262898" y="265946"/>
                </a:lnTo>
                <a:lnTo>
                  <a:pt x="242085" y="288944"/>
                </a:lnTo>
                <a:lnTo>
                  <a:pt x="231637" y="299687"/>
                </a:lnTo>
                <a:lnTo>
                  <a:pt x="225275" y="307520"/>
                </a:lnTo>
                <a:lnTo>
                  <a:pt x="211862" y="322342"/>
                </a:lnTo>
                <a:lnTo>
                  <a:pt x="190506" y="350326"/>
                </a:lnTo>
                <a:lnTo>
                  <a:pt x="180363" y="362811"/>
                </a:lnTo>
                <a:lnTo>
                  <a:pt x="175743" y="369669"/>
                </a:lnTo>
                <a:lnTo>
                  <a:pt x="165574" y="382992"/>
                </a:lnTo>
                <a:lnTo>
                  <a:pt x="144110" y="416618"/>
                </a:lnTo>
                <a:lnTo>
                  <a:pt x="134728" y="430542"/>
                </a:lnTo>
                <a:lnTo>
                  <a:pt x="131630" y="436167"/>
                </a:lnTo>
                <a:lnTo>
                  <a:pt x="124340" y="447585"/>
                </a:lnTo>
                <a:lnTo>
                  <a:pt x="103153" y="487877"/>
                </a:lnTo>
                <a:lnTo>
                  <a:pt x="95100" y="502499"/>
                </a:lnTo>
                <a:lnTo>
                  <a:pt x="93274" y="506663"/>
                </a:lnTo>
                <a:lnTo>
                  <a:pt x="88463" y="515811"/>
                </a:lnTo>
                <a:lnTo>
                  <a:pt x="67759" y="564832"/>
                </a:lnTo>
                <a:lnTo>
                  <a:pt x="61850" y="578307"/>
                </a:lnTo>
                <a:lnTo>
                  <a:pt x="61016" y="580801"/>
                </a:lnTo>
                <a:lnTo>
                  <a:pt x="58246" y="587360"/>
                </a:lnTo>
                <a:lnTo>
                  <a:pt x="37462" y="651256"/>
                </a:lnTo>
                <a:lnTo>
                  <a:pt x="35344" y="657589"/>
                </a:lnTo>
                <a:lnTo>
                  <a:pt x="35195" y="658226"/>
                </a:lnTo>
                <a:lnTo>
                  <a:pt x="33994" y="661917"/>
                </a:lnTo>
                <a:cubicBezTo>
                  <a:pt x="19882" y="712558"/>
                  <a:pt x="9949" y="764997"/>
                  <a:pt x="4602" y="818822"/>
                </a:cubicBezTo>
                <a:lnTo>
                  <a:pt x="4426" y="822387"/>
                </a:lnTo>
                <a:lnTo>
                  <a:pt x="4051" y="825062"/>
                </a:lnTo>
                <a:lnTo>
                  <a:pt x="2008" y="869160"/>
                </a:lnTo>
                <a:lnTo>
                  <a:pt x="1" y="869160"/>
                </a:lnTo>
                <a:lnTo>
                  <a:pt x="1" y="911944"/>
                </a:lnTo>
                <a:lnTo>
                  <a:pt x="0" y="911952"/>
                </a:lnTo>
                <a:lnTo>
                  <a:pt x="1" y="911961"/>
                </a:lnTo>
                <a:lnTo>
                  <a:pt x="1" y="912498"/>
                </a:lnTo>
                <a:lnTo>
                  <a:pt x="1" y="921144"/>
                </a:lnTo>
                <a:lnTo>
                  <a:pt x="0" y="921144"/>
                </a:lnTo>
                <a:lnTo>
                  <a:pt x="0" y="1330400"/>
                </a:lnTo>
                <a:lnTo>
                  <a:pt x="0" y="1339592"/>
                </a:lnTo>
                <a:lnTo>
                  <a:pt x="0" y="1475768"/>
                </a:lnTo>
                <a:lnTo>
                  <a:pt x="0" y="1475769"/>
                </a:lnTo>
                <a:lnTo>
                  <a:pt x="0" y="1475770"/>
                </a:lnTo>
                <a:lnTo>
                  <a:pt x="0" y="1833095"/>
                </a:lnTo>
                <a:lnTo>
                  <a:pt x="0" y="1894216"/>
                </a:lnTo>
                <a:lnTo>
                  <a:pt x="0" y="1894217"/>
                </a:lnTo>
                <a:lnTo>
                  <a:pt x="0" y="1894218"/>
                </a:lnTo>
                <a:lnTo>
                  <a:pt x="0" y="2251543"/>
                </a:lnTo>
                <a:lnTo>
                  <a:pt x="0" y="2396911"/>
                </a:lnTo>
                <a:lnTo>
                  <a:pt x="0" y="2815359"/>
                </a:lnTo>
                <a:lnTo>
                  <a:pt x="0" y="3308853"/>
                </a:lnTo>
                <a:close/>
              </a:path>
            </a:pathLst>
          </a:custGeom>
          <a:solidFill>
            <a:srgbClr val="1D316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pic>
        <p:nvPicPr>
          <p:cNvPr id="359" name="Graphic 358">
            <a:extLst>
              <a:ext uri="{FF2B5EF4-FFF2-40B4-BE49-F238E27FC236}">
                <a16:creationId xmlns:a16="http://schemas.microsoft.com/office/drawing/2014/main" id="{1BDCE869-3CFA-F946-94D7-A6FE0C2ABB55}"/>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5400000">
            <a:off x="100761" y="734815"/>
            <a:ext cx="686301" cy="693809"/>
          </a:xfrm>
          <a:prstGeom prst="rect">
            <a:avLst/>
          </a:prstGeom>
        </p:spPr>
      </p:pic>
      <p:sp>
        <p:nvSpPr>
          <p:cNvPr id="361" name="Freeform: Shape 90">
            <a:extLst>
              <a:ext uri="{FF2B5EF4-FFF2-40B4-BE49-F238E27FC236}">
                <a16:creationId xmlns:a16="http://schemas.microsoft.com/office/drawing/2014/main" id="{12DE67FE-FCDF-8D4C-8F8A-CA29008023C9}"/>
              </a:ext>
            </a:extLst>
          </p:cNvPr>
          <p:cNvSpPr/>
          <p:nvPr/>
        </p:nvSpPr>
        <p:spPr>
          <a:xfrm>
            <a:off x="856001" y="823838"/>
            <a:ext cx="3225573" cy="601998"/>
          </a:xfrm>
          <a:custGeom>
            <a:avLst/>
            <a:gdLst>
              <a:gd name="connsiteX0" fmla="*/ 325384 w 4047850"/>
              <a:gd name="connsiteY0" fmla="*/ 0 h 651348"/>
              <a:gd name="connsiteX1" fmla="*/ 593248 w 4047850"/>
              <a:gd name="connsiteY1" fmla="*/ 0 h 651348"/>
              <a:gd name="connsiteX2" fmla="*/ 1005630 w 4047850"/>
              <a:gd name="connsiteY2" fmla="*/ 0 h 651348"/>
              <a:gd name="connsiteX3" fmla="*/ 1022869 w 4047850"/>
              <a:gd name="connsiteY3" fmla="*/ 0 h 651348"/>
              <a:gd name="connsiteX4" fmla="*/ 3042220 w 4047850"/>
              <a:gd name="connsiteY4" fmla="*/ 0 h 651348"/>
              <a:gd name="connsiteX5" fmla="*/ 3394765 w 4047850"/>
              <a:gd name="connsiteY5" fmla="*/ 0 h 651348"/>
              <a:gd name="connsiteX6" fmla="*/ 3722465 w 4047850"/>
              <a:gd name="connsiteY6" fmla="*/ 0 h 651348"/>
              <a:gd name="connsiteX7" fmla="*/ 3739704 w 4047850"/>
              <a:gd name="connsiteY7" fmla="*/ 0 h 651348"/>
              <a:gd name="connsiteX8" fmla="*/ 3739704 w 4047850"/>
              <a:gd name="connsiteY8" fmla="*/ 385 h 651348"/>
              <a:gd name="connsiteX9" fmla="*/ 4047850 w 4047850"/>
              <a:gd name="connsiteY9" fmla="*/ 385 h 651348"/>
              <a:gd name="connsiteX10" fmla="*/ 4047850 w 4047850"/>
              <a:gd name="connsiteY10" fmla="*/ 325477 h 651348"/>
              <a:gd name="connsiteX11" fmla="*/ 4047850 w 4047850"/>
              <a:gd name="connsiteY11" fmla="*/ 325669 h 651348"/>
              <a:gd name="connsiteX12" fmla="*/ 4047850 w 4047850"/>
              <a:gd name="connsiteY12" fmla="*/ 325672 h 651348"/>
              <a:gd name="connsiteX13" fmla="*/ 4047850 w 4047850"/>
              <a:gd name="connsiteY13" fmla="*/ 325675 h 651348"/>
              <a:gd name="connsiteX14" fmla="*/ 4047850 w 4047850"/>
              <a:gd name="connsiteY14" fmla="*/ 340954 h 651348"/>
              <a:gd name="connsiteX15" fmla="*/ 4047117 w 4047850"/>
              <a:gd name="connsiteY15" fmla="*/ 340954 h 651348"/>
              <a:gd name="connsiteX16" fmla="*/ 4046371 w 4047850"/>
              <a:gd name="connsiteY16" fmla="*/ 356703 h 651348"/>
              <a:gd name="connsiteX17" fmla="*/ 4046235 w 4047850"/>
              <a:gd name="connsiteY17" fmla="*/ 357658 h 651348"/>
              <a:gd name="connsiteX18" fmla="*/ 4046171 w 4047850"/>
              <a:gd name="connsiteY18" fmla="*/ 358931 h 651348"/>
              <a:gd name="connsiteX19" fmla="*/ 4035441 w 4047850"/>
              <a:gd name="connsiteY19" fmla="*/ 414965 h 651348"/>
              <a:gd name="connsiteX20" fmla="*/ 4035003 w 4047850"/>
              <a:gd name="connsiteY20" fmla="*/ 416283 h 651348"/>
              <a:gd name="connsiteX21" fmla="*/ 4034948 w 4047850"/>
              <a:gd name="connsiteY21" fmla="*/ 416510 h 651348"/>
              <a:gd name="connsiteX22" fmla="*/ 4034176 w 4047850"/>
              <a:gd name="connsiteY22" fmla="*/ 418772 h 651348"/>
              <a:gd name="connsiteX23" fmla="*/ 4026589 w 4047850"/>
              <a:gd name="connsiteY23" fmla="*/ 441591 h 651348"/>
              <a:gd name="connsiteX24" fmla="*/ 4025578 w 4047850"/>
              <a:gd name="connsiteY24" fmla="*/ 443933 h 651348"/>
              <a:gd name="connsiteX25" fmla="*/ 4025273 w 4047850"/>
              <a:gd name="connsiteY25" fmla="*/ 444823 h 651348"/>
              <a:gd name="connsiteX26" fmla="*/ 4023116 w 4047850"/>
              <a:gd name="connsiteY26" fmla="*/ 449636 h 651348"/>
              <a:gd name="connsiteX27" fmla="*/ 4015559 w 4047850"/>
              <a:gd name="connsiteY27" fmla="*/ 467142 h 651348"/>
              <a:gd name="connsiteX28" fmla="*/ 4013802 w 4047850"/>
              <a:gd name="connsiteY28" fmla="*/ 470409 h 651348"/>
              <a:gd name="connsiteX29" fmla="*/ 4013136 w 4047850"/>
              <a:gd name="connsiteY29" fmla="*/ 471896 h 651348"/>
              <a:gd name="connsiteX30" fmla="*/ 4010197 w 4047850"/>
              <a:gd name="connsiteY30" fmla="*/ 477118 h 651348"/>
              <a:gd name="connsiteX31" fmla="*/ 4002462 w 4047850"/>
              <a:gd name="connsiteY31" fmla="*/ 491507 h 651348"/>
              <a:gd name="connsiteX32" fmla="*/ 3999801 w 4047850"/>
              <a:gd name="connsiteY32" fmla="*/ 495585 h 651348"/>
              <a:gd name="connsiteX33" fmla="*/ 3998671 w 4047850"/>
              <a:gd name="connsiteY33" fmla="*/ 497594 h 651348"/>
              <a:gd name="connsiteX34" fmla="*/ 3995246 w 4047850"/>
              <a:gd name="connsiteY34" fmla="*/ 502566 h 651348"/>
              <a:gd name="connsiteX35" fmla="*/ 3987410 w 4047850"/>
              <a:gd name="connsiteY35" fmla="*/ 514574 h 651348"/>
              <a:gd name="connsiteX36" fmla="*/ 3983699 w 4047850"/>
              <a:gd name="connsiteY36" fmla="*/ 519333 h 651348"/>
              <a:gd name="connsiteX37" fmla="*/ 3982012 w 4047850"/>
              <a:gd name="connsiteY37" fmla="*/ 521781 h 651348"/>
              <a:gd name="connsiteX38" fmla="*/ 3978310 w 4047850"/>
              <a:gd name="connsiteY38" fmla="*/ 526240 h 651348"/>
              <a:gd name="connsiteX39" fmla="*/ 3970514 w 4047850"/>
              <a:gd name="connsiteY39" fmla="*/ 536234 h 651348"/>
              <a:gd name="connsiteX40" fmla="*/ 3965618 w 4047850"/>
              <a:gd name="connsiteY40" fmla="*/ 541527 h 651348"/>
              <a:gd name="connsiteX41" fmla="*/ 3963295 w 4047850"/>
              <a:gd name="connsiteY41" fmla="*/ 544324 h 651348"/>
              <a:gd name="connsiteX42" fmla="*/ 3959482 w 4047850"/>
              <a:gd name="connsiteY42" fmla="*/ 548161 h 651348"/>
              <a:gd name="connsiteX43" fmla="*/ 3951885 w 4047850"/>
              <a:gd name="connsiteY43" fmla="*/ 556374 h 651348"/>
              <a:gd name="connsiteX44" fmla="*/ 3945682 w 4047850"/>
              <a:gd name="connsiteY44" fmla="*/ 562043 h 651348"/>
              <a:gd name="connsiteX45" fmla="*/ 3942656 w 4047850"/>
              <a:gd name="connsiteY45" fmla="*/ 565087 h 651348"/>
              <a:gd name="connsiteX46" fmla="*/ 3938872 w 4047850"/>
              <a:gd name="connsiteY46" fmla="*/ 568267 h 651348"/>
              <a:gd name="connsiteX47" fmla="*/ 3931633 w 4047850"/>
              <a:gd name="connsiteY47" fmla="*/ 574884 h 651348"/>
              <a:gd name="connsiteX48" fmla="*/ 3924011 w 4047850"/>
              <a:gd name="connsiteY48" fmla="*/ 580756 h 651348"/>
              <a:gd name="connsiteX49" fmla="*/ 3920227 w 4047850"/>
              <a:gd name="connsiteY49" fmla="*/ 583936 h 651348"/>
              <a:gd name="connsiteX50" fmla="*/ 3916599 w 4047850"/>
              <a:gd name="connsiteY50" fmla="*/ 586467 h 651348"/>
              <a:gd name="connsiteX51" fmla="*/ 3909870 w 4047850"/>
              <a:gd name="connsiteY51" fmla="*/ 591652 h 651348"/>
              <a:gd name="connsiteX52" fmla="*/ 3900723 w 4047850"/>
              <a:gd name="connsiteY52" fmla="*/ 597543 h 651348"/>
              <a:gd name="connsiteX53" fmla="*/ 3896145 w 4047850"/>
              <a:gd name="connsiteY53" fmla="*/ 600736 h 651348"/>
              <a:gd name="connsiteX54" fmla="*/ 3892785 w 4047850"/>
              <a:gd name="connsiteY54" fmla="*/ 602655 h 651348"/>
              <a:gd name="connsiteX55" fmla="*/ 3886706 w 4047850"/>
              <a:gd name="connsiteY55" fmla="*/ 606569 h 651348"/>
              <a:gd name="connsiteX56" fmla="*/ 3875923 w 4047850"/>
              <a:gd name="connsiteY56" fmla="*/ 612281 h 651348"/>
              <a:gd name="connsiteX57" fmla="*/ 3870544 w 4047850"/>
              <a:gd name="connsiteY57" fmla="*/ 615352 h 651348"/>
              <a:gd name="connsiteX58" fmla="*/ 3867552 w 4047850"/>
              <a:gd name="connsiteY58" fmla="*/ 616715 h 651348"/>
              <a:gd name="connsiteX59" fmla="*/ 3862253 w 4047850"/>
              <a:gd name="connsiteY59" fmla="*/ 619522 h 651348"/>
              <a:gd name="connsiteX60" fmla="*/ 3849702 w 4047850"/>
              <a:gd name="connsiteY60" fmla="*/ 624849 h 651348"/>
              <a:gd name="connsiteX61" fmla="*/ 3843559 w 4047850"/>
              <a:gd name="connsiteY61" fmla="*/ 627649 h 651348"/>
              <a:gd name="connsiteX62" fmla="*/ 3841026 w 4047850"/>
              <a:gd name="connsiteY62" fmla="*/ 628532 h 651348"/>
              <a:gd name="connsiteX63" fmla="*/ 3836622 w 4047850"/>
              <a:gd name="connsiteY63" fmla="*/ 630401 h 651348"/>
              <a:gd name="connsiteX64" fmla="*/ 3822109 w 4047850"/>
              <a:gd name="connsiteY64" fmla="*/ 635127 h 651348"/>
              <a:gd name="connsiteX65" fmla="*/ 3815324 w 4047850"/>
              <a:gd name="connsiteY65" fmla="*/ 637492 h 651348"/>
              <a:gd name="connsiteX66" fmla="*/ 3813334 w 4047850"/>
              <a:gd name="connsiteY66" fmla="*/ 637984 h 651348"/>
              <a:gd name="connsiteX67" fmla="*/ 3809924 w 4047850"/>
              <a:gd name="connsiteY67" fmla="*/ 639095 h 651348"/>
              <a:gd name="connsiteX68" fmla="*/ 3793067 w 4047850"/>
              <a:gd name="connsiteY68" fmla="*/ 642994 h 651348"/>
              <a:gd name="connsiteX69" fmla="*/ 3785975 w 4047850"/>
              <a:gd name="connsiteY69" fmla="*/ 644747 h 651348"/>
              <a:gd name="connsiteX70" fmla="*/ 3784601 w 4047850"/>
              <a:gd name="connsiteY70" fmla="*/ 644952 h 651348"/>
              <a:gd name="connsiteX71" fmla="*/ 3782269 w 4047850"/>
              <a:gd name="connsiteY71" fmla="*/ 645492 h 651348"/>
              <a:gd name="connsiteX72" fmla="*/ 3761990 w 4047850"/>
              <a:gd name="connsiteY72" fmla="*/ 648331 h 651348"/>
              <a:gd name="connsiteX73" fmla="*/ 3755647 w 4047850"/>
              <a:gd name="connsiteY73" fmla="*/ 649279 h 651348"/>
              <a:gd name="connsiteX74" fmla="*/ 3754979 w 4047850"/>
              <a:gd name="connsiteY74" fmla="*/ 649313 h 651348"/>
              <a:gd name="connsiteX75" fmla="*/ 3753769 w 4047850"/>
              <a:gd name="connsiteY75" fmla="*/ 649482 h 651348"/>
              <a:gd name="connsiteX76" fmla="*/ 3739704 w 4047850"/>
              <a:gd name="connsiteY76" fmla="*/ 650148 h 651348"/>
              <a:gd name="connsiteX77" fmla="*/ 3739704 w 4047850"/>
              <a:gd name="connsiteY77" fmla="*/ 650959 h 651348"/>
              <a:gd name="connsiteX78" fmla="*/ 3726737 w 4047850"/>
              <a:gd name="connsiteY78" fmla="*/ 650959 h 651348"/>
              <a:gd name="connsiteX79" fmla="*/ 3722563 w 4047850"/>
              <a:gd name="connsiteY79" fmla="*/ 650959 h 651348"/>
              <a:gd name="connsiteX80" fmla="*/ 3722465 w 4047850"/>
              <a:gd name="connsiteY80" fmla="*/ 650959 h 651348"/>
              <a:gd name="connsiteX81" fmla="*/ 3722465 w 4047850"/>
              <a:gd name="connsiteY81" fmla="*/ 651348 h 651348"/>
              <a:gd name="connsiteX82" fmla="*/ 3394765 w 4047850"/>
              <a:gd name="connsiteY82" fmla="*/ 651348 h 651348"/>
              <a:gd name="connsiteX83" fmla="*/ 3042220 w 4047850"/>
              <a:gd name="connsiteY83" fmla="*/ 651348 h 651348"/>
              <a:gd name="connsiteX84" fmla="*/ 3024981 w 4047850"/>
              <a:gd name="connsiteY84" fmla="*/ 651348 h 651348"/>
              <a:gd name="connsiteX85" fmla="*/ 1005630 w 4047850"/>
              <a:gd name="connsiteY85" fmla="*/ 651348 h 651348"/>
              <a:gd name="connsiteX86" fmla="*/ 593248 w 4047850"/>
              <a:gd name="connsiteY86" fmla="*/ 651348 h 651348"/>
              <a:gd name="connsiteX87" fmla="*/ 325384 w 4047850"/>
              <a:gd name="connsiteY87" fmla="*/ 651348 h 651348"/>
              <a:gd name="connsiteX88" fmla="*/ 308146 w 4047850"/>
              <a:gd name="connsiteY88" fmla="*/ 651348 h 651348"/>
              <a:gd name="connsiteX89" fmla="*/ 308146 w 4047850"/>
              <a:gd name="connsiteY89" fmla="*/ 650963 h 651348"/>
              <a:gd name="connsiteX90" fmla="*/ 0 w 4047850"/>
              <a:gd name="connsiteY90" fmla="*/ 650963 h 651348"/>
              <a:gd name="connsiteX91" fmla="*/ 0 w 4047850"/>
              <a:gd name="connsiteY91" fmla="*/ 325871 h 651348"/>
              <a:gd name="connsiteX92" fmla="*/ 0 w 4047850"/>
              <a:gd name="connsiteY92" fmla="*/ 325679 h 651348"/>
              <a:gd name="connsiteX93" fmla="*/ 0 w 4047850"/>
              <a:gd name="connsiteY93" fmla="*/ 325676 h 651348"/>
              <a:gd name="connsiteX94" fmla="*/ 0 w 4047850"/>
              <a:gd name="connsiteY94" fmla="*/ 325673 h 651348"/>
              <a:gd name="connsiteX95" fmla="*/ 0 w 4047850"/>
              <a:gd name="connsiteY95" fmla="*/ 310394 h 651348"/>
              <a:gd name="connsiteX96" fmla="*/ 733 w 4047850"/>
              <a:gd name="connsiteY96" fmla="*/ 310394 h 651348"/>
              <a:gd name="connsiteX97" fmla="*/ 1478 w 4047850"/>
              <a:gd name="connsiteY97" fmla="*/ 294646 h 651348"/>
              <a:gd name="connsiteX98" fmla="*/ 1615 w 4047850"/>
              <a:gd name="connsiteY98" fmla="*/ 293690 h 651348"/>
              <a:gd name="connsiteX99" fmla="*/ 1679 w 4047850"/>
              <a:gd name="connsiteY99" fmla="*/ 292417 h 651348"/>
              <a:gd name="connsiteX100" fmla="*/ 12408 w 4047850"/>
              <a:gd name="connsiteY100" fmla="*/ 236384 h 651348"/>
              <a:gd name="connsiteX101" fmla="*/ 12847 w 4047850"/>
              <a:gd name="connsiteY101" fmla="*/ 235065 h 651348"/>
              <a:gd name="connsiteX102" fmla="*/ 12901 w 4047850"/>
              <a:gd name="connsiteY102" fmla="*/ 234838 h 651348"/>
              <a:gd name="connsiteX103" fmla="*/ 13674 w 4047850"/>
              <a:gd name="connsiteY103" fmla="*/ 232576 h 651348"/>
              <a:gd name="connsiteX104" fmla="*/ 21261 w 4047850"/>
              <a:gd name="connsiteY104" fmla="*/ 209757 h 651348"/>
              <a:gd name="connsiteX105" fmla="*/ 22272 w 4047850"/>
              <a:gd name="connsiteY105" fmla="*/ 207415 h 651348"/>
              <a:gd name="connsiteX106" fmla="*/ 22576 w 4047850"/>
              <a:gd name="connsiteY106" fmla="*/ 206525 h 651348"/>
              <a:gd name="connsiteX107" fmla="*/ 24734 w 4047850"/>
              <a:gd name="connsiteY107" fmla="*/ 201713 h 651348"/>
              <a:gd name="connsiteX108" fmla="*/ 32291 w 4047850"/>
              <a:gd name="connsiteY108" fmla="*/ 184206 h 651348"/>
              <a:gd name="connsiteX109" fmla="*/ 34047 w 4047850"/>
              <a:gd name="connsiteY109" fmla="*/ 180939 h 651348"/>
              <a:gd name="connsiteX110" fmla="*/ 34714 w 4047850"/>
              <a:gd name="connsiteY110" fmla="*/ 179452 h 651348"/>
              <a:gd name="connsiteX111" fmla="*/ 37653 w 4047850"/>
              <a:gd name="connsiteY111" fmla="*/ 174231 h 651348"/>
              <a:gd name="connsiteX112" fmla="*/ 45388 w 4047850"/>
              <a:gd name="connsiteY112" fmla="*/ 159842 h 651348"/>
              <a:gd name="connsiteX113" fmla="*/ 48048 w 4047850"/>
              <a:gd name="connsiteY113" fmla="*/ 155764 h 651348"/>
              <a:gd name="connsiteX114" fmla="*/ 49179 w 4047850"/>
              <a:gd name="connsiteY114" fmla="*/ 153755 h 651348"/>
              <a:gd name="connsiteX115" fmla="*/ 52604 w 4047850"/>
              <a:gd name="connsiteY115" fmla="*/ 148783 h 651348"/>
              <a:gd name="connsiteX116" fmla="*/ 60439 w 4047850"/>
              <a:gd name="connsiteY116" fmla="*/ 136774 h 651348"/>
              <a:gd name="connsiteX117" fmla="*/ 64151 w 4047850"/>
              <a:gd name="connsiteY117" fmla="*/ 132016 h 651348"/>
              <a:gd name="connsiteX118" fmla="*/ 65838 w 4047850"/>
              <a:gd name="connsiteY118" fmla="*/ 129567 h 651348"/>
              <a:gd name="connsiteX119" fmla="*/ 69540 w 4047850"/>
              <a:gd name="connsiteY119" fmla="*/ 125108 h 651348"/>
              <a:gd name="connsiteX120" fmla="*/ 77336 w 4047850"/>
              <a:gd name="connsiteY120" fmla="*/ 115115 h 651348"/>
              <a:gd name="connsiteX121" fmla="*/ 82232 w 4047850"/>
              <a:gd name="connsiteY121" fmla="*/ 109821 h 651348"/>
              <a:gd name="connsiteX122" fmla="*/ 84554 w 4047850"/>
              <a:gd name="connsiteY122" fmla="*/ 107024 h 651348"/>
              <a:gd name="connsiteX123" fmla="*/ 88368 w 4047850"/>
              <a:gd name="connsiteY123" fmla="*/ 103188 h 651348"/>
              <a:gd name="connsiteX124" fmla="*/ 95965 w 4047850"/>
              <a:gd name="connsiteY124" fmla="*/ 94974 h 651348"/>
              <a:gd name="connsiteX125" fmla="*/ 102168 w 4047850"/>
              <a:gd name="connsiteY125" fmla="*/ 89305 h 651348"/>
              <a:gd name="connsiteX126" fmla="*/ 105194 w 4047850"/>
              <a:gd name="connsiteY126" fmla="*/ 86261 h 651348"/>
              <a:gd name="connsiteX127" fmla="*/ 108977 w 4047850"/>
              <a:gd name="connsiteY127" fmla="*/ 83081 h 651348"/>
              <a:gd name="connsiteX128" fmla="*/ 116217 w 4047850"/>
              <a:gd name="connsiteY128" fmla="*/ 76465 h 651348"/>
              <a:gd name="connsiteX129" fmla="*/ 123838 w 4047850"/>
              <a:gd name="connsiteY129" fmla="*/ 70592 h 651348"/>
              <a:gd name="connsiteX130" fmla="*/ 127623 w 4047850"/>
              <a:gd name="connsiteY130" fmla="*/ 67412 h 651348"/>
              <a:gd name="connsiteX131" fmla="*/ 131250 w 4047850"/>
              <a:gd name="connsiteY131" fmla="*/ 64881 h 651348"/>
              <a:gd name="connsiteX132" fmla="*/ 137980 w 4047850"/>
              <a:gd name="connsiteY132" fmla="*/ 59696 h 651348"/>
              <a:gd name="connsiteX133" fmla="*/ 147127 w 4047850"/>
              <a:gd name="connsiteY133" fmla="*/ 53805 h 651348"/>
              <a:gd name="connsiteX134" fmla="*/ 151705 w 4047850"/>
              <a:gd name="connsiteY134" fmla="*/ 50612 h 651348"/>
              <a:gd name="connsiteX135" fmla="*/ 155065 w 4047850"/>
              <a:gd name="connsiteY135" fmla="*/ 48694 h 651348"/>
              <a:gd name="connsiteX136" fmla="*/ 161144 w 4047850"/>
              <a:gd name="connsiteY136" fmla="*/ 44779 h 651348"/>
              <a:gd name="connsiteX137" fmla="*/ 171927 w 4047850"/>
              <a:gd name="connsiteY137" fmla="*/ 39067 h 651348"/>
              <a:gd name="connsiteX138" fmla="*/ 177306 w 4047850"/>
              <a:gd name="connsiteY138" fmla="*/ 35997 h 651348"/>
              <a:gd name="connsiteX139" fmla="*/ 180298 w 4047850"/>
              <a:gd name="connsiteY139" fmla="*/ 34633 h 651348"/>
              <a:gd name="connsiteX140" fmla="*/ 185596 w 4047850"/>
              <a:gd name="connsiteY140" fmla="*/ 31826 h 651348"/>
              <a:gd name="connsiteX141" fmla="*/ 198148 w 4047850"/>
              <a:gd name="connsiteY141" fmla="*/ 26499 h 651348"/>
              <a:gd name="connsiteX142" fmla="*/ 204291 w 4047850"/>
              <a:gd name="connsiteY142" fmla="*/ 23700 h 651348"/>
              <a:gd name="connsiteX143" fmla="*/ 206823 w 4047850"/>
              <a:gd name="connsiteY143" fmla="*/ 22817 h 651348"/>
              <a:gd name="connsiteX144" fmla="*/ 211228 w 4047850"/>
              <a:gd name="connsiteY144" fmla="*/ 20947 h 651348"/>
              <a:gd name="connsiteX145" fmla="*/ 225741 w 4047850"/>
              <a:gd name="connsiteY145" fmla="*/ 16221 h 651348"/>
              <a:gd name="connsiteX146" fmla="*/ 232526 w 4047850"/>
              <a:gd name="connsiteY146" fmla="*/ 13856 h 651348"/>
              <a:gd name="connsiteX147" fmla="*/ 234516 w 4047850"/>
              <a:gd name="connsiteY147" fmla="*/ 13364 h 651348"/>
              <a:gd name="connsiteX148" fmla="*/ 237926 w 4047850"/>
              <a:gd name="connsiteY148" fmla="*/ 12254 h 651348"/>
              <a:gd name="connsiteX149" fmla="*/ 254783 w 4047850"/>
              <a:gd name="connsiteY149" fmla="*/ 8354 h 651348"/>
              <a:gd name="connsiteX150" fmla="*/ 261875 w 4047850"/>
              <a:gd name="connsiteY150" fmla="*/ 6601 h 651348"/>
              <a:gd name="connsiteX151" fmla="*/ 263248 w 4047850"/>
              <a:gd name="connsiteY151" fmla="*/ 6396 h 651348"/>
              <a:gd name="connsiteX152" fmla="*/ 265581 w 4047850"/>
              <a:gd name="connsiteY152" fmla="*/ 5856 h 651348"/>
              <a:gd name="connsiteX153" fmla="*/ 285860 w 4047850"/>
              <a:gd name="connsiteY153" fmla="*/ 3017 h 651348"/>
              <a:gd name="connsiteX154" fmla="*/ 292203 w 4047850"/>
              <a:gd name="connsiteY154" fmla="*/ 2069 h 651348"/>
              <a:gd name="connsiteX155" fmla="*/ 292871 w 4047850"/>
              <a:gd name="connsiteY155" fmla="*/ 2036 h 651348"/>
              <a:gd name="connsiteX156" fmla="*/ 294080 w 4047850"/>
              <a:gd name="connsiteY156" fmla="*/ 1866 h 651348"/>
              <a:gd name="connsiteX157" fmla="*/ 308146 w 4047850"/>
              <a:gd name="connsiteY157" fmla="*/ 1201 h 651348"/>
              <a:gd name="connsiteX158" fmla="*/ 308146 w 4047850"/>
              <a:gd name="connsiteY158" fmla="*/ 389 h 651348"/>
              <a:gd name="connsiteX159" fmla="*/ 321113 w 4047850"/>
              <a:gd name="connsiteY159" fmla="*/ 389 h 651348"/>
              <a:gd name="connsiteX160" fmla="*/ 325287 w 4047850"/>
              <a:gd name="connsiteY160" fmla="*/ 389 h 651348"/>
              <a:gd name="connsiteX161" fmla="*/ 325384 w 4047850"/>
              <a:gd name="connsiteY161" fmla="*/ 389 h 65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4047850" h="651348">
                <a:moveTo>
                  <a:pt x="325384" y="0"/>
                </a:moveTo>
                <a:lnTo>
                  <a:pt x="593248" y="0"/>
                </a:lnTo>
                <a:lnTo>
                  <a:pt x="1005630" y="0"/>
                </a:lnTo>
                <a:lnTo>
                  <a:pt x="1022869" y="0"/>
                </a:lnTo>
                <a:lnTo>
                  <a:pt x="3042220" y="0"/>
                </a:lnTo>
                <a:lnTo>
                  <a:pt x="3394765" y="0"/>
                </a:lnTo>
                <a:lnTo>
                  <a:pt x="3722465" y="0"/>
                </a:lnTo>
                <a:lnTo>
                  <a:pt x="3739704" y="0"/>
                </a:lnTo>
                <a:lnTo>
                  <a:pt x="3739704" y="385"/>
                </a:lnTo>
                <a:lnTo>
                  <a:pt x="4047850" y="385"/>
                </a:lnTo>
                <a:lnTo>
                  <a:pt x="4047850" y="325477"/>
                </a:lnTo>
                <a:lnTo>
                  <a:pt x="4047850" y="325669"/>
                </a:lnTo>
                <a:lnTo>
                  <a:pt x="4047850" y="325672"/>
                </a:lnTo>
                <a:lnTo>
                  <a:pt x="4047850" y="325675"/>
                </a:lnTo>
                <a:lnTo>
                  <a:pt x="4047850" y="340954"/>
                </a:lnTo>
                <a:lnTo>
                  <a:pt x="4047117" y="340954"/>
                </a:lnTo>
                <a:lnTo>
                  <a:pt x="4046371" y="356703"/>
                </a:lnTo>
                <a:lnTo>
                  <a:pt x="4046235" y="357658"/>
                </a:lnTo>
                <a:lnTo>
                  <a:pt x="4046171" y="358931"/>
                </a:lnTo>
                <a:cubicBezTo>
                  <a:pt x="4044218" y="378153"/>
                  <a:pt x="4040593" y="396880"/>
                  <a:pt x="4035441" y="414965"/>
                </a:cubicBezTo>
                <a:lnTo>
                  <a:pt x="4035003" y="416283"/>
                </a:lnTo>
                <a:lnTo>
                  <a:pt x="4034948" y="416510"/>
                </a:lnTo>
                <a:lnTo>
                  <a:pt x="4034176" y="418772"/>
                </a:lnTo>
                <a:lnTo>
                  <a:pt x="4026589" y="441591"/>
                </a:lnTo>
                <a:lnTo>
                  <a:pt x="4025578" y="443933"/>
                </a:lnTo>
                <a:lnTo>
                  <a:pt x="4025273" y="444823"/>
                </a:lnTo>
                <a:lnTo>
                  <a:pt x="4023116" y="449636"/>
                </a:lnTo>
                <a:lnTo>
                  <a:pt x="4015559" y="467142"/>
                </a:lnTo>
                <a:lnTo>
                  <a:pt x="4013802" y="470409"/>
                </a:lnTo>
                <a:lnTo>
                  <a:pt x="4013136" y="471896"/>
                </a:lnTo>
                <a:lnTo>
                  <a:pt x="4010197" y="477118"/>
                </a:lnTo>
                <a:lnTo>
                  <a:pt x="4002462" y="491507"/>
                </a:lnTo>
                <a:lnTo>
                  <a:pt x="3999801" y="495585"/>
                </a:lnTo>
                <a:lnTo>
                  <a:pt x="3998671" y="497594"/>
                </a:lnTo>
                <a:lnTo>
                  <a:pt x="3995246" y="502566"/>
                </a:lnTo>
                <a:lnTo>
                  <a:pt x="3987410" y="514574"/>
                </a:lnTo>
                <a:lnTo>
                  <a:pt x="3983699" y="519333"/>
                </a:lnTo>
                <a:lnTo>
                  <a:pt x="3982012" y="521781"/>
                </a:lnTo>
                <a:lnTo>
                  <a:pt x="3978310" y="526240"/>
                </a:lnTo>
                <a:lnTo>
                  <a:pt x="3970514" y="536234"/>
                </a:lnTo>
                <a:lnTo>
                  <a:pt x="3965618" y="541527"/>
                </a:lnTo>
                <a:lnTo>
                  <a:pt x="3963295" y="544324"/>
                </a:lnTo>
                <a:lnTo>
                  <a:pt x="3959482" y="548161"/>
                </a:lnTo>
                <a:lnTo>
                  <a:pt x="3951885" y="556374"/>
                </a:lnTo>
                <a:lnTo>
                  <a:pt x="3945682" y="562043"/>
                </a:lnTo>
                <a:lnTo>
                  <a:pt x="3942656" y="565087"/>
                </a:lnTo>
                <a:lnTo>
                  <a:pt x="3938872" y="568267"/>
                </a:lnTo>
                <a:lnTo>
                  <a:pt x="3931633" y="574884"/>
                </a:lnTo>
                <a:lnTo>
                  <a:pt x="3924011" y="580756"/>
                </a:lnTo>
                <a:lnTo>
                  <a:pt x="3920227" y="583936"/>
                </a:lnTo>
                <a:lnTo>
                  <a:pt x="3916599" y="586467"/>
                </a:lnTo>
                <a:lnTo>
                  <a:pt x="3909870" y="591652"/>
                </a:lnTo>
                <a:lnTo>
                  <a:pt x="3900723" y="597543"/>
                </a:lnTo>
                <a:lnTo>
                  <a:pt x="3896145" y="600736"/>
                </a:lnTo>
                <a:lnTo>
                  <a:pt x="3892785" y="602655"/>
                </a:lnTo>
                <a:lnTo>
                  <a:pt x="3886706" y="606569"/>
                </a:lnTo>
                <a:lnTo>
                  <a:pt x="3875923" y="612281"/>
                </a:lnTo>
                <a:lnTo>
                  <a:pt x="3870544" y="615352"/>
                </a:lnTo>
                <a:lnTo>
                  <a:pt x="3867552" y="616715"/>
                </a:lnTo>
                <a:lnTo>
                  <a:pt x="3862253" y="619522"/>
                </a:lnTo>
                <a:lnTo>
                  <a:pt x="3849702" y="624849"/>
                </a:lnTo>
                <a:lnTo>
                  <a:pt x="3843559" y="627649"/>
                </a:lnTo>
                <a:lnTo>
                  <a:pt x="3841026" y="628532"/>
                </a:lnTo>
                <a:lnTo>
                  <a:pt x="3836622" y="630401"/>
                </a:lnTo>
                <a:lnTo>
                  <a:pt x="3822109" y="635127"/>
                </a:lnTo>
                <a:lnTo>
                  <a:pt x="3815324" y="637492"/>
                </a:lnTo>
                <a:lnTo>
                  <a:pt x="3813334" y="637984"/>
                </a:lnTo>
                <a:lnTo>
                  <a:pt x="3809924" y="639095"/>
                </a:lnTo>
                <a:lnTo>
                  <a:pt x="3793067" y="642994"/>
                </a:lnTo>
                <a:lnTo>
                  <a:pt x="3785975" y="644747"/>
                </a:lnTo>
                <a:lnTo>
                  <a:pt x="3784601" y="644952"/>
                </a:lnTo>
                <a:lnTo>
                  <a:pt x="3782269" y="645492"/>
                </a:lnTo>
                <a:lnTo>
                  <a:pt x="3761990" y="648331"/>
                </a:lnTo>
                <a:lnTo>
                  <a:pt x="3755647" y="649279"/>
                </a:lnTo>
                <a:lnTo>
                  <a:pt x="3754979" y="649313"/>
                </a:lnTo>
                <a:lnTo>
                  <a:pt x="3753769" y="649482"/>
                </a:lnTo>
                <a:lnTo>
                  <a:pt x="3739704" y="650148"/>
                </a:lnTo>
                <a:lnTo>
                  <a:pt x="3739704" y="650959"/>
                </a:lnTo>
                <a:lnTo>
                  <a:pt x="3726737" y="650959"/>
                </a:lnTo>
                <a:lnTo>
                  <a:pt x="3722563" y="650959"/>
                </a:lnTo>
                <a:lnTo>
                  <a:pt x="3722465" y="650959"/>
                </a:lnTo>
                <a:lnTo>
                  <a:pt x="3722465" y="651348"/>
                </a:lnTo>
                <a:lnTo>
                  <a:pt x="3394765" y="651348"/>
                </a:lnTo>
                <a:lnTo>
                  <a:pt x="3042220" y="651348"/>
                </a:lnTo>
                <a:lnTo>
                  <a:pt x="3024981" y="651348"/>
                </a:lnTo>
                <a:lnTo>
                  <a:pt x="1005630" y="651348"/>
                </a:lnTo>
                <a:lnTo>
                  <a:pt x="593248" y="651348"/>
                </a:lnTo>
                <a:lnTo>
                  <a:pt x="325384" y="651348"/>
                </a:lnTo>
                <a:lnTo>
                  <a:pt x="308146" y="651348"/>
                </a:lnTo>
                <a:lnTo>
                  <a:pt x="308146" y="650963"/>
                </a:lnTo>
                <a:lnTo>
                  <a:pt x="0" y="650963"/>
                </a:lnTo>
                <a:lnTo>
                  <a:pt x="0" y="325871"/>
                </a:lnTo>
                <a:lnTo>
                  <a:pt x="0" y="325679"/>
                </a:lnTo>
                <a:lnTo>
                  <a:pt x="0" y="325676"/>
                </a:lnTo>
                <a:lnTo>
                  <a:pt x="0" y="325673"/>
                </a:lnTo>
                <a:lnTo>
                  <a:pt x="0" y="310394"/>
                </a:lnTo>
                <a:lnTo>
                  <a:pt x="733" y="310394"/>
                </a:lnTo>
                <a:lnTo>
                  <a:pt x="1478" y="294646"/>
                </a:lnTo>
                <a:lnTo>
                  <a:pt x="1615" y="293690"/>
                </a:lnTo>
                <a:lnTo>
                  <a:pt x="1679" y="292417"/>
                </a:lnTo>
                <a:cubicBezTo>
                  <a:pt x="3631" y="273195"/>
                  <a:pt x="7257" y="254468"/>
                  <a:pt x="12408" y="236384"/>
                </a:cubicBezTo>
                <a:lnTo>
                  <a:pt x="12847" y="235065"/>
                </a:lnTo>
                <a:lnTo>
                  <a:pt x="12901" y="234838"/>
                </a:lnTo>
                <a:lnTo>
                  <a:pt x="13674" y="232576"/>
                </a:lnTo>
                <a:lnTo>
                  <a:pt x="21261" y="209757"/>
                </a:lnTo>
                <a:lnTo>
                  <a:pt x="22272" y="207415"/>
                </a:lnTo>
                <a:lnTo>
                  <a:pt x="22576" y="206525"/>
                </a:lnTo>
                <a:lnTo>
                  <a:pt x="24734" y="201713"/>
                </a:lnTo>
                <a:lnTo>
                  <a:pt x="32291" y="184206"/>
                </a:lnTo>
                <a:lnTo>
                  <a:pt x="34047" y="180939"/>
                </a:lnTo>
                <a:lnTo>
                  <a:pt x="34714" y="179452"/>
                </a:lnTo>
                <a:lnTo>
                  <a:pt x="37653" y="174231"/>
                </a:lnTo>
                <a:lnTo>
                  <a:pt x="45388" y="159842"/>
                </a:lnTo>
                <a:lnTo>
                  <a:pt x="48048" y="155764"/>
                </a:lnTo>
                <a:lnTo>
                  <a:pt x="49179" y="153755"/>
                </a:lnTo>
                <a:lnTo>
                  <a:pt x="52604" y="148783"/>
                </a:lnTo>
                <a:lnTo>
                  <a:pt x="60439" y="136774"/>
                </a:lnTo>
                <a:lnTo>
                  <a:pt x="64151" y="132016"/>
                </a:lnTo>
                <a:lnTo>
                  <a:pt x="65838" y="129567"/>
                </a:lnTo>
                <a:lnTo>
                  <a:pt x="69540" y="125108"/>
                </a:lnTo>
                <a:lnTo>
                  <a:pt x="77336" y="115115"/>
                </a:lnTo>
                <a:lnTo>
                  <a:pt x="82232" y="109821"/>
                </a:lnTo>
                <a:lnTo>
                  <a:pt x="84554" y="107024"/>
                </a:lnTo>
                <a:lnTo>
                  <a:pt x="88368" y="103188"/>
                </a:lnTo>
                <a:lnTo>
                  <a:pt x="95965" y="94974"/>
                </a:lnTo>
                <a:lnTo>
                  <a:pt x="102168" y="89305"/>
                </a:lnTo>
                <a:lnTo>
                  <a:pt x="105194" y="86261"/>
                </a:lnTo>
                <a:lnTo>
                  <a:pt x="108977" y="83081"/>
                </a:lnTo>
                <a:lnTo>
                  <a:pt x="116217" y="76465"/>
                </a:lnTo>
                <a:lnTo>
                  <a:pt x="123838" y="70592"/>
                </a:lnTo>
                <a:lnTo>
                  <a:pt x="127623" y="67412"/>
                </a:lnTo>
                <a:lnTo>
                  <a:pt x="131250" y="64881"/>
                </a:lnTo>
                <a:lnTo>
                  <a:pt x="137980" y="59696"/>
                </a:lnTo>
                <a:lnTo>
                  <a:pt x="147127" y="53805"/>
                </a:lnTo>
                <a:lnTo>
                  <a:pt x="151705" y="50612"/>
                </a:lnTo>
                <a:lnTo>
                  <a:pt x="155065" y="48694"/>
                </a:lnTo>
                <a:lnTo>
                  <a:pt x="161144" y="44779"/>
                </a:lnTo>
                <a:lnTo>
                  <a:pt x="171927" y="39067"/>
                </a:lnTo>
                <a:lnTo>
                  <a:pt x="177306" y="35997"/>
                </a:lnTo>
                <a:lnTo>
                  <a:pt x="180298" y="34633"/>
                </a:lnTo>
                <a:lnTo>
                  <a:pt x="185596" y="31826"/>
                </a:lnTo>
                <a:lnTo>
                  <a:pt x="198148" y="26499"/>
                </a:lnTo>
                <a:lnTo>
                  <a:pt x="204291" y="23700"/>
                </a:lnTo>
                <a:lnTo>
                  <a:pt x="206823" y="22817"/>
                </a:lnTo>
                <a:lnTo>
                  <a:pt x="211228" y="20947"/>
                </a:lnTo>
                <a:lnTo>
                  <a:pt x="225741" y="16221"/>
                </a:lnTo>
                <a:lnTo>
                  <a:pt x="232526" y="13856"/>
                </a:lnTo>
                <a:lnTo>
                  <a:pt x="234516" y="13364"/>
                </a:lnTo>
                <a:lnTo>
                  <a:pt x="237926" y="12254"/>
                </a:lnTo>
                <a:lnTo>
                  <a:pt x="254783" y="8354"/>
                </a:lnTo>
                <a:lnTo>
                  <a:pt x="261875" y="6601"/>
                </a:lnTo>
                <a:lnTo>
                  <a:pt x="263248" y="6396"/>
                </a:lnTo>
                <a:lnTo>
                  <a:pt x="265581" y="5856"/>
                </a:lnTo>
                <a:lnTo>
                  <a:pt x="285860" y="3017"/>
                </a:lnTo>
                <a:lnTo>
                  <a:pt x="292203" y="2069"/>
                </a:lnTo>
                <a:lnTo>
                  <a:pt x="292871" y="2036"/>
                </a:lnTo>
                <a:lnTo>
                  <a:pt x="294080" y="1866"/>
                </a:lnTo>
                <a:lnTo>
                  <a:pt x="308146" y="1201"/>
                </a:lnTo>
                <a:lnTo>
                  <a:pt x="308146" y="389"/>
                </a:lnTo>
                <a:lnTo>
                  <a:pt x="321113" y="389"/>
                </a:lnTo>
                <a:lnTo>
                  <a:pt x="325287" y="389"/>
                </a:lnTo>
                <a:lnTo>
                  <a:pt x="325384" y="389"/>
                </a:lnTo>
                <a:close/>
              </a:path>
            </a:pathLst>
          </a:custGeom>
          <a:solidFill>
            <a:srgbClr val="FEB81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362" name="TextBox 361">
            <a:extLst>
              <a:ext uri="{FF2B5EF4-FFF2-40B4-BE49-F238E27FC236}">
                <a16:creationId xmlns:a16="http://schemas.microsoft.com/office/drawing/2014/main" id="{82969F58-1F2B-3740-B712-6F43C1F303D8}"/>
              </a:ext>
            </a:extLst>
          </p:cNvPr>
          <p:cNvSpPr txBox="1"/>
          <p:nvPr/>
        </p:nvSpPr>
        <p:spPr>
          <a:xfrm>
            <a:off x="589283" y="940171"/>
            <a:ext cx="3759007" cy="369332"/>
          </a:xfrm>
          <a:prstGeom prst="rect">
            <a:avLst/>
          </a:prstGeom>
          <a:noFill/>
        </p:spPr>
        <p:txBody>
          <a:bodyPr wrap="square" rtlCol="0">
            <a:spAutoFit/>
          </a:bodyPr>
          <a:lstStyle/>
          <a:p>
            <a:pPr marL="0" marR="0" lvl="0" indent="0" algn="ctr" defTabSz="583101"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D3166"/>
                </a:solidFill>
                <a:effectLst/>
                <a:uLnTx/>
                <a:uFillTx/>
                <a:latin typeface="Montserrat" pitchFamily="2" charset="77"/>
                <a:ea typeface="Tahoma" panose="020B0604030504040204" pitchFamily="34" charset="0"/>
                <a:cs typeface="Tahoma" panose="020B0604030504040204" pitchFamily="34" charset="0"/>
              </a:rPr>
              <a:t>PROVINSI:</a:t>
            </a:r>
          </a:p>
        </p:txBody>
      </p:sp>
      <p:sp>
        <p:nvSpPr>
          <p:cNvPr id="368" name="Freeform: Shape 90">
            <a:extLst>
              <a:ext uri="{FF2B5EF4-FFF2-40B4-BE49-F238E27FC236}">
                <a16:creationId xmlns:a16="http://schemas.microsoft.com/office/drawing/2014/main" id="{9DF94C6E-72B3-F747-AA8F-A44157FA388D}"/>
              </a:ext>
            </a:extLst>
          </p:cNvPr>
          <p:cNvSpPr/>
          <p:nvPr/>
        </p:nvSpPr>
        <p:spPr>
          <a:xfrm>
            <a:off x="1569997" y="5596651"/>
            <a:ext cx="3225573" cy="601998"/>
          </a:xfrm>
          <a:custGeom>
            <a:avLst/>
            <a:gdLst>
              <a:gd name="connsiteX0" fmla="*/ 325384 w 4047850"/>
              <a:gd name="connsiteY0" fmla="*/ 0 h 651348"/>
              <a:gd name="connsiteX1" fmla="*/ 593248 w 4047850"/>
              <a:gd name="connsiteY1" fmla="*/ 0 h 651348"/>
              <a:gd name="connsiteX2" fmla="*/ 1005630 w 4047850"/>
              <a:gd name="connsiteY2" fmla="*/ 0 h 651348"/>
              <a:gd name="connsiteX3" fmla="*/ 1022869 w 4047850"/>
              <a:gd name="connsiteY3" fmla="*/ 0 h 651348"/>
              <a:gd name="connsiteX4" fmla="*/ 3042220 w 4047850"/>
              <a:gd name="connsiteY4" fmla="*/ 0 h 651348"/>
              <a:gd name="connsiteX5" fmla="*/ 3394765 w 4047850"/>
              <a:gd name="connsiteY5" fmla="*/ 0 h 651348"/>
              <a:gd name="connsiteX6" fmla="*/ 3722465 w 4047850"/>
              <a:gd name="connsiteY6" fmla="*/ 0 h 651348"/>
              <a:gd name="connsiteX7" fmla="*/ 3739704 w 4047850"/>
              <a:gd name="connsiteY7" fmla="*/ 0 h 651348"/>
              <a:gd name="connsiteX8" fmla="*/ 3739704 w 4047850"/>
              <a:gd name="connsiteY8" fmla="*/ 385 h 651348"/>
              <a:gd name="connsiteX9" fmla="*/ 4047850 w 4047850"/>
              <a:gd name="connsiteY9" fmla="*/ 385 h 651348"/>
              <a:gd name="connsiteX10" fmla="*/ 4047850 w 4047850"/>
              <a:gd name="connsiteY10" fmla="*/ 325477 h 651348"/>
              <a:gd name="connsiteX11" fmla="*/ 4047850 w 4047850"/>
              <a:gd name="connsiteY11" fmla="*/ 325669 h 651348"/>
              <a:gd name="connsiteX12" fmla="*/ 4047850 w 4047850"/>
              <a:gd name="connsiteY12" fmla="*/ 325672 h 651348"/>
              <a:gd name="connsiteX13" fmla="*/ 4047850 w 4047850"/>
              <a:gd name="connsiteY13" fmla="*/ 325675 h 651348"/>
              <a:gd name="connsiteX14" fmla="*/ 4047850 w 4047850"/>
              <a:gd name="connsiteY14" fmla="*/ 340954 h 651348"/>
              <a:gd name="connsiteX15" fmla="*/ 4047117 w 4047850"/>
              <a:gd name="connsiteY15" fmla="*/ 340954 h 651348"/>
              <a:gd name="connsiteX16" fmla="*/ 4046371 w 4047850"/>
              <a:gd name="connsiteY16" fmla="*/ 356703 h 651348"/>
              <a:gd name="connsiteX17" fmla="*/ 4046235 w 4047850"/>
              <a:gd name="connsiteY17" fmla="*/ 357658 h 651348"/>
              <a:gd name="connsiteX18" fmla="*/ 4046171 w 4047850"/>
              <a:gd name="connsiteY18" fmla="*/ 358931 h 651348"/>
              <a:gd name="connsiteX19" fmla="*/ 4035441 w 4047850"/>
              <a:gd name="connsiteY19" fmla="*/ 414965 h 651348"/>
              <a:gd name="connsiteX20" fmla="*/ 4035003 w 4047850"/>
              <a:gd name="connsiteY20" fmla="*/ 416283 h 651348"/>
              <a:gd name="connsiteX21" fmla="*/ 4034948 w 4047850"/>
              <a:gd name="connsiteY21" fmla="*/ 416510 h 651348"/>
              <a:gd name="connsiteX22" fmla="*/ 4034176 w 4047850"/>
              <a:gd name="connsiteY22" fmla="*/ 418772 h 651348"/>
              <a:gd name="connsiteX23" fmla="*/ 4026589 w 4047850"/>
              <a:gd name="connsiteY23" fmla="*/ 441591 h 651348"/>
              <a:gd name="connsiteX24" fmla="*/ 4025578 w 4047850"/>
              <a:gd name="connsiteY24" fmla="*/ 443933 h 651348"/>
              <a:gd name="connsiteX25" fmla="*/ 4025273 w 4047850"/>
              <a:gd name="connsiteY25" fmla="*/ 444823 h 651348"/>
              <a:gd name="connsiteX26" fmla="*/ 4023116 w 4047850"/>
              <a:gd name="connsiteY26" fmla="*/ 449636 h 651348"/>
              <a:gd name="connsiteX27" fmla="*/ 4015559 w 4047850"/>
              <a:gd name="connsiteY27" fmla="*/ 467142 h 651348"/>
              <a:gd name="connsiteX28" fmla="*/ 4013802 w 4047850"/>
              <a:gd name="connsiteY28" fmla="*/ 470409 h 651348"/>
              <a:gd name="connsiteX29" fmla="*/ 4013136 w 4047850"/>
              <a:gd name="connsiteY29" fmla="*/ 471896 h 651348"/>
              <a:gd name="connsiteX30" fmla="*/ 4010197 w 4047850"/>
              <a:gd name="connsiteY30" fmla="*/ 477118 h 651348"/>
              <a:gd name="connsiteX31" fmla="*/ 4002462 w 4047850"/>
              <a:gd name="connsiteY31" fmla="*/ 491507 h 651348"/>
              <a:gd name="connsiteX32" fmla="*/ 3999801 w 4047850"/>
              <a:gd name="connsiteY32" fmla="*/ 495585 h 651348"/>
              <a:gd name="connsiteX33" fmla="*/ 3998671 w 4047850"/>
              <a:gd name="connsiteY33" fmla="*/ 497594 h 651348"/>
              <a:gd name="connsiteX34" fmla="*/ 3995246 w 4047850"/>
              <a:gd name="connsiteY34" fmla="*/ 502566 h 651348"/>
              <a:gd name="connsiteX35" fmla="*/ 3987410 w 4047850"/>
              <a:gd name="connsiteY35" fmla="*/ 514574 h 651348"/>
              <a:gd name="connsiteX36" fmla="*/ 3983699 w 4047850"/>
              <a:gd name="connsiteY36" fmla="*/ 519333 h 651348"/>
              <a:gd name="connsiteX37" fmla="*/ 3982012 w 4047850"/>
              <a:gd name="connsiteY37" fmla="*/ 521781 h 651348"/>
              <a:gd name="connsiteX38" fmla="*/ 3978310 w 4047850"/>
              <a:gd name="connsiteY38" fmla="*/ 526240 h 651348"/>
              <a:gd name="connsiteX39" fmla="*/ 3970514 w 4047850"/>
              <a:gd name="connsiteY39" fmla="*/ 536234 h 651348"/>
              <a:gd name="connsiteX40" fmla="*/ 3965618 w 4047850"/>
              <a:gd name="connsiteY40" fmla="*/ 541527 h 651348"/>
              <a:gd name="connsiteX41" fmla="*/ 3963295 w 4047850"/>
              <a:gd name="connsiteY41" fmla="*/ 544324 h 651348"/>
              <a:gd name="connsiteX42" fmla="*/ 3959482 w 4047850"/>
              <a:gd name="connsiteY42" fmla="*/ 548161 h 651348"/>
              <a:gd name="connsiteX43" fmla="*/ 3951885 w 4047850"/>
              <a:gd name="connsiteY43" fmla="*/ 556374 h 651348"/>
              <a:gd name="connsiteX44" fmla="*/ 3945682 w 4047850"/>
              <a:gd name="connsiteY44" fmla="*/ 562043 h 651348"/>
              <a:gd name="connsiteX45" fmla="*/ 3942656 w 4047850"/>
              <a:gd name="connsiteY45" fmla="*/ 565087 h 651348"/>
              <a:gd name="connsiteX46" fmla="*/ 3938872 w 4047850"/>
              <a:gd name="connsiteY46" fmla="*/ 568267 h 651348"/>
              <a:gd name="connsiteX47" fmla="*/ 3931633 w 4047850"/>
              <a:gd name="connsiteY47" fmla="*/ 574884 h 651348"/>
              <a:gd name="connsiteX48" fmla="*/ 3924011 w 4047850"/>
              <a:gd name="connsiteY48" fmla="*/ 580756 h 651348"/>
              <a:gd name="connsiteX49" fmla="*/ 3920227 w 4047850"/>
              <a:gd name="connsiteY49" fmla="*/ 583936 h 651348"/>
              <a:gd name="connsiteX50" fmla="*/ 3916599 w 4047850"/>
              <a:gd name="connsiteY50" fmla="*/ 586467 h 651348"/>
              <a:gd name="connsiteX51" fmla="*/ 3909870 w 4047850"/>
              <a:gd name="connsiteY51" fmla="*/ 591652 h 651348"/>
              <a:gd name="connsiteX52" fmla="*/ 3900723 w 4047850"/>
              <a:gd name="connsiteY52" fmla="*/ 597543 h 651348"/>
              <a:gd name="connsiteX53" fmla="*/ 3896145 w 4047850"/>
              <a:gd name="connsiteY53" fmla="*/ 600736 h 651348"/>
              <a:gd name="connsiteX54" fmla="*/ 3892785 w 4047850"/>
              <a:gd name="connsiteY54" fmla="*/ 602655 h 651348"/>
              <a:gd name="connsiteX55" fmla="*/ 3886706 w 4047850"/>
              <a:gd name="connsiteY55" fmla="*/ 606569 h 651348"/>
              <a:gd name="connsiteX56" fmla="*/ 3875923 w 4047850"/>
              <a:gd name="connsiteY56" fmla="*/ 612281 h 651348"/>
              <a:gd name="connsiteX57" fmla="*/ 3870544 w 4047850"/>
              <a:gd name="connsiteY57" fmla="*/ 615352 h 651348"/>
              <a:gd name="connsiteX58" fmla="*/ 3867552 w 4047850"/>
              <a:gd name="connsiteY58" fmla="*/ 616715 h 651348"/>
              <a:gd name="connsiteX59" fmla="*/ 3862253 w 4047850"/>
              <a:gd name="connsiteY59" fmla="*/ 619522 h 651348"/>
              <a:gd name="connsiteX60" fmla="*/ 3849702 w 4047850"/>
              <a:gd name="connsiteY60" fmla="*/ 624849 h 651348"/>
              <a:gd name="connsiteX61" fmla="*/ 3843559 w 4047850"/>
              <a:gd name="connsiteY61" fmla="*/ 627649 h 651348"/>
              <a:gd name="connsiteX62" fmla="*/ 3841026 w 4047850"/>
              <a:gd name="connsiteY62" fmla="*/ 628532 h 651348"/>
              <a:gd name="connsiteX63" fmla="*/ 3836622 w 4047850"/>
              <a:gd name="connsiteY63" fmla="*/ 630401 h 651348"/>
              <a:gd name="connsiteX64" fmla="*/ 3822109 w 4047850"/>
              <a:gd name="connsiteY64" fmla="*/ 635127 h 651348"/>
              <a:gd name="connsiteX65" fmla="*/ 3815324 w 4047850"/>
              <a:gd name="connsiteY65" fmla="*/ 637492 h 651348"/>
              <a:gd name="connsiteX66" fmla="*/ 3813334 w 4047850"/>
              <a:gd name="connsiteY66" fmla="*/ 637984 h 651348"/>
              <a:gd name="connsiteX67" fmla="*/ 3809924 w 4047850"/>
              <a:gd name="connsiteY67" fmla="*/ 639095 h 651348"/>
              <a:gd name="connsiteX68" fmla="*/ 3793067 w 4047850"/>
              <a:gd name="connsiteY68" fmla="*/ 642994 h 651348"/>
              <a:gd name="connsiteX69" fmla="*/ 3785975 w 4047850"/>
              <a:gd name="connsiteY69" fmla="*/ 644747 h 651348"/>
              <a:gd name="connsiteX70" fmla="*/ 3784601 w 4047850"/>
              <a:gd name="connsiteY70" fmla="*/ 644952 h 651348"/>
              <a:gd name="connsiteX71" fmla="*/ 3782269 w 4047850"/>
              <a:gd name="connsiteY71" fmla="*/ 645492 h 651348"/>
              <a:gd name="connsiteX72" fmla="*/ 3761990 w 4047850"/>
              <a:gd name="connsiteY72" fmla="*/ 648331 h 651348"/>
              <a:gd name="connsiteX73" fmla="*/ 3755647 w 4047850"/>
              <a:gd name="connsiteY73" fmla="*/ 649279 h 651348"/>
              <a:gd name="connsiteX74" fmla="*/ 3754979 w 4047850"/>
              <a:gd name="connsiteY74" fmla="*/ 649313 h 651348"/>
              <a:gd name="connsiteX75" fmla="*/ 3753769 w 4047850"/>
              <a:gd name="connsiteY75" fmla="*/ 649482 h 651348"/>
              <a:gd name="connsiteX76" fmla="*/ 3739704 w 4047850"/>
              <a:gd name="connsiteY76" fmla="*/ 650148 h 651348"/>
              <a:gd name="connsiteX77" fmla="*/ 3739704 w 4047850"/>
              <a:gd name="connsiteY77" fmla="*/ 650959 h 651348"/>
              <a:gd name="connsiteX78" fmla="*/ 3726737 w 4047850"/>
              <a:gd name="connsiteY78" fmla="*/ 650959 h 651348"/>
              <a:gd name="connsiteX79" fmla="*/ 3722563 w 4047850"/>
              <a:gd name="connsiteY79" fmla="*/ 650959 h 651348"/>
              <a:gd name="connsiteX80" fmla="*/ 3722465 w 4047850"/>
              <a:gd name="connsiteY80" fmla="*/ 650959 h 651348"/>
              <a:gd name="connsiteX81" fmla="*/ 3722465 w 4047850"/>
              <a:gd name="connsiteY81" fmla="*/ 651348 h 651348"/>
              <a:gd name="connsiteX82" fmla="*/ 3394765 w 4047850"/>
              <a:gd name="connsiteY82" fmla="*/ 651348 h 651348"/>
              <a:gd name="connsiteX83" fmla="*/ 3042220 w 4047850"/>
              <a:gd name="connsiteY83" fmla="*/ 651348 h 651348"/>
              <a:gd name="connsiteX84" fmla="*/ 3024981 w 4047850"/>
              <a:gd name="connsiteY84" fmla="*/ 651348 h 651348"/>
              <a:gd name="connsiteX85" fmla="*/ 1005630 w 4047850"/>
              <a:gd name="connsiteY85" fmla="*/ 651348 h 651348"/>
              <a:gd name="connsiteX86" fmla="*/ 593248 w 4047850"/>
              <a:gd name="connsiteY86" fmla="*/ 651348 h 651348"/>
              <a:gd name="connsiteX87" fmla="*/ 325384 w 4047850"/>
              <a:gd name="connsiteY87" fmla="*/ 651348 h 651348"/>
              <a:gd name="connsiteX88" fmla="*/ 308146 w 4047850"/>
              <a:gd name="connsiteY88" fmla="*/ 651348 h 651348"/>
              <a:gd name="connsiteX89" fmla="*/ 308146 w 4047850"/>
              <a:gd name="connsiteY89" fmla="*/ 650963 h 651348"/>
              <a:gd name="connsiteX90" fmla="*/ 0 w 4047850"/>
              <a:gd name="connsiteY90" fmla="*/ 650963 h 651348"/>
              <a:gd name="connsiteX91" fmla="*/ 0 w 4047850"/>
              <a:gd name="connsiteY91" fmla="*/ 325871 h 651348"/>
              <a:gd name="connsiteX92" fmla="*/ 0 w 4047850"/>
              <a:gd name="connsiteY92" fmla="*/ 325679 h 651348"/>
              <a:gd name="connsiteX93" fmla="*/ 0 w 4047850"/>
              <a:gd name="connsiteY93" fmla="*/ 325676 h 651348"/>
              <a:gd name="connsiteX94" fmla="*/ 0 w 4047850"/>
              <a:gd name="connsiteY94" fmla="*/ 325673 h 651348"/>
              <a:gd name="connsiteX95" fmla="*/ 0 w 4047850"/>
              <a:gd name="connsiteY95" fmla="*/ 310394 h 651348"/>
              <a:gd name="connsiteX96" fmla="*/ 733 w 4047850"/>
              <a:gd name="connsiteY96" fmla="*/ 310394 h 651348"/>
              <a:gd name="connsiteX97" fmla="*/ 1478 w 4047850"/>
              <a:gd name="connsiteY97" fmla="*/ 294646 h 651348"/>
              <a:gd name="connsiteX98" fmla="*/ 1615 w 4047850"/>
              <a:gd name="connsiteY98" fmla="*/ 293690 h 651348"/>
              <a:gd name="connsiteX99" fmla="*/ 1679 w 4047850"/>
              <a:gd name="connsiteY99" fmla="*/ 292417 h 651348"/>
              <a:gd name="connsiteX100" fmla="*/ 12408 w 4047850"/>
              <a:gd name="connsiteY100" fmla="*/ 236384 h 651348"/>
              <a:gd name="connsiteX101" fmla="*/ 12847 w 4047850"/>
              <a:gd name="connsiteY101" fmla="*/ 235065 h 651348"/>
              <a:gd name="connsiteX102" fmla="*/ 12901 w 4047850"/>
              <a:gd name="connsiteY102" fmla="*/ 234838 h 651348"/>
              <a:gd name="connsiteX103" fmla="*/ 13674 w 4047850"/>
              <a:gd name="connsiteY103" fmla="*/ 232576 h 651348"/>
              <a:gd name="connsiteX104" fmla="*/ 21261 w 4047850"/>
              <a:gd name="connsiteY104" fmla="*/ 209757 h 651348"/>
              <a:gd name="connsiteX105" fmla="*/ 22272 w 4047850"/>
              <a:gd name="connsiteY105" fmla="*/ 207415 h 651348"/>
              <a:gd name="connsiteX106" fmla="*/ 22576 w 4047850"/>
              <a:gd name="connsiteY106" fmla="*/ 206525 h 651348"/>
              <a:gd name="connsiteX107" fmla="*/ 24734 w 4047850"/>
              <a:gd name="connsiteY107" fmla="*/ 201713 h 651348"/>
              <a:gd name="connsiteX108" fmla="*/ 32291 w 4047850"/>
              <a:gd name="connsiteY108" fmla="*/ 184206 h 651348"/>
              <a:gd name="connsiteX109" fmla="*/ 34047 w 4047850"/>
              <a:gd name="connsiteY109" fmla="*/ 180939 h 651348"/>
              <a:gd name="connsiteX110" fmla="*/ 34714 w 4047850"/>
              <a:gd name="connsiteY110" fmla="*/ 179452 h 651348"/>
              <a:gd name="connsiteX111" fmla="*/ 37653 w 4047850"/>
              <a:gd name="connsiteY111" fmla="*/ 174231 h 651348"/>
              <a:gd name="connsiteX112" fmla="*/ 45388 w 4047850"/>
              <a:gd name="connsiteY112" fmla="*/ 159842 h 651348"/>
              <a:gd name="connsiteX113" fmla="*/ 48048 w 4047850"/>
              <a:gd name="connsiteY113" fmla="*/ 155764 h 651348"/>
              <a:gd name="connsiteX114" fmla="*/ 49179 w 4047850"/>
              <a:gd name="connsiteY114" fmla="*/ 153755 h 651348"/>
              <a:gd name="connsiteX115" fmla="*/ 52604 w 4047850"/>
              <a:gd name="connsiteY115" fmla="*/ 148783 h 651348"/>
              <a:gd name="connsiteX116" fmla="*/ 60439 w 4047850"/>
              <a:gd name="connsiteY116" fmla="*/ 136774 h 651348"/>
              <a:gd name="connsiteX117" fmla="*/ 64151 w 4047850"/>
              <a:gd name="connsiteY117" fmla="*/ 132016 h 651348"/>
              <a:gd name="connsiteX118" fmla="*/ 65838 w 4047850"/>
              <a:gd name="connsiteY118" fmla="*/ 129567 h 651348"/>
              <a:gd name="connsiteX119" fmla="*/ 69540 w 4047850"/>
              <a:gd name="connsiteY119" fmla="*/ 125108 h 651348"/>
              <a:gd name="connsiteX120" fmla="*/ 77336 w 4047850"/>
              <a:gd name="connsiteY120" fmla="*/ 115115 h 651348"/>
              <a:gd name="connsiteX121" fmla="*/ 82232 w 4047850"/>
              <a:gd name="connsiteY121" fmla="*/ 109821 h 651348"/>
              <a:gd name="connsiteX122" fmla="*/ 84554 w 4047850"/>
              <a:gd name="connsiteY122" fmla="*/ 107024 h 651348"/>
              <a:gd name="connsiteX123" fmla="*/ 88368 w 4047850"/>
              <a:gd name="connsiteY123" fmla="*/ 103188 h 651348"/>
              <a:gd name="connsiteX124" fmla="*/ 95965 w 4047850"/>
              <a:gd name="connsiteY124" fmla="*/ 94974 h 651348"/>
              <a:gd name="connsiteX125" fmla="*/ 102168 w 4047850"/>
              <a:gd name="connsiteY125" fmla="*/ 89305 h 651348"/>
              <a:gd name="connsiteX126" fmla="*/ 105194 w 4047850"/>
              <a:gd name="connsiteY126" fmla="*/ 86261 h 651348"/>
              <a:gd name="connsiteX127" fmla="*/ 108977 w 4047850"/>
              <a:gd name="connsiteY127" fmla="*/ 83081 h 651348"/>
              <a:gd name="connsiteX128" fmla="*/ 116217 w 4047850"/>
              <a:gd name="connsiteY128" fmla="*/ 76465 h 651348"/>
              <a:gd name="connsiteX129" fmla="*/ 123838 w 4047850"/>
              <a:gd name="connsiteY129" fmla="*/ 70592 h 651348"/>
              <a:gd name="connsiteX130" fmla="*/ 127623 w 4047850"/>
              <a:gd name="connsiteY130" fmla="*/ 67412 h 651348"/>
              <a:gd name="connsiteX131" fmla="*/ 131250 w 4047850"/>
              <a:gd name="connsiteY131" fmla="*/ 64881 h 651348"/>
              <a:gd name="connsiteX132" fmla="*/ 137980 w 4047850"/>
              <a:gd name="connsiteY132" fmla="*/ 59696 h 651348"/>
              <a:gd name="connsiteX133" fmla="*/ 147127 w 4047850"/>
              <a:gd name="connsiteY133" fmla="*/ 53805 h 651348"/>
              <a:gd name="connsiteX134" fmla="*/ 151705 w 4047850"/>
              <a:gd name="connsiteY134" fmla="*/ 50612 h 651348"/>
              <a:gd name="connsiteX135" fmla="*/ 155065 w 4047850"/>
              <a:gd name="connsiteY135" fmla="*/ 48694 h 651348"/>
              <a:gd name="connsiteX136" fmla="*/ 161144 w 4047850"/>
              <a:gd name="connsiteY136" fmla="*/ 44779 h 651348"/>
              <a:gd name="connsiteX137" fmla="*/ 171927 w 4047850"/>
              <a:gd name="connsiteY137" fmla="*/ 39067 h 651348"/>
              <a:gd name="connsiteX138" fmla="*/ 177306 w 4047850"/>
              <a:gd name="connsiteY138" fmla="*/ 35997 h 651348"/>
              <a:gd name="connsiteX139" fmla="*/ 180298 w 4047850"/>
              <a:gd name="connsiteY139" fmla="*/ 34633 h 651348"/>
              <a:gd name="connsiteX140" fmla="*/ 185596 w 4047850"/>
              <a:gd name="connsiteY140" fmla="*/ 31826 h 651348"/>
              <a:gd name="connsiteX141" fmla="*/ 198148 w 4047850"/>
              <a:gd name="connsiteY141" fmla="*/ 26499 h 651348"/>
              <a:gd name="connsiteX142" fmla="*/ 204291 w 4047850"/>
              <a:gd name="connsiteY142" fmla="*/ 23700 h 651348"/>
              <a:gd name="connsiteX143" fmla="*/ 206823 w 4047850"/>
              <a:gd name="connsiteY143" fmla="*/ 22817 h 651348"/>
              <a:gd name="connsiteX144" fmla="*/ 211228 w 4047850"/>
              <a:gd name="connsiteY144" fmla="*/ 20947 h 651348"/>
              <a:gd name="connsiteX145" fmla="*/ 225741 w 4047850"/>
              <a:gd name="connsiteY145" fmla="*/ 16221 h 651348"/>
              <a:gd name="connsiteX146" fmla="*/ 232526 w 4047850"/>
              <a:gd name="connsiteY146" fmla="*/ 13856 h 651348"/>
              <a:gd name="connsiteX147" fmla="*/ 234516 w 4047850"/>
              <a:gd name="connsiteY147" fmla="*/ 13364 h 651348"/>
              <a:gd name="connsiteX148" fmla="*/ 237926 w 4047850"/>
              <a:gd name="connsiteY148" fmla="*/ 12254 h 651348"/>
              <a:gd name="connsiteX149" fmla="*/ 254783 w 4047850"/>
              <a:gd name="connsiteY149" fmla="*/ 8354 h 651348"/>
              <a:gd name="connsiteX150" fmla="*/ 261875 w 4047850"/>
              <a:gd name="connsiteY150" fmla="*/ 6601 h 651348"/>
              <a:gd name="connsiteX151" fmla="*/ 263248 w 4047850"/>
              <a:gd name="connsiteY151" fmla="*/ 6396 h 651348"/>
              <a:gd name="connsiteX152" fmla="*/ 265581 w 4047850"/>
              <a:gd name="connsiteY152" fmla="*/ 5856 h 651348"/>
              <a:gd name="connsiteX153" fmla="*/ 285860 w 4047850"/>
              <a:gd name="connsiteY153" fmla="*/ 3017 h 651348"/>
              <a:gd name="connsiteX154" fmla="*/ 292203 w 4047850"/>
              <a:gd name="connsiteY154" fmla="*/ 2069 h 651348"/>
              <a:gd name="connsiteX155" fmla="*/ 292871 w 4047850"/>
              <a:gd name="connsiteY155" fmla="*/ 2036 h 651348"/>
              <a:gd name="connsiteX156" fmla="*/ 294080 w 4047850"/>
              <a:gd name="connsiteY156" fmla="*/ 1866 h 651348"/>
              <a:gd name="connsiteX157" fmla="*/ 308146 w 4047850"/>
              <a:gd name="connsiteY157" fmla="*/ 1201 h 651348"/>
              <a:gd name="connsiteX158" fmla="*/ 308146 w 4047850"/>
              <a:gd name="connsiteY158" fmla="*/ 389 h 651348"/>
              <a:gd name="connsiteX159" fmla="*/ 321113 w 4047850"/>
              <a:gd name="connsiteY159" fmla="*/ 389 h 651348"/>
              <a:gd name="connsiteX160" fmla="*/ 325287 w 4047850"/>
              <a:gd name="connsiteY160" fmla="*/ 389 h 651348"/>
              <a:gd name="connsiteX161" fmla="*/ 325384 w 4047850"/>
              <a:gd name="connsiteY161" fmla="*/ 389 h 65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4047850" h="651348">
                <a:moveTo>
                  <a:pt x="325384" y="0"/>
                </a:moveTo>
                <a:lnTo>
                  <a:pt x="593248" y="0"/>
                </a:lnTo>
                <a:lnTo>
                  <a:pt x="1005630" y="0"/>
                </a:lnTo>
                <a:lnTo>
                  <a:pt x="1022869" y="0"/>
                </a:lnTo>
                <a:lnTo>
                  <a:pt x="3042220" y="0"/>
                </a:lnTo>
                <a:lnTo>
                  <a:pt x="3394765" y="0"/>
                </a:lnTo>
                <a:lnTo>
                  <a:pt x="3722465" y="0"/>
                </a:lnTo>
                <a:lnTo>
                  <a:pt x="3739704" y="0"/>
                </a:lnTo>
                <a:lnTo>
                  <a:pt x="3739704" y="385"/>
                </a:lnTo>
                <a:lnTo>
                  <a:pt x="4047850" y="385"/>
                </a:lnTo>
                <a:lnTo>
                  <a:pt x="4047850" y="325477"/>
                </a:lnTo>
                <a:lnTo>
                  <a:pt x="4047850" y="325669"/>
                </a:lnTo>
                <a:lnTo>
                  <a:pt x="4047850" y="325672"/>
                </a:lnTo>
                <a:lnTo>
                  <a:pt x="4047850" y="325675"/>
                </a:lnTo>
                <a:lnTo>
                  <a:pt x="4047850" y="340954"/>
                </a:lnTo>
                <a:lnTo>
                  <a:pt x="4047117" y="340954"/>
                </a:lnTo>
                <a:lnTo>
                  <a:pt x="4046371" y="356703"/>
                </a:lnTo>
                <a:lnTo>
                  <a:pt x="4046235" y="357658"/>
                </a:lnTo>
                <a:lnTo>
                  <a:pt x="4046171" y="358931"/>
                </a:lnTo>
                <a:cubicBezTo>
                  <a:pt x="4044218" y="378153"/>
                  <a:pt x="4040593" y="396880"/>
                  <a:pt x="4035441" y="414965"/>
                </a:cubicBezTo>
                <a:lnTo>
                  <a:pt x="4035003" y="416283"/>
                </a:lnTo>
                <a:lnTo>
                  <a:pt x="4034948" y="416510"/>
                </a:lnTo>
                <a:lnTo>
                  <a:pt x="4034176" y="418772"/>
                </a:lnTo>
                <a:lnTo>
                  <a:pt x="4026589" y="441591"/>
                </a:lnTo>
                <a:lnTo>
                  <a:pt x="4025578" y="443933"/>
                </a:lnTo>
                <a:lnTo>
                  <a:pt x="4025273" y="444823"/>
                </a:lnTo>
                <a:lnTo>
                  <a:pt x="4023116" y="449636"/>
                </a:lnTo>
                <a:lnTo>
                  <a:pt x="4015559" y="467142"/>
                </a:lnTo>
                <a:lnTo>
                  <a:pt x="4013802" y="470409"/>
                </a:lnTo>
                <a:lnTo>
                  <a:pt x="4013136" y="471896"/>
                </a:lnTo>
                <a:lnTo>
                  <a:pt x="4010197" y="477118"/>
                </a:lnTo>
                <a:lnTo>
                  <a:pt x="4002462" y="491507"/>
                </a:lnTo>
                <a:lnTo>
                  <a:pt x="3999801" y="495585"/>
                </a:lnTo>
                <a:lnTo>
                  <a:pt x="3998671" y="497594"/>
                </a:lnTo>
                <a:lnTo>
                  <a:pt x="3995246" y="502566"/>
                </a:lnTo>
                <a:lnTo>
                  <a:pt x="3987410" y="514574"/>
                </a:lnTo>
                <a:lnTo>
                  <a:pt x="3983699" y="519333"/>
                </a:lnTo>
                <a:lnTo>
                  <a:pt x="3982012" y="521781"/>
                </a:lnTo>
                <a:lnTo>
                  <a:pt x="3978310" y="526240"/>
                </a:lnTo>
                <a:lnTo>
                  <a:pt x="3970514" y="536234"/>
                </a:lnTo>
                <a:lnTo>
                  <a:pt x="3965618" y="541527"/>
                </a:lnTo>
                <a:lnTo>
                  <a:pt x="3963295" y="544324"/>
                </a:lnTo>
                <a:lnTo>
                  <a:pt x="3959482" y="548161"/>
                </a:lnTo>
                <a:lnTo>
                  <a:pt x="3951885" y="556374"/>
                </a:lnTo>
                <a:lnTo>
                  <a:pt x="3945682" y="562043"/>
                </a:lnTo>
                <a:lnTo>
                  <a:pt x="3942656" y="565087"/>
                </a:lnTo>
                <a:lnTo>
                  <a:pt x="3938872" y="568267"/>
                </a:lnTo>
                <a:lnTo>
                  <a:pt x="3931633" y="574884"/>
                </a:lnTo>
                <a:lnTo>
                  <a:pt x="3924011" y="580756"/>
                </a:lnTo>
                <a:lnTo>
                  <a:pt x="3920227" y="583936"/>
                </a:lnTo>
                <a:lnTo>
                  <a:pt x="3916599" y="586467"/>
                </a:lnTo>
                <a:lnTo>
                  <a:pt x="3909870" y="591652"/>
                </a:lnTo>
                <a:lnTo>
                  <a:pt x="3900723" y="597543"/>
                </a:lnTo>
                <a:lnTo>
                  <a:pt x="3896145" y="600736"/>
                </a:lnTo>
                <a:lnTo>
                  <a:pt x="3892785" y="602655"/>
                </a:lnTo>
                <a:lnTo>
                  <a:pt x="3886706" y="606569"/>
                </a:lnTo>
                <a:lnTo>
                  <a:pt x="3875923" y="612281"/>
                </a:lnTo>
                <a:lnTo>
                  <a:pt x="3870544" y="615352"/>
                </a:lnTo>
                <a:lnTo>
                  <a:pt x="3867552" y="616715"/>
                </a:lnTo>
                <a:lnTo>
                  <a:pt x="3862253" y="619522"/>
                </a:lnTo>
                <a:lnTo>
                  <a:pt x="3849702" y="624849"/>
                </a:lnTo>
                <a:lnTo>
                  <a:pt x="3843559" y="627649"/>
                </a:lnTo>
                <a:lnTo>
                  <a:pt x="3841026" y="628532"/>
                </a:lnTo>
                <a:lnTo>
                  <a:pt x="3836622" y="630401"/>
                </a:lnTo>
                <a:lnTo>
                  <a:pt x="3822109" y="635127"/>
                </a:lnTo>
                <a:lnTo>
                  <a:pt x="3815324" y="637492"/>
                </a:lnTo>
                <a:lnTo>
                  <a:pt x="3813334" y="637984"/>
                </a:lnTo>
                <a:lnTo>
                  <a:pt x="3809924" y="639095"/>
                </a:lnTo>
                <a:lnTo>
                  <a:pt x="3793067" y="642994"/>
                </a:lnTo>
                <a:lnTo>
                  <a:pt x="3785975" y="644747"/>
                </a:lnTo>
                <a:lnTo>
                  <a:pt x="3784601" y="644952"/>
                </a:lnTo>
                <a:lnTo>
                  <a:pt x="3782269" y="645492"/>
                </a:lnTo>
                <a:lnTo>
                  <a:pt x="3761990" y="648331"/>
                </a:lnTo>
                <a:lnTo>
                  <a:pt x="3755647" y="649279"/>
                </a:lnTo>
                <a:lnTo>
                  <a:pt x="3754979" y="649313"/>
                </a:lnTo>
                <a:lnTo>
                  <a:pt x="3753769" y="649482"/>
                </a:lnTo>
                <a:lnTo>
                  <a:pt x="3739704" y="650148"/>
                </a:lnTo>
                <a:lnTo>
                  <a:pt x="3739704" y="650959"/>
                </a:lnTo>
                <a:lnTo>
                  <a:pt x="3726737" y="650959"/>
                </a:lnTo>
                <a:lnTo>
                  <a:pt x="3722563" y="650959"/>
                </a:lnTo>
                <a:lnTo>
                  <a:pt x="3722465" y="650959"/>
                </a:lnTo>
                <a:lnTo>
                  <a:pt x="3722465" y="651348"/>
                </a:lnTo>
                <a:lnTo>
                  <a:pt x="3394765" y="651348"/>
                </a:lnTo>
                <a:lnTo>
                  <a:pt x="3042220" y="651348"/>
                </a:lnTo>
                <a:lnTo>
                  <a:pt x="3024981" y="651348"/>
                </a:lnTo>
                <a:lnTo>
                  <a:pt x="1005630" y="651348"/>
                </a:lnTo>
                <a:lnTo>
                  <a:pt x="593248" y="651348"/>
                </a:lnTo>
                <a:lnTo>
                  <a:pt x="325384" y="651348"/>
                </a:lnTo>
                <a:lnTo>
                  <a:pt x="308146" y="651348"/>
                </a:lnTo>
                <a:lnTo>
                  <a:pt x="308146" y="650963"/>
                </a:lnTo>
                <a:lnTo>
                  <a:pt x="0" y="650963"/>
                </a:lnTo>
                <a:lnTo>
                  <a:pt x="0" y="325871"/>
                </a:lnTo>
                <a:lnTo>
                  <a:pt x="0" y="325679"/>
                </a:lnTo>
                <a:lnTo>
                  <a:pt x="0" y="325676"/>
                </a:lnTo>
                <a:lnTo>
                  <a:pt x="0" y="325673"/>
                </a:lnTo>
                <a:lnTo>
                  <a:pt x="0" y="310394"/>
                </a:lnTo>
                <a:lnTo>
                  <a:pt x="733" y="310394"/>
                </a:lnTo>
                <a:lnTo>
                  <a:pt x="1478" y="294646"/>
                </a:lnTo>
                <a:lnTo>
                  <a:pt x="1615" y="293690"/>
                </a:lnTo>
                <a:lnTo>
                  <a:pt x="1679" y="292417"/>
                </a:lnTo>
                <a:cubicBezTo>
                  <a:pt x="3631" y="273195"/>
                  <a:pt x="7257" y="254468"/>
                  <a:pt x="12408" y="236384"/>
                </a:cubicBezTo>
                <a:lnTo>
                  <a:pt x="12847" y="235065"/>
                </a:lnTo>
                <a:lnTo>
                  <a:pt x="12901" y="234838"/>
                </a:lnTo>
                <a:lnTo>
                  <a:pt x="13674" y="232576"/>
                </a:lnTo>
                <a:lnTo>
                  <a:pt x="21261" y="209757"/>
                </a:lnTo>
                <a:lnTo>
                  <a:pt x="22272" y="207415"/>
                </a:lnTo>
                <a:lnTo>
                  <a:pt x="22576" y="206525"/>
                </a:lnTo>
                <a:lnTo>
                  <a:pt x="24734" y="201713"/>
                </a:lnTo>
                <a:lnTo>
                  <a:pt x="32291" y="184206"/>
                </a:lnTo>
                <a:lnTo>
                  <a:pt x="34047" y="180939"/>
                </a:lnTo>
                <a:lnTo>
                  <a:pt x="34714" y="179452"/>
                </a:lnTo>
                <a:lnTo>
                  <a:pt x="37653" y="174231"/>
                </a:lnTo>
                <a:lnTo>
                  <a:pt x="45388" y="159842"/>
                </a:lnTo>
                <a:lnTo>
                  <a:pt x="48048" y="155764"/>
                </a:lnTo>
                <a:lnTo>
                  <a:pt x="49179" y="153755"/>
                </a:lnTo>
                <a:lnTo>
                  <a:pt x="52604" y="148783"/>
                </a:lnTo>
                <a:lnTo>
                  <a:pt x="60439" y="136774"/>
                </a:lnTo>
                <a:lnTo>
                  <a:pt x="64151" y="132016"/>
                </a:lnTo>
                <a:lnTo>
                  <a:pt x="65838" y="129567"/>
                </a:lnTo>
                <a:lnTo>
                  <a:pt x="69540" y="125108"/>
                </a:lnTo>
                <a:lnTo>
                  <a:pt x="77336" y="115115"/>
                </a:lnTo>
                <a:lnTo>
                  <a:pt x="82232" y="109821"/>
                </a:lnTo>
                <a:lnTo>
                  <a:pt x="84554" y="107024"/>
                </a:lnTo>
                <a:lnTo>
                  <a:pt x="88368" y="103188"/>
                </a:lnTo>
                <a:lnTo>
                  <a:pt x="95965" y="94974"/>
                </a:lnTo>
                <a:lnTo>
                  <a:pt x="102168" y="89305"/>
                </a:lnTo>
                <a:lnTo>
                  <a:pt x="105194" y="86261"/>
                </a:lnTo>
                <a:lnTo>
                  <a:pt x="108977" y="83081"/>
                </a:lnTo>
                <a:lnTo>
                  <a:pt x="116217" y="76465"/>
                </a:lnTo>
                <a:lnTo>
                  <a:pt x="123838" y="70592"/>
                </a:lnTo>
                <a:lnTo>
                  <a:pt x="127623" y="67412"/>
                </a:lnTo>
                <a:lnTo>
                  <a:pt x="131250" y="64881"/>
                </a:lnTo>
                <a:lnTo>
                  <a:pt x="137980" y="59696"/>
                </a:lnTo>
                <a:lnTo>
                  <a:pt x="147127" y="53805"/>
                </a:lnTo>
                <a:lnTo>
                  <a:pt x="151705" y="50612"/>
                </a:lnTo>
                <a:lnTo>
                  <a:pt x="155065" y="48694"/>
                </a:lnTo>
                <a:lnTo>
                  <a:pt x="161144" y="44779"/>
                </a:lnTo>
                <a:lnTo>
                  <a:pt x="171927" y="39067"/>
                </a:lnTo>
                <a:lnTo>
                  <a:pt x="177306" y="35997"/>
                </a:lnTo>
                <a:lnTo>
                  <a:pt x="180298" y="34633"/>
                </a:lnTo>
                <a:lnTo>
                  <a:pt x="185596" y="31826"/>
                </a:lnTo>
                <a:lnTo>
                  <a:pt x="198148" y="26499"/>
                </a:lnTo>
                <a:lnTo>
                  <a:pt x="204291" y="23700"/>
                </a:lnTo>
                <a:lnTo>
                  <a:pt x="206823" y="22817"/>
                </a:lnTo>
                <a:lnTo>
                  <a:pt x="211228" y="20947"/>
                </a:lnTo>
                <a:lnTo>
                  <a:pt x="225741" y="16221"/>
                </a:lnTo>
                <a:lnTo>
                  <a:pt x="232526" y="13856"/>
                </a:lnTo>
                <a:lnTo>
                  <a:pt x="234516" y="13364"/>
                </a:lnTo>
                <a:lnTo>
                  <a:pt x="237926" y="12254"/>
                </a:lnTo>
                <a:lnTo>
                  <a:pt x="254783" y="8354"/>
                </a:lnTo>
                <a:lnTo>
                  <a:pt x="261875" y="6601"/>
                </a:lnTo>
                <a:lnTo>
                  <a:pt x="263248" y="6396"/>
                </a:lnTo>
                <a:lnTo>
                  <a:pt x="265581" y="5856"/>
                </a:lnTo>
                <a:lnTo>
                  <a:pt x="285860" y="3017"/>
                </a:lnTo>
                <a:lnTo>
                  <a:pt x="292203" y="2069"/>
                </a:lnTo>
                <a:lnTo>
                  <a:pt x="292871" y="2036"/>
                </a:lnTo>
                <a:lnTo>
                  <a:pt x="294080" y="1866"/>
                </a:lnTo>
                <a:lnTo>
                  <a:pt x="308146" y="1201"/>
                </a:lnTo>
                <a:lnTo>
                  <a:pt x="308146" y="389"/>
                </a:lnTo>
                <a:lnTo>
                  <a:pt x="321113" y="389"/>
                </a:lnTo>
                <a:lnTo>
                  <a:pt x="325287" y="389"/>
                </a:lnTo>
                <a:lnTo>
                  <a:pt x="325384" y="389"/>
                </a:lnTo>
                <a:close/>
              </a:path>
            </a:pathLst>
          </a:custGeom>
          <a:solidFill>
            <a:srgbClr val="FEB81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370" name="TextBox 369">
            <a:extLst>
              <a:ext uri="{FF2B5EF4-FFF2-40B4-BE49-F238E27FC236}">
                <a16:creationId xmlns:a16="http://schemas.microsoft.com/office/drawing/2014/main" id="{7B197106-4FAC-3342-9062-37E5553F9565}"/>
              </a:ext>
            </a:extLst>
          </p:cNvPr>
          <p:cNvSpPr txBox="1"/>
          <p:nvPr/>
        </p:nvSpPr>
        <p:spPr>
          <a:xfrm>
            <a:off x="443911" y="1124837"/>
            <a:ext cx="5147083" cy="4195251"/>
          </a:xfrm>
          <a:prstGeom prst="rect">
            <a:avLst/>
          </a:prstGeom>
          <a:noFill/>
        </p:spPr>
        <p:txBody>
          <a:bodyPr wrap="square" rtlCol="0">
            <a:spAutoFit/>
          </a:bodyPr>
          <a:lstStyle/>
          <a:p>
            <a:pPr marL="0" marR="0" lvl="0" indent="0" algn="l" defTabSz="583101" rtl="0" eaLnBrk="1" fontAlgn="auto" latinLnBrk="0" hangingPunct="1">
              <a:lnSpc>
                <a:spcPct val="15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endParaRPr>
          </a:p>
          <a:p>
            <a:pPr marL="222712" marR="0" lvl="0" indent="-222712" algn="just" defTabSz="583101" rtl="0" eaLnBrk="1" fontAlgn="auto" latinLnBrk="0" hangingPunct="1">
              <a:lnSpc>
                <a:spcPct val="15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K</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egiatan</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konstruksi</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dengan</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sumber</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dana </a:t>
            </a:r>
            <a:r>
              <a:rPr kumimoji="0" lang="en-US" sz="2000" b="1"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APBD </a:t>
            </a:r>
            <a:r>
              <a:rPr kumimoji="0" lang="en-US" sz="2000" b="1"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provinsi</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dan</a:t>
            </a:r>
          </a:p>
          <a:p>
            <a:pPr marL="222712" marR="0" lvl="0" indent="-222712" algn="just" defTabSz="583101" rtl="0" eaLnBrk="1" fontAlgn="auto" latinLnBrk="0" hangingPunct="1">
              <a:lnSpc>
                <a:spcPct val="150000"/>
              </a:lnSpc>
              <a:spcBef>
                <a:spcPts val="0"/>
              </a:spcBef>
              <a:spcAft>
                <a:spcPts val="0"/>
              </a:spcAft>
              <a:buClrTx/>
              <a:buSzTx/>
              <a:buFont typeface="+mj-lt"/>
              <a:buAutoNum type="arabicPeriod"/>
              <a:tabLst/>
              <a:defRPr/>
            </a:pP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K</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egiatan</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konstruksi</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lintas</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kabupaten</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kota</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dalam</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satu</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provinsi</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a:t>
            </a:r>
          </a:p>
          <a:p>
            <a:pPr marL="457200" marR="0" lvl="0" indent="-457200" algn="just" defTabSz="583101" rtl="0" eaLnBrk="1" fontAlgn="auto" latinLnBrk="0" hangingPunct="1">
              <a:lnSpc>
                <a:spcPct val="150000"/>
              </a:lnSpc>
              <a:spcBef>
                <a:spcPts val="0"/>
              </a:spcBef>
              <a:spcAft>
                <a:spcPts val="0"/>
              </a:spcAft>
              <a:buClrTx/>
              <a:buSzTx/>
              <a:buFont typeface="+mj-lt"/>
              <a:buAutoNum type="alphaLcPeriod"/>
              <a:tabLst/>
              <a:defRPr/>
            </a:pP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Kegiatan</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yang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bukan</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menjadi</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kewenangan</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Pemerintah</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Pusat </a:t>
            </a:r>
          </a:p>
          <a:p>
            <a:pPr marL="457200" marR="0" lvl="0" indent="-457200" algn="just" defTabSz="583101" rtl="0" eaLnBrk="1" fontAlgn="auto" latinLnBrk="0" hangingPunct="1">
              <a:lnSpc>
                <a:spcPct val="150000"/>
              </a:lnSpc>
              <a:spcBef>
                <a:spcPts val="0"/>
              </a:spcBef>
              <a:spcAft>
                <a:spcPts val="0"/>
              </a:spcAft>
              <a:buClrTx/>
              <a:buSzTx/>
              <a:buFont typeface="+mj-lt"/>
              <a:buAutoNum type="alphaLcPeriod"/>
              <a:tabLst/>
              <a:defRPr/>
            </a:pP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Kegiatan</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yang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dibiayai</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dengan</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dana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dari</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masyarakat</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atau</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swasta</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p>
        </p:txBody>
      </p:sp>
      <p:sp>
        <p:nvSpPr>
          <p:cNvPr id="17" name="Freeform: Shape 46">
            <a:extLst>
              <a:ext uri="{FF2B5EF4-FFF2-40B4-BE49-F238E27FC236}">
                <a16:creationId xmlns:a16="http://schemas.microsoft.com/office/drawing/2014/main" id="{6AA52D8A-0333-0D41-82C1-52EFA4DB075D}"/>
              </a:ext>
            </a:extLst>
          </p:cNvPr>
          <p:cNvSpPr/>
          <p:nvPr/>
        </p:nvSpPr>
        <p:spPr>
          <a:xfrm rot="10800000" flipH="1">
            <a:off x="6121400" y="1195581"/>
            <a:ext cx="5746861" cy="4702069"/>
          </a:xfrm>
          <a:custGeom>
            <a:avLst/>
            <a:gdLst>
              <a:gd name="connsiteX0" fmla="*/ 0 w 5431992"/>
              <a:gd name="connsiteY0" fmla="*/ 3727301 h 3727301"/>
              <a:gd name="connsiteX1" fmla="*/ 844165 w 5431992"/>
              <a:gd name="connsiteY1" fmla="*/ 3727301 h 3727301"/>
              <a:gd name="connsiteX2" fmla="*/ 891390 w 5431992"/>
              <a:gd name="connsiteY2" fmla="*/ 3727301 h 3727301"/>
              <a:gd name="connsiteX3" fmla="*/ 2371823 w 5431992"/>
              <a:gd name="connsiteY3" fmla="*/ 3727301 h 3727301"/>
              <a:gd name="connsiteX4" fmla="*/ 2754923 w 5431992"/>
              <a:gd name="connsiteY4" fmla="*/ 3727301 h 3727301"/>
              <a:gd name="connsiteX5" fmla="*/ 4157501 w 5431992"/>
              <a:gd name="connsiteY5" fmla="*/ 3727301 h 3727301"/>
              <a:gd name="connsiteX6" fmla="*/ 4540601 w 5431992"/>
              <a:gd name="connsiteY6" fmla="*/ 3727301 h 3727301"/>
              <a:gd name="connsiteX7" fmla="*/ 4540601 w 5431992"/>
              <a:gd name="connsiteY7" fmla="*/ 3726212 h 3727301"/>
              <a:gd name="connsiteX8" fmla="*/ 4540602 w 5431992"/>
              <a:gd name="connsiteY8" fmla="*/ 3726212 h 3727301"/>
              <a:gd name="connsiteX9" fmla="*/ 4540868 w 5431992"/>
              <a:gd name="connsiteY9" fmla="*/ 3726212 h 3727301"/>
              <a:gd name="connsiteX10" fmla="*/ 4552303 w 5431992"/>
              <a:gd name="connsiteY10" fmla="*/ 3726212 h 3727301"/>
              <a:gd name="connsiteX11" fmla="*/ 4587827 w 5431992"/>
              <a:gd name="connsiteY11" fmla="*/ 3726212 h 3727301"/>
              <a:gd name="connsiteX12" fmla="*/ 4587827 w 5431992"/>
              <a:gd name="connsiteY12" fmla="*/ 3723939 h 3727301"/>
              <a:gd name="connsiteX13" fmla="*/ 4626359 w 5431992"/>
              <a:gd name="connsiteY13" fmla="*/ 3722075 h 3727301"/>
              <a:gd name="connsiteX14" fmla="*/ 4629673 w 5431992"/>
              <a:gd name="connsiteY14" fmla="*/ 3721600 h 3727301"/>
              <a:gd name="connsiteX15" fmla="*/ 4631501 w 5431992"/>
              <a:gd name="connsiteY15" fmla="*/ 3721506 h 3727301"/>
              <a:gd name="connsiteX16" fmla="*/ 4648879 w 5431992"/>
              <a:gd name="connsiteY16" fmla="*/ 3718852 h 3727301"/>
              <a:gd name="connsiteX17" fmla="*/ 4704433 w 5431992"/>
              <a:gd name="connsiteY17" fmla="*/ 3710902 h 3727301"/>
              <a:gd name="connsiteX18" fmla="*/ 4710823 w 5431992"/>
              <a:gd name="connsiteY18" fmla="*/ 3709391 h 3727301"/>
              <a:gd name="connsiteX19" fmla="*/ 4714586 w 5431992"/>
              <a:gd name="connsiteY19" fmla="*/ 3708817 h 3727301"/>
              <a:gd name="connsiteX20" fmla="*/ 4734014 w 5431992"/>
              <a:gd name="connsiteY20" fmla="*/ 3703907 h 3727301"/>
              <a:gd name="connsiteX21" fmla="*/ 4780194 w 5431992"/>
              <a:gd name="connsiteY21" fmla="*/ 3692988 h 3727301"/>
              <a:gd name="connsiteX22" fmla="*/ 4789537 w 5431992"/>
              <a:gd name="connsiteY22" fmla="*/ 3689878 h 3727301"/>
              <a:gd name="connsiteX23" fmla="*/ 4794988 w 5431992"/>
              <a:gd name="connsiteY23" fmla="*/ 3688501 h 3727301"/>
              <a:gd name="connsiteX24" fmla="*/ 4813574 w 5431992"/>
              <a:gd name="connsiteY24" fmla="*/ 3681879 h 3727301"/>
              <a:gd name="connsiteX25" fmla="*/ 4853335 w 5431992"/>
              <a:gd name="connsiteY25" fmla="*/ 3668644 h 3727301"/>
              <a:gd name="connsiteX26" fmla="*/ 4865400 w 5431992"/>
              <a:gd name="connsiteY26" fmla="*/ 3663410 h 3727301"/>
              <a:gd name="connsiteX27" fmla="*/ 4872337 w 5431992"/>
              <a:gd name="connsiteY27" fmla="*/ 3660937 h 3727301"/>
              <a:gd name="connsiteX28" fmla="*/ 4889166 w 5431992"/>
              <a:gd name="connsiteY28" fmla="*/ 3653099 h 3727301"/>
              <a:gd name="connsiteX29" fmla="*/ 4923551 w 5431992"/>
              <a:gd name="connsiteY29" fmla="*/ 3638182 h 3727301"/>
              <a:gd name="connsiteX30" fmla="*/ 4938066 w 5431992"/>
              <a:gd name="connsiteY30" fmla="*/ 3630322 h 3727301"/>
              <a:gd name="connsiteX31" fmla="*/ 4946263 w 5431992"/>
              <a:gd name="connsiteY31" fmla="*/ 3626504 h 3727301"/>
              <a:gd name="connsiteX32" fmla="*/ 4960997 w 5431992"/>
              <a:gd name="connsiteY32" fmla="*/ 3617905 h 3727301"/>
              <a:gd name="connsiteX33" fmla="*/ 4990539 w 5431992"/>
              <a:gd name="connsiteY33" fmla="*/ 3601910 h 3727301"/>
              <a:gd name="connsiteX34" fmla="*/ 5007191 w 5431992"/>
              <a:gd name="connsiteY34" fmla="*/ 3590949 h 3727301"/>
              <a:gd name="connsiteX35" fmla="*/ 5016397 w 5431992"/>
              <a:gd name="connsiteY35" fmla="*/ 3585577 h 3727301"/>
              <a:gd name="connsiteX36" fmla="*/ 5028936 w 5431992"/>
              <a:gd name="connsiteY36" fmla="*/ 3576636 h 3727301"/>
              <a:gd name="connsiteX37" fmla="*/ 5053995 w 5431992"/>
              <a:gd name="connsiteY37" fmla="*/ 3560142 h 3727301"/>
              <a:gd name="connsiteX38" fmla="*/ 5072432 w 5431992"/>
              <a:gd name="connsiteY38" fmla="*/ 3545621 h 3727301"/>
              <a:gd name="connsiteX39" fmla="*/ 5082370 w 5431992"/>
              <a:gd name="connsiteY39" fmla="*/ 3538535 h 3727301"/>
              <a:gd name="connsiteX40" fmla="*/ 5092737 w 5431992"/>
              <a:gd name="connsiteY40" fmla="*/ 3529630 h 3727301"/>
              <a:gd name="connsiteX41" fmla="*/ 5113615 w 5431992"/>
              <a:gd name="connsiteY41" fmla="*/ 3513186 h 3727301"/>
              <a:gd name="connsiteX42" fmla="*/ 5133448 w 5431992"/>
              <a:gd name="connsiteY42" fmla="*/ 3494657 h 3727301"/>
              <a:gd name="connsiteX43" fmla="*/ 5143812 w 5431992"/>
              <a:gd name="connsiteY43" fmla="*/ 3485754 h 3727301"/>
              <a:gd name="connsiteX44" fmla="*/ 5152102 w 5431992"/>
              <a:gd name="connsiteY44" fmla="*/ 3477230 h 3727301"/>
              <a:gd name="connsiteX45" fmla="*/ 5169095 w 5431992"/>
              <a:gd name="connsiteY45" fmla="*/ 3461355 h 3727301"/>
              <a:gd name="connsiteX46" fmla="*/ 5189909 w 5431992"/>
              <a:gd name="connsiteY46" fmla="*/ 3438356 h 3727301"/>
              <a:gd name="connsiteX47" fmla="*/ 5200355 w 5431992"/>
              <a:gd name="connsiteY47" fmla="*/ 3427614 h 3727301"/>
              <a:gd name="connsiteX48" fmla="*/ 5206717 w 5431992"/>
              <a:gd name="connsiteY48" fmla="*/ 3419781 h 3727301"/>
              <a:gd name="connsiteX49" fmla="*/ 5220131 w 5431992"/>
              <a:gd name="connsiteY49" fmla="*/ 3404959 h 3727301"/>
              <a:gd name="connsiteX50" fmla="*/ 5241486 w 5431992"/>
              <a:gd name="connsiteY50" fmla="*/ 3376975 h 3727301"/>
              <a:gd name="connsiteX51" fmla="*/ 5251629 w 5431992"/>
              <a:gd name="connsiteY51" fmla="*/ 3364490 h 3727301"/>
              <a:gd name="connsiteX52" fmla="*/ 5256249 w 5431992"/>
              <a:gd name="connsiteY52" fmla="*/ 3357632 h 3727301"/>
              <a:gd name="connsiteX53" fmla="*/ 5266418 w 5431992"/>
              <a:gd name="connsiteY53" fmla="*/ 3344309 h 3727301"/>
              <a:gd name="connsiteX54" fmla="*/ 5287884 w 5431992"/>
              <a:gd name="connsiteY54" fmla="*/ 3310683 h 3727301"/>
              <a:gd name="connsiteX55" fmla="*/ 5297265 w 5431992"/>
              <a:gd name="connsiteY55" fmla="*/ 3296759 h 3727301"/>
              <a:gd name="connsiteX56" fmla="*/ 5300364 w 5431992"/>
              <a:gd name="connsiteY56" fmla="*/ 3291135 h 3727301"/>
              <a:gd name="connsiteX57" fmla="*/ 5307652 w 5431992"/>
              <a:gd name="connsiteY57" fmla="*/ 3279716 h 3727301"/>
              <a:gd name="connsiteX58" fmla="*/ 5328841 w 5431992"/>
              <a:gd name="connsiteY58" fmla="*/ 3239424 h 3727301"/>
              <a:gd name="connsiteX59" fmla="*/ 5336893 w 5431992"/>
              <a:gd name="connsiteY59" fmla="*/ 3224802 h 3727301"/>
              <a:gd name="connsiteX60" fmla="*/ 5338719 w 5431992"/>
              <a:gd name="connsiteY60" fmla="*/ 3220638 h 3727301"/>
              <a:gd name="connsiteX61" fmla="*/ 5343530 w 5431992"/>
              <a:gd name="connsiteY61" fmla="*/ 3211490 h 3727301"/>
              <a:gd name="connsiteX62" fmla="*/ 5364233 w 5431992"/>
              <a:gd name="connsiteY62" fmla="*/ 3162469 h 3727301"/>
              <a:gd name="connsiteX63" fmla="*/ 5370144 w 5431992"/>
              <a:gd name="connsiteY63" fmla="*/ 3148994 h 3727301"/>
              <a:gd name="connsiteX64" fmla="*/ 5370977 w 5431992"/>
              <a:gd name="connsiteY64" fmla="*/ 3146500 h 3727301"/>
              <a:gd name="connsiteX65" fmla="*/ 5373748 w 5431992"/>
              <a:gd name="connsiteY65" fmla="*/ 3139941 h 3727301"/>
              <a:gd name="connsiteX66" fmla="*/ 5394531 w 5431992"/>
              <a:gd name="connsiteY66" fmla="*/ 3076045 h 3727301"/>
              <a:gd name="connsiteX67" fmla="*/ 5396648 w 5431992"/>
              <a:gd name="connsiteY67" fmla="*/ 3069712 h 3727301"/>
              <a:gd name="connsiteX68" fmla="*/ 5396798 w 5431992"/>
              <a:gd name="connsiteY68" fmla="*/ 3069075 h 3727301"/>
              <a:gd name="connsiteX69" fmla="*/ 5397999 w 5431992"/>
              <a:gd name="connsiteY69" fmla="*/ 3065384 h 3727301"/>
              <a:gd name="connsiteX70" fmla="*/ 5427392 w 5431992"/>
              <a:gd name="connsiteY70" fmla="*/ 2908479 h 3727301"/>
              <a:gd name="connsiteX71" fmla="*/ 5427567 w 5431992"/>
              <a:gd name="connsiteY71" fmla="*/ 2904915 h 3727301"/>
              <a:gd name="connsiteX72" fmla="*/ 5427942 w 5431992"/>
              <a:gd name="connsiteY72" fmla="*/ 2902239 h 3727301"/>
              <a:gd name="connsiteX73" fmla="*/ 5429984 w 5431992"/>
              <a:gd name="connsiteY73" fmla="*/ 2858141 h 3727301"/>
              <a:gd name="connsiteX74" fmla="*/ 5431992 w 5431992"/>
              <a:gd name="connsiteY74" fmla="*/ 2858141 h 3727301"/>
              <a:gd name="connsiteX75" fmla="*/ 5431992 w 5431992"/>
              <a:gd name="connsiteY75" fmla="*/ 2815358 h 3727301"/>
              <a:gd name="connsiteX76" fmla="*/ 5431992 w 5431992"/>
              <a:gd name="connsiteY76" fmla="*/ 2815349 h 3727301"/>
              <a:gd name="connsiteX77" fmla="*/ 5431992 w 5431992"/>
              <a:gd name="connsiteY77" fmla="*/ 2815340 h 3727301"/>
              <a:gd name="connsiteX78" fmla="*/ 5431992 w 5431992"/>
              <a:gd name="connsiteY78" fmla="*/ 2814803 h 3727301"/>
              <a:gd name="connsiteX79" fmla="*/ 5431992 w 5431992"/>
              <a:gd name="connsiteY79" fmla="*/ 2806157 h 3727301"/>
              <a:gd name="connsiteX80" fmla="*/ 5431992 w 5431992"/>
              <a:gd name="connsiteY80" fmla="*/ 2439693 h 3727301"/>
              <a:gd name="connsiteX81" fmla="*/ 5431992 w 5431992"/>
              <a:gd name="connsiteY81" fmla="*/ 2396910 h 3727301"/>
              <a:gd name="connsiteX82" fmla="*/ 5431992 w 5431992"/>
              <a:gd name="connsiteY82" fmla="*/ 2396901 h 3727301"/>
              <a:gd name="connsiteX83" fmla="*/ 5431992 w 5431992"/>
              <a:gd name="connsiteY83" fmla="*/ 2396892 h 3727301"/>
              <a:gd name="connsiteX84" fmla="*/ 5431992 w 5431992"/>
              <a:gd name="connsiteY84" fmla="*/ 2396355 h 3727301"/>
              <a:gd name="connsiteX85" fmla="*/ 5431992 w 5431992"/>
              <a:gd name="connsiteY85" fmla="*/ 2387709 h 3727301"/>
              <a:gd name="connsiteX86" fmla="*/ 5431992 w 5431992"/>
              <a:gd name="connsiteY86" fmla="*/ 2251532 h 3727301"/>
              <a:gd name="connsiteX87" fmla="*/ 5431992 w 5431992"/>
              <a:gd name="connsiteY87" fmla="*/ 1894207 h 3727301"/>
              <a:gd name="connsiteX88" fmla="*/ 5431992 w 5431992"/>
              <a:gd name="connsiteY88" fmla="*/ 1833084 h 3727301"/>
              <a:gd name="connsiteX89" fmla="*/ 5431992 w 5431992"/>
              <a:gd name="connsiteY89" fmla="*/ 1475759 h 3727301"/>
              <a:gd name="connsiteX90" fmla="*/ 5431992 w 5431992"/>
              <a:gd name="connsiteY90" fmla="*/ 1330390 h 3727301"/>
              <a:gd name="connsiteX91" fmla="*/ 5431992 w 5431992"/>
              <a:gd name="connsiteY91" fmla="*/ 911942 h 3727301"/>
              <a:gd name="connsiteX92" fmla="*/ 5431992 w 5431992"/>
              <a:gd name="connsiteY92" fmla="*/ 418448 h 3727301"/>
              <a:gd name="connsiteX93" fmla="*/ 5431992 w 5431992"/>
              <a:gd name="connsiteY93" fmla="*/ 0 h 3727301"/>
              <a:gd name="connsiteX94" fmla="*/ 4587827 w 5431992"/>
              <a:gd name="connsiteY94" fmla="*/ 0 h 3727301"/>
              <a:gd name="connsiteX95" fmla="*/ 4540602 w 5431992"/>
              <a:gd name="connsiteY95" fmla="*/ 0 h 3727301"/>
              <a:gd name="connsiteX96" fmla="*/ 3646314 w 5431992"/>
              <a:gd name="connsiteY96" fmla="*/ 0 h 3727301"/>
              <a:gd name="connsiteX97" fmla="*/ 3060170 w 5431992"/>
              <a:gd name="connsiteY97" fmla="*/ 0 h 3727301"/>
              <a:gd name="connsiteX98" fmla="*/ 2802149 w 5431992"/>
              <a:gd name="connsiteY98" fmla="*/ 0 h 3727301"/>
              <a:gd name="connsiteX99" fmla="*/ 2754924 w 5431992"/>
              <a:gd name="connsiteY99" fmla="*/ 0 h 3727301"/>
              <a:gd name="connsiteX100" fmla="*/ 2677069 w 5431992"/>
              <a:gd name="connsiteY100" fmla="*/ 0 h 3727301"/>
              <a:gd name="connsiteX101" fmla="*/ 1274492 w 5431992"/>
              <a:gd name="connsiteY101" fmla="*/ 0 h 3727301"/>
              <a:gd name="connsiteX102" fmla="*/ 891391 w 5431992"/>
              <a:gd name="connsiteY102" fmla="*/ 0 h 3727301"/>
              <a:gd name="connsiteX103" fmla="*/ 891391 w 5431992"/>
              <a:gd name="connsiteY103" fmla="*/ 1089 h 3727301"/>
              <a:gd name="connsiteX104" fmla="*/ 891390 w 5431992"/>
              <a:gd name="connsiteY104" fmla="*/ 1089 h 3727301"/>
              <a:gd name="connsiteX105" fmla="*/ 891124 w 5431992"/>
              <a:gd name="connsiteY105" fmla="*/ 1089 h 3727301"/>
              <a:gd name="connsiteX106" fmla="*/ 879689 w 5431992"/>
              <a:gd name="connsiteY106" fmla="*/ 1089 h 3727301"/>
              <a:gd name="connsiteX107" fmla="*/ 844165 w 5431992"/>
              <a:gd name="connsiteY107" fmla="*/ 1089 h 3727301"/>
              <a:gd name="connsiteX108" fmla="*/ 844165 w 5431992"/>
              <a:gd name="connsiteY108" fmla="*/ 3362 h 3727301"/>
              <a:gd name="connsiteX109" fmla="*/ 805634 w 5431992"/>
              <a:gd name="connsiteY109" fmla="*/ 5226 h 3727301"/>
              <a:gd name="connsiteX110" fmla="*/ 802321 w 5431992"/>
              <a:gd name="connsiteY110" fmla="*/ 5701 h 3727301"/>
              <a:gd name="connsiteX111" fmla="*/ 800491 w 5431992"/>
              <a:gd name="connsiteY111" fmla="*/ 5795 h 3727301"/>
              <a:gd name="connsiteX112" fmla="*/ 783113 w 5431992"/>
              <a:gd name="connsiteY112" fmla="*/ 8449 h 3727301"/>
              <a:gd name="connsiteX113" fmla="*/ 727559 w 5431992"/>
              <a:gd name="connsiteY113" fmla="*/ 16399 h 3727301"/>
              <a:gd name="connsiteX114" fmla="*/ 721169 w 5431992"/>
              <a:gd name="connsiteY114" fmla="*/ 17910 h 3727301"/>
              <a:gd name="connsiteX115" fmla="*/ 717406 w 5431992"/>
              <a:gd name="connsiteY115" fmla="*/ 18484 h 3727301"/>
              <a:gd name="connsiteX116" fmla="*/ 697980 w 5431992"/>
              <a:gd name="connsiteY116" fmla="*/ 23394 h 3727301"/>
              <a:gd name="connsiteX117" fmla="*/ 651798 w 5431992"/>
              <a:gd name="connsiteY117" fmla="*/ 34313 h 3727301"/>
              <a:gd name="connsiteX118" fmla="*/ 642455 w 5431992"/>
              <a:gd name="connsiteY118" fmla="*/ 37423 h 3727301"/>
              <a:gd name="connsiteX119" fmla="*/ 637004 w 5431992"/>
              <a:gd name="connsiteY119" fmla="*/ 38800 h 3727301"/>
              <a:gd name="connsiteX120" fmla="*/ 618418 w 5431992"/>
              <a:gd name="connsiteY120" fmla="*/ 45422 h 3727301"/>
              <a:gd name="connsiteX121" fmla="*/ 578659 w 5431992"/>
              <a:gd name="connsiteY121" fmla="*/ 58657 h 3727301"/>
              <a:gd name="connsiteX122" fmla="*/ 566594 w 5431992"/>
              <a:gd name="connsiteY122" fmla="*/ 63891 h 3727301"/>
              <a:gd name="connsiteX123" fmla="*/ 559656 w 5431992"/>
              <a:gd name="connsiteY123" fmla="*/ 66364 h 3727301"/>
              <a:gd name="connsiteX124" fmla="*/ 542827 w 5431992"/>
              <a:gd name="connsiteY124" fmla="*/ 74202 h 3727301"/>
              <a:gd name="connsiteX125" fmla="*/ 508443 w 5431992"/>
              <a:gd name="connsiteY125" fmla="*/ 89119 h 3727301"/>
              <a:gd name="connsiteX126" fmla="*/ 493927 w 5431992"/>
              <a:gd name="connsiteY126" fmla="*/ 96979 h 3727301"/>
              <a:gd name="connsiteX127" fmla="*/ 485730 w 5431992"/>
              <a:gd name="connsiteY127" fmla="*/ 100797 h 3727301"/>
              <a:gd name="connsiteX128" fmla="*/ 470995 w 5431992"/>
              <a:gd name="connsiteY128" fmla="*/ 109396 h 3727301"/>
              <a:gd name="connsiteX129" fmla="*/ 441454 w 5431992"/>
              <a:gd name="connsiteY129" fmla="*/ 125391 h 3727301"/>
              <a:gd name="connsiteX130" fmla="*/ 424802 w 5431992"/>
              <a:gd name="connsiteY130" fmla="*/ 136352 h 3727301"/>
              <a:gd name="connsiteX131" fmla="*/ 415596 w 5431992"/>
              <a:gd name="connsiteY131" fmla="*/ 141724 h 3727301"/>
              <a:gd name="connsiteX132" fmla="*/ 403056 w 5431992"/>
              <a:gd name="connsiteY132" fmla="*/ 150665 h 3727301"/>
              <a:gd name="connsiteX133" fmla="*/ 377997 w 5431992"/>
              <a:gd name="connsiteY133" fmla="*/ 167159 h 3727301"/>
              <a:gd name="connsiteX134" fmla="*/ 359561 w 5431992"/>
              <a:gd name="connsiteY134" fmla="*/ 181680 h 3727301"/>
              <a:gd name="connsiteX135" fmla="*/ 349622 w 5431992"/>
              <a:gd name="connsiteY135" fmla="*/ 188766 h 3727301"/>
              <a:gd name="connsiteX136" fmla="*/ 339257 w 5431992"/>
              <a:gd name="connsiteY136" fmla="*/ 197671 h 3727301"/>
              <a:gd name="connsiteX137" fmla="*/ 318377 w 5431992"/>
              <a:gd name="connsiteY137" fmla="*/ 214115 h 3727301"/>
              <a:gd name="connsiteX138" fmla="*/ 298544 w 5431992"/>
              <a:gd name="connsiteY138" fmla="*/ 232644 h 3727301"/>
              <a:gd name="connsiteX139" fmla="*/ 288180 w 5431992"/>
              <a:gd name="connsiteY139" fmla="*/ 241547 h 3727301"/>
              <a:gd name="connsiteX140" fmla="*/ 279890 w 5431992"/>
              <a:gd name="connsiteY140" fmla="*/ 250071 h 3727301"/>
              <a:gd name="connsiteX141" fmla="*/ 262898 w 5431992"/>
              <a:gd name="connsiteY141" fmla="*/ 265946 h 3727301"/>
              <a:gd name="connsiteX142" fmla="*/ 242085 w 5431992"/>
              <a:gd name="connsiteY142" fmla="*/ 288944 h 3727301"/>
              <a:gd name="connsiteX143" fmla="*/ 231637 w 5431992"/>
              <a:gd name="connsiteY143" fmla="*/ 299687 h 3727301"/>
              <a:gd name="connsiteX144" fmla="*/ 225275 w 5431992"/>
              <a:gd name="connsiteY144" fmla="*/ 307520 h 3727301"/>
              <a:gd name="connsiteX145" fmla="*/ 211862 w 5431992"/>
              <a:gd name="connsiteY145" fmla="*/ 322342 h 3727301"/>
              <a:gd name="connsiteX146" fmla="*/ 190506 w 5431992"/>
              <a:gd name="connsiteY146" fmla="*/ 350326 h 3727301"/>
              <a:gd name="connsiteX147" fmla="*/ 180363 w 5431992"/>
              <a:gd name="connsiteY147" fmla="*/ 362811 h 3727301"/>
              <a:gd name="connsiteX148" fmla="*/ 175743 w 5431992"/>
              <a:gd name="connsiteY148" fmla="*/ 369669 h 3727301"/>
              <a:gd name="connsiteX149" fmla="*/ 165574 w 5431992"/>
              <a:gd name="connsiteY149" fmla="*/ 382992 h 3727301"/>
              <a:gd name="connsiteX150" fmla="*/ 144110 w 5431992"/>
              <a:gd name="connsiteY150" fmla="*/ 416618 h 3727301"/>
              <a:gd name="connsiteX151" fmla="*/ 134728 w 5431992"/>
              <a:gd name="connsiteY151" fmla="*/ 430542 h 3727301"/>
              <a:gd name="connsiteX152" fmla="*/ 131630 w 5431992"/>
              <a:gd name="connsiteY152" fmla="*/ 436167 h 3727301"/>
              <a:gd name="connsiteX153" fmla="*/ 124340 w 5431992"/>
              <a:gd name="connsiteY153" fmla="*/ 447585 h 3727301"/>
              <a:gd name="connsiteX154" fmla="*/ 103153 w 5431992"/>
              <a:gd name="connsiteY154" fmla="*/ 487877 h 3727301"/>
              <a:gd name="connsiteX155" fmla="*/ 95100 w 5431992"/>
              <a:gd name="connsiteY155" fmla="*/ 502499 h 3727301"/>
              <a:gd name="connsiteX156" fmla="*/ 93274 w 5431992"/>
              <a:gd name="connsiteY156" fmla="*/ 506663 h 3727301"/>
              <a:gd name="connsiteX157" fmla="*/ 88463 w 5431992"/>
              <a:gd name="connsiteY157" fmla="*/ 515811 h 3727301"/>
              <a:gd name="connsiteX158" fmla="*/ 67759 w 5431992"/>
              <a:gd name="connsiteY158" fmla="*/ 564832 h 3727301"/>
              <a:gd name="connsiteX159" fmla="*/ 61850 w 5431992"/>
              <a:gd name="connsiteY159" fmla="*/ 578307 h 3727301"/>
              <a:gd name="connsiteX160" fmla="*/ 61016 w 5431992"/>
              <a:gd name="connsiteY160" fmla="*/ 580801 h 3727301"/>
              <a:gd name="connsiteX161" fmla="*/ 58246 w 5431992"/>
              <a:gd name="connsiteY161" fmla="*/ 587360 h 3727301"/>
              <a:gd name="connsiteX162" fmla="*/ 37462 w 5431992"/>
              <a:gd name="connsiteY162" fmla="*/ 651256 h 3727301"/>
              <a:gd name="connsiteX163" fmla="*/ 35344 w 5431992"/>
              <a:gd name="connsiteY163" fmla="*/ 657589 h 3727301"/>
              <a:gd name="connsiteX164" fmla="*/ 35195 w 5431992"/>
              <a:gd name="connsiteY164" fmla="*/ 658226 h 3727301"/>
              <a:gd name="connsiteX165" fmla="*/ 33994 w 5431992"/>
              <a:gd name="connsiteY165" fmla="*/ 661917 h 3727301"/>
              <a:gd name="connsiteX166" fmla="*/ 4602 w 5431992"/>
              <a:gd name="connsiteY166" fmla="*/ 818822 h 3727301"/>
              <a:gd name="connsiteX167" fmla="*/ 4426 w 5431992"/>
              <a:gd name="connsiteY167" fmla="*/ 822387 h 3727301"/>
              <a:gd name="connsiteX168" fmla="*/ 4051 w 5431992"/>
              <a:gd name="connsiteY168" fmla="*/ 825062 h 3727301"/>
              <a:gd name="connsiteX169" fmla="*/ 2008 w 5431992"/>
              <a:gd name="connsiteY169" fmla="*/ 869160 h 3727301"/>
              <a:gd name="connsiteX170" fmla="*/ 1 w 5431992"/>
              <a:gd name="connsiteY170" fmla="*/ 869160 h 3727301"/>
              <a:gd name="connsiteX171" fmla="*/ 1 w 5431992"/>
              <a:gd name="connsiteY171" fmla="*/ 911944 h 3727301"/>
              <a:gd name="connsiteX172" fmla="*/ 0 w 5431992"/>
              <a:gd name="connsiteY172" fmla="*/ 911952 h 3727301"/>
              <a:gd name="connsiteX173" fmla="*/ 1 w 5431992"/>
              <a:gd name="connsiteY173" fmla="*/ 911961 h 3727301"/>
              <a:gd name="connsiteX174" fmla="*/ 1 w 5431992"/>
              <a:gd name="connsiteY174" fmla="*/ 912498 h 3727301"/>
              <a:gd name="connsiteX175" fmla="*/ 1 w 5431992"/>
              <a:gd name="connsiteY175" fmla="*/ 921144 h 3727301"/>
              <a:gd name="connsiteX176" fmla="*/ 0 w 5431992"/>
              <a:gd name="connsiteY176" fmla="*/ 921144 h 3727301"/>
              <a:gd name="connsiteX177" fmla="*/ 0 w 5431992"/>
              <a:gd name="connsiteY177" fmla="*/ 1330400 h 3727301"/>
              <a:gd name="connsiteX178" fmla="*/ 0 w 5431992"/>
              <a:gd name="connsiteY178" fmla="*/ 1339592 h 3727301"/>
              <a:gd name="connsiteX179" fmla="*/ 0 w 5431992"/>
              <a:gd name="connsiteY179" fmla="*/ 1475768 h 3727301"/>
              <a:gd name="connsiteX180" fmla="*/ 0 w 5431992"/>
              <a:gd name="connsiteY180" fmla="*/ 1475769 h 3727301"/>
              <a:gd name="connsiteX181" fmla="*/ 0 w 5431992"/>
              <a:gd name="connsiteY181" fmla="*/ 1475770 h 3727301"/>
              <a:gd name="connsiteX182" fmla="*/ 0 w 5431992"/>
              <a:gd name="connsiteY182" fmla="*/ 1833095 h 3727301"/>
              <a:gd name="connsiteX183" fmla="*/ 0 w 5431992"/>
              <a:gd name="connsiteY183" fmla="*/ 1894216 h 3727301"/>
              <a:gd name="connsiteX184" fmla="*/ 0 w 5431992"/>
              <a:gd name="connsiteY184" fmla="*/ 1894217 h 3727301"/>
              <a:gd name="connsiteX185" fmla="*/ 0 w 5431992"/>
              <a:gd name="connsiteY185" fmla="*/ 1894218 h 3727301"/>
              <a:gd name="connsiteX186" fmla="*/ 0 w 5431992"/>
              <a:gd name="connsiteY186" fmla="*/ 2251543 h 3727301"/>
              <a:gd name="connsiteX187" fmla="*/ 0 w 5431992"/>
              <a:gd name="connsiteY187" fmla="*/ 2396911 h 3727301"/>
              <a:gd name="connsiteX188" fmla="*/ 0 w 5431992"/>
              <a:gd name="connsiteY188" fmla="*/ 2815359 h 3727301"/>
              <a:gd name="connsiteX189" fmla="*/ 0 w 5431992"/>
              <a:gd name="connsiteY189" fmla="*/ 3308853 h 372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5431992" h="3727301">
                <a:moveTo>
                  <a:pt x="0" y="3727301"/>
                </a:moveTo>
                <a:lnTo>
                  <a:pt x="844165" y="3727301"/>
                </a:lnTo>
                <a:lnTo>
                  <a:pt x="891390" y="3727301"/>
                </a:lnTo>
                <a:lnTo>
                  <a:pt x="2371823" y="3727301"/>
                </a:lnTo>
                <a:lnTo>
                  <a:pt x="2754923" y="3727301"/>
                </a:lnTo>
                <a:lnTo>
                  <a:pt x="4157501" y="3727301"/>
                </a:lnTo>
                <a:lnTo>
                  <a:pt x="4540601" y="3727301"/>
                </a:lnTo>
                <a:lnTo>
                  <a:pt x="4540601" y="3726212"/>
                </a:lnTo>
                <a:lnTo>
                  <a:pt x="4540602" y="3726212"/>
                </a:lnTo>
                <a:lnTo>
                  <a:pt x="4540868" y="3726212"/>
                </a:lnTo>
                <a:lnTo>
                  <a:pt x="4552303" y="3726212"/>
                </a:lnTo>
                <a:lnTo>
                  <a:pt x="4587827" y="3726212"/>
                </a:lnTo>
                <a:lnTo>
                  <a:pt x="4587827" y="3723939"/>
                </a:lnTo>
                <a:lnTo>
                  <a:pt x="4626359" y="3722075"/>
                </a:lnTo>
                <a:lnTo>
                  <a:pt x="4629673" y="3721600"/>
                </a:lnTo>
                <a:lnTo>
                  <a:pt x="4631501" y="3721506"/>
                </a:lnTo>
                <a:lnTo>
                  <a:pt x="4648879" y="3718852"/>
                </a:lnTo>
                <a:lnTo>
                  <a:pt x="4704433" y="3710902"/>
                </a:lnTo>
                <a:lnTo>
                  <a:pt x="4710823" y="3709391"/>
                </a:lnTo>
                <a:lnTo>
                  <a:pt x="4714586" y="3708817"/>
                </a:lnTo>
                <a:lnTo>
                  <a:pt x="4734014" y="3703907"/>
                </a:lnTo>
                <a:lnTo>
                  <a:pt x="4780194" y="3692988"/>
                </a:lnTo>
                <a:lnTo>
                  <a:pt x="4789537" y="3689878"/>
                </a:lnTo>
                <a:lnTo>
                  <a:pt x="4794988" y="3688501"/>
                </a:lnTo>
                <a:lnTo>
                  <a:pt x="4813574" y="3681879"/>
                </a:lnTo>
                <a:lnTo>
                  <a:pt x="4853335" y="3668644"/>
                </a:lnTo>
                <a:lnTo>
                  <a:pt x="4865400" y="3663410"/>
                </a:lnTo>
                <a:lnTo>
                  <a:pt x="4872337" y="3660937"/>
                </a:lnTo>
                <a:lnTo>
                  <a:pt x="4889166" y="3653099"/>
                </a:lnTo>
                <a:lnTo>
                  <a:pt x="4923551" y="3638182"/>
                </a:lnTo>
                <a:lnTo>
                  <a:pt x="4938066" y="3630322"/>
                </a:lnTo>
                <a:lnTo>
                  <a:pt x="4946263" y="3626504"/>
                </a:lnTo>
                <a:lnTo>
                  <a:pt x="4960997" y="3617905"/>
                </a:lnTo>
                <a:lnTo>
                  <a:pt x="4990539" y="3601910"/>
                </a:lnTo>
                <a:lnTo>
                  <a:pt x="5007191" y="3590949"/>
                </a:lnTo>
                <a:lnTo>
                  <a:pt x="5016397" y="3585577"/>
                </a:lnTo>
                <a:lnTo>
                  <a:pt x="5028936" y="3576636"/>
                </a:lnTo>
                <a:lnTo>
                  <a:pt x="5053995" y="3560142"/>
                </a:lnTo>
                <a:lnTo>
                  <a:pt x="5072432" y="3545621"/>
                </a:lnTo>
                <a:lnTo>
                  <a:pt x="5082370" y="3538535"/>
                </a:lnTo>
                <a:lnTo>
                  <a:pt x="5092737" y="3529630"/>
                </a:lnTo>
                <a:lnTo>
                  <a:pt x="5113615" y="3513186"/>
                </a:lnTo>
                <a:lnTo>
                  <a:pt x="5133448" y="3494657"/>
                </a:lnTo>
                <a:lnTo>
                  <a:pt x="5143812" y="3485754"/>
                </a:lnTo>
                <a:lnTo>
                  <a:pt x="5152102" y="3477230"/>
                </a:lnTo>
                <a:lnTo>
                  <a:pt x="5169095" y="3461355"/>
                </a:lnTo>
                <a:lnTo>
                  <a:pt x="5189909" y="3438356"/>
                </a:lnTo>
                <a:lnTo>
                  <a:pt x="5200355" y="3427614"/>
                </a:lnTo>
                <a:lnTo>
                  <a:pt x="5206717" y="3419781"/>
                </a:lnTo>
                <a:lnTo>
                  <a:pt x="5220131" y="3404959"/>
                </a:lnTo>
                <a:lnTo>
                  <a:pt x="5241486" y="3376975"/>
                </a:lnTo>
                <a:lnTo>
                  <a:pt x="5251629" y="3364490"/>
                </a:lnTo>
                <a:lnTo>
                  <a:pt x="5256249" y="3357632"/>
                </a:lnTo>
                <a:lnTo>
                  <a:pt x="5266418" y="3344309"/>
                </a:lnTo>
                <a:lnTo>
                  <a:pt x="5287884" y="3310683"/>
                </a:lnTo>
                <a:lnTo>
                  <a:pt x="5297265" y="3296759"/>
                </a:lnTo>
                <a:lnTo>
                  <a:pt x="5300364" y="3291135"/>
                </a:lnTo>
                <a:lnTo>
                  <a:pt x="5307652" y="3279716"/>
                </a:lnTo>
                <a:lnTo>
                  <a:pt x="5328841" y="3239424"/>
                </a:lnTo>
                <a:lnTo>
                  <a:pt x="5336893" y="3224802"/>
                </a:lnTo>
                <a:lnTo>
                  <a:pt x="5338719" y="3220638"/>
                </a:lnTo>
                <a:lnTo>
                  <a:pt x="5343530" y="3211490"/>
                </a:lnTo>
                <a:lnTo>
                  <a:pt x="5364233" y="3162469"/>
                </a:lnTo>
                <a:lnTo>
                  <a:pt x="5370144" y="3148994"/>
                </a:lnTo>
                <a:lnTo>
                  <a:pt x="5370977" y="3146500"/>
                </a:lnTo>
                <a:lnTo>
                  <a:pt x="5373748" y="3139941"/>
                </a:lnTo>
                <a:lnTo>
                  <a:pt x="5394531" y="3076045"/>
                </a:lnTo>
                <a:lnTo>
                  <a:pt x="5396648" y="3069712"/>
                </a:lnTo>
                <a:lnTo>
                  <a:pt x="5396798" y="3069075"/>
                </a:lnTo>
                <a:lnTo>
                  <a:pt x="5397999" y="3065384"/>
                </a:lnTo>
                <a:cubicBezTo>
                  <a:pt x="5412111" y="3014743"/>
                  <a:pt x="5422044" y="2962304"/>
                  <a:pt x="5427392" y="2908479"/>
                </a:cubicBezTo>
                <a:lnTo>
                  <a:pt x="5427567" y="2904915"/>
                </a:lnTo>
                <a:lnTo>
                  <a:pt x="5427942" y="2902239"/>
                </a:lnTo>
                <a:lnTo>
                  <a:pt x="5429984" y="2858141"/>
                </a:lnTo>
                <a:lnTo>
                  <a:pt x="5431992" y="2858141"/>
                </a:lnTo>
                <a:lnTo>
                  <a:pt x="5431992" y="2815358"/>
                </a:lnTo>
                <a:lnTo>
                  <a:pt x="5431992" y="2815349"/>
                </a:lnTo>
                <a:lnTo>
                  <a:pt x="5431992" y="2815340"/>
                </a:lnTo>
                <a:lnTo>
                  <a:pt x="5431992" y="2814803"/>
                </a:lnTo>
                <a:lnTo>
                  <a:pt x="5431992" y="2806157"/>
                </a:lnTo>
                <a:lnTo>
                  <a:pt x="5431992" y="2439693"/>
                </a:lnTo>
                <a:lnTo>
                  <a:pt x="5431992" y="2396910"/>
                </a:lnTo>
                <a:lnTo>
                  <a:pt x="5431992" y="2396901"/>
                </a:lnTo>
                <a:lnTo>
                  <a:pt x="5431992" y="2396892"/>
                </a:lnTo>
                <a:lnTo>
                  <a:pt x="5431992" y="2396355"/>
                </a:lnTo>
                <a:lnTo>
                  <a:pt x="5431992" y="2387709"/>
                </a:lnTo>
                <a:lnTo>
                  <a:pt x="5431992" y="2251532"/>
                </a:lnTo>
                <a:lnTo>
                  <a:pt x="5431992" y="1894207"/>
                </a:lnTo>
                <a:lnTo>
                  <a:pt x="5431992" y="1833084"/>
                </a:lnTo>
                <a:lnTo>
                  <a:pt x="5431992" y="1475759"/>
                </a:lnTo>
                <a:lnTo>
                  <a:pt x="5431992" y="1330390"/>
                </a:lnTo>
                <a:lnTo>
                  <a:pt x="5431992" y="911942"/>
                </a:lnTo>
                <a:lnTo>
                  <a:pt x="5431992" y="418448"/>
                </a:lnTo>
                <a:lnTo>
                  <a:pt x="5431992" y="0"/>
                </a:lnTo>
                <a:lnTo>
                  <a:pt x="4587827" y="0"/>
                </a:lnTo>
                <a:lnTo>
                  <a:pt x="4540602" y="0"/>
                </a:lnTo>
                <a:lnTo>
                  <a:pt x="3646314" y="0"/>
                </a:lnTo>
                <a:lnTo>
                  <a:pt x="3060170" y="0"/>
                </a:lnTo>
                <a:lnTo>
                  <a:pt x="2802149" y="0"/>
                </a:lnTo>
                <a:lnTo>
                  <a:pt x="2754924" y="0"/>
                </a:lnTo>
                <a:lnTo>
                  <a:pt x="2677069" y="0"/>
                </a:lnTo>
                <a:lnTo>
                  <a:pt x="1274492" y="0"/>
                </a:lnTo>
                <a:lnTo>
                  <a:pt x="891391" y="0"/>
                </a:lnTo>
                <a:lnTo>
                  <a:pt x="891391" y="1089"/>
                </a:lnTo>
                <a:lnTo>
                  <a:pt x="891390" y="1089"/>
                </a:lnTo>
                <a:lnTo>
                  <a:pt x="891124" y="1089"/>
                </a:lnTo>
                <a:lnTo>
                  <a:pt x="879689" y="1089"/>
                </a:lnTo>
                <a:lnTo>
                  <a:pt x="844165" y="1089"/>
                </a:lnTo>
                <a:lnTo>
                  <a:pt x="844165" y="3362"/>
                </a:lnTo>
                <a:lnTo>
                  <a:pt x="805634" y="5226"/>
                </a:lnTo>
                <a:lnTo>
                  <a:pt x="802321" y="5701"/>
                </a:lnTo>
                <a:lnTo>
                  <a:pt x="800491" y="5795"/>
                </a:lnTo>
                <a:lnTo>
                  <a:pt x="783113" y="8449"/>
                </a:lnTo>
                <a:lnTo>
                  <a:pt x="727559" y="16399"/>
                </a:lnTo>
                <a:lnTo>
                  <a:pt x="721169" y="17910"/>
                </a:lnTo>
                <a:lnTo>
                  <a:pt x="717406" y="18484"/>
                </a:lnTo>
                <a:lnTo>
                  <a:pt x="697980" y="23394"/>
                </a:lnTo>
                <a:lnTo>
                  <a:pt x="651798" y="34313"/>
                </a:lnTo>
                <a:lnTo>
                  <a:pt x="642455" y="37423"/>
                </a:lnTo>
                <a:lnTo>
                  <a:pt x="637004" y="38800"/>
                </a:lnTo>
                <a:lnTo>
                  <a:pt x="618418" y="45422"/>
                </a:lnTo>
                <a:lnTo>
                  <a:pt x="578659" y="58657"/>
                </a:lnTo>
                <a:lnTo>
                  <a:pt x="566594" y="63891"/>
                </a:lnTo>
                <a:lnTo>
                  <a:pt x="559656" y="66364"/>
                </a:lnTo>
                <a:lnTo>
                  <a:pt x="542827" y="74202"/>
                </a:lnTo>
                <a:lnTo>
                  <a:pt x="508443" y="89119"/>
                </a:lnTo>
                <a:lnTo>
                  <a:pt x="493927" y="96979"/>
                </a:lnTo>
                <a:lnTo>
                  <a:pt x="485730" y="100797"/>
                </a:lnTo>
                <a:lnTo>
                  <a:pt x="470995" y="109396"/>
                </a:lnTo>
                <a:lnTo>
                  <a:pt x="441454" y="125391"/>
                </a:lnTo>
                <a:lnTo>
                  <a:pt x="424802" y="136352"/>
                </a:lnTo>
                <a:lnTo>
                  <a:pt x="415596" y="141724"/>
                </a:lnTo>
                <a:lnTo>
                  <a:pt x="403056" y="150665"/>
                </a:lnTo>
                <a:lnTo>
                  <a:pt x="377997" y="167159"/>
                </a:lnTo>
                <a:lnTo>
                  <a:pt x="359561" y="181680"/>
                </a:lnTo>
                <a:lnTo>
                  <a:pt x="349622" y="188766"/>
                </a:lnTo>
                <a:lnTo>
                  <a:pt x="339257" y="197671"/>
                </a:lnTo>
                <a:lnTo>
                  <a:pt x="318377" y="214115"/>
                </a:lnTo>
                <a:lnTo>
                  <a:pt x="298544" y="232644"/>
                </a:lnTo>
                <a:lnTo>
                  <a:pt x="288180" y="241547"/>
                </a:lnTo>
                <a:lnTo>
                  <a:pt x="279890" y="250071"/>
                </a:lnTo>
                <a:lnTo>
                  <a:pt x="262898" y="265946"/>
                </a:lnTo>
                <a:lnTo>
                  <a:pt x="242085" y="288944"/>
                </a:lnTo>
                <a:lnTo>
                  <a:pt x="231637" y="299687"/>
                </a:lnTo>
                <a:lnTo>
                  <a:pt x="225275" y="307520"/>
                </a:lnTo>
                <a:lnTo>
                  <a:pt x="211862" y="322342"/>
                </a:lnTo>
                <a:lnTo>
                  <a:pt x="190506" y="350326"/>
                </a:lnTo>
                <a:lnTo>
                  <a:pt x="180363" y="362811"/>
                </a:lnTo>
                <a:lnTo>
                  <a:pt x="175743" y="369669"/>
                </a:lnTo>
                <a:lnTo>
                  <a:pt x="165574" y="382992"/>
                </a:lnTo>
                <a:lnTo>
                  <a:pt x="144110" y="416618"/>
                </a:lnTo>
                <a:lnTo>
                  <a:pt x="134728" y="430542"/>
                </a:lnTo>
                <a:lnTo>
                  <a:pt x="131630" y="436167"/>
                </a:lnTo>
                <a:lnTo>
                  <a:pt x="124340" y="447585"/>
                </a:lnTo>
                <a:lnTo>
                  <a:pt x="103153" y="487877"/>
                </a:lnTo>
                <a:lnTo>
                  <a:pt x="95100" y="502499"/>
                </a:lnTo>
                <a:lnTo>
                  <a:pt x="93274" y="506663"/>
                </a:lnTo>
                <a:lnTo>
                  <a:pt x="88463" y="515811"/>
                </a:lnTo>
                <a:lnTo>
                  <a:pt x="67759" y="564832"/>
                </a:lnTo>
                <a:lnTo>
                  <a:pt x="61850" y="578307"/>
                </a:lnTo>
                <a:lnTo>
                  <a:pt x="61016" y="580801"/>
                </a:lnTo>
                <a:lnTo>
                  <a:pt x="58246" y="587360"/>
                </a:lnTo>
                <a:lnTo>
                  <a:pt x="37462" y="651256"/>
                </a:lnTo>
                <a:lnTo>
                  <a:pt x="35344" y="657589"/>
                </a:lnTo>
                <a:lnTo>
                  <a:pt x="35195" y="658226"/>
                </a:lnTo>
                <a:lnTo>
                  <a:pt x="33994" y="661917"/>
                </a:lnTo>
                <a:cubicBezTo>
                  <a:pt x="19882" y="712558"/>
                  <a:pt x="9949" y="764997"/>
                  <a:pt x="4602" y="818822"/>
                </a:cubicBezTo>
                <a:lnTo>
                  <a:pt x="4426" y="822387"/>
                </a:lnTo>
                <a:lnTo>
                  <a:pt x="4051" y="825062"/>
                </a:lnTo>
                <a:lnTo>
                  <a:pt x="2008" y="869160"/>
                </a:lnTo>
                <a:lnTo>
                  <a:pt x="1" y="869160"/>
                </a:lnTo>
                <a:lnTo>
                  <a:pt x="1" y="911944"/>
                </a:lnTo>
                <a:lnTo>
                  <a:pt x="0" y="911952"/>
                </a:lnTo>
                <a:lnTo>
                  <a:pt x="1" y="911961"/>
                </a:lnTo>
                <a:lnTo>
                  <a:pt x="1" y="912498"/>
                </a:lnTo>
                <a:lnTo>
                  <a:pt x="1" y="921144"/>
                </a:lnTo>
                <a:lnTo>
                  <a:pt x="0" y="921144"/>
                </a:lnTo>
                <a:lnTo>
                  <a:pt x="0" y="1330400"/>
                </a:lnTo>
                <a:lnTo>
                  <a:pt x="0" y="1339592"/>
                </a:lnTo>
                <a:lnTo>
                  <a:pt x="0" y="1475768"/>
                </a:lnTo>
                <a:lnTo>
                  <a:pt x="0" y="1475769"/>
                </a:lnTo>
                <a:lnTo>
                  <a:pt x="0" y="1475770"/>
                </a:lnTo>
                <a:lnTo>
                  <a:pt x="0" y="1833095"/>
                </a:lnTo>
                <a:lnTo>
                  <a:pt x="0" y="1894216"/>
                </a:lnTo>
                <a:lnTo>
                  <a:pt x="0" y="1894217"/>
                </a:lnTo>
                <a:lnTo>
                  <a:pt x="0" y="1894218"/>
                </a:lnTo>
                <a:lnTo>
                  <a:pt x="0" y="2251543"/>
                </a:lnTo>
                <a:lnTo>
                  <a:pt x="0" y="2396911"/>
                </a:lnTo>
                <a:lnTo>
                  <a:pt x="0" y="2815359"/>
                </a:lnTo>
                <a:lnTo>
                  <a:pt x="0" y="3308853"/>
                </a:lnTo>
                <a:close/>
              </a:path>
            </a:pathLst>
          </a:custGeom>
          <a:solidFill>
            <a:srgbClr val="1D316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pic>
        <p:nvPicPr>
          <p:cNvPr id="18" name="Graphic 17">
            <a:extLst>
              <a:ext uri="{FF2B5EF4-FFF2-40B4-BE49-F238E27FC236}">
                <a16:creationId xmlns:a16="http://schemas.microsoft.com/office/drawing/2014/main" id="{CAFE9BDD-42DE-304E-AC74-19B57769594F}"/>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5400000">
            <a:off x="5912807" y="831295"/>
            <a:ext cx="686301" cy="693809"/>
          </a:xfrm>
          <a:prstGeom prst="rect">
            <a:avLst/>
          </a:prstGeom>
        </p:spPr>
      </p:pic>
      <p:sp>
        <p:nvSpPr>
          <p:cNvPr id="19" name="Freeform: Shape 90">
            <a:extLst>
              <a:ext uri="{FF2B5EF4-FFF2-40B4-BE49-F238E27FC236}">
                <a16:creationId xmlns:a16="http://schemas.microsoft.com/office/drawing/2014/main" id="{5AA12142-B01B-3049-9CD8-74BA2CBF2DAD}"/>
              </a:ext>
            </a:extLst>
          </p:cNvPr>
          <p:cNvSpPr/>
          <p:nvPr/>
        </p:nvSpPr>
        <p:spPr>
          <a:xfrm>
            <a:off x="6668047" y="920318"/>
            <a:ext cx="3225573" cy="601998"/>
          </a:xfrm>
          <a:custGeom>
            <a:avLst/>
            <a:gdLst>
              <a:gd name="connsiteX0" fmla="*/ 325384 w 4047850"/>
              <a:gd name="connsiteY0" fmla="*/ 0 h 651348"/>
              <a:gd name="connsiteX1" fmla="*/ 593248 w 4047850"/>
              <a:gd name="connsiteY1" fmla="*/ 0 h 651348"/>
              <a:gd name="connsiteX2" fmla="*/ 1005630 w 4047850"/>
              <a:gd name="connsiteY2" fmla="*/ 0 h 651348"/>
              <a:gd name="connsiteX3" fmla="*/ 1022869 w 4047850"/>
              <a:gd name="connsiteY3" fmla="*/ 0 h 651348"/>
              <a:gd name="connsiteX4" fmla="*/ 3042220 w 4047850"/>
              <a:gd name="connsiteY4" fmla="*/ 0 h 651348"/>
              <a:gd name="connsiteX5" fmla="*/ 3394765 w 4047850"/>
              <a:gd name="connsiteY5" fmla="*/ 0 h 651348"/>
              <a:gd name="connsiteX6" fmla="*/ 3722465 w 4047850"/>
              <a:gd name="connsiteY6" fmla="*/ 0 h 651348"/>
              <a:gd name="connsiteX7" fmla="*/ 3739704 w 4047850"/>
              <a:gd name="connsiteY7" fmla="*/ 0 h 651348"/>
              <a:gd name="connsiteX8" fmla="*/ 3739704 w 4047850"/>
              <a:gd name="connsiteY8" fmla="*/ 385 h 651348"/>
              <a:gd name="connsiteX9" fmla="*/ 4047850 w 4047850"/>
              <a:gd name="connsiteY9" fmla="*/ 385 h 651348"/>
              <a:gd name="connsiteX10" fmla="*/ 4047850 w 4047850"/>
              <a:gd name="connsiteY10" fmla="*/ 325477 h 651348"/>
              <a:gd name="connsiteX11" fmla="*/ 4047850 w 4047850"/>
              <a:gd name="connsiteY11" fmla="*/ 325669 h 651348"/>
              <a:gd name="connsiteX12" fmla="*/ 4047850 w 4047850"/>
              <a:gd name="connsiteY12" fmla="*/ 325672 h 651348"/>
              <a:gd name="connsiteX13" fmla="*/ 4047850 w 4047850"/>
              <a:gd name="connsiteY13" fmla="*/ 325675 h 651348"/>
              <a:gd name="connsiteX14" fmla="*/ 4047850 w 4047850"/>
              <a:gd name="connsiteY14" fmla="*/ 340954 h 651348"/>
              <a:gd name="connsiteX15" fmla="*/ 4047117 w 4047850"/>
              <a:gd name="connsiteY15" fmla="*/ 340954 h 651348"/>
              <a:gd name="connsiteX16" fmla="*/ 4046371 w 4047850"/>
              <a:gd name="connsiteY16" fmla="*/ 356703 h 651348"/>
              <a:gd name="connsiteX17" fmla="*/ 4046235 w 4047850"/>
              <a:gd name="connsiteY17" fmla="*/ 357658 h 651348"/>
              <a:gd name="connsiteX18" fmla="*/ 4046171 w 4047850"/>
              <a:gd name="connsiteY18" fmla="*/ 358931 h 651348"/>
              <a:gd name="connsiteX19" fmla="*/ 4035441 w 4047850"/>
              <a:gd name="connsiteY19" fmla="*/ 414965 h 651348"/>
              <a:gd name="connsiteX20" fmla="*/ 4035003 w 4047850"/>
              <a:gd name="connsiteY20" fmla="*/ 416283 h 651348"/>
              <a:gd name="connsiteX21" fmla="*/ 4034948 w 4047850"/>
              <a:gd name="connsiteY21" fmla="*/ 416510 h 651348"/>
              <a:gd name="connsiteX22" fmla="*/ 4034176 w 4047850"/>
              <a:gd name="connsiteY22" fmla="*/ 418772 h 651348"/>
              <a:gd name="connsiteX23" fmla="*/ 4026589 w 4047850"/>
              <a:gd name="connsiteY23" fmla="*/ 441591 h 651348"/>
              <a:gd name="connsiteX24" fmla="*/ 4025578 w 4047850"/>
              <a:gd name="connsiteY24" fmla="*/ 443933 h 651348"/>
              <a:gd name="connsiteX25" fmla="*/ 4025273 w 4047850"/>
              <a:gd name="connsiteY25" fmla="*/ 444823 h 651348"/>
              <a:gd name="connsiteX26" fmla="*/ 4023116 w 4047850"/>
              <a:gd name="connsiteY26" fmla="*/ 449636 h 651348"/>
              <a:gd name="connsiteX27" fmla="*/ 4015559 w 4047850"/>
              <a:gd name="connsiteY27" fmla="*/ 467142 h 651348"/>
              <a:gd name="connsiteX28" fmla="*/ 4013802 w 4047850"/>
              <a:gd name="connsiteY28" fmla="*/ 470409 h 651348"/>
              <a:gd name="connsiteX29" fmla="*/ 4013136 w 4047850"/>
              <a:gd name="connsiteY29" fmla="*/ 471896 h 651348"/>
              <a:gd name="connsiteX30" fmla="*/ 4010197 w 4047850"/>
              <a:gd name="connsiteY30" fmla="*/ 477118 h 651348"/>
              <a:gd name="connsiteX31" fmla="*/ 4002462 w 4047850"/>
              <a:gd name="connsiteY31" fmla="*/ 491507 h 651348"/>
              <a:gd name="connsiteX32" fmla="*/ 3999801 w 4047850"/>
              <a:gd name="connsiteY32" fmla="*/ 495585 h 651348"/>
              <a:gd name="connsiteX33" fmla="*/ 3998671 w 4047850"/>
              <a:gd name="connsiteY33" fmla="*/ 497594 h 651348"/>
              <a:gd name="connsiteX34" fmla="*/ 3995246 w 4047850"/>
              <a:gd name="connsiteY34" fmla="*/ 502566 h 651348"/>
              <a:gd name="connsiteX35" fmla="*/ 3987410 w 4047850"/>
              <a:gd name="connsiteY35" fmla="*/ 514574 h 651348"/>
              <a:gd name="connsiteX36" fmla="*/ 3983699 w 4047850"/>
              <a:gd name="connsiteY36" fmla="*/ 519333 h 651348"/>
              <a:gd name="connsiteX37" fmla="*/ 3982012 w 4047850"/>
              <a:gd name="connsiteY37" fmla="*/ 521781 h 651348"/>
              <a:gd name="connsiteX38" fmla="*/ 3978310 w 4047850"/>
              <a:gd name="connsiteY38" fmla="*/ 526240 h 651348"/>
              <a:gd name="connsiteX39" fmla="*/ 3970514 w 4047850"/>
              <a:gd name="connsiteY39" fmla="*/ 536234 h 651348"/>
              <a:gd name="connsiteX40" fmla="*/ 3965618 w 4047850"/>
              <a:gd name="connsiteY40" fmla="*/ 541527 h 651348"/>
              <a:gd name="connsiteX41" fmla="*/ 3963295 w 4047850"/>
              <a:gd name="connsiteY41" fmla="*/ 544324 h 651348"/>
              <a:gd name="connsiteX42" fmla="*/ 3959482 w 4047850"/>
              <a:gd name="connsiteY42" fmla="*/ 548161 h 651348"/>
              <a:gd name="connsiteX43" fmla="*/ 3951885 w 4047850"/>
              <a:gd name="connsiteY43" fmla="*/ 556374 h 651348"/>
              <a:gd name="connsiteX44" fmla="*/ 3945682 w 4047850"/>
              <a:gd name="connsiteY44" fmla="*/ 562043 h 651348"/>
              <a:gd name="connsiteX45" fmla="*/ 3942656 w 4047850"/>
              <a:gd name="connsiteY45" fmla="*/ 565087 h 651348"/>
              <a:gd name="connsiteX46" fmla="*/ 3938872 w 4047850"/>
              <a:gd name="connsiteY46" fmla="*/ 568267 h 651348"/>
              <a:gd name="connsiteX47" fmla="*/ 3931633 w 4047850"/>
              <a:gd name="connsiteY47" fmla="*/ 574884 h 651348"/>
              <a:gd name="connsiteX48" fmla="*/ 3924011 w 4047850"/>
              <a:gd name="connsiteY48" fmla="*/ 580756 h 651348"/>
              <a:gd name="connsiteX49" fmla="*/ 3920227 w 4047850"/>
              <a:gd name="connsiteY49" fmla="*/ 583936 h 651348"/>
              <a:gd name="connsiteX50" fmla="*/ 3916599 w 4047850"/>
              <a:gd name="connsiteY50" fmla="*/ 586467 h 651348"/>
              <a:gd name="connsiteX51" fmla="*/ 3909870 w 4047850"/>
              <a:gd name="connsiteY51" fmla="*/ 591652 h 651348"/>
              <a:gd name="connsiteX52" fmla="*/ 3900723 w 4047850"/>
              <a:gd name="connsiteY52" fmla="*/ 597543 h 651348"/>
              <a:gd name="connsiteX53" fmla="*/ 3896145 w 4047850"/>
              <a:gd name="connsiteY53" fmla="*/ 600736 h 651348"/>
              <a:gd name="connsiteX54" fmla="*/ 3892785 w 4047850"/>
              <a:gd name="connsiteY54" fmla="*/ 602655 h 651348"/>
              <a:gd name="connsiteX55" fmla="*/ 3886706 w 4047850"/>
              <a:gd name="connsiteY55" fmla="*/ 606569 h 651348"/>
              <a:gd name="connsiteX56" fmla="*/ 3875923 w 4047850"/>
              <a:gd name="connsiteY56" fmla="*/ 612281 h 651348"/>
              <a:gd name="connsiteX57" fmla="*/ 3870544 w 4047850"/>
              <a:gd name="connsiteY57" fmla="*/ 615352 h 651348"/>
              <a:gd name="connsiteX58" fmla="*/ 3867552 w 4047850"/>
              <a:gd name="connsiteY58" fmla="*/ 616715 h 651348"/>
              <a:gd name="connsiteX59" fmla="*/ 3862253 w 4047850"/>
              <a:gd name="connsiteY59" fmla="*/ 619522 h 651348"/>
              <a:gd name="connsiteX60" fmla="*/ 3849702 w 4047850"/>
              <a:gd name="connsiteY60" fmla="*/ 624849 h 651348"/>
              <a:gd name="connsiteX61" fmla="*/ 3843559 w 4047850"/>
              <a:gd name="connsiteY61" fmla="*/ 627649 h 651348"/>
              <a:gd name="connsiteX62" fmla="*/ 3841026 w 4047850"/>
              <a:gd name="connsiteY62" fmla="*/ 628532 h 651348"/>
              <a:gd name="connsiteX63" fmla="*/ 3836622 w 4047850"/>
              <a:gd name="connsiteY63" fmla="*/ 630401 h 651348"/>
              <a:gd name="connsiteX64" fmla="*/ 3822109 w 4047850"/>
              <a:gd name="connsiteY64" fmla="*/ 635127 h 651348"/>
              <a:gd name="connsiteX65" fmla="*/ 3815324 w 4047850"/>
              <a:gd name="connsiteY65" fmla="*/ 637492 h 651348"/>
              <a:gd name="connsiteX66" fmla="*/ 3813334 w 4047850"/>
              <a:gd name="connsiteY66" fmla="*/ 637984 h 651348"/>
              <a:gd name="connsiteX67" fmla="*/ 3809924 w 4047850"/>
              <a:gd name="connsiteY67" fmla="*/ 639095 h 651348"/>
              <a:gd name="connsiteX68" fmla="*/ 3793067 w 4047850"/>
              <a:gd name="connsiteY68" fmla="*/ 642994 h 651348"/>
              <a:gd name="connsiteX69" fmla="*/ 3785975 w 4047850"/>
              <a:gd name="connsiteY69" fmla="*/ 644747 h 651348"/>
              <a:gd name="connsiteX70" fmla="*/ 3784601 w 4047850"/>
              <a:gd name="connsiteY70" fmla="*/ 644952 h 651348"/>
              <a:gd name="connsiteX71" fmla="*/ 3782269 w 4047850"/>
              <a:gd name="connsiteY71" fmla="*/ 645492 h 651348"/>
              <a:gd name="connsiteX72" fmla="*/ 3761990 w 4047850"/>
              <a:gd name="connsiteY72" fmla="*/ 648331 h 651348"/>
              <a:gd name="connsiteX73" fmla="*/ 3755647 w 4047850"/>
              <a:gd name="connsiteY73" fmla="*/ 649279 h 651348"/>
              <a:gd name="connsiteX74" fmla="*/ 3754979 w 4047850"/>
              <a:gd name="connsiteY74" fmla="*/ 649313 h 651348"/>
              <a:gd name="connsiteX75" fmla="*/ 3753769 w 4047850"/>
              <a:gd name="connsiteY75" fmla="*/ 649482 h 651348"/>
              <a:gd name="connsiteX76" fmla="*/ 3739704 w 4047850"/>
              <a:gd name="connsiteY76" fmla="*/ 650148 h 651348"/>
              <a:gd name="connsiteX77" fmla="*/ 3739704 w 4047850"/>
              <a:gd name="connsiteY77" fmla="*/ 650959 h 651348"/>
              <a:gd name="connsiteX78" fmla="*/ 3726737 w 4047850"/>
              <a:gd name="connsiteY78" fmla="*/ 650959 h 651348"/>
              <a:gd name="connsiteX79" fmla="*/ 3722563 w 4047850"/>
              <a:gd name="connsiteY79" fmla="*/ 650959 h 651348"/>
              <a:gd name="connsiteX80" fmla="*/ 3722465 w 4047850"/>
              <a:gd name="connsiteY80" fmla="*/ 650959 h 651348"/>
              <a:gd name="connsiteX81" fmla="*/ 3722465 w 4047850"/>
              <a:gd name="connsiteY81" fmla="*/ 651348 h 651348"/>
              <a:gd name="connsiteX82" fmla="*/ 3394765 w 4047850"/>
              <a:gd name="connsiteY82" fmla="*/ 651348 h 651348"/>
              <a:gd name="connsiteX83" fmla="*/ 3042220 w 4047850"/>
              <a:gd name="connsiteY83" fmla="*/ 651348 h 651348"/>
              <a:gd name="connsiteX84" fmla="*/ 3024981 w 4047850"/>
              <a:gd name="connsiteY84" fmla="*/ 651348 h 651348"/>
              <a:gd name="connsiteX85" fmla="*/ 1005630 w 4047850"/>
              <a:gd name="connsiteY85" fmla="*/ 651348 h 651348"/>
              <a:gd name="connsiteX86" fmla="*/ 593248 w 4047850"/>
              <a:gd name="connsiteY86" fmla="*/ 651348 h 651348"/>
              <a:gd name="connsiteX87" fmla="*/ 325384 w 4047850"/>
              <a:gd name="connsiteY87" fmla="*/ 651348 h 651348"/>
              <a:gd name="connsiteX88" fmla="*/ 308146 w 4047850"/>
              <a:gd name="connsiteY88" fmla="*/ 651348 h 651348"/>
              <a:gd name="connsiteX89" fmla="*/ 308146 w 4047850"/>
              <a:gd name="connsiteY89" fmla="*/ 650963 h 651348"/>
              <a:gd name="connsiteX90" fmla="*/ 0 w 4047850"/>
              <a:gd name="connsiteY90" fmla="*/ 650963 h 651348"/>
              <a:gd name="connsiteX91" fmla="*/ 0 w 4047850"/>
              <a:gd name="connsiteY91" fmla="*/ 325871 h 651348"/>
              <a:gd name="connsiteX92" fmla="*/ 0 w 4047850"/>
              <a:gd name="connsiteY92" fmla="*/ 325679 h 651348"/>
              <a:gd name="connsiteX93" fmla="*/ 0 w 4047850"/>
              <a:gd name="connsiteY93" fmla="*/ 325676 h 651348"/>
              <a:gd name="connsiteX94" fmla="*/ 0 w 4047850"/>
              <a:gd name="connsiteY94" fmla="*/ 325673 h 651348"/>
              <a:gd name="connsiteX95" fmla="*/ 0 w 4047850"/>
              <a:gd name="connsiteY95" fmla="*/ 310394 h 651348"/>
              <a:gd name="connsiteX96" fmla="*/ 733 w 4047850"/>
              <a:gd name="connsiteY96" fmla="*/ 310394 h 651348"/>
              <a:gd name="connsiteX97" fmla="*/ 1478 w 4047850"/>
              <a:gd name="connsiteY97" fmla="*/ 294646 h 651348"/>
              <a:gd name="connsiteX98" fmla="*/ 1615 w 4047850"/>
              <a:gd name="connsiteY98" fmla="*/ 293690 h 651348"/>
              <a:gd name="connsiteX99" fmla="*/ 1679 w 4047850"/>
              <a:gd name="connsiteY99" fmla="*/ 292417 h 651348"/>
              <a:gd name="connsiteX100" fmla="*/ 12408 w 4047850"/>
              <a:gd name="connsiteY100" fmla="*/ 236384 h 651348"/>
              <a:gd name="connsiteX101" fmla="*/ 12847 w 4047850"/>
              <a:gd name="connsiteY101" fmla="*/ 235065 h 651348"/>
              <a:gd name="connsiteX102" fmla="*/ 12901 w 4047850"/>
              <a:gd name="connsiteY102" fmla="*/ 234838 h 651348"/>
              <a:gd name="connsiteX103" fmla="*/ 13674 w 4047850"/>
              <a:gd name="connsiteY103" fmla="*/ 232576 h 651348"/>
              <a:gd name="connsiteX104" fmla="*/ 21261 w 4047850"/>
              <a:gd name="connsiteY104" fmla="*/ 209757 h 651348"/>
              <a:gd name="connsiteX105" fmla="*/ 22272 w 4047850"/>
              <a:gd name="connsiteY105" fmla="*/ 207415 h 651348"/>
              <a:gd name="connsiteX106" fmla="*/ 22576 w 4047850"/>
              <a:gd name="connsiteY106" fmla="*/ 206525 h 651348"/>
              <a:gd name="connsiteX107" fmla="*/ 24734 w 4047850"/>
              <a:gd name="connsiteY107" fmla="*/ 201713 h 651348"/>
              <a:gd name="connsiteX108" fmla="*/ 32291 w 4047850"/>
              <a:gd name="connsiteY108" fmla="*/ 184206 h 651348"/>
              <a:gd name="connsiteX109" fmla="*/ 34047 w 4047850"/>
              <a:gd name="connsiteY109" fmla="*/ 180939 h 651348"/>
              <a:gd name="connsiteX110" fmla="*/ 34714 w 4047850"/>
              <a:gd name="connsiteY110" fmla="*/ 179452 h 651348"/>
              <a:gd name="connsiteX111" fmla="*/ 37653 w 4047850"/>
              <a:gd name="connsiteY111" fmla="*/ 174231 h 651348"/>
              <a:gd name="connsiteX112" fmla="*/ 45388 w 4047850"/>
              <a:gd name="connsiteY112" fmla="*/ 159842 h 651348"/>
              <a:gd name="connsiteX113" fmla="*/ 48048 w 4047850"/>
              <a:gd name="connsiteY113" fmla="*/ 155764 h 651348"/>
              <a:gd name="connsiteX114" fmla="*/ 49179 w 4047850"/>
              <a:gd name="connsiteY114" fmla="*/ 153755 h 651348"/>
              <a:gd name="connsiteX115" fmla="*/ 52604 w 4047850"/>
              <a:gd name="connsiteY115" fmla="*/ 148783 h 651348"/>
              <a:gd name="connsiteX116" fmla="*/ 60439 w 4047850"/>
              <a:gd name="connsiteY116" fmla="*/ 136774 h 651348"/>
              <a:gd name="connsiteX117" fmla="*/ 64151 w 4047850"/>
              <a:gd name="connsiteY117" fmla="*/ 132016 h 651348"/>
              <a:gd name="connsiteX118" fmla="*/ 65838 w 4047850"/>
              <a:gd name="connsiteY118" fmla="*/ 129567 h 651348"/>
              <a:gd name="connsiteX119" fmla="*/ 69540 w 4047850"/>
              <a:gd name="connsiteY119" fmla="*/ 125108 h 651348"/>
              <a:gd name="connsiteX120" fmla="*/ 77336 w 4047850"/>
              <a:gd name="connsiteY120" fmla="*/ 115115 h 651348"/>
              <a:gd name="connsiteX121" fmla="*/ 82232 w 4047850"/>
              <a:gd name="connsiteY121" fmla="*/ 109821 h 651348"/>
              <a:gd name="connsiteX122" fmla="*/ 84554 w 4047850"/>
              <a:gd name="connsiteY122" fmla="*/ 107024 h 651348"/>
              <a:gd name="connsiteX123" fmla="*/ 88368 w 4047850"/>
              <a:gd name="connsiteY123" fmla="*/ 103188 h 651348"/>
              <a:gd name="connsiteX124" fmla="*/ 95965 w 4047850"/>
              <a:gd name="connsiteY124" fmla="*/ 94974 h 651348"/>
              <a:gd name="connsiteX125" fmla="*/ 102168 w 4047850"/>
              <a:gd name="connsiteY125" fmla="*/ 89305 h 651348"/>
              <a:gd name="connsiteX126" fmla="*/ 105194 w 4047850"/>
              <a:gd name="connsiteY126" fmla="*/ 86261 h 651348"/>
              <a:gd name="connsiteX127" fmla="*/ 108977 w 4047850"/>
              <a:gd name="connsiteY127" fmla="*/ 83081 h 651348"/>
              <a:gd name="connsiteX128" fmla="*/ 116217 w 4047850"/>
              <a:gd name="connsiteY128" fmla="*/ 76465 h 651348"/>
              <a:gd name="connsiteX129" fmla="*/ 123838 w 4047850"/>
              <a:gd name="connsiteY129" fmla="*/ 70592 h 651348"/>
              <a:gd name="connsiteX130" fmla="*/ 127623 w 4047850"/>
              <a:gd name="connsiteY130" fmla="*/ 67412 h 651348"/>
              <a:gd name="connsiteX131" fmla="*/ 131250 w 4047850"/>
              <a:gd name="connsiteY131" fmla="*/ 64881 h 651348"/>
              <a:gd name="connsiteX132" fmla="*/ 137980 w 4047850"/>
              <a:gd name="connsiteY132" fmla="*/ 59696 h 651348"/>
              <a:gd name="connsiteX133" fmla="*/ 147127 w 4047850"/>
              <a:gd name="connsiteY133" fmla="*/ 53805 h 651348"/>
              <a:gd name="connsiteX134" fmla="*/ 151705 w 4047850"/>
              <a:gd name="connsiteY134" fmla="*/ 50612 h 651348"/>
              <a:gd name="connsiteX135" fmla="*/ 155065 w 4047850"/>
              <a:gd name="connsiteY135" fmla="*/ 48694 h 651348"/>
              <a:gd name="connsiteX136" fmla="*/ 161144 w 4047850"/>
              <a:gd name="connsiteY136" fmla="*/ 44779 h 651348"/>
              <a:gd name="connsiteX137" fmla="*/ 171927 w 4047850"/>
              <a:gd name="connsiteY137" fmla="*/ 39067 h 651348"/>
              <a:gd name="connsiteX138" fmla="*/ 177306 w 4047850"/>
              <a:gd name="connsiteY138" fmla="*/ 35997 h 651348"/>
              <a:gd name="connsiteX139" fmla="*/ 180298 w 4047850"/>
              <a:gd name="connsiteY139" fmla="*/ 34633 h 651348"/>
              <a:gd name="connsiteX140" fmla="*/ 185596 w 4047850"/>
              <a:gd name="connsiteY140" fmla="*/ 31826 h 651348"/>
              <a:gd name="connsiteX141" fmla="*/ 198148 w 4047850"/>
              <a:gd name="connsiteY141" fmla="*/ 26499 h 651348"/>
              <a:gd name="connsiteX142" fmla="*/ 204291 w 4047850"/>
              <a:gd name="connsiteY142" fmla="*/ 23700 h 651348"/>
              <a:gd name="connsiteX143" fmla="*/ 206823 w 4047850"/>
              <a:gd name="connsiteY143" fmla="*/ 22817 h 651348"/>
              <a:gd name="connsiteX144" fmla="*/ 211228 w 4047850"/>
              <a:gd name="connsiteY144" fmla="*/ 20947 h 651348"/>
              <a:gd name="connsiteX145" fmla="*/ 225741 w 4047850"/>
              <a:gd name="connsiteY145" fmla="*/ 16221 h 651348"/>
              <a:gd name="connsiteX146" fmla="*/ 232526 w 4047850"/>
              <a:gd name="connsiteY146" fmla="*/ 13856 h 651348"/>
              <a:gd name="connsiteX147" fmla="*/ 234516 w 4047850"/>
              <a:gd name="connsiteY147" fmla="*/ 13364 h 651348"/>
              <a:gd name="connsiteX148" fmla="*/ 237926 w 4047850"/>
              <a:gd name="connsiteY148" fmla="*/ 12254 h 651348"/>
              <a:gd name="connsiteX149" fmla="*/ 254783 w 4047850"/>
              <a:gd name="connsiteY149" fmla="*/ 8354 h 651348"/>
              <a:gd name="connsiteX150" fmla="*/ 261875 w 4047850"/>
              <a:gd name="connsiteY150" fmla="*/ 6601 h 651348"/>
              <a:gd name="connsiteX151" fmla="*/ 263248 w 4047850"/>
              <a:gd name="connsiteY151" fmla="*/ 6396 h 651348"/>
              <a:gd name="connsiteX152" fmla="*/ 265581 w 4047850"/>
              <a:gd name="connsiteY152" fmla="*/ 5856 h 651348"/>
              <a:gd name="connsiteX153" fmla="*/ 285860 w 4047850"/>
              <a:gd name="connsiteY153" fmla="*/ 3017 h 651348"/>
              <a:gd name="connsiteX154" fmla="*/ 292203 w 4047850"/>
              <a:gd name="connsiteY154" fmla="*/ 2069 h 651348"/>
              <a:gd name="connsiteX155" fmla="*/ 292871 w 4047850"/>
              <a:gd name="connsiteY155" fmla="*/ 2036 h 651348"/>
              <a:gd name="connsiteX156" fmla="*/ 294080 w 4047850"/>
              <a:gd name="connsiteY156" fmla="*/ 1866 h 651348"/>
              <a:gd name="connsiteX157" fmla="*/ 308146 w 4047850"/>
              <a:gd name="connsiteY157" fmla="*/ 1201 h 651348"/>
              <a:gd name="connsiteX158" fmla="*/ 308146 w 4047850"/>
              <a:gd name="connsiteY158" fmla="*/ 389 h 651348"/>
              <a:gd name="connsiteX159" fmla="*/ 321113 w 4047850"/>
              <a:gd name="connsiteY159" fmla="*/ 389 h 651348"/>
              <a:gd name="connsiteX160" fmla="*/ 325287 w 4047850"/>
              <a:gd name="connsiteY160" fmla="*/ 389 h 651348"/>
              <a:gd name="connsiteX161" fmla="*/ 325384 w 4047850"/>
              <a:gd name="connsiteY161" fmla="*/ 389 h 65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4047850" h="651348">
                <a:moveTo>
                  <a:pt x="325384" y="0"/>
                </a:moveTo>
                <a:lnTo>
                  <a:pt x="593248" y="0"/>
                </a:lnTo>
                <a:lnTo>
                  <a:pt x="1005630" y="0"/>
                </a:lnTo>
                <a:lnTo>
                  <a:pt x="1022869" y="0"/>
                </a:lnTo>
                <a:lnTo>
                  <a:pt x="3042220" y="0"/>
                </a:lnTo>
                <a:lnTo>
                  <a:pt x="3394765" y="0"/>
                </a:lnTo>
                <a:lnTo>
                  <a:pt x="3722465" y="0"/>
                </a:lnTo>
                <a:lnTo>
                  <a:pt x="3739704" y="0"/>
                </a:lnTo>
                <a:lnTo>
                  <a:pt x="3739704" y="385"/>
                </a:lnTo>
                <a:lnTo>
                  <a:pt x="4047850" y="385"/>
                </a:lnTo>
                <a:lnTo>
                  <a:pt x="4047850" y="325477"/>
                </a:lnTo>
                <a:lnTo>
                  <a:pt x="4047850" y="325669"/>
                </a:lnTo>
                <a:lnTo>
                  <a:pt x="4047850" y="325672"/>
                </a:lnTo>
                <a:lnTo>
                  <a:pt x="4047850" y="325675"/>
                </a:lnTo>
                <a:lnTo>
                  <a:pt x="4047850" y="340954"/>
                </a:lnTo>
                <a:lnTo>
                  <a:pt x="4047117" y="340954"/>
                </a:lnTo>
                <a:lnTo>
                  <a:pt x="4046371" y="356703"/>
                </a:lnTo>
                <a:lnTo>
                  <a:pt x="4046235" y="357658"/>
                </a:lnTo>
                <a:lnTo>
                  <a:pt x="4046171" y="358931"/>
                </a:lnTo>
                <a:cubicBezTo>
                  <a:pt x="4044218" y="378153"/>
                  <a:pt x="4040593" y="396880"/>
                  <a:pt x="4035441" y="414965"/>
                </a:cubicBezTo>
                <a:lnTo>
                  <a:pt x="4035003" y="416283"/>
                </a:lnTo>
                <a:lnTo>
                  <a:pt x="4034948" y="416510"/>
                </a:lnTo>
                <a:lnTo>
                  <a:pt x="4034176" y="418772"/>
                </a:lnTo>
                <a:lnTo>
                  <a:pt x="4026589" y="441591"/>
                </a:lnTo>
                <a:lnTo>
                  <a:pt x="4025578" y="443933"/>
                </a:lnTo>
                <a:lnTo>
                  <a:pt x="4025273" y="444823"/>
                </a:lnTo>
                <a:lnTo>
                  <a:pt x="4023116" y="449636"/>
                </a:lnTo>
                <a:lnTo>
                  <a:pt x="4015559" y="467142"/>
                </a:lnTo>
                <a:lnTo>
                  <a:pt x="4013802" y="470409"/>
                </a:lnTo>
                <a:lnTo>
                  <a:pt x="4013136" y="471896"/>
                </a:lnTo>
                <a:lnTo>
                  <a:pt x="4010197" y="477118"/>
                </a:lnTo>
                <a:lnTo>
                  <a:pt x="4002462" y="491507"/>
                </a:lnTo>
                <a:lnTo>
                  <a:pt x="3999801" y="495585"/>
                </a:lnTo>
                <a:lnTo>
                  <a:pt x="3998671" y="497594"/>
                </a:lnTo>
                <a:lnTo>
                  <a:pt x="3995246" y="502566"/>
                </a:lnTo>
                <a:lnTo>
                  <a:pt x="3987410" y="514574"/>
                </a:lnTo>
                <a:lnTo>
                  <a:pt x="3983699" y="519333"/>
                </a:lnTo>
                <a:lnTo>
                  <a:pt x="3982012" y="521781"/>
                </a:lnTo>
                <a:lnTo>
                  <a:pt x="3978310" y="526240"/>
                </a:lnTo>
                <a:lnTo>
                  <a:pt x="3970514" y="536234"/>
                </a:lnTo>
                <a:lnTo>
                  <a:pt x="3965618" y="541527"/>
                </a:lnTo>
                <a:lnTo>
                  <a:pt x="3963295" y="544324"/>
                </a:lnTo>
                <a:lnTo>
                  <a:pt x="3959482" y="548161"/>
                </a:lnTo>
                <a:lnTo>
                  <a:pt x="3951885" y="556374"/>
                </a:lnTo>
                <a:lnTo>
                  <a:pt x="3945682" y="562043"/>
                </a:lnTo>
                <a:lnTo>
                  <a:pt x="3942656" y="565087"/>
                </a:lnTo>
                <a:lnTo>
                  <a:pt x="3938872" y="568267"/>
                </a:lnTo>
                <a:lnTo>
                  <a:pt x="3931633" y="574884"/>
                </a:lnTo>
                <a:lnTo>
                  <a:pt x="3924011" y="580756"/>
                </a:lnTo>
                <a:lnTo>
                  <a:pt x="3920227" y="583936"/>
                </a:lnTo>
                <a:lnTo>
                  <a:pt x="3916599" y="586467"/>
                </a:lnTo>
                <a:lnTo>
                  <a:pt x="3909870" y="591652"/>
                </a:lnTo>
                <a:lnTo>
                  <a:pt x="3900723" y="597543"/>
                </a:lnTo>
                <a:lnTo>
                  <a:pt x="3896145" y="600736"/>
                </a:lnTo>
                <a:lnTo>
                  <a:pt x="3892785" y="602655"/>
                </a:lnTo>
                <a:lnTo>
                  <a:pt x="3886706" y="606569"/>
                </a:lnTo>
                <a:lnTo>
                  <a:pt x="3875923" y="612281"/>
                </a:lnTo>
                <a:lnTo>
                  <a:pt x="3870544" y="615352"/>
                </a:lnTo>
                <a:lnTo>
                  <a:pt x="3867552" y="616715"/>
                </a:lnTo>
                <a:lnTo>
                  <a:pt x="3862253" y="619522"/>
                </a:lnTo>
                <a:lnTo>
                  <a:pt x="3849702" y="624849"/>
                </a:lnTo>
                <a:lnTo>
                  <a:pt x="3843559" y="627649"/>
                </a:lnTo>
                <a:lnTo>
                  <a:pt x="3841026" y="628532"/>
                </a:lnTo>
                <a:lnTo>
                  <a:pt x="3836622" y="630401"/>
                </a:lnTo>
                <a:lnTo>
                  <a:pt x="3822109" y="635127"/>
                </a:lnTo>
                <a:lnTo>
                  <a:pt x="3815324" y="637492"/>
                </a:lnTo>
                <a:lnTo>
                  <a:pt x="3813334" y="637984"/>
                </a:lnTo>
                <a:lnTo>
                  <a:pt x="3809924" y="639095"/>
                </a:lnTo>
                <a:lnTo>
                  <a:pt x="3793067" y="642994"/>
                </a:lnTo>
                <a:lnTo>
                  <a:pt x="3785975" y="644747"/>
                </a:lnTo>
                <a:lnTo>
                  <a:pt x="3784601" y="644952"/>
                </a:lnTo>
                <a:lnTo>
                  <a:pt x="3782269" y="645492"/>
                </a:lnTo>
                <a:lnTo>
                  <a:pt x="3761990" y="648331"/>
                </a:lnTo>
                <a:lnTo>
                  <a:pt x="3755647" y="649279"/>
                </a:lnTo>
                <a:lnTo>
                  <a:pt x="3754979" y="649313"/>
                </a:lnTo>
                <a:lnTo>
                  <a:pt x="3753769" y="649482"/>
                </a:lnTo>
                <a:lnTo>
                  <a:pt x="3739704" y="650148"/>
                </a:lnTo>
                <a:lnTo>
                  <a:pt x="3739704" y="650959"/>
                </a:lnTo>
                <a:lnTo>
                  <a:pt x="3726737" y="650959"/>
                </a:lnTo>
                <a:lnTo>
                  <a:pt x="3722563" y="650959"/>
                </a:lnTo>
                <a:lnTo>
                  <a:pt x="3722465" y="650959"/>
                </a:lnTo>
                <a:lnTo>
                  <a:pt x="3722465" y="651348"/>
                </a:lnTo>
                <a:lnTo>
                  <a:pt x="3394765" y="651348"/>
                </a:lnTo>
                <a:lnTo>
                  <a:pt x="3042220" y="651348"/>
                </a:lnTo>
                <a:lnTo>
                  <a:pt x="3024981" y="651348"/>
                </a:lnTo>
                <a:lnTo>
                  <a:pt x="1005630" y="651348"/>
                </a:lnTo>
                <a:lnTo>
                  <a:pt x="593248" y="651348"/>
                </a:lnTo>
                <a:lnTo>
                  <a:pt x="325384" y="651348"/>
                </a:lnTo>
                <a:lnTo>
                  <a:pt x="308146" y="651348"/>
                </a:lnTo>
                <a:lnTo>
                  <a:pt x="308146" y="650963"/>
                </a:lnTo>
                <a:lnTo>
                  <a:pt x="0" y="650963"/>
                </a:lnTo>
                <a:lnTo>
                  <a:pt x="0" y="325871"/>
                </a:lnTo>
                <a:lnTo>
                  <a:pt x="0" y="325679"/>
                </a:lnTo>
                <a:lnTo>
                  <a:pt x="0" y="325676"/>
                </a:lnTo>
                <a:lnTo>
                  <a:pt x="0" y="325673"/>
                </a:lnTo>
                <a:lnTo>
                  <a:pt x="0" y="310394"/>
                </a:lnTo>
                <a:lnTo>
                  <a:pt x="733" y="310394"/>
                </a:lnTo>
                <a:lnTo>
                  <a:pt x="1478" y="294646"/>
                </a:lnTo>
                <a:lnTo>
                  <a:pt x="1615" y="293690"/>
                </a:lnTo>
                <a:lnTo>
                  <a:pt x="1679" y="292417"/>
                </a:lnTo>
                <a:cubicBezTo>
                  <a:pt x="3631" y="273195"/>
                  <a:pt x="7257" y="254468"/>
                  <a:pt x="12408" y="236384"/>
                </a:cubicBezTo>
                <a:lnTo>
                  <a:pt x="12847" y="235065"/>
                </a:lnTo>
                <a:lnTo>
                  <a:pt x="12901" y="234838"/>
                </a:lnTo>
                <a:lnTo>
                  <a:pt x="13674" y="232576"/>
                </a:lnTo>
                <a:lnTo>
                  <a:pt x="21261" y="209757"/>
                </a:lnTo>
                <a:lnTo>
                  <a:pt x="22272" y="207415"/>
                </a:lnTo>
                <a:lnTo>
                  <a:pt x="22576" y="206525"/>
                </a:lnTo>
                <a:lnTo>
                  <a:pt x="24734" y="201713"/>
                </a:lnTo>
                <a:lnTo>
                  <a:pt x="32291" y="184206"/>
                </a:lnTo>
                <a:lnTo>
                  <a:pt x="34047" y="180939"/>
                </a:lnTo>
                <a:lnTo>
                  <a:pt x="34714" y="179452"/>
                </a:lnTo>
                <a:lnTo>
                  <a:pt x="37653" y="174231"/>
                </a:lnTo>
                <a:lnTo>
                  <a:pt x="45388" y="159842"/>
                </a:lnTo>
                <a:lnTo>
                  <a:pt x="48048" y="155764"/>
                </a:lnTo>
                <a:lnTo>
                  <a:pt x="49179" y="153755"/>
                </a:lnTo>
                <a:lnTo>
                  <a:pt x="52604" y="148783"/>
                </a:lnTo>
                <a:lnTo>
                  <a:pt x="60439" y="136774"/>
                </a:lnTo>
                <a:lnTo>
                  <a:pt x="64151" y="132016"/>
                </a:lnTo>
                <a:lnTo>
                  <a:pt x="65838" y="129567"/>
                </a:lnTo>
                <a:lnTo>
                  <a:pt x="69540" y="125108"/>
                </a:lnTo>
                <a:lnTo>
                  <a:pt x="77336" y="115115"/>
                </a:lnTo>
                <a:lnTo>
                  <a:pt x="82232" y="109821"/>
                </a:lnTo>
                <a:lnTo>
                  <a:pt x="84554" y="107024"/>
                </a:lnTo>
                <a:lnTo>
                  <a:pt x="88368" y="103188"/>
                </a:lnTo>
                <a:lnTo>
                  <a:pt x="95965" y="94974"/>
                </a:lnTo>
                <a:lnTo>
                  <a:pt x="102168" y="89305"/>
                </a:lnTo>
                <a:lnTo>
                  <a:pt x="105194" y="86261"/>
                </a:lnTo>
                <a:lnTo>
                  <a:pt x="108977" y="83081"/>
                </a:lnTo>
                <a:lnTo>
                  <a:pt x="116217" y="76465"/>
                </a:lnTo>
                <a:lnTo>
                  <a:pt x="123838" y="70592"/>
                </a:lnTo>
                <a:lnTo>
                  <a:pt x="127623" y="67412"/>
                </a:lnTo>
                <a:lnTo>
                  <a:pt x="131250" y="64881"/>
                </a:lnTo>
                <a:lnTo>
                  <a:pt x="137980" y="59696"/>
                </a:lnTo>
                <a:lnTo>
                  <a:pt x="147127" y="53805"/>
                </a:lnTo>
                <a:lnTo>
                  <a:pt x="151705" y="50612"/>
                </a:lnTo>
                <a:lnTo>
                  <a:pt x="155065" y="48694"/>
                </a:lnTo>
                <a:lnTo>
                  <a:pt x="161144" y="44779"/>
                </a:lnTo>
                <a:lnTo>
                  <a:pt x="171927" y="39067"/>
                </a:lnTo>
                <a:lnTo>
                  <a:pt x="177306" y="35997"/>
                </a:lnTo>
                <a:lnTo>
                  <a:pt x="180298" y="34633"/>
                </a:lnTo>
                <a:lnTo>
                  <a:pt x="185596" y="31826"/>
                </a:lnTo>
                <a:lnTo>
                  <a:pt x="198148" y="26499"/>
                </a:lnTo>
                <a:lnTo>
                  <a:pt x="204291" y="23700"/>
                </a:lnTo>
                <a:lnTo>
                  <a:pt x="206823" y="22817"/>
                </a:lnTo>
                <a:lnTo>
                  <a:pt x="211228" y="20947"/>
                </a:lnTo>
                <a:lnTo>
                  <a:pt x="225741" y="16221"/>
                </a:lnTo>
                <a:lnTo>
                  <a:pt x="232526" y="13856"/>
                </a:lnTo>
                <a:lnTo>
                  <a:pt x="234516" y="13364"/>
                </a:lnTo>
                <a:lnTo>
                  <a:pt x="237926" y="12254"/>
                </a:lnTo>
                <a:lnTo>
                  <a:pt x="254783" y="8354"/>
                </a:lnTo>
                <a:lnTo>
                  <a:pt x="261875" y="6601"/>
                </a:lnTo>
                <a:lnTo>
                  <a:pt x="263248" y="6396"/>
                </a:lnTo>
                <a:lnTo>
                  <a:pt x="265581" y="5856"/>
                </a:lnTo>
                <a:lnTo>
                  <a:pt x="285860" y="3017"/>
                </a:lnTo>
                <a:lnTo>
                  <a:pt x="292203" y="2069"/>
                </a:lnTo>
                <a:lnTo>
                  <a:pt x="292871" y="2036"/>
                </a:lnTo>
                <a:lnTo>
                  <a:pt x="294080" y="1866"/>
                </a:lnTo>
                <a:lnTo>
                  <a:pt x="308146" y="1201"/>
                </a:lnTo>
                <a:lnTo>
                  <a:pt x="308146" y="389"/>
                </a:lnTo>
                <a:lnTo>
                  <a:pt x="321113" y="389"/>
                </a:lnTo>
                <a:lnTo>
                  <a:pt x="325287" y="389"/>
                </a:lnTo>
                <a:lnTo>
                  <a:pt x="325384" y="389"/>
                </a:lnTo>
                <a:close/>
              </a:path>
            </a:pathLst>
          </a:custGeom>
          <a:solidFill>
            <a:srgbClr val="FEB81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20" name="TextBox 19">
            <a:extLst>
              <a:ext uri="{FF2B5EF4-FFF2-40B4-BE49-F238E27FC236}">
                <a16:creationId xmlns:a16="http://schemas.microsoft.com/office/drawing/2014/main" id="{F0C51590-305A-E547-B6B0-F326D269387A}"/>
              </a:ext>
            </a:extLst>
          </p:cNvPr>
          <p:cNvSpPr txBox="1"/>
          <p:nvPr/>
        </p:nvSpPr>
        <p:spPr>
          <a:xfrm>
            <a:off x="6401329" y="1036651"/>
            <a:ext cx="3759007" cy="369332"/>
          </a:xfrm>
          <a:prstGeom prst="rect">
            <a:avLst/>
          </a:prstGeom>
          <a:noFill/>
        </p:spPr>
        <p:txBody>
          <a:bodyPr wrap="square" rtlCol="0">
            <a:spAutoFit/>
          </a:bodyPr>
          <a:lstStyle/>
          <a:p>
            <a:pPr marL="0" marR="0" lvl="0" indent="0" algn="ctr" defTabSz="583101"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D3166"/>
                </a:solidFill>
                <a:effectLst/>
                <a:uLnTx/>
                <a:uFillTx/>
                <a:latin typeface="Montserrat" pitchFamily="2" charset="77"/>
                <a:ea typeface="Tahoma" panose="020B0604030504040204" pitchFamily="34" charset="0"/>
                <a:cs typeface="Tahoma" panose="020B0604030504040204" pitchFamily="34" charset="0"/>
              </a:rPr>
              <a:t>KABUPATEN/KOTA:</a:t>
            </a:r>
          </a:p>
        </p:txBody>
      </p:sp>
      <p:sp>
        <p:nvSpPr>
          <p:cNvPr id="21" name="TextBox 20">
            <a:extLst>
              <a:ext uri="{FF2B5EF4-FFF2-40B4-BE49-F238E27FC236}">
                <a16:creationId xmlns:a16="http://schemas.microsoft.com/office/drawing/2014/main" id="{65B2D429-EDD5-3F4A-B864-A55042BB6FC0}"/>
              </a:ext>
            </a:extLst>
          </p:cNvPr>
          <p:cNvSpPr txBox="1"/>
          <p:nvPr/>
        </p:nvSpPr>
        <p:spPr>
          <a:xfrm>
            <a:off x="6268561" y="1680688"/>
            <a:ext cx="5547120" cy="3785652"/>
          </a:xfrm>
          <a:prstGeom prst="rect">
            <a:avLst/>
          </a:prstGeom>
          <a:noFill/>
        </p:spPr>
        <p:txBody>
          <a:bodyPr wrap="square" rtlCol="0">
            <a:spAutoFit/>
          </a:bodyPr>
          <a:lstStyle/>
          <a:p>
            <a:pPr marL="457200" marR="0" lvl="0" indent="-457200" algn="l" defTabSz="583101"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kegiatan</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konstruksi</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dengan</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sumber</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dana </a:t>
            </a:r>
            <a:r>
              <a:rPr kumimoji="0" lang="en-US" sz="2000" b="1"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APBD </a:t>
            </a:r>
            <a:r>
              <a:rPr kumimoji="0" lang="en-US" sz="2000" b="1"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Kabupaten</a:t>
            </a:r>
            <a:r>
              <a:rPr kumimoji="0" lang="en-US" sz="2000" b="1"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Kota</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a:t>
            </a:r>
          </a:p>
          <a:p>
            <a:pPr marL="457200" marR="0" lvl="0" indent="-457200" algn="l" defTabSz="583101"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Kegiatan</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konstruksi</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yang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dibiayai</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dengan</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dana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dari</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masyarakat</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swasta</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atau</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badan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usaha</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yang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bukan</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menjadi</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kewenangan</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Pemerintah</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Pusat dan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Pemerintah</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Daerah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provinsi</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p>
          <a:p>
            <a:pPr marL="457200" marR="0" lvl="0" indent="-457200" algn="l" defTabSz="583101"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tertib</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usaha</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Jasa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Konstruksi</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terhadap</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BUJK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kualifikasi</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menengah</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BUJK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kualifikasi</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kecil</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dan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usaha</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 orang </a:t>
            </a:r>
            <a:r>
              <a:rPr kumimoji="0" lang="en-US" sz="2000" b="0" i="0" u="none" strike="noStrike" kern="1200" cap="none" spc="0" normalizeH="0" baseline="0" noProof="0" dirty="0" err="1">
                <a:ln>
                  <a:noFill/>
                </a:ln>
                <a:solidFill>
                  <a:prstClr val="white"/>
                </a:solidFill>
                <a:effectLst/>
                <a:uLnTx/>
                <a:uFillTx/>
                <a:latin typeface="Montserrat" pitchFamily="2" charset="77"/>
                <a:ea typeface="Tahoma" panose="020B0604030504040204" pitchFamily="34" charset="0"/>
                <a:cs typeface="Tahoma" panose="020B0604030504040204" pitchFamily="34" charset="0"/>
              </a:rPr>
              <a:t>perseorangan</a:t>
            </a:r>
            <a:r>
              <a:rPr kumimoji="0" lang="en-US" sz="2000" b="0" i="0" u="none" strike="noStrike" kern="1200" cap="none" spc="0" normalizeH="0" baseline="0" noProof="0" dirty="0">
                <a:ln>
                  <a:noFill/>
                </a:ln>
                <a:solidFill>
                  <a:prstClr val="white"/>
                </a:solidFill>
                <a:effectLst/>
                <a:uLnTx/>
                <a:uFillTx/>
                <a:latin typeface="Montserrat" pitchFamily="2" charset="77"/>
                <a:ea typeface="Tahoma" panose="020B0604030504040204" pitchFamily="34" charset="0"/>
                <a:cs typeface="Tahoma" panose="020B0604030504040204" pitchFamily="34" charset="0"/>
              </a:rPr>
              <a:t>.</a:t>
            </a:r>
          </a:p>
        </p:txBody>
      </p:sp>
      <p:sp>
        <p:nvSpPr>
          <p:cNvPr id="23" name="Freeform: Shape 90">
            <a:extLst>
              <a:ext uri="{FF2B5EF4-FFF2-40B4-BE49-F238E27FC236}">
                <a16:creationId xmlns:a16="http://schemas.microsoft.com/office/drawing/2014/main" id="{523652D7-D0DA-C247-A299-8B390B7FA78B}"/>
              </a:ext>
            </a:extLst>
          </p:cNvPr>
          <p:cNvSpPr/>
          <p:nvPr/>
        </p:nvSpPr>
        <p:spPr>
          <a:xfrm>
            <a:off x="7869197" y="5570357"/>
            <a:ext cx="3225573" cy="601998"/>
          </a:xfrm>
          <a:custGeom>
            <a:avLst/>
            <a:gdLst>
              <a:gd name="connsiteX0" fmla="*/ 325384 w 4047850"/>
              <a:gd name="connsiteY0" fmla="*/ 0 h 651348"/>
              <a:gd name="connsiteX1" fmla="*/ 593248 w 4047850"/>
              <a:gd name="connsiteY1" fmla="*/ 0 h 651348"/>
              <a:gd name="connsiteX2" fmla="*/ 1005630 w 4047850"/>
              <a:gd name="connsiteY2" fmla="*/ 0 h 651348"/>
              <a:gd name="connsiteX3" fmla="*/ 1022869 w 4047850"/>
              <a:gd name="connsiteY3" fmla="*/ 0 h 651348"/>
              <a:gd name="connsiteX4" fmla="*/ 3042220 w 4047850"/>
              <a:gd name="connsiteY4" fmla="*/ 0 h 651348"/>
              <a:gd name="connsiteX5" fmla="*/ 3394765 w 4047850"/>
              <a:gd name="connsiteY5" fmla="*/ 0 h 651348"/>
              <a:gd name="connsiteX6" fmla="*/ 3722465 w 4047850"/>
              <a:gd name="connsiteY6" fmla="*/ 0 h 651348"/>
              <a:gd name="connsiteX7" fmla="*/ 3739704 w 4047850"/>
              <a:gd name="connsiteY7" fmla="*/ 0 h 651348"/>
              <a:gd name="connsiteX8" fmla="*/ 3739704 w 4047850"/>
              <a:gd name="connsiteY8" fmla="*/ 385 h 651348"/>
              <a:gd name="connsiteX9" fmla="*/ 4047850 w 4047850"/>
              <a:gd name="connsiteY9" fmla="*/ 385 h 651348"/>
              <a:gd name="connsiteX10" fmla="*/ 4047850 w 4047850"/>
              <a:gd name="connsiteY10" fmla="*/ 325477 h 651348"/>
              <a:gd name="connsiteX11" fmla="*/ 4047850 w 4047850"/>
              <a:gd name="connsiteY11" fmla="*/ 325669 h 651348"/>
              <a:gd name="connsiteX12" fmla="*/ 4047850 w 4047850"/>
              <a:gd name="connsiteY12" fmla="*/ 325672 h 651348"/>
              <a:gd name="connsiteX13" fmla="*/ 4047850 w 4047850"/>
              <a:gd name="connsiteY13" fmla="*/ 325675 h 651348"/>
              <a:gd name="connsiteX14" fmla="*/ 4047850 w 4047850"/>
              <a:gd name="connsiteY14" fmla="*/ 340954 h 651348"/>
              <a:gd name="connsiteX15" fmla="*/ 4047117 w 4047850"/>
              <a:gd name="connsiteY15" fmla="*/ 340954 h 651348"/>
              <a:gd name="connsiteX16" fmla="*/ 4046371 w 4047850"/>
              <a:gd name="connsiteY16" fmla="*/ 356703 h 651348"/>
              <a:gd name="connsiteX17" fmla="*/ 4046235 w 4047850"/>
              <a:gd name="connsiteY17" fmla="*/ 357658 h 651348"/>
              <a:gd name="connsiteX18" fmla="*/ 4046171 w 4047850"/>
              <a:gd name="connsiteY18" fmla="*/ 358931 h 651348"/>
              <a:gd name="connsiteX19" fmla="*/ 4035441 w 4047850"/>
              <a:gd name="connsiteY19" fmla="*/ 414965 h 651348"/>
              <a:gd name="connsiteX20" fmla="*/ 4035003 w 4047850"/>
              <a:gd name="connsiteY20" fmla="*/ 416283 h 651348"/>
              <a:gd name="connsiteX21" fmla="*/ 4034948 w 4047850"/>
              <a:gd name="connsiteY21" fmla="*/ 416510 h 651348"/>
              <a:gd name="connsiteX22" fmla="*/ 4034176 w 4047850"/>
              <a:gd name="connsiteY22" fmla="*/ 418772 h 651348"/>
              <a:gd name="connsiteX23" fmla="*/ 4026589 w 4047850"/>
              <a:gd name="connsiteY23" fmla="*/ 441591 h 651348"/>
              <a:gd name="connsiteX24" fmla="*/ 4025578 w 4047850"/>
              <a:gd name="connsiteY24" fmla="*/ 443933 h 651348"/>
              <a:gd name="connsiteX25" fmla="*/ 4025273 w 4047850"/>
              <a:gd name="connsiteY25" fmla="*/ 444823 h 651348"/>
              <a:gd name="connsiteX26" fmla="*/ 4023116 w 4047850"/>
              <a:gd name="connsiteY26" fmla="*/ 449636 h 651348"/>
              <a:gd name="connsiteX27" fmla="*/ 4015559 w 4047850"/>
              <a:gd name="connsiteY27" fmla="*/ 467142 h 651348"/>
              <a:gd name="connsiteX28" fmla="*/ 4013802 w 4047850"/>
              <a:gd name="connsiteY28" fmla="*/ 470409 h 651348"/>
              <a:gd name="connsiteX29" fmla="*/ 4013136 w 4047850"/>
              <a:gd name="connsiteY29" fmla="*/ 471896 h 651348"/>
              <a:gd name="connsiteX30" fmla="*/ 4010197 w 4047850"/>
              <a:gd name="connsiteY30" fmla="*/ 477118 h 651348"/>
              <a:gd name="connsiteX31" fmla="*/ 4002462 w 4047850"/>
              <a:gd name="connsiteY31" fmla="*/ 491507 h 651348"/>
              <a:gd name="connsiteX32" fmla="*/ 3999801 w 4047850"/>
              <a:gd name="connsiteY32" fmla="*/ 495585 h 651348"/>
              <a:gd name="connsiteX33" fmla="*/ 3998671 w 4047850"/>
              <a:gd name="connsiteY33" fmla="*/ 497594 h 651348"/>
              <a:gd name="connsiteX34" fmla="*/ 3995246 w 4047850"/>
              <a:gd name="connsiteY34" fmla="*/ 502566 h 651348"/>
              <a:gd name="connsiteX35" fmla="*/ 3987410 w 4047850"/>
              <a:gd name="connsiteY35" fmla="*/ 514574 h 651348"/>
              <a:gd name="connsiteX36" fmla="*/ 3983699 w 4047850"/>
              <a:gd name="connsiteY36" fmla="*/ 519333 h 651348"/>
              <a:gd name="connsiteX37" fmla="*/ 3982012 w 4047850"/>
              <a:gd name="connsiteY37" fmla="*/ 521781 h 651348"/>
              <a:gd name="connsiteX38" fmla="*/ 3978310 w 4047850"/>
              <a:gd name="connsiteY38" fmla="*/ 526240 h 651348"/>
              <a:gd name="connsiteX39" fmla="*/ 3970514 w 4047850"/>
              <a:gd name="connsiteY39" fmla="*/ 536234 h 651348"/>
              <a:gd name="connsiteX40" fmla="*/ 3965618 w 4047850"/>
              <a:gd name="connsiteY40" fmla="*/ 541527 h 651348"/>
              <a:gd name="connsiteX41" fmla="*/ 3963295 w 4047850"/>
              <a:gd name="connsiteY41" fmla="*/ 544324 h 651348"/>
              <a:gd name="connsiteX42" fmla="*/ 3959482 w 4047850"/>
              <a:gd name="connsiteY42" fmla="*/ 548161 h 651348"/>
              <a:gd name="connsiteX43" fmla="*/ 3951885 w 4047850"/>
              <a:gd name="connsiteY43" fmla="*/ 556374 h 651348"/>
              <a:gd name="connsiteX44" fmla="*/ 3945682 w 4047850"/>
              <a:gd name="connsiteY44" fmla="*/ 562043 h 651348"/>
              <a:gd name="connsiteX45" fmla="*/ 3942656 w 4047850"/>
              <a:gd name="connsiteY45" fmla="*/ 565087 h 651348"/>
              <a:gd name="connsiteX46" fmla="*/ 3938872 w 4047850"/>
              <a:gd name="connsiteY46" fmla="*/ 568267 h 651348"/>
              <a:gd name="connsiteX47" fmla="*/ 3931633 w 4047850"/>
              <a:gd name="connsiteY47" fmla="*/ 574884 h 651348"/>
              <a:gd name="connsiteX48" fmla="*/ 3924011 w 4047850"/>
              <a:gd name="connsiteY48" fmla="*/ 580756 h 651348"/>
              <a:gd name="connsiteX49" fmla="*/ 3920227 w 4047850"/>
              <a:gd name="connsiteY49" fmla="*/ 583936 h 651348"/>
              <a:gd name="connsiteX50" fmla="*/ 3916599 w 4047850"/>
              <a:gd name="connsiteY50" fmla="*/ 586467 h 651348"/>
              <a:gd name="connsiteX51" fmla="*/ 3909870 w 4047850"/>
              <a:gd name="connsiteY51" fmla="*/ 591652 h 651348"/>
              <a:gd name="connsiteX52" fmla="*/ 3900723 w 4047850"/>
              <a:gd name="connsiteY52" fmla="*/ 597543 h 651348"/>
              <a:gd name="connsiteX53" fmla="*/ 3896145 w 4047850"/>
              <a:gd name="connsiteY53" fmla="*/ 600736 h 651348"/>
              <a:gd name="connsiteX54" fmla="*/ 3892785 w 4047850"/>
              <a:gd name="connsiteY54" fmla="*/ 602655 h 651348"/>
              <a:gd name="connsiteX55" fmla="*/ 3886706 w 4047850"/>
              <a:gd name="connsiteY55" fmla="*/ 606569 h 651348"/>
              <a:gd name="connsiteX56" fmla="*/ 3875923 w 4047850"/>
              <a:gd name="connsiteY56" fmla="*/ 612281 h 651348"/>
              <a:gd name="connsiteX57" fmla="*/ 3870544 w 4047850"/>
              <a:gd name="connsiteY57" fmla="*/ 615352 h 651348"/>
              <a:gd name="connsiteX58" fmla="*/ 3867552 w 4047850"/>
              <a:gd name="connsiteY58" fmla="*/ 616715 h 651348"/>
              <a:gd name="connsiteX59" fmla="*/ 3862253 w 4047850"/>
              <a:gd name="connsiteY59" fmla="*/ 619522 h 651348"/>
              <a:gd name="connsiteX60" fmla="*/ 3849702 w 4047850"/>
              <a:gd name="connsiteY60" fmla="*/ 624849 h 651348"/>
              <a:gd name="connsiteX61" fmla="*/ 3843559 w 4047850"/>
              <a:gd name="connsiteY61" fmla="*/ 627649 h 651348"/>
              <a:gd name="connsiteX62" fmla="*/ 3841026 w 4047850"/>
              <a:gd name="connsiteY62" fmla="*/ 628532 h 651348"/>
              <a:gd name="connsiteX63" fmla="*/ 3836622 w 4047850"/>
              <a:gd name="connsiteY63" fmla="*/ 630401 h 651348"/>
              <a:gd name="connsiteX64" fmla="*/ 3822109 w 4047850"/>
              <a:gd name="connsiteY64" fmla="*/ 635127 h 651348"/>
              <a:gd name="connsiteX65" fmla="*/ 3815324 w 4047850"/>
              <a:gd name="connsiteY65" fmla="*/ 637492 h 651348"/>
              <a:gd name="connsiteX66" fmla="*/ 3813334 w 4047850"/>
              <a:gd name="connsiteY66" fmla="*/ 637984 h 651348"/>
              <a:gd name="connsiteX67" fmla="*/ 3809924 w 4047850"/>
              <a:gd name="connsiteY67" fmla="*/ 639095 h 651348"/>
              <a:gd name="connsiteX68" fmla="*/ 3793067 w 4047850"/>
              <a:gd name="connsiteY68" fmla="*/ 642994 h 651348"/>
              <a:gd name="connsiteX69" fmla="*/ 3785975 w 4047850"/>
              <a:gd name="connsiteY69" fmla="*/ 644747 h 651348"/>
              <a:gd name="connsiteX70" fmla="*/ 3784601 w 4047850"/>
              <a:gd name="connsiteY70" fmla="*/ 644952 h 651348"/>
              <a:gd name="connsiteX71" fmla="*/ 3782269 w 4047850"/>
              <a:gd name="connsiteY71" fmla="*/ 645492 h 651348"/>
              <a:gd name="connsiteX72" fmla="*/ 3761990 w 4047850"/>
              <a:gd name="connsiteY72" fmla="*/ 648331 h 651348"/>
              <a:gd name="connsiteX73" fmla="*/ 3755647 w 4047850"/>
              <a:gd name="connsiteY73" fmla="*/ 649279 h 651348"/>
              <a:gd name="connsiteX74" fmla="*/ 3754979 w 4047850"/>
              <a:gd name="connsiteY74" fmla="*/ 649313 h 651348"/>
              <a:gd name="connsiteX75" fmla="*/ 3753769 w 4047850"/>
              <a:gd name="connsiteY75" fmla="*/ 649482 h 651348"/>
              <a:gd name="connsiteX76" fmla="*/ 3739704 w 4047850"/>
              <a:gd name="connsiteY76" fmla="*/ 650148 h 651348"/>
              <a:gd name="connsiteX77" fmla="*/ 3739704 w 4047850"/>
              <a:gd name="connsiteY77" fmla="*/ 650959 h 651348"/>
              <a:gd name="connsiteX78" fmla="*/ 3726737 w 4047850"/>
              <a:gd name="connsiteY78" fmla="*/ 650959 h 651348"/>
              <a:gd name="connsiteX79" fmla="*/ 3722563 w 4047850"/>
              <a:gd name="connsiteY79" fmla="*/ 650959 h 651348"/>
              <a:gd name="connsiteX80" fmla="*/ 3722465 w 4047850"/>
              <a:gd name="connsiteY80" fmla="*/ 650959 h 651348"/>
              <a:gd name="connsiteX81" fmla="*/ 3722465 w 4047850"/>
              <a:gd name="connsiteY81" fmla="*/ 651348 h 651348"/>
              <a:gd name="connsiteX82" fmla="*/ 3394765 w 4047850"/>
              <a:gd name="connsiteY82" fmla="*/ 651348 h 651348"/>
              <a:gd name="connsiteX83" fmla="*/ 3042220 w 4047850"/>
              <a:gd name="connsiteY83" fmla="*/ 651348 h 651348"/>
              <a:gd name="connsiteX84" fmla="*/ 3024981 w 4047850"/>
              <a:gd name="connsiteY84" fmla="*/ 651348 h 651348"/>
              <a:gd name="connsiteX85" fmla="*/ 1005630 w 4047850"/>
              <a:gd name="connsiteY85" fmla="*/ 651348 h 651348"/>
              <a:gd name="connsiteX86" fmla="*/ 593248 w 4047850"/>
              <a:gd name="connsiteY86" fmla="*/ 651348 h 651348"/>
              <a:gd name="connsiteX87" fmla="*/ 325384 w 4047850"/>
              <a:gd name="connsiteY87" fmla="*/ 651348 h 651348"/>
              <a:gd name="connsiteX88" fmla="*/ 308146 w 4047850"/>
              <a:gd name="connsiteY88" fmla="*/ 651348 h 651348"/>
              <a:gd name="connsiteX89" fmla="*/ 308146 w 4047850"/>
              <a:gd name="connsiteY89" fmla="*/ 650963 h 651348"/>
              <a:gd name="connsiteX90" fmla="*/ 0 w 4047850"/>
              <a:gd name="connsiteY90" fmla="*/ 650963 h 651348"/>
              <a:gd name="connsiteX91" fmla="*/ 0 w 4047850"/>
              <a:gd name="connsiteY91" fmla="*/ 325871 h 651348"/>
              <a:gd name="connsiteX92" fmla="*/ 0 w 4047850"/>
              <a:gd name="connsiteY92" fmla="*/ 325679 h 651348"/>
              <a:gd name="connsiteX93" fmla="*/ 0 w 4047850"/>
              <a:gd name="connsiteY93" fmla="*/ 325676 h 651348"/>
              <a:gd name="connsiteX94" fmla="*/ 0 w 4047850"/>
              <a:gd name="connsiteY94" fmla="*/ 325673 h 651348"/>
              <a:gd name="connsiteX95" fmla="*/ 0 w 4047850"/>
              <a:gd name="connsiteY95" fmla="*/ 310394 h 651348"/>
              <a:gd name="connsiteX96" fmla="*/ 733 w 4047850"/>
              <a:gd name="connsiteY96" fmla="*/ 310394 h 651348"/>
              <a:gd name="connsiteX97" fmla="*/ 1478 w 4047850"/>
              <a:gd name="connsiteY97" fmla="*/ 294646 h 651348"/>
              <a:gd name="connsiteX98" fmla="*/ 1615 w 4047850"/>
              <a:gd name="connsiteY98" fmla="*/ 293690 h 651348"/>
              <a:gd name="connsiteX99" fmla="*/ 1679 w 4047850"/>
              <a:gd name="connsiteY99" fmla="*/ 292417 h 651348"/>
              <a:gd name="connsiteX100" fmla="*/ 12408 w 4047850"/>
              <a:gd name="connsiteY100" fmla="*/ 236384 h 651348"/>
              <a:gd name="connsiteX101" fmla="*/ 12847 w 4047850"/>
              <a:gd name="connsiteY101" fmla="*/ 235065 h 651348"/>
              <a:gd name="connsiteX102" fmla="*/ 12901 w 4047850"/>
              <a:gd name="connsiteY102" fmla="*/ 234838 h 651348"/>
              <a:gd name="connsiteX103" fmla="*/ 13674 w 4047850"/>
              <a:gd name="connsiteY103" fmla="*/ 232576 h 651348"/>
              <a:gd name="connsiteX104" fmla="*/ 21261 w 4047850"/>
              <a:gd name="connsiteY104" fmla="*/ 209757 h 651348"/>
              <a:gd name="connsiteX105" fmla="*/ 22272 w 4047850"/>
              <a:gd name="connsiteY105" fmla="*/ 207415 h 651348"/>
              <a:gd name="connsiteX106" fmla="*/ 22576 w 4047850"/>
              <a:gd name="connsiteY106" fmla="*/ 206525 h 651348"/>
              <a:gd name="connsiteX107" fmla="*/ 24734 w 4047850"/>
              <a:gd name="connsiteY107" fmla="*/ 201713 h 651348"/>
              <a:gd name="connsiteX108" fmla="*/ 32291 w 4047850"/>
              <a:gd name="connsiteY108" fmla="*/ 184206 h 651348"/>
              <a:gd name="connsiteX109" fmla="*/ 34047 w 4047850"/>
              <a:gd name="connsiteY109" fmla="*/ 180939 h 651348"/>
              <a:gd name="connsiteX110" fmla="*/ 34714 w 4047850"/>
              <a:gd name="connsiteY110" fmla="*/ 179452 h 651348"/>
              <a:gd name="connsiteX111" fmla="*/ 37653 w 4047850"/>
              <a:gd name="connsiteY111" fmla="*/ 174231 h 651348"/>
              <a:gd name="connsiteX112" fmla="*/ 45388 w 4047850"/>
              <a:gd name="connsiteY112" fmla="*/ 159842 h 651348"/>
              <a:gd name="connsiteX113" fmla="*/ 48048 w 4047850"/>
              <a:gd name="connsiteY113" fmla="*/ 155764 h 651348"/>
              <a:gd name="connsiteX114" fmla="*/ 49179 w 4047850"/>
              <a:gd name="connsiteY114" fmla="*/ 153755 h 651348"/>
              <a:gd name="connsiteX115" fmla="*/ 52604 w 4047850"/>
              <a:gd name="connsiteY115" fmla="*/ 148783 h 651348"/>
              <a:gd name="connsiteX116" fmla="*/ 60439 w 4047850"/>
              <a:gd name="connsiteY116" fmla="*/ 136774 h 651348"/>
              <a:gd name="connsiteX117" fmla="*/ 64151 w 4047850"/>
              <a:gd name="connsiteY117" fmla="*/ 132016 h 651348"/>
              <a:gd name="connsiteX118" fmla="*/ 65838 w 4047850"/>
              <a:gd name="connsiteY118" fmla="*/ 129567 h 651348"/>
              <a:gd name="connsiteX119" fmla="*/ 69540 w 4047850"/>
              <a:gd name="connsiteY119" fmla="*/ 125108 h 651348"/>
              <a:gd name="connsiteX120" fmla="*/ 77336 w 4047850"/>
              <a:gd name="connsiteY120" fmla="*/ 115115 h 651348"/>
              <a:gd name="connsiteX121" fmla="*/ 82232 w 4047850"/>
              <a:gd name="connsiteY121" fmla="*/ 109821 h 651348"/>
              <a:gd name="connsiteX122" fmla="*/ 84554 w 4047850"/>
              <a:gd name="connsiteY122" fmla="*/ 107024 h 651348"/>
              <a:gd name="connsiteX123" fmla="*/ 88368 w 4047850"/>
              <a:gd name="connsiteY123" fmla="*/ 103188 h 651348"/>
              <a:gd name="connsiteX124" fmla="*/ 95965 w 4047850"/>
              <a:gd name="connsiteY124" fmla="*/ 94974 h 651348"/>
              <a:gd name="connsiteX125" fmla="*/ 102168 w 4047850"/>
              <a:gd name="connsiteY125" fmla="*/ 89305 h 651348"/>
              <a:gd name="connsiteX126" fmla="*/ 105194 w 4047850"/>
              <a:gd name="connsiteY126" fmla="*/ 86261 h 651348"/>
              <a:gd name="connsiteX127" fmla="*/ 108977 w 4047850"/>
              <a:gd name="connsiteY127" fmla="*/ 83081 h 651348"/>
              <a:gd name="connsiteX128" fmla="*/ 116217 w 4047850"/>
              <a:gd name="connsiteY128" fmla="*/ 76465 h 651348"/>
              <a:gd name="connsiteX129" fmla="*/ 123838 w 4047850"/>
              <a:gd name="connsiteY129" fmla="*/ 70592 h 651348"/>
              <a:gd name="connsiteX130" fmla="*/ 127623 w 4047850"/>
              <a:gd name="connsiteY130" fmla="*/ 67412 h 651348"/>
              <a:gd name="connsiteX131" fmla="*/ 131250 w 4047850"/>
              <a:gd name="connsiteY131" fmla="*/ 64881 h 651348"/>
              <a:gd name="connsiteX132" fmla="*/ 137980 w 4047850"/>
              <a:gd name="connsiteY132" fmla="*/ 59696 h 651348"/>
              <a:gd name="connsiteX133" fmla="*/ 147127 w 4047850"/>
              <a:gd name="connsiteY133" fmla="*/ 53805 h 651348"/>
              <a:gd name="connsiteX134" fmla="*/ 151705 w 4047850"/>
              <a:gd name="connsiteY134" fmla="*/ 50612 h 651348"/>
              <a:gd name="connsiteX135" fmla="*/ 155065 w 4047850"/>
              <a:gd name="connsiteY135" fmla="*/ 48694 h 651348"/>
              <a:gd name="connsiteX136" fmla="*/ 161144 w 4047850"/>
              <a:gd name="connsiteY136" fmla="*/ 44779 h 651348"/>
              <a:gd name="connsiteX137" fmla="*/ 171927 w 4047850"/>
              <a:gd name="connsiteY137" fmla="*/ 39067 h 651348"/>
              <a:gd name="connsiteX138" fmla="*/ 177306 w 4047850"/>
              <a:gd name="connsiteY138" fmla="*/ 35997 h 651348"/>
              <a:gd name="connsiteX139" fmla="*/ 180298 w 4047850"/>
              <a:gd name="connsiteY139" fmla="*/ 34633 h 651348"/>
              <a:gd name="connsiteX140" fmla="*/ 185596 w 4047850"/>
              <a:gd name="connsiteY140" fmla="*/ 31826 h 651348"/>
              <a:gd name="connsiteX141" fmla="*/ 198148 w 4047850"/>
              <a:gd name="connsiteY141" fmla="*/ 26499 h 651348"/>
              <a:gd name="connsiteX142" fmla="*/ 204291 w 4047850"/>
              <a:gd name="connsiteY142" fmla="*/ 23700 h 651348"/>
              <a:gd name="connsiteX143" fmla="*/ 206823 w 4047850"/>
              <a:gd name="connsiteY143" fmla="*/ 22817 h 651348"/>
              <a:gd name="connsiteX144" fmla="*/ 211228 w 4047850"/>
              <a:gd name="connsiteY144" fmla="*/ 20947 h 651348"/>
              <a:gd name="connsiteX145" fmla="*/ 225741 w 4047850"/>
              <a:gd name="connsiteY145" fmla="*/ 16221 h 651348"/>
              <a:gd name="connsiteX146" fmla="*/ 232526 w 4047850"/>
              <a:gd name="connsiteY146" fmla="*/ 13856 h 651348"/>
              <a:gd name="connsiteX147" fmla="*/ 234516 w 4047850"/>
              <a:gd name="connsiteY147" fmla="*/ 13364 h 651348"/>
              <a:gd name="connsiteX148" fmla="*/ 237926 w 4047850"/>
              <a:gd name="connsiteY148" fmla="*/ 12254 h 651348"/>
              <a:gd name="connsiteX149" fmla="*/ 254783 w 4047850"/>
              <a:gd name="connsiteY149" fmla="*/ 8354 h 651348"/>
              <a:gd name="connsiteX150" fmla="*/ 261875 w 4047850"/>
              <a:gd name="connsiteY150" fmla="*/ 6601 h 651348"/>
              <a:gd name="connsiteX151" fmla="*/ 263248 w 4047850"/>
              <a:gd name="connsiteY151" fmla="*/ 6396 h 651348"/>
              <a:gd name="connsiteX152" fmla="*/ 265581 w 4047850"/>
              <a:gd name="connsiteY152" fmla="*/ 5856 h 651348"/>
              <a:gd name="connsiteX153" fmla="*/ 285860 w 4047850"/>
              <a:gd name="connsiteY153" fmla="*/ 3017 h 651348"/>
              <a:gd name="connsiteX154" fmla="*/ 292203 w 4047850"/>
              <a:gd name="connsiteY154" fmla="*/ 2069 h 651348"/>
              <a:gd name="connsiteX155" fmla="*/ 292871 w 4047850"/>
              <a:gd name="connsiteY155" fmla="*/ 2036 h 651348"/>
              <a:gd name="connsiteX156" fmla="*/ 294080 w 4047850"/>
              <a:gd name="connsiteY156" fmla="*/ 1866 h 651348"/>
              <a:gd name="connsiteX157" fmla="*/ 308146 w 4047850"/>
              <a:gd name="connsiteY157" fmla="*/ 1201 h 651348"/>
              <a:gd name="connsiteX158" fmla="*/ 308146 w 4047850"/>
              <a:gd name="connsiteY158" fmla="*/ 389 h 651348"/>
              <a:gd name="connsiteX159" fmla="*/ 321113 w 4047850"/>
              <a:gd name="connsiteY159" fmla="*/ 389 h 651348"/>
              <a:gd name="connsiteX160" fmla="*/ 325287 w 4047850"/>
              <a:gd name="connsiteY160" fmla="*/ 389 h 651348"/>
              <a:gd name="connsiteX161" fmla="*/ 325384 w 4047850"/>
              <a:gd name="connsiteY161" fmla="*/ 389 h 65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4047850" h="651348">
                <a:moveTo>
                  <a:pt x="325384" y="0"/>
                </a:moveTo>
                <a:lnTo>
                  <a:pt x="593248" y="0"/>
                </a:lnTo>
                <a:lnTo>
                  <a:pt x="1005630" y="0"/>
                </a:lnTo>
                <a:lnTo>
                  <a:pt x="1022869" y="0"/>
                </a:lnTo>
                <a:lnTo>
                  <a:pt x="3042220" y="0"/>
                </a:lnTo>
                <a:lnTo>
                  <a:pt x="3394765" y="0"/>
                </a:lnTo>
                <a:lnTo>
                  <a:pt x="3722465" y="0"/>
                </a:lnTo>
                <a:lnTo>
                  <a:pt x="3739704" y="0"/>
                </a:lnTo>
                <a:lnTo>
                  <a:pt x="3739704" y="385"/>
                </a:lnTo>
                <a:lnTo>
                  <a:pt x="4047850" y="385"/>
                </a:lnTo>
                <a:lnTo>
                  <a:pt x="4047850" y="325477"/>
                </a:lnTo>
                <a:lnTo>
                  <a:pt x="4047850" y="325669"/>
                </a:lnTo>
                <a:lnTo>
                  <a:pt x="4047850" y="325672"/>
                </a:lnTo>
                <a:lnTo>
                  <a:pt x="4047850" y="325675"/>
                </a:lnTo>
                <a:lnTo>
                  <a:pt x="4047850" y="340954"/>
                </a:lnTo>
                <a:lnTo>
                  <a:pt x="4047117" y="340954"/>
                </a:lnTo>
                <a:lnTo>
                  <a:pt x="4046371" y="356703"/>
                </a:lnTo>
                <a:lnTo>
                  <a:pt x="4046235" y="357658"/>
                </a:lnTo>
                <a:lnTo>
                  <a:pt x="4046171" y="358931"/>
                </a:lnTo>
                <a:cubicBezTo>
                  <a:pt x="4044218" y="378153"/>
                  <a:pt x="4040593" y="396880"/>
                  <a:pt x="4035441" y="414965"/>
                </a:cubicBezTo>
                <a:lnTo>
                  <a:pt x="4035003" y="416283"/>
                </a:lnTo>
                <a:lnTo>
                  <a:pt x="4034948" y="416510"/>
                </a:lnTo>
                <a:lnTo>
                  <a:pt x="4034176" y="418772"/>
                </a:lnTo>
                <a:lnTo>
                  <a:pt x="4026589" y="441591"/>
                </a:lnTo>
                <a:lnTo>
                  <a:pt x="4025578" y="443933"/>
                </a:lnTo>
                <a:lnTo>
                  <a:pt x="4025273" y="444823"/>
                </a:lnTo>
                <a:lnTo>
                  <a:pt x="4023116" y="449636"/>
                </a:lnTo>
                <a:lnTo>
                  <a:pt x="4015559" y="467142"/>
                </a:lnTo>
                <a:lnTo>
                  <a:pt x="4013802" y="470409"/>
                </a:lnTo>
                <a:lnTo>
                  <a:pt x="4013136" y="471896"/>
                </a:lnTo>
                <a:lnTo>
                  <a:pt x="4010197" y="477118"/>
                </a:lnTo>
                <a:lnTo>
                  <a:pt x="4002462" y="491507"/>
                </a:lnTo>
                <a:lnTo>
                  <a:pt x="3999801" y="495585"/>
                </a:lnTo>
                <a:lnTo>
                  <a:pt x="3998671" y="497594"/>
                </a:lnTo>
                <a:lnTo>
                  <a:pt x="3995246" y="502566"/>
                </a:lnTo>
                <a:lnTo>
                  <a:pt x="3987410" y="514574"/>
                </a:lnTo>
                <a:lnTo>
                  <a:pt x="3983699" y="519333"/>
                </a:lnTo>
                <a:lnTo>
                  <a:pt x="3982012" y="521781"/>
                </a:lnTo>
                <a:lnTo>
                  <a:pt x="3978310" y="526240"/>
                </a:lnTo>
                <a:lnTo>
                  <a:pt x="3970514" y="536234"/>
                </a:lnTo>
                <a:lnTo>
                  <a:pt x="3965618" y="541527"/>
                </a:lnTo>
                <a:lnTo>
                  <a:pt x="3963295" y="544324"/>
                </a:lnTo>
                <a:lnTo>
                  <a:pt x="3959482" y="548161"/>
                </a:lnTo>
                <a:lnTo>
                  <a:pt x="3951885" y="556374"/>
                </a:lnTo>
                <a:lnTo>
                  <a:pt x="3945682" y="562043"/>
                </a:lnTo>
                <a:lnTo>
                  <a:pt x="3942656" y="565087"/>
                </a:lnTo>
                <a:lnTo>
                  <a:pt x="3938872" y="568267"/>
                </a:lnTo>
                <a:lnTo>
                  <a:pt x="3931633" y="574884"/>
                </a:lnTo>
                <a:lnTo>
                  <a:pt x="3924011" y="580756"/>
                </a:lnTo>
                <a:lnTo>
                  <a:pt x="3920227" y="583936"/>
                </a:lnTo>
                <a:lnTo>
                  <a:pt x="3916599" y="586467"/>
                </a:lnTo>
                <a:lnTo>
                  <a:pt x="3909870" y="591652"/>
                </a:lnTo>
                <a:lnTo>
                  <a:pt x="3900723" y="597543"/>
                </a:lnTo>
                <a:lnTo>
                  <a:pt x="3896145" y="600736"/>
                </a:lnTo>
                <a:lnTo>
                  <a:pt x="3892785" y="602655"/>
                </a:lnTo>
                <a:lnTo>
                  <a:pt x="3886706" y="606569"/>
                </a:lnTo>
                <a:lnTo>
                  <a:pt x="3875923" y="612281"/>
                </a:lnTo>
                <a:lnTo>
                  <a:pt x="3870544" y="615352"/>
                </a:lnTo>
                <a:lnTo>
                  <a:pt x="3867552" y="616715"/>
                </a:lnTo>
                <a:lnTo>
                  <a:pt x="3862253" y="619522"/>
                </a:lnTo>
                <a:lnTo>
                  <a:pt x="3849702" y="624849"/>
                </a:lnTo>
                <a:lnTo>
                  <a:pt x="3843559" y="627649"/>
                </a:lnTo>
                <a:lnTo>
                  <a:pt x="3841026" y="628532"/>
                </a:lnTo>
                <a:lnTo>
                  <a:pt x="3836622" y="630401"/>
                </a:lnTo>
                <a:lnTo>
                  <a:pt x="3822109" y="635127"/>
                </a:lnTo>
                <a:lnTo>
                  <a:pt x="3815324" y="637492"/>
                </a:lnTo>
                <a:lnTo>
                  <a:pt x="3813334" y="637984"/>
                </a:lnTo>
                <a:lnTo>
                  <a:pt x="3809924" y="639095"/>
                </a:lnTo>
                <a:lnTo>
                  <a:pt x="3793067" y="642994"/>
                </a:lnTo>
                <a:lnTo>
                  <a:pt x="3785975" y="644747"/>
                </a:lnTo>
                <a:lnTo>
                  <a:pt x="3784601" y="644952"/>
                </a:lnTo>
                <a:lnTo>
                  <a:pt x="3782269" y="645492"/>
                </a:lnTo>
                <a:lnTo>
                  <a:pt x="3761990" y="648331"/>
                </a:lnTo>
                <a:lnTo>
                  <a:pt x="3755647" y="649279"/>
                </a:lnTo>
                <a:lnTo>
                  <a:pt x="3754979" y="649313"/>
                </a:lnTo>
                <a:lnTo>
                  <a:pt x="3753769" y="649482"/>
                </a:lnTo>
                <a:lnTo>
                  <a:pt x="3739704" y="650148"/>
                </a:lnTo>
                <a:lnTo>
                  <a:pt x="3739704" y="650959"/>
                </a:lnTo>
                <a:lnTo>
                  <a:pt x="3726737" y="650959"/>
                </a:lnTo>
                <a:lnTo>
                  <a:pt x="3722563" y="650959"/>
                </a:lnTo>
                <a:lnTo>
                  <a:pt x="3722465" y="650959"/>
                </a:lnTo>
                <a:lnTo>
                  <a:pt x="3722465" y="651348"/>
                </a:lnTo>
                <a:lnTo>
                  <a:pt x="3394765" y="651348"/>
                </a:lnTo>
                <a:lnTo>
                  <a:pt x="3042220" y="651348"/>
                </a:lnTo>
                <a:lnTo>
                  <a:pt x="3024981" y="651348"/>
                </a:lnTo>
                <a:lnTo>
                  <a:pt x="1005630" y="651348"/>
                </a:lnTo>
                <a:lnTo>
                  <a:pt x="593248" y="651348"/>
                </a:lnTo>
                <a:lnTo>
                  <a:pt x="325384" y="651348"/>
                </a:lnTo>
                <a:lnTo>
                  <a:pt x="308146" y="651348"/>
                </a:lnTo>
                <a:lnTo>
                  <a:pt x="308146" y="650963"/>
                </a:lnTo>
                <a:lnTo>
                  <a:pt x="0" y="650963"/>
                </a:lnTo>
                <a:lnTo>
                  <a:pt x="0" y="325871"/>
                </a:lnTo>
                <a:lnTo>
                  <a:pt x="0" y="325679"/>
                </a:lnTo>
                <a:lnTo>
                  <a:pt x="0" y="325676"/>
                </a:lnTo>
                <a:lnTo>
                  <a:pt x="0" y="325673"/>
                </a:lnTo>
                <a:lnTo>
                  <a:pt x="0" y="310394"/>
                </a:lnTo>
                <a:lnTo>
                  <a:pt x="733" y="310394"/>
                </a:lnTo>
                <a:lnTo>
                  <a:pt x="1478" y="294646"/>
                </a:lnTo>
                <a:lnTo>
                  <a:pt x="1615" y="293690"/>
                </a:lnTo>
                <a:lnTo>
                  <a:pt x="1679" y="292417"/>
                </a:lnTo>
                <a:cubicBezTo>
                  <a:pt x="3631" y="273195"/>
                  <a:pt x="7257" y="254468"/>
                  <a:pt x="12408" y="236384"/>
                </a:cubicBezTo>
                <a:lnTo>
                  <a:pt x="12847" y="235065"/>
                </a:lnTo>
                <a:lnTo>
                  <a:pt x="12901" y="234838"/>
                </a:lnTo>
                <a:lnTo>
                  <a:pt x="13674" y="232576"/>
                </a:lnTo>
                <a:lnTo>
                  <a:pt x="21261" y="209757"/>
                </a:lnTo>
                <a:lnTo>
                  <a:pt x="22272" y="207415"/>
                </a:lnTo>
                <a:lnTo>
                  <a:pt x="22576" y="206525"/>
                </a:lnTo>
                <a:lnTo>
                  <a:pt x="24734" y="201713"/>
                </a:lnTo>
                <a:lnTo>
                  <a:pt x="32291" y="184206"/>
                </a:lnTo>
                <a:lnTo>
                  <a:pt x="34047" y="180939"/>
                </a:lnTo>
                <a:lnTo>
                  <a:pt x="34714" y="179452"/>
                </a:lnTo>
                <a:lnTo>
                  <a:pt x="37653" y="174231"/>
                </a:lnTo>
                <a:lnTo>
                  <a:pt x="45388" y="159842"/>
                </a:lnTo>
                <a:lnTo>
                  <a:pt x="48048" y="155764"/>
                </a:lnTo>
                <a:lnTo>
                  <a:pt x="49179" y="153755"/>
                </a:lnTo>
                <a:lnTo>
                  <a:pt x="52604" y="148783"/>
                </a:lnTo>
                <a:lnTo>
                  <a:pt x="60439" y="136774"/>
                </a:lnTo>
                <a:lnTo>
                  <a:pt x="64151" y="132016"/>
                </a:lnTo>
                <a:lnTo>
                  <a:pt x="65838" y="129567"/>
                </a:lnTo>
                <a:lnTo>
                  <a:pt x="69540" y="125108"/>
                </a:lnTo>
                <a:lnTo>
                  <a:pt x="77336" y="115115"/>
                </a:lnTo>
                <a:lnTo>
                  <a:pt x="82232" y="109821"/>
                </a:lnTo>
                <a:lnTo>
                  <a:pt x="84554" y="107024"/>
                </a:lnTo>
                <a:lnTo>
                  <a:pt x="88368" y="103188"/>
                </a:lnTo>
                <a:lnTo>
                  <a:pt x="95965" y="94974"/>
                </a:lnTo>
                <a:lnTo>
                  <a:pt x="102168" y="89305"/>
                </a:lnTo>
                <a:lnTo>
                  <a:pt x="105194" y="86261"/>
                </a:lnTo>
                <a:lnTo>
                  <a:pt x="108977" y="83081"/>
                </a:lnTo>
                <a:lnTo>
                  <a:pt x="116217" y="76465"/>
                </a:lnTo>
                <a:lnTo>
                  <a:pt x="123838" y="70592"/>
                </a:lnTo>
                <a:lnTo>
                  <a:pt x="127623" y="67412"/>
                </a:lnTo>
                <a:lnTo>
                  <a:pt x="131250" y="64881"/>
                </a:lnTo>
                <a:lnTo>
                  <a:pt x="137980" y="59696"/>
                </a:lnTo>
                <a:lnTo>
                  <a:pt x="147127" y="53805"/>
                </a:lnTo>
                <a:lnTo>
                  <a:pt x="151705" y="50612"/>
                </a:lnTo>
                <a:lnTo>
                  <a:pt x="155065" y="48694"/>
                </a:lnTo>
                <a:lnTo>
                  <a:pt x="161144" y="44779"/>
                </a:lnTo>
                <a:lnTo>
                  <a:pt x="171927" y="39067"/>
                </a:lnTo>
                <a:lnTo>
                  <a:pt x="177306" y="35997"/>
                </a:lnTo>
                <a:lnTo>
                  <a:pt x="180298" y="34633"/>
                </a:lnTo>
                <a:lnTo>
                  <a:pt x="185596" y="31826"/>
                </a:lnTo>
                <a:lnTo>
                  <a:pt x="198148" y="26499"/>
                </a:lnTo>
                <a:lnTo>
                  <a:pt x="204291" y="23700"/>
                </a:lnTo>
                <a:lnTo>
                  <a:pt x="206823" y="22817"/>
                </a:lnTo>
                <a:lnTo>
                  <a:pt x="211228" y="20947"/>
                </a:lnTo>
                <a:lnTo>
                  <a:pt x="225741" y="16221"/>
                </a:lnTo>
                <a:lnTo>
                  <a:pt x="232526" y="13856"/>
                </a:lnTo>
                <a:lnTo>
                  <a:pt x="234516" y="13364"/>
                </a:lnTo>
                <a:lnTo>
                  <a:pt x="237926" y="12254"/>
                </a:lnTo>
                <a:lnTo>
                  <a:pt x="254783" y="8354"/>
                </a:lnTo>
                <a:lnTo>
                  <a:pt x="261875" y="6601"/>
                </a:lnTo>
                <a:lnTo>
                  <a:pt x="263248" y="6396"/>
                </a:lnTo>
                <a:lnTo>
                  <a:pt x="265581" y="5856"/>
                </a:lnTo>
                <a:lnTo>
                  <a:pt x="285860" y="3017"/>
                </a:lnTo>
                <a:lnTo>
                  <a:pt x="292203" y="2069"/>
                </a:lnTo>
                <a:lnTo>
                  <a:pt x="292871" y="2036"/>
                </a:lnTo>
                <a:lnTo>
                  <a:pt x="294080" y="1866"/>
                </a:lnTo>
                <a:lnTo>
                  <a:pt x="308146" y="1201"/>
                </a:lnTo>
                <a:lnTo>
                  <a:pt x="308146" y="389"/>
                </a:lnTo>
                <a:lnTo>
                  <a:pt x="321113" y="389"/>
                </a:lnTo>
                <a:lnTo>
                  <a:pt x="325287" y="389"/>
                </a:lnTo>
                <a:lnTo>
                  <a:pt x="325384" y="389"/>
                </a:lnTo>
                <a:close/>
              </a:path>
            </a:pathLst>
          </a:custGeom>
          <a:solidFill>
            <a:srgbClr val="FEB81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24" name="Title 1">
            <a:extLst>
              <a:ext uri="{FF2B5EF4-FFF2-40B4-BE49-F238E27FC236}">
                <a16:creationId xmlns:a16="http://schemas.microsoft.com/office/drawing/2014/main" id="{8CA1E155-95B3-E147-B14A-512542B63954}"/>
              </a:ext>
            </a:extLst>
          </p:cNvPr>
          <p:cNvSpPr txBox="1">
            <a:spLocks/>
          </p:cNvSpPr>
          <p:nvPr/>
        </p:nvSpPr>
        <p:spPr>
          <a:xfrm>
            <a:off x="7654063" y="5649825"/>
            <a:ext cx="3655839" cy="443061"/>
          </a:xfrm>
          <a:prstGeom prst="rect">
            <a:avLst/>
          </a:prstGeom>
        </p:spPr>
        <p:txBody>
          <a:bodyP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309"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1200" cap="none" spc="0" normalizeH="0" baseline="0" noProof="0" dirty="0">
                <a:ln w="0"/>
                <a:solidFill>
                  <a:srgbClr val="1D3166"/>
                </a:solidFill>
                <a:effectLst/>
                <a:uLnTx/>
                <a:uFillTx/>
                <a:latin typeface="Montserrat" pitchFamily="2" charset="77"/>
                <a:ea typeface="Tahoma" pitchFamily="34" charset="0"/>
                <a:cs typeface="Tahoma" pitchFamily="34" charset="0"/>
                <a:sym typeface="Arial"/>
              </a:rPr>
              <a:t>PASAL 5</a:t>
            </a:r>
          </a:p>
        </p:txBody>
      </p:sp>
      <p:sp>
        <p:nvSpPr>
          <p:cNvPr id="25" name="Title 1">
            <a:extLst>
              <a:ext uri="{FF2B5EF4-FFF2-40B4-BE49-F238E27FC236}">
                <a16:creationId xmlns:a16="http://schemas.microsoft.com/office/drawing/2014/main" id="{BF630F07-269F-F94E-A0E7-405CA883CAFB}"/>
              </a:ext>
            </a:extLst>
          </p:cNvPr>
          <p:cNvSpPr txBox="1">
            <a:spLocks/>
          </p:cNvSpPr>
          <p:nvPr/>
        </p:nvSpPr>
        <p:spPr>
          <a:xfrm>
            <a:off x="1403973" y="5676119"/>
            <a:ext cx="3655839" cy="443061"/>
          </a:xfrm>
          <a:prstGeom prst="rect">
            <a:avLst/>
          </a:prstGeom>
        </p:spPr>
        <p:txBody>
          <a:bodyP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309"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1200" cap="none" spc="0" normalizeH="0" baseline="0" noProof="0" dirty="0">
                <a:ln w="0"/>
                <a:solidFill>
                  <a:srgbClr val="1D3166"/>
                </a:solidFill>
                <a:effectLst/>
                <a:uLnTx/>
                <a:uFillTx/>
                <a:latin typeface="Montserrat" pitchFamily="2" charset="77"/>
                <a:ea typeface="Tahoma" pitchFamily="34" charset="0"/>
                <a:cs typeface="Tahoma" pitchFamily="34" charset="0"/>
                <a:sym typeface="Arial"/>
              </a:rPr>
              <a:t>PASAL 4</a:t>
            </a:r>
          </a:p>
        </p:txBody>
      </p:sp>
      <p:sp>
        <p:nvSpPr>
          <p:cNvPr id="2" name="Title 1">
            <a:extLst>
              <a:ext uri="{FF2B5EF4-FFF2-40B4-BE49-F238E27FC236}">
                <a16:creationId xmlns:a16="http://schemas.microsoft.com/office/drawing/2014/main" id="{8D550A71-BA13-62B4-963F-31AF96075592}"/>
              </a:ext>
            </a:extLst>
          </p:cNvPr>
          <p:cNvSpPr txBox="1">
            <a:spLocks/>
          </p:cNvSpPr>
          <p:nvPr/>
        </p:nvSpPr>
        <p:spPr>
          <a:xfrm>
            <a:off x="6121399" y="6277594"/>
            <a:ext cx="5746861" cy="443061"/>
          </a:xfrm>
          <a:prstGeom prst="rect">
            <a:avLst/>
          </a:prstGeom>
        </p:spPr>
        <p:txBody>
          <a:bodyP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just" defTabSz="914309"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1200" cap="none" spc="0" normalizeH="0" baseline="0" noProof="0" dirty="0" err="1">
                <a:ln w="0"/>
                <a:solidFill>
                  <a:srgbClr val="1D3166"/>
                </a:solidFill>
                <a:effectLst/>
                <a:uLnTx/>
                <a:uFillTx/>
                <a:latin typeface="Montserrat" pitchFamily="2" charset="77"/>
                <a:ea typeface="Tahoma" pitchFamily="34" charset="0"/>
                <a:cs typeface="Tahoma" pitchFamily="34" charset="0"/>
                <a:sym typeface="Arial"/>
              </a:rPr>
              <a:t>Catatan</a:t>
            </a:r>
            <a:r>
              <a:rPr kumimoji="0" lang="en-US" sz="1400" b="1" i="0" u="none" strike="noStrike" kern="1200" cap="none" spc="0" normalizeH="0" baseline="0" noProof="0" dirty="0">
                <a:ln w="0"/>
                <a:solidFill>
                  <a:srgbClr val="1D3166"/>
                </a:solidFill>
                <a:effectLst/>
                <a:uLnTx/>
                <a:uFillTx/>
                <a:latin typeface="Montserrat" pitchFamily="2" charset="77"/>
                <a:ea typeface="Tahoma" pitchFamily="34" charset="0"/>
                <a:cs typeface="Tahoma" pitchFamily="34" charset="0"/>
                <a:sym typeface="Arial"/>
              </a:rPr>
              <a:t> </a:t>
            </a:r>
            <a:r>
              <a:rPr kumimoji="0" lang="en-US" sz="1400" b="1" i="0" u="none" strike="noStrike" kern="1200" cap="none" spc="0" normalizeH="0" baseline="0" noProof="0" dirty="0" err="1">
                <a:ln w="0"/>
                <a:solidFill>
                  <a:srgbClr val="1D3166"/>
                </a:solidFill>
                <a:effectLst/>
                <a:uLnTx/>
                <a:uFillTx/>
                <a:latin typeface="Montserrat" pitchFamily="2" charset="77"/>
                <a:ea typeface="Tahoma" pitchFamily="34" charset="0"/>
                <a:cs typeface="Tahoma" pitchFamily="34" charset="0"/>
                <a:sym typeface="Arial"/>
              </a:rPr>
              <a:t>tertib</a:t>
            </a:r>
            <a:r>
              <a:rPr kumimoji="0" lang="en-US" sz="1400" b="1" i="0" u="none" strike="noStrike" kern="1200" cap="none" spc="0" normalizeH="0" baseline="0" noProof="0" dirty="0">
                <a:ln w="0"/>
                <a:solidFill>
                  <a:srgbClr val="1D3166"/>
                </a:solidFill>
                <a:effectLst/>
                <a:uLnTx/>
                <a:uFillTx/>
                <a:latin typeface="Montserrat" pitchFamily="2" charset="77"/>
                <a:ea typeface="Tahoma" pitchFamily="34" charset="0"/>
                <a:cs typeface="Tahoma" pitchFamily="34" charset="0"/>
                <a:sym typeface="Arial"/>
              </a:rPr>
              <a:t> Usaha Jasa </a:t>
            </a:r>
            <a:r>
              <a:rPr kumimoji="0" lang="en-US" sz="1400" b="1" i="0" u="none" strike="noStrike" kern="1200" cap="none" spc="0" normalizeH="0" baseline="0" noProof="0" dirty="0" err="1">
                <a:ln w="0"/>
                <a:solidFill>
                  <a:srgbClr val="1D3166"/>
                </a:solidFill>
                <a:effectLst/>
                <a:uLnTx/>
                <a:uFillTx/>
                <a:latin typeface="Montserrat" pitchFamily="2" charset="77"/>
                <a:ea typeface="Tahoma" pitchFamily="34" charset="0"/>
                <a:cs typeface="Tahoma" pitchFamily="34" charset="0"/>
                <a:sym typeface="Arial"/>
              </a:rPr>
              <a:t>Konstruksi</a:t>
            </a:r>
            <a:r>
              <a:rPr kumimoji="0" lang="en-US" sz="1400" b="1" i="0" u="none" strike="noStrike" kern="1200" cap="none" spc="0" normalizeH="0" baseline="0" noProof="0" dirty="0">
                <a:ln w="0"/>
                <a:solidFill>
                  <a:srgbClr val="1D3166"/>
                </a:solidFill>
                <a:effectLst/>
                <a:uLnTx/>
                <a:uFillTx/>
                <a:latin typeface="Montserrat" pitchFamily="2" charset="77"/>
                <a:ea typeface="Tahoma" pitchFamily="34" charset="0"/>
                <a:cs typeface="Tahoma" pitchFamily="34" charset="0"/>
                <a:sym typeface="Arial"/>
              </a:rPr>
              <a:t> BUJK </a:t>
            </a:r>
            <a:r>
              <a:rPr kumimoji="0" lang="en-US" sz="1400" b="1" i="0" u="none" strike="noStrike" kern="1200" cap="none" spc="0" normalizeH="0" baseline="0" noProof="0" dirty="0" err="1">
                <a:ln w="0"/>
                <a:solidFill>
                  <a:srgbClr val="1D3166"/>
                </a:solidFill>
                <a:effectLst/>
                <a:uLnTx/>
                <a:uFillTx/>
                <a:latin typeface="Montserrat" pitchFamily="2" charset="77"/>
                <a:ea typeface="Tahoma" pitchFamily="34" charset="0"/>
                <a:cs typeface="Tahoma" pitchFamily="34" charset="0"/>
                <a:sym typeface="Arial"/>
              </a:rPr>
              <a:t>Kualifikasi</a:t>
            </a:r>
            <a:r>
              <a:rPr kumimoji="0" lang="en-US" sz="1400" b="1" i="0" u="none" strike="noStrike" kern="1200" cap="none" spc="0" normalizeH="0" baseline="0" noProof="0" dirty="0">
                <a:ln w="0"/>
                <a:solidFill>
                  <a:srgbClr val="1D3166"/>
                </a:solidFill>
                <a:effectLst/>
                <a:uLnTx/>
                <a:uFillTx/>
                <a:latin typeface="Montserrat" pitchFamily="2" charset="77"/>
                <a:ea typeface="Tahoma" pitchFamily="34" charset="0"/>
                <a:cs typeface="Tahoma" pitchFamily="34" charset="0"/>
                <a:sym typeface="Arial"/>
              </a:rPr>
              <a:t> </a:t>
            </a:r>
            <a:r>
              <a:rPr kumimoji="0" lang="en-US" sz="1400" b="1" i="0" u="none" strike="noStrike" kern="1200" cap="none" spc="0" normalizeH="0" baseline="0" noProof="0" dirty="0" err="1">
                <a:ln w="0"/>
                <a:solidFill>
                  <a:srgbClr val="1D3166"/>
                </a:solidFill>
                <a:effectLst/>
                <a:uLnTx/>
                <a:uFillTx/>
                <a:latin typeface="Montserrat" pitchFamily="2" charset="77"/>
                <a:ea typeface="Tahoma" pitchFamily="34" charset="0"/>
                <a:cs typeface="Tahoma" pitchFamily="34" charset="0"/>
                <a:sym typeface="Arial"/>
              </a:rPr>
              <a:t>Besar</a:t>
            </a:r>
            <a:r>
              <a:rPr kumimoji="0" lang="en-US" sz="1400" b="1" i="0" u="none" strike="noStrike" kern="1200" cap="none" spc="0" normalizeH="0" baseline="0" noProof="0" dirty="0">
                <a:ln w="0"/>
                <a:solidFill>
                  <a:srgbClr val="1D3166"/>
                </a:solidFill>
                <a:effectLst/>
                <a:uLnTx/>
                <a:uFillTx/>
                <a:latin typeface="Montserrat" pitchFamily="2" charset="77"/>
                <a:ea typeface="Tahoma" pitchFamily="34" charset="0"/>
                <a:cs typeface="Tahoma" pitchFamily="34" charset="0"/>
                <a:sym typeface="Arial"/>
              </a:rPr>
              <a:t> </a:t>
            </a:r>
            <a:r>
              <a:rPr kumimoji="0" lang="en-US" sz="1400" b="1" i="0" u="none" strike="noStrike" kern="1200" cap="none" spc="0" normalizeH="0" baseline="0" noProof="0" dirty="0" err="1">
                <a:ln w="0"/>
                <a:solidFill>
                  <a:srgbClr val="1D3166"/>
                </a:solidFill>
                <a:effectLst/>
                <a:uLnTx/>
                <a:uFillTx/>
                <a:latin typeface="Montserrat" pitchFamily="2" charset="77"/>
                <a:ea typeface="Tahoma" pitchFamily="34" charset="0"/>
                <a:cs typeface="Tahoma" pitchFamily="34" charset="0"/>
                <a:sym typeface="Arial"/>
              </a:rPr>
              <a:t>menjadi</a:t>
            </a:r>
            <a:r>
              <a:rPr kumimoji="0" lang="en-US" sz="1400" b="1" i="0" u="none" strike="noStrike" kern="1200" cap="none" spc="0" normalizeH="0" baseline="0" noProof="0" dirty="0">
                <a:ln w="0"/>
                <a:solidFill>
                  <a:srgbClr val="1D3166"/>
                </a:solidFill>
                <a:effectLst/>
                <a:uLnTx/>
                <a:uFillTx/>
                <a:latin typeface="Montserrat" pitchFamily="2" charset="77"/>
                <a:ea typeface="Tahoma" pitchFamily="34" charset="0"/>
                <a:cs typeface="Tahoma" pitchFamily="34" charset="0"/>
                <a:sym typeface="Arial"/>
              </a:rPr>
              <a:t> </a:t>
            </a:r>
            <a:r>
              <a:rPr kumimoji="0" lang="en-US" sz="1400" b="1" i="0" u="none" strike="noStrike" kern="1200" cap="none" spc="0" normalizeH="0" baseline="0" noProof="0" dirty="0" err="1">
                <a:ln w="0"/>
                <a:solidFill>
                  <a:srgbClr val="1D3166"/>
                </a:solidFill>
                <a:effectLst/>
                <a:uLnTx/>
                <a:uFillTx/>
                <a:latin typeface="Montserrat" pitchFamily="2" charset="77"/>
                <a:ea typeface="Tahoma" pitchFamily="34" charset="0"/>
                <a:cs typeface="Tahoma" pitchFamily="34" charset="0"/>
                <a:sym typeface="Arial"/>
              </a:rPr>
              <a:t>kewenangan</a:t>
            </a:r>
            <a:r>
              <a:rPr kumimoji="0" lang="en-US" sz="1400" b="1" i="0" u="none" strike="noStrike" kern="1200" cap="none" spc="0" normalizeH="0" baseline="0" noProof="0" dirty="0">
                <a:ln w="0"/>
                <a:solidFill>
                  <a:srgbClr val="1D3166"/>
                </a:solidFill>
                <a:effectLst/>
                <a:uLnTx/>
                <a:uFillTx/>
                <a:latin typeface="Montserrat" pitchFamily="2" charset="77"/>
                <a:ea typeface="Tahoma" pitchFamily="34" charset="0"/>
                <a:cs typeface="Tahoma" pitchFamily="34" charset="0"/>
                <a:sym typeface="Arial"/>
              </a:rPr>
              <a:t> </a:t>
            </a:r>
            <a:r>
              <a:rPr kumimoji="0" lang="en-US" sz="1400" b="1" i="0" u="none" strike="noStrike" kern="1200" cap="none" spc="0" normalizeH="0" baseline="0" noProof="0" dirty="0" err="1">
                <a:ln w="0"/>
                <a:solidFill>
                  <a:srgbClr val="1D3166"/>
                </a:solidFill>
                <a:effectLst/>
                <a:uLnTx/>
                <a:uFillTx/>
                <a:latin typeface="Montserrat" pitchFamily="2" charset="77"/>
                <a:ea typeface="Tahoma" pitchFamily="34" charset="0"/>
                <a:cs typeface="Tahoma" pitchFamily="34" charset="0"/>
                <a:sym typeface="Arial"/>
              </a:rPr>
              <a:t>Pemerintah</a:t>
            </a:r>
            <a:r>
              <a:rPr kumimoji="0" lang="en-US" sz="1400" b="1" i="0" u="none" strike="noStrike" kern="1200" cap="none" spc="0" normalizeH="0" baseline="0" noProof="0" dirty="0">
                <a:ln w="0"/>
                <a:solidFill>
                  <a:srgbClr val="1D3166"/>
                </a:solidFill>
                <a:effectLst/>
                <a:uLnTx/>
                <a:uFillTx/>
                <a:latin typeface="Montserrat" pitchFamily="2" charset="77"/>
                <a:ea typeface="Tahoma" pitchFamily="34" charset="0"/>
                <a:cs typeface="Tahoma" pitchFamily="34" charset="0"/>
                <a:sym typeface="Arial"/>
              </a:rPr>
              <a:t> Pusat </a:t>
            </a:r>
          </a:p>
        </p:txBody>
      </p:sp>
    </p:spTree>
    <p:extLst>
      <p:ext uri="{BB962C8B-B14F-4D97-AF65-F5344CB8AC3E}">
        <p14:creationId xmlns:p14="http://schemas.microsoft.com/office/powerpoint/2010/main" val="5533575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Cars on a bridge&#10;&#10;Description automatically generated with low confidence">
            <a:extLst>
              <a:ext uri="{FF2B5EF4-FFF2-40B4-BE49-F238E27FC236}">
                <a16:creationId xmlns:a16="http://schemas.microsoft.com/office/drawing/2014/main" id="{09FC8181-FDD7-D54C-A20D-BB57FBFE31E9}"/>
              </a:ext>
            </a:extLst>
          </p:cNvPr>
          <p:cNvPicPr>
            <a:picLocks noGrp="1" noChangeAspect="1"/>
          </p:cNvPicPr>
          <p:nvPr>
            <p:ph type="pic" sz="quarter" idx="10"/>
          </p:nvPr>
        </p:nvPicPr>
        <p:blipFill>
          <a:blip r:embed="rId2" cstate="screen">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p:pic>
      <p:sp>
        <p:nvSpPr>
          <p:cNvPr id="68" name="Freeform: Shape 67">
            <a:extLst>
              <a:ext uri="{FF2B5EF4-FFF2-40B4-BE49-F238E27FC236}">
                <a16:creationId xmlns:a16="http://schemas.microsoft.com/office/drawing/2014/main" id="{654A9028-A60E-4161-BBF6-2B56FC243B3F}"/>
              </a:ext>
            </a:extLst>
          </p:cNvPr>
          <p:cNvSpPr/>
          <p:nvPr/>
        </p:nvSpPr>
        <p:spPr>
          <a:xfrm>
            <a:off x="9005" y="-582"/>
            <a:ext cx="5410554" cy="6858000"/>
          </a:xfrm>
          <a:custGeom>
            <a:avLst/>
            <a:gdLst>
              <a:gd name="connsiteX0" fmla="*/ 0 w 5410554"/>
              <a:gd name="connsiteY0" fmla="*/ 0 h 6858000"/>
              <a:gd name="connsiteX1" fmla="*/ 1627874 w 5410554"/>
              <a:gd name="connsiteY1" fmla="*/ 0 h 6858000"/>
              <a:gd name="connsiteX2" fmla="*/ 2168930 w 5410554"/>
              <a:gd name="connsiteY2" fmla="*/ 0 h 6858000"/>
              <a:gd name="connsiteX3" fmla="*/ 3241610 w 5410554"/>
              <a:gd name="connsiteY3" fmla="*/ 0 h 6858000"/>
              <a:gd name="connsiteX4" fmla="*/ 3782664 w 5410554"/>
              <a:gd name="connsiteY4" fmla="*/ 0 h 6858000"/>
              <a:gd name="connsiteX5" fmla="*/ 3825752 w 5410554"/>
              <a:gd name="connsiteY5" fmla="*/ 0 h 6858000"/>
              <a:gd name="connsiteX6" fmla="*/ 3825752 w 5410554"/>
              <a:gd name="connsiteY6" fmla="*/ 1 h 6858000"/>
              <a:gd name="connsiteX7" fmla="*/ 3859052 w 5410554"/>
              <a:gd name="connsiteY7" fmla="*/ 1 h 6858000"/>
              <a:gd name="connsiteX8" fmla="*/ 3859052 w 5410554"/>
              <a:gd name="connsiteY8" fmla="*/ 3976 h 6858000"/>
              <a:gd name="connsiteX9" fmla="*/ 3937768 w 5410554"/>
              <a:gd name="connsiteY9" fmla="*/ 8022 h 6858000"/>
              <a:gd name="connsiteX10" fmla="*/ 3942544 w 5410554"/>
              <a:gd name="connsiteY10" fmla="*/ 8764 h 6858000"/>
              <a:gd name="connsiteX11" fmla="*/ 3948908 w 5410554"/>
              <a:gd name="connsiteY11" fmla="*/ 9111 h 6858000"/>
              <a:gd name="connsiteX12" fmla="*/ 4228992 w 5410554"/>
              <a:gd name="connsiteY12" fmla="*/ 67312 h 6858000"/>
              <a:gd name="connsiteX13" fmla="*/ 4235584 w 5410554"/>
              <a:gd name="connsiteY13" fmla="*/ 69688 h 6858000"/>
              <a:gd name="connsiteX14" fmla="*/ 4236718 w 5410554"/>
              <a:gd name="connsiteY14" fmla="*/ 69985 h 6858000"/>
              <a:gd name="connsiteX15" fmla="*/ 4248024 w 5410554"/>
              <a:gd name="connsiteY15" fmla="*/ 74178 h 6858000"/>
              <a:gd name="connsiteX16" fmla="*/ 4362084 w 5410554"/>
              <a:gd name="connsiteY16" fmla="*/ 115332 h 6858000"/>
              <a:gd name="connsiteX17" fmla="*/ 4373792 w 5410554"/>
              <a:gd name="connsiteY17" fmla="*/ 120816 h 6858000"/>
              <a:gd name="connsiteX18" fmla="*/ 4378240 w 5410554"/>
              <a:gd name="connsiteY18" fmla="*/ 122467 h 6858000"/>
              <a:gd name="connsiteX19" fmla="*/ 4402296 w 5410554"/>
              <a:gd name="connsiteY19" fmla="*/ 134171 h 6858000"/>
              <a:gd name="connsiteX20" fmla="*/ 4489800 w 5410554"/>
              <a:gd name="connsiteY20" fmla="*/ 175163 h 6858000"/>
              <a:gd name="connsiteX21" fmla="*/ 4506132 w 5410554"/>
              <a:gd name="connsiteY21" fmla="*/ 184690 h 6858000"/>
              <a:gd name="connsiteX22" fmla="*/ 4513564 w 5410554"/>
              <a:gd name="connsiteY22" fmla="*/ 188306 h 6858000"/>
              <a:gd name="connsiteX23" fmla="*/ 4539666 w 5410554"/>
              <a:gd name="connsiteY23" fmla="*/ 204251 h 6858000"/>
              <a:gd name="connsiteX24" fmla="*/ 4611588 w 5410554"/>
              <a:gd name="connsiteY24" fmla="*/ 246206 h 6858000"/>
              <a:gd name="connsiteX25" fmla="*/ 4631970 w 5410554"/>
              <a:gd name="connsiteY25" fmla="*/ 260639 h 6858000"/>
              <a:gd name="connsiteX26" fmla="*/ 4642016 w 5410554"/>
              <a:gd name="connsiteY26" fmla="*/ 266773 h 6858000"/>
              <a:gd name="connsiteX27" fmla="*/ 4666866 w 5410554"/>
              <a:gd name="connsiteY27" fmla="*/ 285348 h 6858000"/>
              <a:gd name="connsiteX28" fmla="*/ 4726892 w 5410554"/>
              <a:gd name="connsiteY28" fmla="*/ 327853 h 6858000"/>
              <a:gd name="connsiteX29" fmla="*/ 4750676 w 5410554"/>
              <a:gd name="connsiteY29" fmla="*/ 347987 h 6858000"/>
              <a:gd name="connsiteX30" fmla="*/ 4762916 w 5410554"/>
              <a:gd name="connsiteY30" fmla="*/ 357135 h 6858000"/>
              <a:gd name="connsiteX31" fmla="*/ 4785204 w 5410554"/>
              <a:gd name="connsiteY31" fmla="*/ 377217 h 6858000"/>
              <a:gd name="connsiteX32" fmla="*/ 4835156 w 5410554"/>
              <a:gd name="connsiteY32" fmla="*/ 419505 h 6858000"/>
              <a:gd name="connsiteX33" fmla="*/ 4861616 w 5410554"/>
              <a:gd name="connsiteY33" fmla="*/ 446067 h 6858000"/>
              <a:gd name="connsiteX34" fmla="*/ 4875594 w 5410554"/>
              <a:gd name="connsiteY34" fmla="*/ 458661 h 6858000"/>
              <a:gd name="connsiteX35" fmla="*/ 4894772 w 5410554"/>
              <a:gd name="connsiteY35" fmla="*/ 479349 h 6858000"/>
              <a:gd name="connsiteX36" fmla="*/ 4935828 w 5410554"/>
              <a:gd name="connsiteY36" fmla="*/ 520560 h 6858000"/>
              <a:gd name="connsiteX37" fmla="*/ 4964164 w 5410554"/>
              <a:gd name="connsiteY37" fmla="*/ 554208 h 6858000"/>
              <a:gd name="connsiteX38" fmla="*/ 4979380 w 5410554"/>
              <a:gd name="connsiteY38" fmla="*/ 570622 h 6858000"/>
              <a:gd name="connsiteX39" fmla="*/ 4995274 w 5410554"/>
              <a:gd name="connsiteY39" fmla="*/ 591145 h 6858000"/>
              <a:gd name="connsiteX40" fmla="*/ 5028348 w 5410554"/>
              <a:gd name="connsiteY40" fmla="*/ 630415 h 6858000"/>
              <a:gd name="connsiteX41" fmla="*/ 5057702 w 5410554"/>
              <a:gd name="connsiteY41" fmla="*/ 671758 h 6858000"/>
              <a:gd name="connsiteX42" fmla="*/ 5073596 w 5410554"/>
              <a:gd name="connsiteY42" fmla="*/ 692284 h 6858000"/>
              <a:gd name="connsiteX43" fmla="*/ 5086248 w 5410554"/>
              <a:gd name="connsiteY43" fmla="*/ 711964 h 6858000"/>
              <a:gd name="connsiteX44" fmla="*/ 5112166 w 5410554"/>
              <a:gd name="connsiteY44" fmla="*/ 748469 h 6858000"/>
              <a:gd name="connsiteX45" fmla="*/ 5141608 w 5410554"/>
              <a:gd name="connsiteY45" fmla="*/ 798086 h 6858000"/>
              <a:gd name="connsiteX46" fmla="*/ 5157568 w 5410554"/>
              <a:gd name="connsiteY46" fmla="*/ 822915 h 6858000"/>
              <a:gd name="connsiteX47" fmla="*/ 5167160 w 5410554"/>
              <a:gd name="connsiteY47" fmla="*/ 841145 h 6858000"/>
              <a:gd name="connsiteX48" fmla="*/ 5186728 w 5410554"/>
              <a:gd name="connsiteY48" fmla="*/ 874117 h 6858000"/>
              <a:gd name="connsiteX49" fmla="*/ 5215276 w 5410554"/>
              <a:gd name="connsiteY49" fmla="*/ 932612 h 6858000"/>
              <a:gd name="connsiteX50" fmla="*/ 5230628 w 5410554"/>
              <a:gd name="connsiteY50" fmla="*/ 961788 h 6858000"/>
              <a:gd name="connsiteX51" fmla="*/ 5237440 w 5410554"/>
              <a:gd name="connsiteY51" fmla="*/ 978019 h 6858000"/>
              <a:gd name="connsiteX52" fmla="*/ 5251472 w 5410554"/>
              <a:gd name="connsiteY52" fmla="*/ 1006759 h 6858000"/>
              <a:gd name="connsiteX53" fmla="*/ 5278100 w 5410554"/>
              <a:gd name="connsiteY53" fmla="*/ 1074845 h 6858000"/>
              <a:gd name="connsiteX54" fmla="*/ 5292092 w 5410554"/>
              <a:gd name="connsiteY54" fmla="*/ 1108170 h 6858000"/>
              <a:gd name="connsiteX55" fmla="*/ 5296508 w 5410554"/>
              <a:gd name="connsiteY55" fmla="*/ 1121904 h 6858000"/>
              <a:gd name="connsiteX56" fmla="*/ 5305850 w 5410554"/>
              <a:gd name="connsiteY56" fmla="*/ 1145796 h 6858000"/>
              <a:gd name="connsiteX57" fmla="*/ 5329474 w 5410554"/>
              <a:gd name="connsiteY57" fmla="*/ 1224524 h 6858000"/>
              <a:gd name="connsiteX58" fmla="*/ 5341296 w 5410554"/>
              <a:gd name="connsiteY58" fmla="*/ 1261324 h 6858000"/>
              <a:gd name="connsiteX59" fmla="*/ 5343756 w 5410554"/>
              <a:gd name="connsiteY59" fmla="*/ 1272119 h 6858000"/>
              <a:gd name="connsiteX60" fmla="*/ 5349304 w 5410554"/>
              <a:gd name="connsiteY60" fmla="*/ 1290618 h 6858000"/>
              <a:gd name="connsiteX61" fmla="*/ 5368796 w 5410554"/>
              <a:gd name="connsiteY61" fmla="*/ 1382061 h 6858000"/>
              <a:gd name="connsiteX62" fmla="*/ 5377560 w 5410554"/>
              <a:gd name="connsiteY62" fmla="*/ 1420528 h 6858000"/>
              <a:gd name="connsiteX63" fmla="*/ 5378584 w 5410554"/>
              <a:gd name="connsiteY63" fmla="*/ 1427980 h 6858000"/>
              <a:gd name="connsiteX64" fmla="*/ 5381282 w 5410554"/>
              <a:gd name="connsiteY64" fmla="*/ 1440629 h 6858000"/>
              <a:gd name="connsiteX65" fmla="*/ 5395472 w 5410554"/>
              <a:gd name="connsiteY65" fmla="*/ 1550634 h 6858000"/>
              <a:gd name="connsiteX66" fmla="*/ 5400212 w 5410554"/>
              <a:gd name="connsiteY66" fmla="*/ 1585042 h 6858000"/>
              <a:gd name="connsiteX67" fmla="*/ 5400380 w 5410554"/>
              <a:gd name="connsiteY67" fmla="*/ 1588666 h 6858000"/>
              <a:gd name="connsiteX68" fmla="*/ 5401224 w 5410554"/>
              <a:gd name="connsiteY68" fmla="*/ 1595226 h 6858000"/>
              <a:gd name="connsiteX69" fmla="*/ 5404556 w 5410554"/>
              <a:gd name="connsiteY69" fmla="*/ 1671522 h 6858000"/>
              <a:gd name="connsiteX70" fmla="*/ 5408612 w 5410554"/>
              <a:gd name="connsiteY70" fmla="*/ 1671522 h 6858000"/>
              <a:gd name="connsiteX71" fmla="*/ 5408612 w 5410554"/>
              <a:gd name="connsiteY71" fmla="*/ 1741862 h 6858000"/>
              <a:gd name="connsiteX72" fmla="*/ 5408612 w 5410554"/>
              <a:gd name="connsiteY72" fmla="*/ 1764504 h 6858000"/>
              <a:gd name="connsiteX73" fmla="*/ 5408612 w 5410554"/>
              <a:gd name="connsiteY73" fmla="*/ 1765033 h 6858000"/>
              <a:gd name="connsiteX74" fmla="*/ 5410554 w 5410554"/>
              <a:gd name="connsiteY74" fmla="*/ 1765033 h 6858000"/>
              <a:gd name="connsiteX75" fmla="*/ 5410554 w 5410554"/>
              <a:gd name="connsiteY75" fmla="*/ 1944433 h 6858000"/>
              <a:gd name="connsiteX76" fmla="*/ 3825752 w 5410554"/>
              <a:gd name="connsiteY76" fmla="*/ 1944433 h 6858000"/>
              <a:gd name="connsiteX77" fmla="*/ 3825752 w 5410554"/>
              <a:gd name="connsiteY77" fmla="*/ 1944434 h 6858000"/>
              <a:gd name="connsiteX78" fmla="*/ 3859050 w 5410554"/>
              <a:gd name="connsiteY78" fmla="*/ 1944434 h 6858000"/>
              <a:gd name="connsiteX79" fmla="*/ 3859050 w 5410554"/>
              <a:gd name="connsiteY79" fmla="*/ 1948409 h 6858000"/>
              <a:gd name="connsiteX80" fmla="*/ 3937768 w 5410554"/>
              <a:gd name="connsiteY80" fmla="*/ 1952454 h 6858000"/>
              <a:gd name="connsiteX81" fmla="*/ 3942544 w 5410554"/>
              <a:gd name="connsiteY81" fmla="*/ 1953195 h 6858000"/>
              <a:gd name="connsiteX82" fmla="*/ 3948908 w 5410554"/>
              <a:gd name="connsiteY82" fmla="*/ 1953545 h 6858000"/>
              <a:gd name="connsiteX83" fmla="*/ 4228992 w 5410554"/>
              <a:gd name="connsiteY83" fmla="*/ 2011744 h 6858000"/>
              <a:gd name="connsiteX84" fmla="*/ 4235582 w 5410554"/>
              <a:gd name="connsiteY84" fmla="*/ 2014120 h 6858000"/>
              <a:gd name="connsiteX85" fmla="*/ 4236718 w 5410554"/>
              <a:gd name="connsiteY85" fmla="*/ 2014418 h 6858000"/>
              <a:gd name="connsiteX86" fmla="*/ 4248024 w 5410554"/>
              <a:gd name="connsiteY86" fmla="*/ 2018611 h 6858000"/>
              <a:gd name="connsiteX87" fmla="*/ 4362084 w 5410554"/>
              <a:gd name="connsiteY87" fmla="*/ 2059764 h 6858000"/>
              <a:gd name="connsiteX88" fmla="*/ 4373792 w 5410554"/>
              <a:gd name="connsiteY88" fmla="*/ 2065249 h 6858000"/>
              <a:gd name="connsiteX89" fmla="*/ 4378240 w 5410554"/>
              <a:gd name="connsiteY89" fmla="*/ 2066899 h 6858000"/>
              <a:gd name="connsiteX90" fmla="*/ 4402294 w 5410554"/>
              <a:gd name="connsiteY90" fmla="*/ 2078604 h 6858000"/>
              <a:gd name="connsiteX91" fmla="*/ 4489800 w 5410554"/>
              <a:gd name="connsiteY91" fmla="*/ 2119596 h 6858000"/>
              <a:gd name="connsiteX92" fmla="*/ 4506132 w 5410554"/>
              <a:gd name="connsiteY92" fmla="*/ 2129123 h 6858000"/>
              <a:gd name="connsiteX93" fmla="*/ 4513564 w 5410554"/>
              <a:gd name="connsiteY93" fmla="*/ 2132739 h 6858000"/>
              <a:gd name="connsiteX94" fmla="*/ 4539664 w 5410554"/>
              <a:gd name="connsiteY94" fmla="*/ 2148684 h 6858000"/>
              <a:gd name="connsiteX95" fmla="*/ 4611588 w 5410554"/>
              <a:gd name="connsiteY95" fmla="*/ 2190639 h 6858000"/>
              <a:gd name="connsiteX96" fmla="*/ 4631970 w 5410554"/>
              <a:gd name="connsiteY96" fmla="*/ 2205072 h 6858000"/>
              <a:gd name="connsiteX97" fmla="*/ 4642012 w 5410554"/>
              <a:gd name="connsiteY97" fmla="*/ 2211205 h 6858000"/>
              <a:gd name="connsiteX98" fmla="*/ 4666866 w 5410554"/>
              <a:gd name="connsiteY98" fmla="*/ 2229781 h 6858000"/>
              <a:gd name="connsiteX99" fmla="*/ 4726888 w 5410554"/>
              <a:gd name="connsiteY99" fmla="*/ 2272285 h 6858000"/>
              <a:gd name="connsiteX100" fmla="*/ 4750676 w 5410554"/>
              <a:gd name="connsiteY100" fmla="*/ 2292420 h 6858000"/>
              <a:gd name="connsiteX101" fmla="*/ 4762912 w 5410554"/>
              <a:gd name="connsiteY101" fmla="*/ 2301568 h 6858000"/>
              <a:gd name="connsiteX102" fmla="*/ 4785202 w 5410554"/>
              <a:gd name="connsiteY102" fmla="*/ 2321651 h 6858000"/>
              <a:gd name="connsiteX103" fmla="*/ 4835156 w 5410554"/>
              <a:gd name="connsiteY103" fmla="*/ 2363938 h 6858000"/>
              <a:gd name="connsiteX104" fmla="*/ 4861614 w 5410554"/>
              <a:gd name="connsiteY104" fmla="*/ 2390499 h 6858000"/>
              <a:gd name="connsiteX105" fmla="*/ 4875594 w 5410554"/>
              <a:gd name="connsiteY105" fmla="*/ 2403094 h 6858000"/>
              <a:gd name="connsiteX106" fmla="*/ 4894770 w 5410554"/>
              <a:gd name="connsiteY106" fmla="*/ 2423782 h 6858000"/>
              <a:gd name="connsiteX107" fmla="*/ 4935824 w 5410554"/>
              <a:gd name="connsiteY107" fmla="*/ 2464992 h 6858000"/>
              <a:gd name="connsiteX108" fmla="*/ 4964164 w 5410554"/>
              <a:gd name="connsiteY108" fmla="*/ 2498639 h 6858000"/>
              <a:gd name="connsiteX109" fmla="*/ 4979380 w 5410554"/>
              <a:gd name="connsiteY109" fmla="*/ 2515055 h 6858000"/>
              <a:gd name="connsiteX110" fmla="*/ 4995274 w 5410554"/>
              <a:gd name="connsiteY110" fmla="*/ 2535578 h 6858000"/>
              <a:gd name="connsiteX111" fmla="*/ 5028344 w 5410554"/>
              <a:gd name="connsiteY111" fmla="*/ 2574846 h 6858000"/>
              <a:gd name="connsiteX112" fmla="*/ 5057700 w 5410554"/>
              <a:gd name="connsiteY112" fmla="*/ 2616189 h 6858000"/>
              <a:gd name="connsiteX113" fmla="*/ 5073596 w 5410554"/>
              <a:gd name="connsiteY113" fmla="*/ 2636717 h 6858000"/>
              <a:gd name="connsiteX114" fmla="*/ 5086244 w 5410554"/>
              <a:gd name="connsiteY114" fmla="*/ 2656395 h 6858000"/>
              <a:gd name="connsiteX115" fmla="*/ 5112164 w 5410554"/>
              <a:gd name="connsiteY115" fmla="*/ 2692902 h 6858000"/>
              <a:gd name="connsiteX116" fmla="*/ 5141608 w 5410554"/>
              <a:gd name="connsiteY116" fmla="*/ 2742519 h 6858000"/>
              <a:gd name="connsiteX117" fmla="*/ 5157568 w 5410554"/>
              <a:gd name="connsiteY117" fmla="*/ 2767348 h 6858000"/>
              <a:gd name="connsiteX118" fmla="*/ 5167160 w 5410554"/>
              <a:gd name="connsiteY118" fmla="*/ 2785577 h 6858000"/>
              <a:gd name="connsiteX119" fmla="*/ 5186724 w 5410554"/>
              <a:gd name="connsiteY119" fmla="*/ 2818550 h 6858000"/>
              <a:gd name="connsiteX120" fmla="*/ 5215276 w 5410554"/>
              <a:gd name="connsiteY120" fmla="*/ 2877044 h 6858000"/>
              <a:gd name="connsiteX121" fmla="*/ 5230624 w 5410554"/>
              <a:gd name="connsiteY121" fmla="*/ 2906220 h 6858000"/>
              <a:gd name="connsiteX122" fmla="*/ 5237440 w 5410554"/>
              <a:gd name="connsiteY122" fmla="*/ 2922452 h 6858000"/>
              <a:gd name="connsiteX123" fmla="*/ 5251472 w 5410554"/>
              <a:gd name="connsiteY123" fmla="*/ 2951192 h 6858000"/>
              <a:gd name="connsiteX124" fmla="*/ 5278100 w 5410554"/>
              <a:gd name="connsiteY124" fmla="*/ 3019278 h 6858000"/>
              <a:gd name="connsiteX125" fmla="*/ 5292092 w 5410554"/>
              <a:gd name="connsiteY125" fmla="*/ 3052600 h 6858000"/>
              <a:gd name="connsiteX126" fmla="*/ 5296504 w 5410554"/>
              <a:gd name="connsiteY126" fmla="*/ 3066337 h 6858000"/>
              <a:gd name="connsiteX127" fmla="*/ 5305850 w 5410554"/>
              <a:gd name="connsiteY127" fmla="*/ 3090227 h 6858000"/>
              <a:gd name="connsiteX128" fmla="*/ 5329472 w 5410554"/>
              <a:gd name="connsiteY128" fmla="*/ 3168956 h 6858000"/>
              <a:gd name="connsiteX129" fmla="*/ 5341294 w 5410554"/>
              <a:gd name="connsiteY129" fmla="*/ 3205756 h 6858000"/>
              <a:gd name="connsiteX130" fmla="*/ 5343752 w 5410554"/>
              <a:gd name="connsiteY130" fmla="*/ 3216552 h 6858000"/>
              <a:gd name="connsiteX131" fmla="*/ 5349304 w 5410554"/>
              <a:gd name="connsiteY131" fmla="*/ 3235051 h 6858000"/>
              <a:gd name="connsiteX132" fmla="*/ 5368796 w 5410554"/>
              <a:gd name="connsiteY132" fmla="*/ 3326492 h 6858000"/>
              <a:gd name="connsiteX133" fmla="*/ 5377558 w 5410554"/>
              <a:gd name="connsiteY133" fmla="*/ 3364959 h 6858000"/>
              <a:gd name="connsiteX134" fmla="*/ 5378584 w 5410554"/>
              <a:gd name="connsiteY134" fmla="*/ 3372411 h 6858000"/>
              <a:gd name="connsiteX135" fmla="*/ 5381282 w 5410554"/>
              <a:gd name="connsiteY135" fmla="*/ 3385062 h 6858000"/>
              <a:gd name="connsiteX136" fmla="*/ 5395472 w 5410554"/>
              <a:gd name="connsiteY136" fmla="*/ 3495066 h 6858000"/>
              <a:gd name="connsiteX137" fmla="*/ 5400212 w 5410554"/>
              <a:gd name="connsiteY137" fmla="*/ 3529474 h 6858000"/>
              <a:gd name="connsiteX138" fmla="*/ 5400378 w 5410554"/>
              <a:gd name="connsiteY138" fmla="*/ 3533097 h 6858000"/>
              <a:gd name="connsiteX139" fmla="*/ 5401224 w 5410554"/>
              <a:gd name="connsiteY139" fmla="*/ 3539659 h 6858000"/>
              <a:gd name="connsiteX140" fmla="*/ 5404556 w 5410554"/>
              <a:gd name="connsiteY140" fmla="*/ 3615954 h 6858000"/>
              <a:gd name="connsiteX141" fmla="*/ 5408612 w 5410554"/>
              <a:gd name="connsiteY141" fmla="*/ 3615954 h 6858000"/>
              <a:gd name="connsiteX142" fmla="*/ 5408612 w 5410554"/>
              <a:gd name="connsiteY142" fmla="*/ 3686294 h 6858000"/>
              <a:gd name="connsiteX143" fmla="*/ 5408612 w 5410554"/>
              <a:gd name="connsiteY143" fmla="*/ 3708935 h 6858000"/>
              <a:gd name="connsiteX144" fmla="*/ 5408612 w 5410554"/>
              <a:gd name="connsiteY144" fmla="*/ 3709464 h 6858000"/>
              <a:gd name="connsiteX145" fmla="*/ 5410552 w 5410554"/>
              <a:gd name="connsiteY145" fmla="*/ 3709464 h 6858000"/>
              <a:gd name="connsiteX146" fmla="*/ 5410552 w 5410554"/>
              <a:gd name="connsiteY146" fmla="*/ 4047423 h 6858000"/>
              <a:gd name="connsiteX147" fmla="*/ 5410552 w 5410554"/>
              <a:gd name="connsiteY147" fmla="*/ 4755011 h 6858000"/>
              <a:gd name="connsiteX148" fmla="*/ 5410552 w 5410554"/>
              <a:gd name="connsiteY148" fmla="*/ 5092971 h 6858000"/>
              <a:gd name="connsiteX149" fmla="*/ 5410552 w 5410554"/>
              <a:gd name="connsiteY149" fmla="*/ 5186483 h 6858000"/>
              <a:gd name="connsiteX150" fmla="*/ 5408630 w 5410554"/>
              <a:gd name="connsiteY150" fmla="*/ 5186483 h 6858000"/>
              <a:gd name="connsiteX151" fmla="*/ 5408630 w 5410554"/>
              <a:gd name="connsiteY151" fmla="*/ 6857999 h 6858000"/>
              <a:gd name="connsiteX152" fmla="*/ 4867572 w 5410554"/>
              <a:gd name="connsiteY152" fmla="*/ 6857999 h 6858000"/>
              <a:gd name="connsiteX153" fmla="*/ 3794896 w 5410554"/>
              <a:gd name="connsiteY153" fmla="*/ 6857999 h 6858000"/>
              <a:gd name="connsiteX154" fmla="*/ 3783656 w 5410554"/>
              <a:gd name="connsiteY154" fmla="*/ 6857999 h 6858000"/>
              <a:gd name="connsiteX155" fmla="*/ 3782700 w 5410554"/>
              <a:gd name="connsiteY155" fmla="*/ 6857999 h 6858000"/>
              <a:gd name="connsiteX156" fmla="*/ 3782684 w 5410554"/>
              <a:gd name="connsiteY156" fmla="*/ 6858000 h 6858000"/>
              <a:gd name="connsiteX157" fmla="*/ 3782668 w 5410554"/>
              <a:gd name="connsiteY157" fmla="*/ 6857999 h 6858000"/>
              <a:gd name="connsiteX158" fmla="*/ 3706296 w 5410554"/>
              <a:gd name="connsiteY158" fmla="*/ 6857999 h 6858000"/>
              <a:gd name="connsiteX159" fmla="*/ 3253838 w 5410554"/>
              <a:gd name="connsiteY159" fmla="*/ 6857999 h 6858000"/>
              <a:gd name="connsiteX160" fmla="*/ 3242600 w 5410554"/>
              <a:gd name="connsiteY160" fmla="*/ 6857999 h 6858000"/>
              <a:gd name="connsiteX161" fmla="*/ 3241642 w 5410554"/>
              <a:gd name="connsiteY161" fmla="*/ 6857999 h 6858000"/>
              <a:gd name="connsiteX162" fmla="*/ 3241628 w 5410554"/>
              <a:gd name="connsiteY162" fmla="*/ 6858000 h 6858000"/>
              <a:gd name="connsiteX163" fmla="*/ 3241610 w 5410554"/>
              <a:gd name="connsiteY163" fmla="*/ 6857999 h 6858000"/>
              <a:gd name="connsiteX164" fmla="*/ 3165240 w 5410554"/>
              <a:gd name="connsiteY164" fmla="*/ 6857999 h 6858000"/>
              <a:gd name="connsiteX165" fmla="*/ 2169924 w 5410554"/>
              <a:gd name="connsiteY165" fmla="*/ 6857999 h 6858000"/>
              <a:gd name="connsiteX166" fmla="*/ 2168964 w 5410554"/>
              <a:gd name="connsiteY166" fmla="*/ 6857999 h 6858000"/>
              <a:gd name="connsiteX167" fmla="*/ 2168948 w 5410554"/>
              <a:gd name="connsiteY167" fmla="*/ 6858000 h 6858000"/>
              <a:gd name="connsiteX168" fmla="*/ 2168932 w 5410554"/>
              <a:gd name="connsiteY168" fmla="*/ 6857999 h 6858000"/>
              <a:gd name="connsiteX169" fmla="*/ 2092562 w 5410554"/>
              <a:gd name="connsiteY169" fmla="*/ 6857999 h 6858000"/>
              <a:gd name="connsiteX170" fmla="*/ 1628866 w 5410554"/>
              <a:gd name="connsiteY170" fmla="*/ 6857999 h 6858000"/>
              <a:gd name="connsiteX171" fmla="*/ 1627908 w 5410554"/>
              <a:gd name="connsiteY171" fmla="*/ 6857999 h 6858000"/>
              <a:gd name="connsiteX172" fmla="*/ 1627892 w 5410554"/>
              <a:gd name="connsiteY172" fmla="*/ 6858000 h 6858000"/>
              <a:gd name="connsiteX173" fmla="*/ 1627876 w 5410554"/>
              <a:gd name="connsiteY173" fmla="*/ 6857999 h 6858000"/>
              <a:gd name="connsiteX174" fmla="*/ 1551508 w 5410554"/>
              <a:gd name="connsiteY174" fmla="*/ 6857999 h 6858000"/>
              <a:gd name="connsiteX175" fmla="*/ 1551508 w 5410554"/>
              <a:gd name="connsiteY175" fmla="*/ 6854025 h 6858000"/>
              <a:gd name="connsiteX176" fmla="*/ 1472788 w 5410554"/>
              <a:gd name="connsiteY176" fmla="*/ 6849979 h 6858000"/>
              <a:gd name="connsiteX177" fmla="*/ 1468012 w 5410554"/>
              <a:gd name="connsiteY177" fmla="*/ 6849239 h 6858000"/>
              <a:gd name="connsiteX178" fmla="*/ 1461648 w 5410554"/>
              <a:gd name="connsiteY178" fmla="*/ 6848892 h 6858000"/>
              <a:gd name="connsiteX179" fmla="*/ 1181564 w 5410554"/>
              <a:gd name="connsiteY179" fmla="*/ 6790692 h 6858000"/>
              <a:gd name="connsiteX180" fmla="*/ 1174972 w 5410554"/>
              <a:gd name="connsiteY180" fmla="*/ 6788314 h 6858000"/>
              <a:gd name="connsiteX181" fmla="*/ 1173836 w 5410554"/>
              <a:gd name="connsiteY181" fmla="*/ 6788017 h 6858000"/>
              <a:gd name="connsiteX182" fmla="*/ 1162534 w 5410554"/>
              <a:gd name="connsiteY182" fmla="*/ 6783825 h 6858000"/>
              <a:gd name="connsiteX183" fmla="*/ 1048472 w 5410554"/>
              <a:gd name="connsiteY183" fmla="*/ 6742670 h 6858000"/>
              <a:gd name="connsiteX184" fmla="*/ 1036764 w 5410554"/>
              <a:gd name="connsiteY184" fmla="*/ 6737186 h 6858000"/>
              <a:gd name="connsiteX185" fmla="*/ 1032316 w 5410554"/>
              <a:gd name="connsiteY185" fmla="*/ 6735535 h 6858000"/>
              <a:gd name="connsiteX186" fmla="*/ 1008260 w 5410554"/>
              <a:gd name="connsiteY186" fmla="*/ 6723832 h 6858000"/>
              <a:gd name="connsiteX187" fmla="*/ 920756 w 5410554"/>
              <a:gd name="connsiteY187" fmla="*/ 6682839 h 6858000"/>
              <a:gd name="connsiteX188" fmla="*/ 904424 w 5410554"/>
              <a:gd name="connsiteY188" fmla="*/ 6673313 h 6858000"/>
              <a:gd name="connsiteX189" fmla="*/ 896992 w 5410554"/>
              <a:gd name="connsiteY189" fmla="*/ 6669695 h 6858000"/>
              <a:gd name="connsiteX190" fmla="*/ 870892 w 5410554"/>
              <a:gd name="connsiteY190" fmla="*/ 6653750 h 6858000"/>
              <a:gd name="connsiteX191" fmla="*/ 798968 w 5410554"/>
              <a:gd name="connsiteY191" fmla="*/ 6611797 h 6858000"/>
              <a:gd name="connsiteX192" fmla="*/ 778586 w 5410554"/>
              <a:gd name="connsiteY192" fmla="*/ 6597363 h 6858000"/>
              <a:gd name="connsiteX193" fmla="*/ 768544 w 5410554"/>
              <a:gd name="connsiteY193" fmla="*/ 6591229 h 6858000"/>
              <a:gd name="connsiteX194" fmla="*/ 743688 w 5410554"/>
              <a:gd name="connsiteY194" fmla="*/ 6572653 h 6858000"/>
              <a:gd name="connsiteX195" fmla="*/ 683668 w 5410554"/>
              <a:gd name="connsiteY195" fmla="*/ 6530149 h 6858000"/>
              <a:gd name="connsiteX196" fmla="*/ 659882 w 5410554"/>
              <a:gd name="connsiteY196" fmla="*/ 6510014 h 6858000"/>
              <a:gd name="connsiteX197" fmla="*/ 647642 w 5410554"/>
              <a:gd name="connsiteY197" fmla="*/ 6500867 h 6858000"/>
              <a:gd name="connsiteX198" fmla="*/ 625352 w 5410554"/>
              <a:gd name="connsiteY198" fmla="*/ 6480784 h 6858000"/>
              <a:gd name="connsiteX199" fmla="*/ 575400 w 5410554"/>
              <a:gd name="connsiteY199" fmla="*/ 6438495 h 6858000"/>
              <a:gd name="connsiteX200" fmla="*/ 548942 w 5410554"/>
              <a:gd name="connsiteY200" fmla="*/ 6411937 h 6858000"/>
              <a:gd name="connsiteX201" fmla="*/ 534962 w 5410554"/>
              <a:gd name="connsiteY201" fmla="*/ 6399339 h 6858000"/>
              <a:gd name="connsiteX202" fmla="*/ 515784 w 5410554"/>
              <a:gd name="connsiteY202" fmla="*/ 6378653 h 6858000"/>
              <a:gd name="connsiteX203" fmla="*/ 474730 w 5410554"/>
              <a:gd name="connsiteY203" fmla="*/ 6337442 h 6858000"/>
              <a:gd name="connsiteX204" fmla="*/ 446392 w 5410554"/>
              <a:gd name="connsiteY204" fmla="*/ 6303796 h 6858000"/>
              <a:gd name="connsiteX205" fmla="*/ 431176 w 5410554"/>
              <a:gd name="connsiteY205" fmla="*/ 6287381 h 6858000"/>
              <a:gd name="connsiteX206" fmla="*/ 415282 w 5410554"/>
              <a:gd name="connsiteY206" fmla="*/ 6266857 h 6858000"/>
              <a:gd name="connsiteX207" fmla="*/ 382208 w 5410554"/>
              <a:gd name="connsiteY207" fmla="*/ 6227587 h 6858000"/>
              <a:gd name="connsiteX208" fmla="*/ 352856 w 5410554"/>
              <a:gd name="connsiteY208" fmla="*/ 6186245 h 6858000"/>
              <a:gd name="connsiteX209" fmla="*/ 336960 w 5410554"/>
              <a:gd name="connsiteY209" fmla="*/ 6165720 h 6858000"/>
              <a:gd name="connsiteX210" fmla="*/ 324308 w 5410554"/>
              <a:gd name="connsiteY210" fmla="*/ 6146039 h 6858000"/>
              <a:gd name="connsiteX211" fmla="*/ 298390 w 5410554"/>
              <a:gd name="connsiteY211" fmla="*/ 6109535 h 6858000"/>
              <a:gd name="connsiteX212" fmla="*/ 268948 w 5410554"/>
              <a:gd name="connsiteY212" fmla="*/ 6059915 h 6858000"/>
              <a:gd name="connsiteX213" fmla="*/ 252986 w 5410554"/>
              <a:gd name="connsiteY213" fmla="*/ 6035087 h 6858000"/>
              <a:gd name="connsiteX214" fmla="*/ 243396 w 5410554"/>
              <a:gd name="connsiteY214" fmla="*/ 6016858 h 6858000"/>
              <a:gd name="connsiteX215" fmla="*/ 223832 w 5410554"/>
              <a:gd name="connsiteY215" fmla="*/ 5983884 h 6858000"/>
              <a:gd name="connsiteX216" fmla="*/ 195280 w 5410554"/>
              <a:gd name="connsiteY216" fmla="*/ 5925391 h 6858000"/>
              <a:gd name="connsiteX217" fmla="*/ 179930 w 5410554"/>
              <a:gd name="connsiteY217" fmla="*/ 5896215 h 6858000"/>
              <a:gd name="connsiteX218" fmla="*/ 173114 w 5410554"/>
              <a:gd name="connsiteY218" fmla="*/ 5879984 h 6858000"/>
              <a:gd name="connsiteX219" fmla="*/ 159084 w 5410554"/>
              <a:gd name="connsiteY219" fmla="*/ 5851242 h 6858000"/>
              <a:gd name="connsiteX220" fmla="*/ 132456 w 5410554"/>
              <a:gd name="connsiteY220" fmla="*/ 5783157 h 6858000"/>
              <a:gd name="connsiteX221" fmla="*/ 118464 w 5410554"/>
              <a:gd name="connsiteY221" fmla="*/ 5749835 h 6858000"/>
              <a:gd name="connsiteX222" fmla="*/ 114052 w 5410554"/>
              <a:gd name="connsiteY222" fmla="*/ 5736099 h 6858000"/>
              <a:gd name="connsiteX223" fmla="*/ 104706 w 5410554"/>
              <a:gd name="connsiteY223" fmla="*/ 5712207 h 6858000"/>
              <a:gd name="connsiteX224" fmla="*/ 81084 w 5410554"/>
              <a:gd name="connsiteY224" fmla="*/ 5633480 h 6858000"/>
              <a:gd name="connsiteX225" fmla="*/ 69262 w 5410554"/>
              <a:gd name="connsiteY225" fmla="*/ 5596679 h 6858000"/>
              <a:gd name="connsiteX226" fmla="*/ 66804 w 5410554"/>
              <a:gd name="connsiteY226" fmla="*/ 5585881 h 6858000"/>
              <a:gd name="connsiteX227" fmla="*/ 61252 w 5410554"/>
              <a:gd name="connsiteY227" fmla="*/ 5567383 h 6858000"/>
              <a:gd name="connsiteX228" fmla="*/ 41760 w 5410554"/>
              <a:gd name="connsiteY228" fmla="*/ 5475944 h 6858000"/>
              <a:gd name="connsiteX229" fmla="*/ 32996 w 5410554"/>
              <a:gd name="connsiteY229" fmla="*/ 5437475 h 6858000"/>
              <a:gd name="connsiteX230" fmla="*/ 31972 w 5410554"/>
              <a:gd name="connsiteY230" fmla="*/ 5430024 h 6858000"/>
              <a:gd name="connsiteX231" fmla="*/ 29276 w 5410554"/>
              <a:gd name="connsiteY231" fmla="*/ 5417372 h 6858000"/>
              <a:gd name="connsiteX232" fmla="*/ 15084 w 5410554"/>
              <a:gd name="connsiteY232" fmla="*/ 5307371 h 6858000"/>
              <a:gd name="connsiteX233" fmla="*/ 10346 w 5410554"/>
              <a:gd name="connsiteY233" fmla="*/ 5272959 h 6858000"/>
              <a:gd name="connsiteX234" fmla="*/ 10178 w 5410554"/>
              <a:gd name="connsiteY234" fmla="*/ 5269337 h 6858000"/>
              <a:gd name="connsiteX235" fmla="*/ 9330 w 5410554"/>
              <a:gd name="connsiteY235" fmla="*/ 5262777 h 6858000"/>
              <a:gd name="connsiteX236" fmla="*/ 6004 w 5410554"/>
              <a:gd name="connsiteY236" fmla="*/ 5186483 h 6858000"/>
              <a:gd name="connsiteX237" fmla="*/ 1944 w 5410554"/>
              <a:gd name="connsiteY237" fmla="*/ 5186483 h 6858000"/>
              <a:gd name="connsiteX238" fmla="*/ 1944 w 5410554"/>
              <a:gd name="connsiteY238" fmla="*/ 5116140 h 6858000"/>
              <a:gd name="connsiteX239" fmla="*/ 1944 w 5410554"/>
              <a:gd name="connsiteY239" fmla="*/ 5093499 h 6858000"/>
              <a:gd name="connsiteX240" fmla="*/ 1944 w 5410554"/>
              <a:gd name="connsiteY240" fmla="*/ 5092971 h 6858000"/>
              <a:gd name="connsiteX241" fmla="*/ 0 w 5410554"/>
              <a:gd name="connsiteY241" fmla="*/ 5092971 h 6858000"/>
              <a:gd name="connsiteX242" fmla="*/ 0 w 5410554"/>
              <a:gd name="connsiteY242" fmla="*/ 4755011 h 6858000"/>
              <a:gd name="connsiteX243" fmla="*/ 0 w 5410554"/>
              <a:gd name="connsiteY243" fmla="*/ 4047423 h 6858000"/>
              <a:gd name="connsiteX244" fmla="*/ 0 w 5410554"/>
              <a:gd name="connsiteY244" fmla="*/ 3709464 h 6858000"/>
              <a:gd name="connsiteX245" fmla="*/ 0 w 5410554"/>
              <a:gd name="connsiteY245" fmla="*/ 3615954 h 6858000"/>
              <a:gd name="connsiteX246" fmla="*/ 1926 w 5410554"/>
              <a:gd name="connsiteY246" fmla="*/ 3615954 h 6858000"/>
              <a:gd name="connsiteX247" fmla="*/ 1926 w 5410554"/>
              <a:gd name="connsiteY247" fmla="*/ 3603350 h 6858000"/>
              <a:gd name="connsiteX248" fmla="*/ 0 w 5410554"/>
              <a:gd name="connsiteY248" fmla="*/ 360335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5410554" h="6858000">
                <a:moveTo>
                  <a:pt x="0" y="0"/>
                </a:moveTo>
                <a:lnTo>
                  <a:pt x="1627874" y="0"/>
                </a:lnTo>
                <a:lnTo>
                  <a:pt x="2168930" y="0"/>
                </a:lnTo>
                <a:lnTo>
                  <a:pt x="3241610" y="0"/>
                </a:lnTo>
                <a:lnTo>
                  <a:pt x="3782664" y="0"/>
                </a:lnTo>
                <a:lnTo>
                  <a:pt x="3825752" y="0"/>
                </a:lnTo>
                <a:lnTo>
                  <a:pt x="3825752" y="1"/>
                </a:lnTo>
                <a:lnTo>
                  <a:pt x="3859052" y="1"/>
                </a:lnTo>
                <a:lnTo>
                  <a:pt x="3859052" y="3976"/>
                </a:lnTo>
                <a:lnTo>
                  <a:pt x="3937768" y="8022"/>
                </a:lnTo>
                <a:lnTo>
                  <a:pt x="3942544" y="8764"/>
                </a:lnTo>
                <a:lnTo>
                  <a:pt x="3948908" y="9111"/>
                </a:lnTo>
                <a:cubicBezTo>
                  <a:pt x="4044990" y="19700"/>
                  <a:pt x="4138598" y="39368"/>
                  <a:pt x="4228992" y="67312"/>
                </a:cubicBezTo>
                <a:lnTo>
                  <a:pt x="4235584" y="69688"/>
                </a:lnTo>
                <a:lnTo>
                  <a:pt x="4236718" y="69985"/>
                </a:lnTo>
                <a:lnTo>
                  <a:pt x="4248024" y="74178"/>
                </a:lnTo>
                <a:lnTo>
                  <a:pt x="4362084" y="115332"/>
                </a:lnTo>
                <a:lnTo>
                  <a:pt x="4373792" y="120816"/>
                </a:lnTo>
                <a:lnTo>
                  <a:pt x="4378240" y="122467"/>
                </a:lnTo>
                <a:lnTo>
                  <a:pt x="4402296" y="134171"/>
                </a:lnTo>
                <a:lnTo>
                  <a:pt x="4489800" y="175163"/>
                </a:lnTo>
                <a:lnTo>
                  <a:pt x="4506132" y="184690"/>
                </a:lnTo>
                <a:lnTo>
                  <a:pt x="4513564" y="188306"/>
                </a:lnTo>
                <a:lnTo>
                  <a:pt x="4539666" y="204251"/>
                </a:lnTo>
                <a:lnTo>
                  <a:pt x="4611588" y="246206"/>
                </a:lnTo>
                <a:lnTo>
                  <a:pt x="4631970" y="260639"/>
                </a:lnTo>
                <a:lnTo>
                  <a:pt x="4642016" y="266773"/>
                </a:lnTo>
                <a:lnTo>
                  <a:pt x="4666866" y="285348"/>
                </a:lnTo>
                <a:lnTo>
                  <a:pt x="4726892" y="327853"/>
                </a:lnTo>
                <a:lnTo>
                  <a:pt x="4750676" y="347987"/>
                </a:lnTo>
                <a:lnTo>
                  <a:pt x="4762916" y="357135"/>
                </a:lnTo>
                <a:lnTo>
                  <a:pt x="4785204" y="377217"/>
                </a:lnTo>
                <a:lnTo>
                  <a:pt x="4835156" y="419505"/>
                </a:lnTo>
                <a:lnTo>
                  <a:pt x="4861616" y="446067"/>
                </a:lnTo>
                <a:lnTo>
                  <a:pt x="4875594" y="458661"/>
                </a:lnTo>
                <a:lnTo>
                  <a:pt x="4894772" y="479349"/>
                </a:lnTo>
                <a:lnTo>
                  <a:pt x="4935828" y="520560"/>
                </a:lnTo>
                <a:lnTo>
                  <a:pt x="4964164" y="554208"/>
                </a:lnTo>
                <a:lnTo>
                  <a:pt x="4979380" y="570622"/>
                </a:lnTo>
                <a:lnTo>
                  <a:pt x="4995274" y="591145"/>
                </a:lnTo>
                <a:lnTo>
                  <a:pt x="5028348" y="630415"/>
                </a:lnTo>
                <a:lnTo>
                  <a:pt x="5057702" y="671758"/>
                </a:lnTo>
                <a:lnTo>
                  <a:pt x="5073596" y="692284"/>
                </a:lnTo>
                <a:lnTo>
                  <a:pt x="5086248" y="711964"/>
                </a:lnTo>
                <a:lnTo>
                  <a:pt x="5112166" y="748469"/>
                </a:lnTo>
                <a:lnTo>
                  <a:pt x="5141608" y="798086"/>
                </a:lnTo>
                <a:lnTo>
                  <a:pt x="5157568" y="822915"/>
                </a:lnTo>
                <a:lnTo>
                  <a:pt x="5167160" y="841145"/>
                </a:lnTo>
                <a:lnTo>
                  <a:pt x="5186728" y="874117"/>
                </a:lnTo>
                <a:lnTo>
                  <a:pt x="5215276" y="932612"/>
                </a:lnTo>
                <a:lnTo>
                  <a:pt x="5230628" y="961788"/>
                </a:lnTo>
                <a:lnTo>
                  <a:pt x="5237440" y="978019"/>
                </a:lnTo>
                <a:lnTo>
                  <a:pt x="5251472" y="1006759"/>
                </a:lnTo>
                <a:lnTo>
                  <a:pt x="5278100" y="1074845"/>
                </a:lnTo>
                <a:lnTo>
                  <a:pt x="5292092" y="1108170"/>
                </a:lnTo>
                <a:lnTo>
                  <a:pt x="5296508" y="1121904"/>
                </a:lnTo>
                <a:lnTo>
                  <a:pt x="5305850" y="1145796"/>
                </a:lnTo>
                <a:lnTo>
                  <a:pt x="5329474" y="1224524"/>
                </a:lnTo>
                <a:lnTo>
                  <a:pt x="5341296" y="1261324"/>
                </a:lnTo>
                <a:lnTo>
                  <a:pt x="5343756" y="1272119"/>
                </a:lnTo>
                <a:lnTo>
                  <a:pt x="5349304" y="1290618"/>
                </a:lnTo>
                <a:lnTo>
                  <a:pt x="5368796" y="1382061"/>
                </a:lnTo>
                <a:lnTo>
                  <a:pt x="5377560" y="1420528"/>
                </a:lnTo>
                <a:lnTo>
                  <a:pt x="5378584" y="1427980"/>
                </a:lnTo>
                <a:lnTo>
                  <a:pt x="5381282" y="1440629"/>
                </a:lnTo>
                <a:lnTo>
                  <a:pt x="5395472" y="1550634"/>
                </a:lnTo>
                <a:lnTo>
                  <a:pt x="5400212" y="1585042"/>
                </a:lnTo>
                <a:lnTo>
                  <a:pt x="5400380" y="1588666"/>
                </a:lnTo>
                <a:lnTo>
                  <a:pt x="5401224" y="1595226"/>
                </a:lnTo>
                <a:lnTo>
                  <a:pt x="5404556" y="1671522"/>
                </a:lnTo>
                <a:lnTo>
                  <a:pt x="5408612" y="1671522"/>
                </a:lnTo>
                <a:lnTo>
                  <a:pt x="5408612" y="1741862"/>
                </a:lnTo>
                <a:lnTo>
                  <a:pt x="5408612" y="1764504"/>
                </a:lnTo>
                <a:lnTo>
                  <a:pt x="5408612" y="1765033"/>
                </a:lnTo>
                <a:lnTo>
                  <a:pt x="5410554" y="1765033"/>
                </a:lnTo>
                <a:lnTo>
                  <a:pt x="5410554" y="1944433"/>
                </a:lnTo>
                <a:lnTo>
                  <a:pt x="3825752" y="1944433"/>
                </a:lnTo>
                <a:lnTo>
                  <a:pt x="3825752" y="1944434"/>
                </a:lnTo>
                <a:lnTo>
                  <a:pt x="3859050" y="1944434"/>
                </a:lnTo>
                <a:lnTo>
                  <a:pt x="3859050" y="1948409"/>
                </a:lnTo>
                <a:lnTo>
                  <a:pt x="3937768" y="1952454"/>
                </a:lnTo>
                <a:lnTo>
                  <a:pt x="3942544" y="1953195"/>
                </a:lnTo>
                <a:lnTo>
                  <a:pt x="3948908" y="1953545"/>
                </a:lnTo>
                <a:cubicBezTo>
                  <a:pt x="4044988" y="1964132"/>
                  <a:pt x="4138598" y="1983799"/>
                  <a:pt x="4228992" y="2011744"/>
                </a:cubicBezTo>
                <a:lnTo>
                  <a:pt x="4235582" y="2014120"/>
                </a:lnTo>
                <a:lnTo>
                  <a:pt x="4236718" y="2014418"/>
                </a:lnTo>
                <a:lnTo>
                  <a:pt x="4248024" y="2018611"/>
                </a:lnTo>
                <a:lnTo>
                  <a:pt x="4362084" y="2059764"/>
                </a:lnTo>
                <a:lnTo>
                  <a:pt x="4373792" y="2065249"/>
                </a:lnTo>
                <a:lnTo>
                  <a:pt x="4378240" y="2066899"/>
                </a:lnTo>
                <a:lnTo>
                  <a:pt x="4402294" y="2078604"/>
                </a:lnTo>
                <a:lnTo>
                  <a:pt x="4489800" y="2119596"/>
                </a:lnTo>
                <a:lnTo>
                  <a:pt x="4506132" y="2129123"/>
                </a:lnTo>
                <a:lnTo>
                  <a:pt x="4513564" y="2132739"/>
                </a:lnTo>
                <a:lnTo>
                  <a:pt x="4539664" y="2148684"/>
                </a:lnTo>
                <a:lnTo>
                  <a:pt x="4611588" y="2190639"/>
                </a:lnTo>
                <a:lnTo>
                  <a:pt x="4631970" y="2205072"/>
                </a:lnTo>
                <a:lnTo>
                  <a:pt x="4642012" y="2211205"/>
                </a:lnTo>
                <a:lnTo>
                  <a:pt x="4666866" y="2229781"/>
                </a:lnTo>
                <a:lnTo>
                  <a:pt x="4726888" y="2272285"/>
                </a:lnTo>
                <a:lnTo>
                  <a:pt x="4750676" y="2292420"/>
                </a:lnTo>
                <a:lnTo>
                  <a:pt x="4762912" y="2301568"/>
                </a:lnTo>
                <a:lnTo>
                  <a:pt x="4785202" y="2321651"/>
                </a:lnTo>
                <a:lnTo>
                  <a:pt x="4835156" y="2363938"/>
                </a:lnTo>
                <a:lnTo>
                  <a:pt x="4861614" y="2390499"/>
                </a:lnTo>
                <a:lnTo>
                  <a:pt x="4875594" y="2403094"/>
                </a:lnTo>
                <a:lnTo>
                  <a:pt x="4894770" y="2423782"/>
                </a:lnTo>
                <a:lnTo>
                  <a:pt x="4935824" y="2464992"/>
                </a:lnTo>
                <a:lnTo>
                  <a:pt x="4964164" y="2498639"/>
                </a:lnTo>
                <a:lnTo>
                  <a:pt x="4979380" y="2515055"/>
                </a:lnTo>
                <a:lnTo>
                  <a:pt x="4995274" y="2535578"/>
                </a:lnTo>
                <a:lnTo>
                  <a:pt x="5028344" y="2574846"/>
                </a:lnTo>
                <a:lnTo>
                  <a:pt x="5057700" y="2616189"/>
                </a:lnTo>
                <a:lnTo>
                  <a:pt x="5073596" y="2636717"/>
                </a:lnTo>
                <a:lnTo>
                  <a:pt x="5086244" y="2656395"/>
                </a:lnTo>
                <a:lnTo>
                  <a:pt x="5112164" y="2692902"/>
                </a:lnTo>
                <a:lnTo>
                  <a:pt x="5141608" y="2742519"/>
                </a:lnTo>
                <a:lnTo>
                  <a:pt x="5157568" y="2767348"/>
                </a:lnTo>
                <a:lnTo>
                  <a:pt x="5167160" y="2785577"/>
                </a:lnTo>
                <a:lnTo>
                  <a:pt x="5186724" y="2818550"/>
                </a:lnTo>
                <a:lnTo>
                  <a:pt x="5215276" y="2877044"/>
                </a:lnTo>
                <a:lnTo>
                  <a:pt x="5230624" y="2906220"/>
                </a:lnTo>
                <a:lnTo>
                  <a:pt x="5237440" y="2922452"/>
                </a:lnTo>
                <a:lnTo>
                  <a:pt x="5251472" y="2951192"/>
                </a:lnTo>
                <a:lnTo>
                  <a:pt x="5278100" y="3019278"/>
                </a:lnTo>
                <a:lnTo>
                  <a:pt x="5292092" y="3052600"/>
                </a:lnTo>
                <a:lnTo>
                  <a:pt x="5296504" y="3066337"/>
                </a:lnTo>
                <a:lnTo>
                  <a:pt x="5305850" y="3090227"/>
                </a:lnTo>
                <a:lnTo>
                  <a:pt x="5329472" y="3168956"/>
                </a:lnTo>
                <a:lnTo>
                  <a:pt x="5341294" y="3205756"/>
                </a:lnTo>
                <a:lnTo>
                  <a:pt x="5343752" y="3216552"/>
                </a:lnTo>
                <a:lnTo>
                  <a:pt x="5349304" y="3235051"/>
                </a:lnTo>
                <a:lnTo>
                  <a:pt x="5368796" y="3326492"/>
                </a:lnTo>
                <a:lnTo>
                  <a:pt x="5377558" y="3364959"/>
                </a:lnTo>
                <a:lnTo>
                  <a:pt x="5378584" y="3372411"/>
                </a:lnTo>
                <a:lnTo>
                  <a:pt x="5381282" y="3385062"/>
                </a:lnTo>
                <a:lnTo>
                  <a:pt x="5395472" y="3495066"/>
                </a:lnTo>
                <a:lnTo>
                  <a:pt x="5400212" y="3529474"/>
                </a:lnTo>
                <a:lnTo>
                  <a:pt x="5400378" y="3533097"/>
                </a:lnTo>
                <a:lnTo>
                  <a:pt x="5401224" y="3539659"/>
                </a:lnTo>
                <a:lnTo>
                  <a:pt x="5404556" y="3615954"/>
                </a:lnTo>
                <a:lnTo>
                  <a:pt x="5408612" y="3615954"/>
                </a:lnTo>
                <a:lnTo>
                  <a:pt x="5408612" y="3686294"/>
                </a:lnTo>
                <a:lnTo>
                  <a:pt x="5408612" y="3708935"/>
                </a:lnTo>
                <a:lnTo>
                  <a:pt x="5408612" y="3709464"/>
                </a:lnTo>
                <a:lnTo>
                  <a:pt x="5410552" y="3709464"/>
                </a:lnTo>
                <a:lnTo>
                  <a:pt x="5410552" y="4047423"/>
                </a:lnTo>
                <a:lnTo>
                  <a:pt x="5410552" y="4755011"/>
                </a:lnTo>
                <a:lnTo>
                  <a:pt x="5410552" y="5092971"/>
                </a:lnTo>
                <a:lnTo>
                  <a:pt x="5410552" y="5186483"/>
                </a:lnTo>
                <a:lnTo>
                  <a:pt x="5408630" y="5186483"/>
                </a:lnTo>
                <a:lnTo>
                  <a:pt x="5408630" y="6857999"/>
                </a:lnTo>
                <a:lnTo>
                  <a:pt x="4867572" y="6857999"/>
                </a:lnTo>
                <a:lnTo>
                  <a:pt x="3794896" y="6857999"/>
                </a:lnTo>
                <a:lnTo>
                  <a:pt x="3783656" y="6857999"/>
                </a:lnTo>
                <a:lnTo>
                  <a:pt x="3782700" y="6857999"/>
                </a:lnTo>
                <a:lnTo>
                  <a:pt x="3782684" y="6858000"/>
                </a:lnTo>
                <a:lnTo>
                  <a:pt x="3782668" y="6857999"/>
                </a:lnTo>
                <a:lnTo>
                  <a:pt x="3706296" y="6857999"/>
                </a:lnTo>
                <a:lnTo>
                  <a:pt x="3253838" y="6857999"/>
                </a:lnTo>
                <a:lnTo>
                  <a:pt x="3242600" y="6857999"/>
                </a:lnTo>
                <a:lnTo>
                  <a:pt x="3241642" y="6857999"/>
                </a:lnTo>
                <a:lnTo>
                  <a:pt x="3241628" y="6858000"/>
                </a:lnTo>
                <a:lnTo>
                  <a:pt x="3241610" y="6857999"/>
                </a:lnTo>
                <a:lnTo>
                  <a:pt x="3165240" y="6857999"/>
                </a:lnTo>
                <a:lnTo>
                  <a:pt x="2169924" y="6857999"/>
                </a:lnTo>
                <a:lnTo>
                  <a:pt x="2168964" y="6857999"/>
                </a:lnTo>
                <a:lnTo>
                  <a:pt x="2168948" y="6858000"/>
                </a:lnTo>
                <a:lnTo>
                  <a:pt x="2168932" y="6857999"/>
                </a:lnTo>
                <a:lnTo>
                  <a:pt x="2092562" y="6857999"/>
                </a:lnTo>
                <a:lnTo>
                  <a:pt x="1628866" y="6857999"/>
                </a:lnTo>
                <a:lnTo>
                  <a:pt x="1627908" y="6857999"/>
                </a:lnTo>
                <a:lnTo>
                  <a:pt x="1627892" y="6858000"/>
                </a:lnTo>
                <a:lnTo>
                  <a:pt x="1627876" y="6857999"/>
                </a:lnTo>
                <a:lnTo>
                  <a:pt x="1551508" y="6857999"/>
                </a:lnTo>
                <a:lnTo>
                  <a:pt x="1551508" y="6854025"/>
                </a:lnTo>
                <a:lnTo>
                  <a:pt x="1472788" y="6849979"/>
                </a:lnTo>
                <a:lnTo>
                  <a:pt x="1468012" y="6849239"/>
                </a:lnTo>
                <a:lnTo>
                  <a:pt x="1461648" y="6848892"/>
                </a:lnTo>
                <a:cubicBezTo>
                  <a:pt x="1365568" y="6838301"/>
                  <a:pt x="1271960" y="6818634"/>
                  <a:pt x="1181564" y="6790692"/>
                </a:cubicBezTo>
                <a:lnTo>
                  <a:pt x="1174972" y="6788314"/>
                </a:lnTo>
                <a:lnTo>
                  <a:pt x="1173836" y="6788017"/>
                </a:lnTo>
                <a:lnTo>
                  <a:pt x="1162534" y="6783825"/>
                </a:lnTo>
                <a:lnTo>
                  <a:pt x="1048472" y="6742670"/>
                </a:lnTo>
                <a:lnTo>
                  <a:pt x="1036764" y="6737186"/>
                </a:lnTo>
                <a:lnTo>
                  <a:pt x="1032316" y="6735535"/>
                </a:lnTo>
                <a:lnTo>
                  <a:pt x="1008260" y="6723832"/>
                </a:lnTo>
                <a:lnTo>
                  <a:pt x="920756" y="6682839"/>
                </a:lnTo>
                <a:lnTo>
                  <a:pt x="904424" y="6673313"/>
                </a:lnTo>
                <a:lnTo>
                  <a:pt x="896992" y="6669695"/>
                </a:lnTo>
                <a:lnTo>
                  <a:pt x="870892" y="6653750"/>
                </a:lnTo>
                <a:lnTo>
                  <a:pt x="798968" y="6611797"/>
                </a:lnTo>
                <a:lnTo>
                  <a:pt x="778586" y="6597363"/>
                </a:lnTo>
                <a:lnTo>
                  <a:pt x="768544" y="6591229"/>
                </a:lnTo>
                <a:lnTo>
                  <a:pt x="743688" y="6572653"/>
                </a:lnTo>
                <a:lnTo>
                  <a:pt x="683668" y="6530149"/>
                </a:lnTo>
                <a:lnTo>
                  <a:pt x="659882" y="6510014"/>
                </a:lnTo>
                <a:lnTo>
                  <a:pt x="647642" y="6500867"/>
                </a:lnTo>
                <a:lnTo>
                  <a:pt x="625352" y="6480784"/>
                </a:lnTo>
                <a:lnTo>
                  <a:pt x="575400" y="6438495"/>
                </a:lnTo>
                <a:lnTo>
                  <a:pt x="548942" y="6411937"/>
                </a:lnTo>
                <a:lnTo>
                  <a:pt x="534962" y="6399339"/>
                </a:lnTo>
                <a:lnTo>
                  <a:pt x="515784" y="6378653"/>
                </a:lnTo>
                <a:lnTo>
                  <a:pt x="474730" y="6337442"/>
                </a:lnTo>
                <a:lnTo>
                  <a:pt x="446392" y="6303796"/>
                </a:lnTo>
                <a:lnTo>
                  <a:pt x="431176" y="6287381"/>
                </a:lnTo>
                <a:lnTo>
                  <a:pt x="415282" y="6266857"/>
                </a:lnTo>
                <a:lnTo>
                  <a:pt x="382208" y="6227587"/>
                </a:lnTo>
                <a:lnTo>
                  <a:pt x="352856" y="6186245"/>
                </a:lnTo>
                <a:lnTo>
                  <a:pt x="336960" y="6165720"/>
                </a:lnTo>
                <a:lnTo>
                  <a:pt x="324308" y="6146039"/>
                </a:lnTo>
                <a:lnTo>
                  <a:pt x="298390" y="6109535"/>
                </a:lnTo>
                <a:lnTo>
                  <a:pt x="268948" y="6059915"/>
                </a:lnTo>
                <a:lnTo>
                  <a:pt x="252986" y="6035087"/>
                </a:lnTo>
                <a:lnTo>
                  <a:pt x="243396" y="6016858"/>
                </a:lnTo>
                <a:lnTo>
                  <a:pt x="223832" y="5983884"/>
                </a:lnTo>
                <a:lnTo>
                  <a:pt x="195280" y="5925391"/>
                </a:lnTo>
                <a:lnTo>
                  <a:pt x="179930" y="5896215"/>
                </a:lnTo>
                <a:lnTo>
                  <a:pt x="173114" y="5879984"/>
                </a:lnTo>
                <a:lnTo>
                  <a:pt x="159084" y="5851242"/>
                </a:lnTo>
                <a:lnTo>
                  <a:pt x="132456" y="5783157"/>
                </a:lnTo>
                <a:lnTo>
                  <a:pt x="118464" y="5749835"/>
                </a:lnTo>
                <a:lnTo>
                  <a:pt x="114052" y="5736099"/>
                </a:lnTo>
                <a:lnTo>
                  <a:pt x="104706" y="5712207"/>
                </a:lnTo>
                <a:lnTo>
                  <a:pt x="81084" y="5633480"/>
                </a:lnTo>
                <a:lnTo>
                  <a:pt x="69262" y="5596679"/>
                </a:lnTo>
                <a:lnTo>
                  <a:pt x="66804" y="5585881"/>
                </a:lnTo>
                <a:lnTo>
                  <a:pt x="61252" y="5567383"/>
                </a:lnTo>
                <a:lnTo>
                  <a:pt x="41760" y="5475944"/>
                </a:lnTo>
                <a:lnTo>
                  <a:pt x="32996" y="5437475"/>
                </a:lnTo>
                <a:lnTo>
                  <a:pt x="31972" y="5430024"/>
                </a:lnTo>
                <a:lnTo>
                  <a:pt x="29276" y="5417372"/>
                </a:lnTo>
                <a:lnTo>
                  <a:pt x="15084" y="5307371"/>
                </a:lnTo>
                <a:lnTo>
                  <a:pt x="10346" y="5272959"/>
                </a:lnTo>
                <a:lnTo>
                  <a:pt x="10178" y="5269337"/>
                </a:lnTo>
                <a:lnTo>
                  <a:pt x="9330" y="5262777"/>
                </a:lnTo>
                <a:lnTo>
                  <a:pt x="6004" y="5186483"/>
                </a:lnTo>
                <a:lnTo>
                  <a:pt x="1944" y="5186483"/>
                </a:lnTo>
                <a:lnTo>
                  <a:pt x="1944" y="5116140"/>
                </a:lnTo>
                <a:lnTo>
                  <a:pt x="1944" y="5093499"/>
                </a:lnTo>
                <a:lnTo>
                  <a:pt x="1944" y="5092971"/>
                </a:lnTo>
                <a:lnTo>
                  <a:pt x="0" y="5092971"/>
                </a:lnTo>
                <a:lnTo>
                  <a:pt x="0" y="4755011"/>
                </a:lnTo>
                <a:lnTo>
                  <a:pt x="0" y="4047423"/>
                </a:lnTo>
                <a:lnTo>
                  <a:pt x="0" y="3709464"/>
                </a:lnTo>
                <a:lnTo>
                  <a:pt x="0" y="3615954"/>
                </a:lnTo>
                <a:lnTo>
                  <a:pt x="1926" y="3615954"/>
                </a:lnTo>
                <a:lnTo>
                  <a:pt x="1926" y="3603350"/>
                </a:lnTo>
                <a:lnTo>
                  <a:pt x="0" y="3603350"/>
                </a:lnTo>
                <a:close/>
              </a:path>
            </a:pathLst>
          </a:custGeom>
          <a:solidFill>
            <a:srgbClr val="1D3166">
              <a:alpha val="29000"/>
            </a:srgb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Freeform: Shape 38">
            <a:extLst>
              <a:ext uri="{FF2B5EF4-FFF2-40B4-BE49-F238E27FC236}">
                <a16:creationId xmlns:a16="http://schemas.microsoft.com/office/drawing/2014/main" id="{B8BD76A3-8D3A-496A-A386-B004213315D9}"/>
              </a:ext>
            </a:extLst>
          </p:cNvPr>
          <p:cNvSpPr/>
          <p:nvPr/>
        </p:nvSpPr>
        <p:spPr>
          <a:xfrm>
            <a:off x="5410554" y="872882"/>
            <a:ext cx="6781446" cy="6350878"/>
          </a:xfrm>
          <a:custGeom>
            <a:avLst/>
            <a:gdLst>
              <a:gd name="connsiteX0" fmla="*/ 1 w 6781449"/>
              <a:gd name="connsiteY0" fmla="*/ 0 h 6858000"/>
              <a:gd name="connsiteX1" fmla="*/ 6781449 w 6781449"/>
              <a:gd name="connsiteY1" fmla="*/ 0 h 6858000"/>
              <a:gd name="connsiteX2" fmla="*/ 6781449 w 6781449"/>
              <a:gd name="connsiteY2" fmla="*/ 6858000 h 6858000"/>
              <a:gd name="connsiteX3" fmla="*/ 2980288 w 6781449"/>
              <a:gd name="connsiteY3" fmla="*/ 6858000 h 6858000"/>
              <a:gd name="connsiteX4" fmla="*/ 2980288 w 6781449"/>
              <a:gd name="connsiteY4" fmla="*/ 6854387 h 6858000"/>
              <a:gd name="connsiteX5" fmla="*/ 2979394 w 6781449"/>
              <a:gd name="connsiteY5" fmla="*/ 6854387 h 6858000"/>
              <a:gd name="connsiteX6" fmla="*/ 2941164 w 6781449"/>
              <a:gd name="connsiteY6" fmla="*/ 6854387 h 6858000"/>
              <a:gd name="connsiteX7" fmla="*/ 2822391 w 6781449"/>
              <a:gd name="connsiteY7" fmla="*/ 6854387 h 6858000"/>
              <a:gd name="connsiteX8" fmla="*/ 2822391 w 6781449"/>
              <a:gd name="connsiteY8" fmla="*/ 6846841 h 6858000"/>
              <a:gd name="connsiteX9" fmla="*/ 2693566 w 6781449"/>
              <a:gd name="connsiteY9" fmla="*/ 6840651 h 6858000"/>
              <a:gd name="connsiteX10" fmla="*/ 2682486 w 6781449"/>
              <a:gd name="connsiteY10" fmla="*/ 6839076 h 6858000"/>
              <a:gd name="connsiteX11" fmla="*/ 2676373 w 6781449"/>
              <a:gd name="connsiteY11" fmla="*/ 6838763 h 6858000"/>
              <a:gd name="connsiteX12" fmla="*/ 2618270 w 6781449"/>
              <a:gd name="connsiteY12" fmla="*/ 6829951 h 6858000"/>
              <a:gd name="connsiteX13" fmla="*/ 2432527 w 6781449"/>
              <a:gd name="connsiteY13" fmla="*/ 6803558 h 6858000"/>
              <a:gd name="connsiteX14" fmla="*/ 2411164 w 6781449"/>
              <a:gd name="connsiteY14" fmla="*/ 6798541 h 6858000"/>
              <a:gd name="connsiteX15" fmla="*/ 2398583 w 6781449"/>
              <a:gd name="connsiteY15" fmla="*/ 6796633 h 6858000"/>
              <a:gd name="connsiteX16" fmla="*/ 2333630 w 6781449"/>
              <a:gd name="connsiteY16" fmla="*/ 6780337 h 6858000"/>
              <a:gd name="connsiteX17" fmla="*/ 2179231 w 6781449"/>
              <a:gd name="connsiteY17" fmla="*/ 6744084 h 6858000"/>
              <a:gd name="connsiteX18" fmla="*/ 2147995 w 6781449"/>
              <a:gd name="connsiteY18" fmla="*/ 6733760 h 6858000"/>
              <a:gd name="connsiteX19" fmla="*/ 2129767 w 6781449"/>
              <a:gd name="connsiteY19" fmla="*/ 6729187 h 6858000"/>
              <a:gd name="connsiteX20" fmla="*/ 2067629 w 6781449"/>
              <a:gd name="connsiteY20" fmla="*/ 6707198 h 6858000"/>
              <a:gd name="connsiteX21" fmla="*/ 1934694 w 6781449"/>
              <a:gd name="connsiteY21" fmla="*/ 6663262 h 6858000"/>
              <a:gd name="connsiteX22" fmla="*/ 1894354 w 6781449"/>
              <a:gd name="connsiteY22" fmla="*/ 6645884 h 6858000"/>
              <a:gd name="connsiteX23" fmla="*/ 1871160 w 6781449"/>
              <a:gd name="connsiteY23" fmla="*/ 6637676 h 6858000"/>
              <a:gd name="connsiteX24" fmla="*/ 1814890 w 6781449"/>
              <a:gd name="connsiteY24" fmla="*/ 6611651 h 6858000"/>
              <a:gd name="connsiteX25" fmla="*/ 1699930 w 6781449"/>
              <a:gd name="connsiteY25" fmla="*/ 6562126 h 6858000"/>
              <a:gd name="connsiteX26" fmla="*/ 1651401 w 6781449"/>
              <a:gd name="connsiteY26" fmla="*/ 6536034 h 6858000"/>
              <a:gd name="connsiteX27" fmla="*/ 1623994 w 6781449"/>
              <a:gd name="connsiteY27" fmla="*/ 6523357 h 6858000"/>
              <a:gd name="connsiteX28" fmla="*/ 1574727 w 6781449"/>
              <a:gd name="connsiteY28" fmla="*/ 6494809 h 6858000"/>
              <a:gd name="connsiteX29" fmla="*/ 1475961 w 6781449"/>
              <a:gd name="connsiteY29" fmla="*/ 6441706 h 6858000"/>
              <a:gd name="connsiteX30" fmla="*/ 1420287 w 6781449"/>
              <a:gd name="connsiteY30" fmla="*/ 6405318 h 6858000"/>
              <a:gd name="connsiteX31" fmla="*/ 1389506 w 6781449"/>
              <a:gd name="connsiteY31" fmla="*/ 6387481 h 6858000"/>
              <a:gd name="connsiteX32" fmla="*/ 1347580 w 6781449"/>
              <a:gd name="connsiteY32" fmla="*/ 6357795 h 6858000"/>
              <a:gd name="connsiteX33" fmla="*/ 1263801 w 6781449"/>
              <a:gd name="connsiteY33" fmla="*/ 6303033 h 6858000"/>
              <a:gd name="connsiteX34" fmla="*/ 1202163 w 6781449"/>
              <a:gd name="connsiteY34" fmla="*/ 6254829 h 6858000"/>
              <a:gd name="connsiteX35" fmla="*/ 1168932 w 6781449"/>
              <a:gd name="connsiteY35" fmla="*/ 6231300 h 6858000"/>
              <a:gd name="connsiteX36" fmla="*/ 1134271 w 6781449"/>
              <a:gd name="connsiteY36" fmla="*/ 6201735 h 6858000"/>
              <a:gd name="connsiteX37" fmla="*/ 1064465 w 6781449"/>
              <a:gd name="connsiteY37" fmla="*/ 6147143 h 6858000"/>
              <a:gd name="connsiteX38" fmla="*/ 998157 w 6781449"/>
              <a:gd name="connsiteY38" fmla="*/ 6085629 h 6858000"/>
              <a:gd name="connsiteX39" fmla="*/ 963503 w 6781449"/>
              <a:gd name="connsiteY39" fmla="*/ 6056070 h 6858000"/>
              <a:gd name="connsiteX40" fmla="*/ 935786 w 6781449"/>
              <a:gd name="connsiteY40" fmla="*/ 6027768 h 6858000"/>
              <a:gd name="connsiteX41" fmla="*/ 878972 w 6781449"/>
              <a:gd name="connsiteY41" fmla="*/ 5975062 h 6858000"/>
              <a:gd name="connsiteX42" fmla="*/ 809388 w 6781449"/>
              <a:gd name="connsiteY42" fmla="*/ 5898707 h 6858000"/>
              <a:gd name="connsiteX43" fmla="*/ 774460 w 6781449"/>
              <a:gd name="connsiteY43" fmla="*/ 5863042 h 6858000"/>
              <a:gd name="connsiteX44" fmla="*/ 753188 w 6781449"/>
              <a:gd name="connsiteY44" fmla="*/ 5837040 h 6858000"/>
              <a:gd name="connsiteX45" fmla="*/ 708340 w 6781449"/>
              <a:gd name="connsiteY45" fmla="*/ 5787828 h 6858000"/>
              <a:gd name="connsiteX46" fmla="*/ 636937 w 6781449"/>
              <a:gd name="connsiteY46" fmla="*/ 5694924 h 6858000"/>
              <a:gd name="connsiteX47" fmla="*/ 603029 w 6781449"/>
              <a:gd name="connsiteY47" fmla="*/ 5653469 h 6858000"/>
              <a:gd name="connsiteX48" fmla="*/ 587581 w 6781449"/>
              <a:gd name="connsiteY48" fmla="*/ 5630705 h 6858000"/>
              <a:gd name="connsiteX49" fmla="*/ 553584 w 6781449"/>
              <a:gd name="connsiteY49" fmla="*/ 5586470 h 6858000"/>
              <a:gd name="connsiteX50" fmla="*/ 481813 w 6781449"/>
              <a:gd name="connsiteY50" fmla="*/ 5474831 h 6858000"/>
              <a:gd name="connsiteX51" fmla="*/ 450449 w 6781449"/>
              <a:gd name="connsiteY51" fmla="*/ 5428608 h 6858000"/>
              <a:gd name="connsiteX52" fmla="*/ 440091 w 6781449"/>
              <a:gd name="connsiteY52" fmla="*/ 5409929 h 6858000"/>
              <a:gd name="connsiteX53" fmla="*/ 415720 w 6781449"/>
              <a:gd name="connsiteY53" fmla="*/ 5372020 h 6858000"/>
              <a:gd name="connsiteX54" fmla="*/ 344879 w 6781449"/>
              <a:gd name="connsiteY54" fmla="*/ 5238249 h 6858000"/>
              <a:gd name="connsiteX55" fmla="*/ 317958 w 6781449"/>
              <a:gd name="connsiteY55" fmla="*/ 5189707 h 6858000"/>
              <a:gd name="connsiteX56" fmla="*/ 311851 w 6781449"/>
              <a:gd name="connsiteY56" fmla="*/ 5175886 h 6858000"/>
              <a:gd name="connsiteX57" fmla="*/ 295767 w 6781449"/>
              <a:gd name="connsiteY57" fmla="*/ 5145510 h 6858000"/>
              <a:gd name="connsiteX58" fmla="*/ 226547 w 6781449"/>
              <a:gd name="connsiteY58" fmla="*/ 4982762 h 6858000"/>
              <a:gd name="connsiteX59" fmla="*/ 206786 w 6781449"/>
              <a:gd name="connsiteY59" fmla="*/ 4938024 h 6858000"/>
              <a:gd name="connsiteX60" fmla="*/ 203998 w 6781449"/>
              <a:gd name="connsiteY60" fmla="*/ 4929748 h 6858000"/>
              <a:gd name="connsiteX61" fmla="*/ 194738 w 6781449"/>
              <a:gd name="connsiteY61" fmla="*/ 4907974 h 6858000"/>
              <a:gd name="connsiteX62" fmla="*/ 125249 w 6781449"/>
              <a:gd name="connsiteY62" fmla="*/ 4695835 h 6858000"/>
              <a:gd name="connsiteX63" fmla="*/ 118169 w 6781449"/>
              <a:gd name="connsiteY63" fmla="*/ 4674809 h 6858000"/>
              <a:gd name="connsiteX64" fmla="*/ 117669 w 6781449"/>
              <a:gd name="connsiteY64" fmla="*/ 4672696 h 6858000"/>
              <a:gd name="connsiteX65" fmla="*/ 113654 w 6781449"/>
              <a:gd name="connsiteY65" fmla="*/ 4660441 h 6858000"/>
              <a:gd name="connsiteX66" fmla="*/ 15383 w 6781449"/>
              <a:gd name="connsiteY66" fmla="*/ 4139516 h 6858000"/>
              <a:gd name="connsiteX67" fmla="*/ 14794 w 6781449"/>
              <a:gd name="connsiteY67" fmla="*/ 4127681 h 6858000"/>
              <a:gd name="connsiteX68" fmla="*/ 13543 w 6781449"/>
              <a:gd name="connsiteY68" fmla="*/ 4118799 h 6858000"/>
              <a:gd name="connsiteX69" fmla="*/ 6713 w 6781449"/>
              <a:gd name="connsiteY69" fmla="*/ 3972392 h 6858000"/>
              <a:gd name="connsiteX70" fmla="*/ 1 w 6781449"/>
              <a:gd name="connsiteY70" fmla="*/ 3972392 h 6858000"/>
              <a:gd name="connsiteX71" fmla="*/ 1 w 6781449"/>
              <a:gd name="connsiteY71" fmla="*/ 3830352 h 6858000"/>
              <a:gd name="connsiteX72" fmla="*/ 0 w 6781449"/>
              <a:gd name="connsiteY72" fmla="*/ 3830324 h 6858000"/>
              <a:gd name="connsiteX73" fmla="*/ 1 w 6781449"/>
              <a:gd name="connsiteY73" fmla="*/ 3830295 h 6858000"/>
              <a:gd name="connsiteX74" fmla="*/ 1 w 6781449"/>
              <a:gd name="connsiteY74" fmla="*/ 3828511 h 6858000"/>
              <a:gd name="connsiteX75" fmla="*/ 1 w 6781449"/>
              <a:gd name="connsiteY75" fmla="*/ 3125260 h 6858000"/>
              <a:gd name="connsiteX76" fmla="*/ 1 w 6781449"/>
              <a:gd name="connsiteY76" fmla="*/ 2983221 h 6858000"/>
              <a:gd name="connsiteX77" fmla="*/ 0 w 6781449"/>
              <a:gd name="connsiteY77" fmla="*/ 2983192 h 6858000"/>
              <a:gd name="connsiteX78" fmla="*/ 1 w 6781449"/>
              <a:gd name="connsiteY78" fmla="*/ 2983164 h 6858000"/>
              <a:gd name="connsiteX79" fmla="*/ 1 w 6781449"/>
              <a:gd name="connsiteY79" fmla="*/ 2981380 h 6858000"/>
              <a:gd name="connsiteX80" fmla="*/ 1 w 6781449"/>
              <a:gd name="connsiteY80" fmla="*/ 806259 h 6858000"/>
              <a:gd name="connsiteX81" fmla="*/ 1 w 6781449"/>
              <a:gd name="connsiteY8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6781449" h="6858000">
                <a:moveTo>
                  <a:pt x="1" y="0"/>
                </a:moveTo>
                <a:lnTo>
                  <a:pt x="6781449" y="0"/>
                </a:lnTo>
                <a:lnTo>
                  <a:pt x="6781449" y="6858000"/>
                </a:lnTo>
                <a:lnTo>
                  <a:pt x="2980288" y="6858000"/>
                </a:lnTo>
                <a:lnTo>
                  <a:pt x="2980288" y="6854387"/>
                </a:lnTo>
                <a:lnTo>
                  <a:pt x="2979394" y="6854387"/>
                </a:lnTo>
                <a:lnTo>
                  <a:pt x="2941164" y="6854387"/>
                </a:lnTo>
                <a:lnTo>
                  <a:pt x="2822391" y="6854387"/>
                </a:lnTo>
                <a:lnTo>
                  <a:pt x="2822391" y="6846841"/>
                </a:lnTo>
                <a:lnTo>
                  <a:pt x="2693566" y="6840651"/>
                </a:lnTo>
                <a:lnTo>
                  <a:pt x="2682486" y="6839076"/>
                </a:lnTo>
                <a:lnTo>
                  <a:pt x="2676373" y="6838763"/>
                </a:lnTo>
                <a:lnTo>
                  <a:pt x="2618270" y="6829951"/>
                </a:lnTo>
                <a:lnTo>
                  <a:pt x="2432527" y="6803558"/>
                </a:lnTo>
                <a:lnTo>
                  <a:pt x="2411164" y="6798541"/>
                </a:lnTo>
                <a:lnTo>
                  <a:pt x="2398583" y="6796633"/>
                </a:lnTo>
                <a:lnTo>
                  <a:pt x="2333630" y="6780337"/>
                </a:lnTo>
                <a:lnTo>
                  <a:pt x="2179231" y="6744084"/>
                </a:lnTo>
                <a:lnTo>
                  <a:pt x="2147995" y="6733760"/>
                </a:lnTo>
                <a:lnTo>
                  <a:pt x="2129767" y="6729187"/>
                </a:lnTo>
                <a:lnTo>
                  <a:pt x="2067629" y="6707198"/>
                </a:lnTo>
                <a:lnTo>
                  <a:pt x="1934694" y="6663262"/>
                </a:lnTo>
                <a:lnTo>
                  <a:pt x="1894354" y="6645884"/>
                </a:lnTo>
                <a:lnTo>
                  <a:pt x="1871160" y="6637676"/>
                </a:lnTo>
                <a:lnTo>
                  <a:pt x="1814890" y="6611651"/>
                </a:lnTo>
                <a:lnTo>
                  <a:pt x="1699930" y="6562126"/>
                </a:lnTo>
                <a:lnTo>
                  <a:pt x="1651401" y="6536034"/>
                </a:lnTo>
                <a:lnTo>
                  <a:pt x="1623994" y="6523357"/>
                </a:lnTo>
                <a:lnTo>
                  <a:pt x="1574727" y="6494809"/>
                </a:lnTo>
                <a:lnTo>
                  <a:pt x="1475961" y="6441706"/>
                </a:lnTo>
                <a:lnTo>
                  <a:pt x="1420287" y="6405318"/>
                </a:lnTo>
                <a:lnTo>
                  <a:pt x="1389506" y="6387481"/>
                </a:lnTo>
                <a:lnTo>
                  <a:pt x="1347580" y="6357795"/>
                </a:lnTo>
                <a:lnTo>
                  <a:pt x="1263801" y="6303033"/>
                </a:lnTo>
                <a:lnTo>
                  <a:pt x="1202163" y="6254829"/>
                </a:lnTo>
                <a:lnTo>
                  <a:pt x="1168932" y="6231300"/>
                </a:lnTo>
                <a:lnTo>
                  <a:pt x="1134271" y="6201735"/>
                </a:lnTo>
                <a:lnTo>
                  <a:pt x="1064465" y="6147143"/>
                </a:lnTo>
                <a:lnTo>
                  <a:pt x="998157" y="6085629"/>
                </a:lnTo>
                <a:lnTo>
                  <a:pt x="963503" y="6056070"/>
                </a:lnTo>
                <a:lnTo>
                  <a:pt x="935786" y="6027768"/>
                </a:lnTo>
                <a:lnTo>
                  <a:pt x="878972" y="5975062"/>
                </a:lnTo>
                <a:lnTo>
                  <a:pt x="809388" y="5898707"/>
                </a:lnTo>
                <a:lnTo>
                  <a:pt x="774460" y="5863042"/>
                </a:lnTo>
                <a:lnTo>
                  <a:pt x="753188" y="5837040"/>
                </a:lnTo>
                <a:lnTo>
                  <a:pt x="708340" y="5787828"/>
                </a:lnTo>
                <a:lnTo>
                  <a:pt x="636937" y="5694924"/>
                </a:lnTo>
                <a:lnTo>
                  <a:pt x="603029" y="5653469"/>
                </a:lnTo>
                <a:lnTo>
                  <a:pt x="587581" y="5630705"/>
                </a:lnTo>
                <a:lnTo>
                  <a:pt x="553584" y="5586470"/>
                </a:lnTo>
                <a:lnTo>
                  <a:pt x="481813" y="5474831"/>
                </a:lnTo>
                <a:lnTo>
                  <a:pt x="450449" y="5428608"/>
                </a:lnTo>
                <a:lnTo>
                  <a:pt x="440091" y="5409929"/>
                </a:lnTo>
                <a:lnTo>
                  <a:pt x="415720" y="5372020"/>
                </a:lnTo>
                <a:lnTo>
                  <a:pt x="344879" y="5238249"/>
                </a:lnTo>
                <a:lnTo>
                  <a:pt x="317958" y="5189707"/>
                </a:lnTo>
                <a:lnTo>
                  <a:pt x="311851" y="5175886"/>
                </a:lnTo>
                <a:lnTo>
                  <a:pt x="295767" y="5145510"/>
                </a:lnTo>
                <a:lnTo>
                  <a:pt x="226547" y="4982762"/>
                </a:lnTo>
                <a:lnTo>
                  <a:pt x="206786" y="4938024"/>
                </a:lnTo>
                <a:lnTo>
                  <a:pt x="203998" y="4929748"/>
                </a:lnTo>
                <a:lnTo>
                  <a:pt x="194738" y="4907974"/>
                </a:lnTo>
                <a:lnTo>
                  <a:pt x="125249" y="4695835"/>
                </a:lnTo>
                <a:lnTo>
                  <a:pt x="118169" y="4674809"/>
                </a:lnTo>
                <a:lnTo>
                  <a:pt x="117669" y="4672696"/>
                </a:lnTo>
                <a:lnTo>
                  <a:pt x="113654" y="4660441"/>
                </a:lnTo>
                <a:cubicBezTo>
                  <a:pt x="66472" y="4492317"/>
                  <a:pt x="33263" y="4318216"/>
                  <a:pt x="15383" y="4139516"/>
                </a:cubicBezTo>
                <a:lnTo>
                  <a:pt x="14794" y="4127681"/>
                </a:lnTo>
                <a:lnTo>
                  <a:pt x="13543" y="4118799"/>
                </a:lnTo>
                <a:lnTo>
                  <a:pt x="6713" y="3972392"/>
                </a:lnTo>
                <a:lnTo>
                  <a:pt x="1" y="3972392"/>
                </a:lnTo>
                <a:lnTo>
                  <a:pt x="1" y="3830352"/>
                </a:lnTo>
                <a:lnTo>
                  <a:pt x="0" y="3830324"/>
                </a:lnTo>
                <a:lnTo>
                  <a:pt x="1" y="3830295"/>
                </a:lnTo>
                <a:lnTo>
                  <a:pt x="1" y="3828511"/>
                </a:lnTo>
                <a:lnTo>
                  <a:pt x="1" y="3125260"/>
                </a:lnTo>
                <a:lnTo>
                  <a:pt x="1" y="2983221"/>
                </a:lnTo>
                <a:lnTo>
                  <a:pt x="0" y="2983192"/>
                </a:lnTo>
                <a:lnTo>
                  <a:pt x="1" y="2983164"/>
                </a:lnTo>
                <a:lnTo>
                  <a:pt x="1" y="2981380"/>
                </a:lnTo>
                <a:lnTo>
                  <a:pt x="1" y="806259"/>
                </a:lnTo>
                <a:lnTo>
                  <a:pt x="1" y="0"/>
                </a:lnTo>
                <a:close/>
              </a:path>
            </a:pathLst>
          </a:custGeom>
          <a:solidFill>
            <a:srgbClr val="1D3166"/>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9" name="Graphic 68">
            <a:extLst>
              <a:ext uri="{FF2B5EF4-FFF2-40B4-BE49-F238E27FC236}">
                <a16:creationId xmlns:a16="http://schemas.microsoft.com/office/drawing/2014/main" id="{A8258DC4-351D-47D9-BDC7-876DB4FE43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flipH="1">
            <a:off x="314970" y="292163"/>
            <a:ext cx="1029177" cy="1029177"/>
          </a:xfrm>
          <a:prstGeom prst="rect">
            <a:avLst/>
          </a:prstGeom>
        </p:spPr>
      </p:pic>
      <p:sp>
        <p:nvSpPr>
          <p:cNvPr id="27" name="Freeform: Shape 27">
            <a:extLst>
              <a:ext uri="{FF2B5EF4-FFF2-40B4-BE49-F238E27FC236}">
                <a16:creationId xmlns:a16="http://schemas.microsoft.com/office/drawing/2014/main" id="{8E104B7B-D726-374C-BEF6-645DC3640345}"/>
              </a:ext>
            </a:extLst>
          </p:cNvPr>
          <p:cNvSpPr/>
          <p:nvPr/>
        </p:nvSpPr>
        <p:spPr>
          <a:xfrm rot="10800000" flipH="1">
            <a:off x="6533719" y="1626477"/>
            <a:ext cx="1231988" cy="1231988"/>
          </a:xfrm>
          <a:custGeom>
            <a:avLst/>
            <a:gdLst>
              <a:gd name="connsiteX0" fmla="*/ 2133600 w 4325258"/>
              <a:gd name="connsiteY0" fmla="*/ 0 h 4325258"/>
              <a:gd name="connsiteX1" fmla="*/ 2162629 w 4325258"/>
              <a:gd name="connsiteY1" fmla="*/ 0 h 4325258"/>
              <a:gd name="connsiteX2" fmla="*/ 4325257 w 4325258"/>
              <a:gd name="connsiteY2" fmla="*/ 0 h 4325258"/>
              <a:gd name="connsiteX3" fmla="*/ 4325257 w 4325258"/>
              <a:gd name="connsiteY3" fmla="*/ 2162609 h 4325258"/>
              <a:gd name="connsiteX4" fmla="*/ 4325258 w 4325258"/>
              <a:gd name="connsiteY4" fmla="*/ 2162629 h 4325258"/>
              <a:gd name="connsiteX5" fmla="*/ 4325257 w 4325258"/>
              <a:gd name="connsiteY5" fmla="*/ 2162650 h 4325258"/>
              <a:gd name="connsiteX6" fmla="*/ 4325257 w 4325258"/>
              <a:gd name="connsiteY6" fmla="*/ 2264228 h 4325258"/>
              <a:gd name="connsiteX7" fmla="*/ 4320128 w 4325258"/>
              <a:gd name="connsiteY7" fmla="*/ 2264228 h 4325258"/>
              <a:gd name="connsiteX8" fmla="*/ 4314093 w 4325258"/>
              <a:gd name="connsiteY8" fmla="*/ 2383745 h 4325258"/>
              <a:gd name="connsiteX9" fmla="*/ 2162629 w 4325258"/>
              <a:gd name="connsiteY9" fmla="*/ 4325258 h 4325258"/>
              <a:gd name="connsiteX10" fmla="*/ 0 w 4325258"/>
              <a:gd name="connsiteY10" fmla="*/ 2162629 h 4325258"/>
              <a:gd name="connsiteX11" fmla="*/ 1941513 w 4325258"/>
              <a:gd name="connsiteY11" fmla="*/ 11166 h 4325258"/>
              <a:gd name="connsiteX12" fmla="*/ 2133600 w 4325258"/>
              <a:gd name="connsiteY12" fmla="*/ 1466 h 432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25258" h="4325258">
                <a:moveTo>
                  <a:pt x="2133600" y="0"/>
                </a:moveTo>
                <a:lnTo>
                  <a:pt x="2162629" y="0"/>
                </a:lnTo>
                <a:lnTo>
                  <a:pt x="4325257" y="0"/>
                </a:lnTo>
                <a:lnTo>
                  <a:pt x="4325257" y="2162609"/>
                </a:lnTo>
                <a:lnTo>
                  <a:pt x="4325258" y="2162629"/>
                </a:lnTo>
                <a:lnTo>
                  <a:pt x="4325257" y="2162650"/>
                </a:lnTo>
                <a:lnTo>
                  <a:pt x="4325257" y="2264228"/>
                </a:lnTo>
                <a:lnTo>
                  <a:pt x="4320128" y="2264228"/>
                </a:lnTo>
                <a:lnTo>
                  <a:pt x="4314093" y="2383745"/>
                </a:lnTo>
                <a:cubicBezTo>
                  <a:pt x="4203344" y="3474264"/>
                  <a:pt x="3282367" y="4325258"/>
                  <a:pt x="2162629" y="4325258"/>
                </a:cubicBezTo>
                <a:cubicBezTo>
                  <a:pt x="968242" y="4325258"/>
                  <a:pt x="0" y="3357016"/>
                  <a:pt x="0" y="2162629"/>
                </a:cubicBezTo>
                <a:cubicBezTo>
                  <a:pt x="0" y="1042891"/>
                  <a:pt x="850994" y="121914"/>
                  <a:pt x="1941513" y="11166"/>
                </a:cubicBezTo>
                <a:lnTo>
                  <a:pt x="2133600" y="1466"/>
                </a:lnTo>
                <a:close/>
              </a:path>
            </a:pathLst>
          </a:custGeom>
          <a:solidFill>
            <a:srgbClr val="FEB81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5" name="Group 44">
            <a:extLst>
              <a:ext uri="{FF2B5EF4-FFF2-40B4-BE49-F238E27FC236}">
                <a16:creationId xmlns:a16="http://schemas.microsoft.com/office/drawing/2014/main" id="{FAD2CB1E-D678-9947-A705-FCEB2C9FA562}"/>
              </a:ext>
            </a:extLst>
          </p:cNvPr>
          <p:cNvGrpSpPr/>
          <p:nvPr/>
        </p:nvGrpSpPr>
        <p:grpSpPr>
          <a:xfrm>
            <a:off x="6964284" y="1945183"/>
            <a:ext cx="493556" cy="500675"/>
            <a:chOff x="7731125" y="2905125"/>
            <a:chExt cx="330200" cy="334963"/>
          </a:xfrm>
        </p:grpSpPr>
        <p:sp>
          <p:nvSpPr>
            <p:cNvPr id="46" name="Line 28">
              <a:extLst>
                <a:ext uri="{FF2B5EF4-FFF2-40B4-BE49-F238E27FC236}">
                  <a16:creationId xmlns:a16="http://schemas.microsoft.com/office/drawing/2014/main" id="{A29B89BB-A6F5-E144-B355-154DDD52EA16}"/>
                </a:ext>
              </a:extLst>
            </p:cNvPr>
            <p:cNvSpPr>
              <a:spLocks noChangeShapeType="1"/>
            </p:cNvSpPr>
            <p:nvPr/>
          </p:nvSpPr>
          <p:spPr bwMode="auto">
            <a:xfrm flipV="1">
              <a:off x="7896225" y="3022600"/>
              <a:ext cx="0" cy="114300"/>
            </a:xfrm>
            <a:prstGeom prst="line">
              <a:avLst/>
            </a:prstGeom>
            <a:noFill/>
            <a:ln w="15875" cap="rnd">
              <a:solidFill>
                <a:srgbClr val="1D316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Montserrat" pitchFamily="2" charset="77"/>
                <a:ea typeface="+mn-ea"/>
                <a:cs typeface="+mn-cs"/>
              </a:endParaRPr>
            </a:p>
          </p:txBody>
        </p:sp>
        <p:sp>
          <p:nvSpPr>
            <p:cNvPr id="47" name="Freeform 46">
              <a:extLst>
                <a:ext uri="{FF2B5EF4-FFF2-40B4-BE49-F238E27FC236}">
                  <a16:creationId xmlns:a16="http://schemas.microsoft.com/office/drawing/2014/main" id="{9A0A1D7D-577D-CB4A-831E-ABAE1AE1629D}"/>
                </a:ext>
              </a:extLst>
            </p:cNvPr>
            <p:cNvSpPr>
              <a:spLocks/>
            </p:cNvSpPr>
            <p:nvPr/>
          </p:nvSpPr>
          <p:spPr bwMode="auto">
            <a:xfrm>
              <a:off x="7731125" y="2905125"/>
              <a:ext cx="330200" cy="334963"/>
            </a:xfrm>
            <a:custGeom>
              <a:avLst/>
              <a:gdLst>
                <a:gd name="T0" fmla="*/ 208 w 208"/>
                <a:gd name="T1" fmla="*/ 211 h 211"/>
                <a:gd name="T2" fmla="*/ 0 w 208"/>
                <a:gd name="T3" fmla="*/ 211 h 211"/>
                <a:gd name="T4" fmla="*/ 104 w 208"/>
                <a:gd name="T5" fmla="*/ 0 h 211"/>
                <a:gd name="T6" fmla="*/ 208 w 208"/>
                <a:gd name="T7" fmla="*/ 211 h 211"/>
              </a:gdLst>
              <a:ahLst/>
              <a:cxnLst>
                <a:cxn ang="0">
                  <a:pos x="T0" y="T1"/>
                </a:cxn>
                <a:cxn ang="0">
                  <a:pos x="T2" y="T3"/>
                </a:cxn>
                <a:cxn ang="0">
                  <a:pos x="T4" y="T5"/>
                </a:cxn>
                <a:cxn ang="0">
                  <a:pos x="T6" y="T7"/>
                </a:cxn>
              </a:cxnLst>
              <a:rect l="0" t="0" r="r" b="b"/>
              <a:pathLst>
                <a:path w="208" h="211">
                  <a:moveTo>
                    <a:pt x="208" y="211"/>
                  </a:moveTo>
                  <a:lnTo>
                    <a:pt x="0" y="211"/>
                  </a:lnTo>
                  <a:lnTo>
                    <a:pt x="104" y="0"/>
                  </a:lnTo>
                  <a:lnTo>
                    <a:pt x="208" y="211"/>
                  </a:lnTo>
                  <a:close/>
                </a:path>
              </a:pathLst>
            </a:custGeom>
            <a:noFill/>
            <a:ln w="15875" cap="rnd">
              <a:solidFill>
                <a:srgbClr val="1D316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Montserrat" pitchFamily="2" charset="77"/>
                <a:ea typeface="+mn-ea"/>
                <a:cs typeface="+mn-cs"/>
              </a:endParaRPr>
            </a:p>
          </p:txBody>
        </p:sp>
        <p:sp>
          <p:nvSpPr>
            <p:cNvPr id="48" name="Freeform 47">
              <a:extLst>
                <a:ext uri="{FF2B5EF4-FFF2-40B4-BE49-F238E27FC236}">
                  <a16:creationId xmlns:a16="http://schemas.microsoft.com/office/drawing/2014/main" id="{F6E23290-0F28-D24C-8351-05862650D1CE}"/>
                </a:ext>
              </a:extLst>
            </p:cNvPr>
            <p:cNvSpPr>
              <a:spLocks/>
            </p:cNvSpPr>
            <p:nvPr/>
          </p:nvSpPr>
          <p:spPr bwMode="auto">
            <a:xfrm>
              <a:off x="7889875" y="3178175"/>
              <a:ext cx="14288" cy="15875"/>
            </a:xfrm>
            <a:custGeom>
              <a:avLst/>
              <a:gdLst>
                <a:gd name="T0" fmla="*/ 4 w 4"/>
                <a:gd name="T1" fmla="*/ 2 h 4"/>
                <a:gd name="T2" fmla="*/ 2 w 4"/>
                <a:gd name="T3" fmla="*/ 4 h 4"/>
                <a:gd name="T4" fmla="*/ 2 w 4"/>
                <a:gd name="T5" fmla="*/ 4 h 4"/>
                <a:gd name="T6" fmla="*/ 0 w 4"/>
                <a:gd name="T7" fmla="*/ 2 h 4"/>
                <a:gd name="T8" fmla="*/ 0 w 4"/>
                <a:gd name="T9" fmla="*/ 2 h 4"/>
                <a:gd name="T10" fmla="*/ 2 w 4"/>
                <a:gd name="T11" fmla="*/ 0 h 4"/>
                <a:gd name="T12" fmla="*/ 2 w 4"/>
                <a:gd name="T13" fmla="*/ 0 h 4"/>
                <a:gd name="T14" fmla="*/ 4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2"/>
                  </a:moveTo>
                  <a:cubicBezTo>
                    <a:pt x="4" y="3"/>
                    <a:pt x="3" y="4"/>
                    <a:pt x="2" y="4"/>
                  </a:cubicBezTo>
                  <a:cubicBezTo>
                    <a:pt x="2" y="4"/>
                    <a:pt x="2" y="4"/>
                    <a:pt x="2" y="4"/>
                  </a:cubicBezTo>
                  <a:cubicBezTo>
                    <a:pt x="1" y="4"/>
                    <a:pt x="0" y="3"/>
                    <a:pt x="0" y="2"/>
                  </a:cubicBezTo>
                  <a:cubicBezTo>
                    <a:pt x="0" y="2"/>
                    <a:pt x="0" y="2"/>
                    <a:pt x="0" y="2"/>
                  </a:cubicBezTo>
                  <a:cubicBezTo>
                    <a:pt x="0" y="1"/>
                    <a:pt x="1" y="0"/>
                    <a:pt x="2" y="0"/>
                  </a:cubicBezTo>
                  <a:cubicBezTo>
                    <a:pt x="2" y="0"/>
                    <a:pt x="2" y="0"/>
                    <a:pt x="2" y="0"/>
                  </a:cubicBezTo>
                  <a:cubicBezTo>
                    <a:pt x="3" y="0"/>
                    <a:pt x="4" y="1"/>
                    <a:pt x="4" y="2"/>
                  </a:cubicBezTo>
                  <a:close/>
                </a:path>
              </a:pathLst>
            </a:custGeom>
            <a:noFill/>
            <a:ln w="15875" cap="flat">
              <a:solidFill>
                <a:srgbClr val="1D316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Montserrat" pitchFamily="2" charset="77"/>
                <a:ea typeface="+mn-ea"/>
                <a:cs typeface="+mn-cs"/>
              </a:endParaRPr>
            </a:p>
          </p:txBody>
        </p:sp>
      </p:grpSp>
      <p:grpSp>
        <p:nvGrpSpPr>
          <p:cNvPr id="49" name="Group 48">
            <a:extLst>
              <a:ext uri="{FF2B5EF4-FFF2-40B4-BE49-F238E27FC236}">
                <a16:creationId xmlns:a16="http://schemas.microsoft.com/office/drawing/2014/main" id="{248B3D8C-E2FC-2046-8A7A-788BEE00C99C}"/>
              </a:ext>
            </a:extLst>
          </p:cNvPr>
          <p:cNvGrpSpPr/>
          <p:nvPr/>
        </p:nvGrpSpPr>
        <p:grpSpPr>
          <a:xfrm>
            <a:off x="1556715" y="1923391"/>
            <a:ext cx="466508" cy="552036"/>
            <a:chOff x="3013075" y="3624263"/>
            <a:chExt cx="285750" cy="338137"/>
          </a:xfrm>
        </p:grpSpPr>
        <p:sp>
          <p:nvSpPr>
            <p:cNvPr id="50" name="Freeform 338">
              <a:extLst>
                <a:ext uri="{FF2B5EF4-FFF2-40B4-BE49-F238E27FC236}">
                  <a16:creationId xmlns:a16="http://schemas.microsoft.com/office/drawing/2014/main" id="{A5D5B893-C183-5B40-9343-CA2CDDAD9455}"/>
                </a:ext>
              </a:extLst>
            </p:cNvPr>
            <p:cNvSpPr>
              <a:spLocks/>
            </p:cNvSpPr>
            <p:nvPr/>
          </p:nvSpPr>
          <p:spPr bwMode="auto">
            <a:xfrm>
              <a:off x="3073400" y="3797300"/>
              <a:ext cx="165100" cy="104775"/>
            </a:xfrm>
            <a:custGeom>
              <a:avLst/>
              <a:gdLst>
                <a:gd name="T0" fmla="*/ 43 w 44"/>
                <a:gd name="T1" fmla="*/ 0 h 28"/>
                <a:gd name="T2" fmla="*/ 44 w 44"/>
                <a:gd name="T3" fmla="*/ 6 h 28"/>
                <a:gd name="T4" fmla="*/ 22 w 44"/>
                <a:gd name="T5" fmla="*/ 28 h 28"/>
                <a:gd name="T6" fmla="*/ 0 w 44"/>
                <a:gd name="T7" fmla="*/ 6 h 28"/>
                <a:gd name="T8" fmla="*/ 1 w 44"/>
                <a:gd name="T9" fmla="*/ 0 h 28"/>
              </a:gdLst>
              <a:ahLst/>
              <a:cxnLst>
                <a:cxn ang="0">
                  <a:pos x="T0" y="T1"/>
                </a:cxn>
                <a:cxn ang="0">
                  <a:pos x="T2" y="T3"/>
                </a:cxn>
                <a:cxn ang="0">
                  <a:pos x="T4" y="T5"/>
                </a:cxn>
                <a:cxn ang="0">
                  <a:pos x="T6" y="T7"/>
                </a:cxn>
                <a:cxn ang="0">
                  <a:pos x="T8" y="T9"/>
                </a:cxn>
              </a:cxnLst>
              <a:rect l="0" t="0" r="r" b="b"/>
              <a:pathLst>
                <a:path w="44" h="28">
                  <a:moveTo>
                    <a:pt x="43" y="0"/>
                  </a:moveTo>
                  <a:cubicBezTo>
                    <a:pt x="44" y="2"/>
                    <a:pt x="44" y="4"/>
                    <a:pt x="44" y="6"/>
                  </a:cubicBezTo>
                  <a:cubicBezTo>
                    <a:pt x="44" y="18"/>
                    <a:pt x="34" y="28"/>
                    <a:pt x="22" y="28"/>
                  </a:cubicBezTo>
                  <a:cubicBezTo>
                    <a:pt x="10" y="28"/>
                    <a:pt x="0" y="18"/>
                    <a:pt x="0" y="6"/>
                  </a:cubicBezTo>
                  <a:cubicBezTo>
                    <a:pt x="0" y="4"/>
                    <a:pt x="0" y="2"/>
                    <a:pt x="1" y="0"/>
                  </a:cubicBezTo>
                </a:path>
              </a:pathLst>
            </a:custGeom>
            <a:noFill/>
            <a:ln w="15875" cap="rnd">
              <a:solidFill>
                <a:srgbClr val="1D316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Montserrat" pitchFamily="2" charset="77"/>
                <a:ea typeface="+mn-ea"/>
                <a:cs typeface="+mn-cs"/>
              </a:endParaRPr>
            </a:p>
          </p:txBody>
        </p:sp>
        <p:sp>
          <p:nvSpPr>
            <p:cNvPr id="51" name="Freeform 339">
              <a:extLst>
                <a:ext uri="{FF2B5EF4-FFF2-40B4-BE49-F238E27FC236}">
                  <a16:creationId xmlns:a16="http://schemas.microsoft.com/office/drawing/2014/main" id="{CA016367-A3C2-1E4B-B9E9-560E9224C4D0}"/>
                </a:ext>
              </a:extLst>
            </p:cNvPr>
            <p:cNvSpPr>
              <a:spLocks/>
            </p:cNvSpPr>
            <p:nvPr/>
          </p:nvSpPr>
          <p:spPr bwMode="auto">
            <a:xfrm>
              <a:off x="3013075" y="3714750"/>
              <a:ext cx="285750" cy="247650"/>
            </a:xfrm>
            <a:custGeom>
              <a:avLst/>
              <a:gdLst>
                <a:gd name="T0" fmla="*/ 64 w 76"/>
                <a:gd name="T1" fmla="*/ 0 h 66"/>
                <a:gd name="T2" fmla="*/ 76 w 76"/>
                <a:gd name="T3" fmla="*/ 28 h 66"/>
                <a:gd name="T4" fmla="*/ 38 w 76"/>
                <a:gd name="T5" fmla="*/ 66 h 66"/>
                <a:gd name="T6" fmla="*/ 0 w 76"/>
                <a:gd name="T7" fmla="*/ 28 h 66"/>
                <a:gd name="T8" fmla="*/ 12 w 76"/>
                <a:gd name="T9" fmla="*/ 0 h 66"/>
              </a:gdLst>
              <a:ahLst/>
              <a:cxnLst>
                <a:cxn ang="0">
                  <a:pos x="T0" y="T1"/>
                </a:cxn>
                <a:cxn ang="0">
                  <a:pos x="T2" y="T3"/>
                </a:cxn>
                <a:cxn ang="0">
                  <a:pos x="T4" y="T5"/>
                </a:cxn>
                <a:cxn ang="0">
                  <a:pos x="T6" y="T7"/>
                </a:cxn>
                <a:cxn ang="0">
                  <a:pos x="T8" y="T9"/>
                </a:cxn>
              </a:cxnLst>
              <a:rect l="0" t="0" r="r" b="b"/>
              <a:pathLst>
                <a:path w="76" h="66">
                  <a:moveTo>
                    <a:pt x="64" y="0"/>
                  </a:moveTo>
                  <a:cubicBezTo>
                    <a:pt x="71" y="7"/>
                    <a:pt x="76" y="17"/>
                    <a:pt x="76" y="28"/>
                  </a:cubicBezTo>
                  <a:cubicBezTo>
                    <a:pt x="76" y="49"/>
                    <a:pt x="59" y="66"/>
                    <a:pt x="38" y="66"/>
                  </a:cubicBezTo>
                  <a:cubicBezTo>
                    <a:pt x="17" y="66"/>
                    <a:pt x="0" y="49"/>
                    <a:pt x="0" y="28"/>
                  </a:cubicBezTo>
                  <a:cubicBezTo>
                    <a:pt x="0" y="17"/>
                    <a:pt x="5" y="7"/>
                    <a:pt x="12" y="0"/>
                  </a:cubicBezTo>
                </a:path>
              </a:pathLst>
            </a:custGeom>
            <a:noFill/>
            <a:ln w="15875" cap="rnd">
              <a:solidFill>
                <a:srgbClr val="1D316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Montserrat" pitchFamily="2" charset="77"/>
                <a:ea typeface="+mn-ea"/>
                <a:cs typeface="+mn-cs"/>
              </a:endParaRPr>
            </a:p>
          </p:txBody>
        </p:sp>
        <p:sp>
          <p:nvSpPr>
            <p:cNvPr id="53" name="Freeform 340">
              <a:extLst>
                <a:ext uri="{FF2B5EF4-FFF2-40B4-BE49-F238E27FC236}">
                  <a16:creationId xmlns:a16="http://schemas.microsoft.com/office/drawing/2014/main" id="{0803EF87-0557-B147-BC30-0E0526C86680}"/>
                </a:ext>
              </a:extLst>
            </p:cNvPr>
            <p:cNvSpPr>
              <a:spLocks/>
            </p:cNvSpPr>
            <p:nvPr/>
          </p:nvSpPr>
          <p:spPr bwMode="auto">
            <a:xfrm>
              <a:off x="3081338" y="3624263"/>
              <a:ext cx="150813" cy="153988"/>
            </a:xfrm>
            <a:custGeom>
              <a:avLst/>
              <a:gdLst>
                <a:gd name="T0" fmla="*/ 47 w 95"/>
                <a:gd name="T1" fmla="*/ 0 h 97"/>
                <a:gd name="T2" fmla="*/ 61 w 95"/>
                <a:gd name="T3" fmla="*/ 33 h 97"/>
                <a:gd name="T4" fmla="*/ 95 w 95"/>
                <a:gd name="T5" fmla="*/ 33 h 97"/>
                <a:gd name="T6" fmla="*/ 69 w 95"/>
                <a:gd name="T7" fmla="*/ 57 h 97"/>
                <a:gd name="T8" fmla="*/ 78 w 95"/>
                <a:gd name="T9" fmla="*/ 95 h 97"/>
                <a:gd name="T10" fmla="*/ 47 w 95"/>
                <a:gd name="T11" fmla="*/ 73 h 97"/>
                <a:gd name="T12" fmla="*/ 17 w 95"/>
                <a:gd name="T13" fmla="*/ 97 h 97"/>
                <a:gd name="T14" fmla="*/ 26 w 95"/>
                <a:gd name="T15" fmla="*/ 57 h 97"/>
                <a:gd name="T16" fmla="*/ 0 w 95"/>
                <a:gd name="T17" fmla="*/ 33 h 97"/>
                <a:gd name="T18" fmla="*/ 33 w 95"/>
                <a:gd name="T19" fmla="*/ 33 h 97"/>
                <a:gd name="T20" fmla="*/ 47 w 95"/>
                <a:gd name="T21"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97">
                  <a:moveTo>
                    <a:pt x="47" y="0"/>
                  </a:moveTo>
                  <a:lnTo>
                    <a:pt x="61" y="33"/>
                  </a:lnTo>
                  <a:lnTo>
                    <a:pt x="95" y="33"/>
                  </a:lnTo>
                  <a:lnTo>
                    <a:pt x="69" y="57"/>
                  </a:lnTo>
                  <a:lnTo>
                    <a:pt x="78" y="95"/>
                  </a:lnTo>
                  <a:lnTo>
                    <a:pt x="47" y="73"/>
                  </a:lnTo>
                  <a:lnTo>
                    <a:pt x="17" y="97"/>
                  </a:lnTo>
                  <a:lnTo>
                    <a:pt x="26" y="57"/>
                  </a:lnTo>
                  <a:lnTo>
                    <a:pt x="0" y="33"/>
                  </a:lnTo>
                  <a:lnTo>
                    <a:pt x="33" y="33"/>
                  </a:lnTo>
                  <a:lnTo>
                    <a:pt x="47" y="0"/>
                  </a:lnTo>
                  <a:close/>
                </a:path>
              </a:pathLst>
            </a:custGeom>
            <a:noFill/>
            <a:ln w="15875" cap="flat">
              <a:solidFill>
                <a:srgbClr val="1D316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Montserrat" pitchFamily="2" charset="77"/>
                <a:ea typeface="+mn-ea"/>
                <a:cs typeface="+mn-cs"/>
              </a:endParaRPr>
            </a:p>
          </p:txBody>
        </p:sp>
        <p:sp>
          <p:nvSpPr>
            <p:cNvPr id="54" name="Line 341">
              <a:extLst>
                <a:ext uri="{FF2B5EF4-FFF2-40B4-BE49-F238E27FC236}">
                  <a16:creationId xmlns:a16="http://schemas.microsoft.com/office/drawing/2014/main" id="{6C3B3879-9B9E-534F-85E1-D1386F96466A}"/>
                </a:ext>
              </a:extLst>
            </p:cNvPr>
            <p:cNvSpPr>
              <a:spLocks noChangeShapeType="1"/>
            </p:cNvSpPr>
            <p:nvPr/>
          </p:nvSpPr>
          <p:spPr bwMode="auto">
            <a:xfrm flipH="1">
              <a:off x="3119438" y="3740150"/>
              <a:ext cx="36513" cy="101600"/>
            </a:xfrm>
            <a:prstGeom prst="line">
              <a:avLst/>
            </a:prstGeom>
            <a:noFill/>
            <a:ln w="15875" cap="rnd">
              <a:solidFill>
                <a:srgbClr val="1D316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Montserrat" pitchFamily="2" charset="77"/>
                <a:ea typeface="+mn-ea"/>
                <a:cs typeface="+mn-cs"/>
              </a:endParaRPr>
            </a:p>
          </p:txBody>
        </p:sp>
        <p:sp>
          <p:nvSpPr>
            <p:cNvPr id="55" name="Line 342">
              <a:extLst>
                <a:ext uri="{FF2B5EF4-FFF2-40B4-BE49-F238E27FC236}">
                  <a16:creationId xmlns:a16="http://schemas.microsoft.com/office/drawing/2014/main" id="{163EA7A0-C044-A94A-A01D-E5927CFE1D36}"/>
                </a:ext>
              </a:extLst>
            </p:cNvPr>
            <p:cNvSpPr>
              <a:spLocks noChangeShapeType="1"/>
            </p:cNvSpPr>
            <p:nvPr/>
          </p:nvSpPr>
          <p:spPr bwMode="auto">
            <a:xfrm>
              <a:off x="3155950" y="3740150"/>
              <a:ext cx="38100" cy="101600"/>
            </a:xfrm>
            <a:prstGeom prst="line">
              <a:avLst/>
            </a:prstGeom>
            <a:noFill/>
            <a:ln w="15875" cap="rnd">
              <a:solidFill>
                <a:srgbClr val="1D316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Montserrat" pitchFamily="2" charset="77"/>
                <a:ea typeface="+mn-ea"/>
                <a:cs typeface="+mn-cs"/>
              </a:endParaRPr>
            </a:p>
          </p:txBody>
        </p:sp>
      </p:grpSp>
      <p:sp>
        <p:nvSpPr>
          <p:cNvPr id="56" name="Rectangle 55">
            <a:extLst>
              <a:ext uri="{FF2B5EF4-FFF2-40B4-BE49-F238E27FC236}">
                <a16:creationId xmlns:a16="http://schemas.microsoft.com/office/drawing/2014/main" id="{137C70B7-2C3A-E64C-8A41-771063FA0A01}"/>
              </a:ext>
            </a:extLst>
          </p:cNvPr>
          <p:cNvSpPr/>
          <p:nvPr/>
        </p:nvSpPr>
        <p:spPr>
          <a:xfrm>
            <a:off x="2782572" y="2351905"/>
            <a:ext cx="3946800" cy="615553"/>
          </a:xfrm>
          <a:prstGeom prst="rect">
            <a:avLst/>
          </a:prstGeom>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2000" b="1" i="0" u="none" strike="noStrike" kern="1200" cap="none" spc="0" normalizeH="0" baseline="0" noProof="0" dirty="0">
                <a:ln>
                  <a:noFill/>
                </a:ln>
                <a:solidFill>
                  <a:srgbClr val="1D3166"/>
                </a:solidFill>
                <a:effectLst/>
                <a:uLnTx/>
                <a:uFillTx/>
                <a:latin typeface="Montserrat" pitchFamily="2" charset="77"/>
                <a:ea typeface="+mn-ea"/>
                <a:cs typeface="Segoe UI" panose="020B0502040204020203" pitchFamily="34" charset="0"/>
              </a:rPr>
              <a:t>PENGAWASA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2000" b="1" i="0" u="none" strike="noStrike" kern="1200" cap="none" spc="0" normalizeH="0" baseline="0" noProof="0" dirty="0">
                <a:ln>
                  <a:noFill/>
                </a:ln>
                <a:solidFill>
                  <a:srgbClr val="1D3166"/>
                </a:solidFill>
                <a:effectLst/>
                <a:uLnTx/>
                <a:uFillTx/>
                <a:latin typeface="Montserrat" pitchFamily="2" charset="77"/>
                <a:ea typeface="+mn-ea"/>
                <a:cs typeface="Segoe UI" panose="020B0502040204020203" pitchFamily="34" charset="0"/>
              </a:rPr>
              <a:t>RUTIN</a:t>
            </a:r>
          </a:p>
        </p:txBody>
      </p:sp>
      <p:sp>
        <p:nvSpPr>
          <p:cNvPr id="61" name="TextBox 60">
            <a:extLst>
              <a:ext uri="{FF2B5EF4-FFF2-40B4-BE49-F238E27FC236}">
                <a16:creationId xmlns:a16="http://schemas.microsoft.com/office/drawing/2014/main" id="{870B2A15-7DD5-304F-AB3C-B923BA12C7C6}"/>
              </a:ext>
            </a:extLst>
          </p:cNvPr>
          <p:cNvSpPr txBox="1"/>
          <p:nvPr/>
        </p:nvSpPr>
        <p:spPr>
          <a:xfrm>
            <a:off x="1760164" y="3040873"/>
            <a:ext cx="4753259" cy="1200329"/>
          </a:xfrm>
          <a:prstGeom prst="rect">
            <a:avLst/>
          </a:prstGeom>
          <a:noFill/>
        </p:spPr>
        <p:txBody>
          <a:bodyPr wrap="square" rtlCol="0">
            <a:spAutoFit/>
          </a:bodyPr>
          <a:lstStyle>
            <a:defPPr>
              <a:defRPr lang="en-US"/>
            </a:defPPr>
            <a:lvl1pPr algn="ctr">
              <a:defRPr sz="1200" b="1">
                <a:solidFill>
                  <a:schemeClr val="tx1">
                    <a:lumMod val="75000"/>
                    <a:lumOff val="2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Pemeriksaan</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terhadap</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laporan</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sesuai</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dengan</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ketentuan</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peraturan</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perundang-undangan</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endParaRPr>
          </a:p>
        </p:txBody>
      </p:sp>
      <p:grpSp>
        <p:nvGrpSpPr>
          <p:cNvPr id="7" name="Group 6">
            <a:extLst>
              <a:ext uri="{FF2B5EF4-FFF2-40B4-BE49-F238E27FC236}">
                <a16:creationId xmlns:a16="http://schemas.microsoft.com/office/drawing/2014/main" id="{D6E10C83-6AA9-2641-93D6-434E84943899}"/>
              </a:ext>
            </a:extLst>
          </p:cNvPr>
          <p:cNvGrpSpPr/>
          <p:nvPr/>
        </p:nvGrpSpPr>
        <p:grpSpPr>
          <a:xfrm>
            <a:off x="1416246" y="2184063"/>
            <a:ext cx="4935392" cy="4455496"/>
            <a:chOff x="1654195" y="2184063"/>
            <a:chExt cx="4935392" cy="4455496"/>
          </a:xfrm>
        </p:grpSpPr>
        <p:sp>
          <p:nvSpPr>
            <p:cNvPr id="25" name="Freeform: Shape 59">
              <a:extLst>
                <a:ext uri="{FF2B5EF4-FFF2-40B4-BE49-F238E27FC236}">
                  <a16:creationId xmlns:a16="http://schemas.microsoft.com/office/drawing/2014/main" id="{4A4D8B41-AD6C-CF40-BD7F-D9D03D8C1EF9}"/>
                </a:ext>
              </a:extLst>
            </p:cNvPr>
            <p:cNvSpPr/>
            <p:nvPr/>
          </p:nvSpPr>
          <p:spPr>
            <a:xfrm>
              <a:off x="1654196" y="2184063"/>
              <a:ext cx="4935391" cy="2635690"/>
            </a:xfrm>
            <a:custGeom>
              <a:avLst/>
              <a:gdLst>
                <a:gd name="connsiteX0" fmla="*/ 0 w 3626241"/>
                <a:gd name="connsiteY0" fmla="*/ 0 h 1607594"/>
                <a:gd name="connsiteX1" fmla="*/ 810554 w 3626241"/>
                <a:gd name="connsiteY1" fmla="*/ 0 h 1607594"/>
                <a:gd name="connsiteX2" fmla="*/ 851604 w 3626241"/>
                <a:gd name="connsiteY2" fmla="*/ 0 h 1607594"/>
                <a:gd name="connsiteX3" fmla="*/ 1190566 w 3626241"/>
                <a:gd name="connsiteY3" fmla="*/ 0 h 1607594"/>
                <a:gd name="connsiteX4" fmla="*/ 1231616 w 3626241"/>
                <a:gd name="connsiteY4" fmla="*/ 0 h 1607594"/>
                <a:gd name="connsiteX5" fmla="*/ 1790092 w 3626241"/>
                <a:gd name="connsiteY5" fmla="*/ 0 h 1607594"/>
                <a:gd name="connsiteX6" fmla="*/ 2471417 w 3626241"/>
                <a:gd name="connsiteY6" fmla="*/ 0 h 1607594"/>
                <a:gd name="connsiteX7" fmla="*/ 2851429 w 3626241"/>
                <a:gd name="connsiteY7" fmla="*/ 0 h 1607594"/>
                <a:gd name="connsiteX8" fmla="*/ 2851429 w 3626241"/>
                <a:gd name="connsiteY8" fmla="*/ 842 h 1607594"/>
                <a:gd name="connsiteX9" fmla="*/ 2851661 w 3626241"/>
                <a:gd name="connsiteY9" fmla="*/ 842 h 1607594"/>
                <a:gd name="connsiteX10" fmla="*/ 2861601 w 3626241"/>
                <a:gd name="connsiteY10" fmla="*/ 842 h 1607594"/>
                <a:gd name="connsiteX11" fmla="*/ 2892478 w 3626241"/>
                <a:gd name="connsiteY11" fmla="*/ 842 h 1607594"/>
                <a:gd name="connsiteX12" fmla="*/ 2892478 w 3626241"/>
                <a:gd name="connsiteY12" fmla="*/ 2599 h 1607594"/>
                <a:gd name="connsiteX13" fmla="*/ 2925970 w 3626241"/>
                <a:gd name="connsiteY13" fmla="*/ 4041 h 1607594"/>
                <a:gd name="connsiteX14" fmla="*/ 2928851 w 3626241"/>
                <a:gd name="connsiteY14" fmla="*/ 4408 h 1607594"/>
                <a:gd name="connsiteX15" fmla="*/ 2930440 w 3626241"/>
                <a:gd name="connsiteY15" fmla="*/ 4481 h 1607594"/>
                <a:gd name="connsiteX16" fmla="*/ 2945546 w 3626241"/>
                <a:gd name="connsiteY16" fmla="*/ 6533 h 1607594"/>
                <a:gd name="connsiteX17" fmla="*/ 2993835 w 3626241"/>
                <a:gd name="connsiteY17" fmla="*/ 12680 h 1607594"/>
                <a:gd name="connsiteX18" fmla="*/ 2999389 w 3626241"/>
                <a:gd name="connsiteY18" fmla="*/ 13848 h 1607594"/>
                <a:gd name="connsiteX19" fmla="*/ 3002660 w 3626241"/>
                <a:gd name="connsiteY19" fmla="*/ 14293 h 1607594"/>
                <a:gd name="connsiteX20" fmla="*/ 3019546 w 3626241"/>
                <a:gd name="connsiteY20" fmla="*/ 18089 h 1607594"/>
                <a:gd name="connsiteX21" fmla="*/ 3059687 w 3626241"/>
                <a:gd name="connsiteY21" fmla="*/ 26532 h 1607594"/>
                <a:gd name="connsiteX22" fmla="*/ 3067808 w 3626241"/>
                <a:gd name="connsiteY22" fmla="*/ 28936 h 1607594"/>
                <a:gd name="connsiteX23" fmla="*/ 3072546 w 3626241"/>
                <a:gd name="connsiteY23" fmla="*/ 30002 h 1607594"/>
                <a:gd name="connsiteX24" fmla="*/ 3088701 w 3626241"/>
                <a:gd name="connsiteY24" fmla="*/ 35122 h 1607594"/>
                <a:gd name="connsiteX25" fmla="*/ 3123262 w 3626241"/>
                <a:gd name="connsiteY25" fmla="*/ 45355 h 1607594"/>
                <a:gd name="connsiteX26" fmla="*/ 3133749 w 3626241"/>
                <a:gd name="connsiteY26" fmla="*/ 49402 h 1607594"/>
                <a:gd name="connsiteX27" fmla="*/ 3139779 w 3626241"/>
                <a:gd name="connsiteY27" fmla="*/ 51314 h 1607594"/>
                <a:gd name="connsiteX28" fmla="*/ 3154407 w 3626241"/>
                <a:gd name="connsiteY28" fmla="*/ 57375 h 1607594"/>
                <a:gd name="connsiteX29" fmla="*/ 3184295 w 3626241"/>
                <a:gd name="connsiteY29" fmla="*/ 68910 h 1607594"/>
                <a:gd name="connsiteX30" fmla="*/ 3196911 w 3626241"/>
                <a:gd name="connsiteY30" fmla="*/ 74987 h 1607594"/>
                <a:gd name="connsiteX31" fmla="*/ 3204036 w 3626241"/>
                <a:gd name="connsiteY31" fmla="*/ 77940 h 1607594"/>
                <a:gd name="connsiteX32" fmla="*/ 3216845 w 3626241"/>
                <a:gd name="connsiteY32" fmla="*/ 84589 h 1607594"/>
                <a:gd name="connsiteX33" fmla="*/ 3242522 w 3626241"/>
                <a:gd name="connsiteY33" fmla="*/ 96956 h 1607594"/>
                <a:gd name="connsiteX34" fmla="*/ 3256996 w 3626241"/>
                <a:gd name="connsiteY34" fmla="*/ 105431 h 1607594"/>
                <a:gd name="connsiteX35" fmla="*/ 3264998 w 3626241"/>
                <a:gd name="connsiteY35" fmla="*/ 109585 h 1607594"/>
                <a:gd name="connsiteX36" fmla="*/ 3275898 w 3626241"/>
                <a:gd name="connsiteY36" fmla="*/ 116499 h 1607594"/>
                <a:gd name="connsiteX37" fmla="*/ 3297679 w 3626241"/>
                <a:gd name="connsiteY37" fmla="*/ 129253 h 1607594"/>
                <a:gd name="connsiteX38" fmla="*/ 3313704 w 3626241"/>
                <a:gd name="connsiteY38" fmla="*/ 140480 h 1607594"/>
                <a:gd name="connsiteX39" fmla="*/ 3322343 w 3626241"/>
                <a:gd name="connsiteY39" fmla="*/ 145960 h 1607594"/>
                <a:gd name="connsiteX40" fmla="*/ 3331354 w 3626241"/>
                <a:gd name="connsiteY40" fmla="*/ 152846 h 1607594"/>
                <a:gd name="connsiteX41" fmla="*/ 3349502 w 3626241"/>
                <a:gd name="connsiteY41" fmla="*/ 165561 h 1607594"/>
                <a:gd name="connsiteX42" fmla="*/ 3366741 w 3626241"/>
                <a:gd name="connsiteY42" fmla="*/ 179887 h 1607594"/>
                <a:gd name="connsiteX43" fmla="*/ 3375750 w 3626241"/>
                <a:gd name="connsiteY43" fmla="*/ 186772 h 1607594"/>
                <a:gd name="connsiteX44" fmla="*/ 3382956 w 3626241"/>
                <a:gd name="connsiteY44" fmla="*/ 193363 h 1607594"/>
                <a:gd name="connsiteX45" fmla="*/ 3397726 w 3626241"/>
                <a:gd name="connsiteY45" fmla="*/ 205638 h 1607594"/>
                <a:gd name="connsiteX46" fmla="*/ 3415817 w 3626241"/>
                <a:gd name="connsiteY46" fmla="*/ 223422 h 1607594"/>
                <a:gd name="connsiteX47" fmla="*/ 3424898 w 3626241"/>
                <a:gd name="connsiteY47" fmla="*/ 231728 h 1607594"/>
                <a:gd name="connsiteX48" fmla="*/ 3430428 w 3626241"/>
                <a:gd name="connsiteY48" fmla="*/ 237784 h 1607594"/>
                <a:gd name="connsiteX49" fmla="*/ 3442087 w 3626241"/>
                <a:gd name="connsiteY49" fmla="*/ 249246 h 1607594"/>
                <a:gd name="connsiteX50" fmla="*/ 3460650 w 3626241"/>
                <a:gd name="connsiteY50" fmla="*/ 270883 h 1607594"/>
                <a:gd name="connsiteX51" fmla="*/ 3469466 w 3626241"/>
                <a:gd name="connsiteY51" fmla="*/ 280538 h 1607594"/>
                <a:gd name="connsiteX52" fmla="*/ 3473482 w 3626241"/>
                <a:gd name="connsiteY52" fmla="*/ 285840 h 1607594"/>
                <a:gd name="connsiteX53" fmla="*/ 3482320 w 3626241"/>
                <a:gd name="connsiteY53" fmla="*/ 296142 h 1607594"/>
                <a:gd name="connsiteX54" fmla="*/ 3500979 w 3626241"/>
                <a:gd name="connsiteY54" fmla="*/ 322143 h 1607594"/>
                <a:gd name="connsiteX55" fmla="*/ 3509133 w 3626241"/>
                <a:gd name="connsiteY55" fmla="*/ 332909 h 1607594"/>
                <a:gd name="connsiteX56" fmla="*/ 3511826 w 3626241"/>
                <a:gd name="connsiteY56" fmla="*/ 337259 h 1607594"/>
                <a:gd name="connsiteX57" fmla="*/ 3518162 w 3626241"/>
                <a:gd name="connsiteY57" fmla="*/ 346088 h 1607594"/>
                <a:gd name="connsiteX58" fmla="*/ 3536579 w 3626241"/>
                <a:gd name="connsiteY58" fmla="*/ 377243 h 1607594"/>
                <a:gd name="connsiteX59" fmla="*/ 3543579 w 3626241"/>
                <a:gd name="connsiteY59" fmla="*/ 388549 h 1607594"/>
                <a:gd name="connsiteX60" fmla="*/ 3545166 w 3626241"/>
                <a:gd name="connsiteY60" fmla="*/ 391768 h 1607594"/>
                <a:gd name="connsiteX61" fmla="*/ 3549348 w 3626241"/>
                <a:gd name="connsiteY61" fmla="*/ 398843 h 1607594"/>
                <a:gd name="connsiteX62" fmla="*/ 3567343 w 3626241"/>
                <a:gd name="connsiteY62" fmla="*/ 436747 h 1607594"/>
                <a:gd name="connsiteX63" fmla="*/ 3572481 w 3626241"/>
                <a:gd name="connsiteY63" fmla="*/ 447167 h 1607594"/>
                <a:gd name="connsiteX64" fmla="*/ 3573205 w 3626241"/>
                <a:gd name="connsiteY64" fmla="*/ 449094 h 1607594"/>
                <a:gd name="connsiteX65" fmla="*/ 3575613 w 3626241"/>
                <a:gd name="connsiteY65" fmla="*/ 454166 h 1607594"/>
                <a:gd name="connsiteX66" fmla="*/ 3593679 w 3626241"/>
                <a:gd name="connsiteY66" fmla="*/ 503573 h 1607594"/>
                <a:gd name="connsiteX67" fmla="*/ 3595519 w 3626241"/>
                <a:gd name="connsiteY67" fmla="*/ 508470 h 1607594"/>
                <a:gd name="connsiteX68" fmla="*/ 3595649 w 3626241"/>
                <a:gd name="connsiteY68" fmla="*/ 508962 h 1607594"/>
                <a:gd name="connsiteX69" fmla="*/ 3596693 w 3626241"/>
                <a:gd name="connsiteY69" fmla="*/ 511816 h 1607594"/>
                <a:gd name="connsiteX70" fmla="*/ 3622242 w 3626241"/>
                <a:gd name="connsiteY70" fmla="*/ 633141 h 1607594"/>
                <a:gd name="connsiteX71" fmla="*/ 3622395 w 3626241"/>
                <a:gd name="connsiteY71" fmla="*/ 635897 h 1607594"/>
                <a:gd name="connsiteX72" fmla="*/ 3622720 w 3626241"/>
                <a:gd name="connsiteY72" fmla="*/ 637966 h 1607594"/>
                <a:gd name="connsiteX73" fmla="*/ 3624495 w 3626241"/>
                <a:gd name="connsiteY73" fmla="*/ 672064 h 1607594"/>
                <a:gd name="connsiteX74" fmla="*/ 3626240 w 3626241"/>
                <a:gd name="connsiteY74" fmla="*/ 672064 h 1607594"/>
                <a:gd name="connsiteX75" fmla="*/ 3626240 w 3626241"/>
                <a:gd name="connsiteY75" fmla="*/ 705146 h 1607594"/>
                <a:gd name="connsiteX76" fmla="*/ 3626241 w 3626241"/>
                <a:gd name="connsiteY76" fmla="*/ 705152 h 1607594"/>
                <a:gd name="connsiteX77" fmla="*/ 3626240 w 3626241"/>
                <a:gd name="connsiteY77" fmla="*/ 705159 h 1607594"/>
                <a:gd name="connsiteX78" fmla="*/ 3626240 w 3626241"/>
                <a:gd name="connsiteY78" fmla="*/ 705574 h 1607594"/>
                <a:gd name="connsiteX79" fmla="*/ 3626240 w 3626241"/>
                <a:gd name="connsiteY79" fmla="*/ 869363 h 1607594"/>
                <a:gd name="connsiteX80" fmla="*/ 3626240 w 3626241"/>
                <a:gd name="connsiteY80" fmla="*/ 902444 h 1607594"/>
                <a:gd name="connsiteX81" fmla="*/ 3626241 w 3626241"/>
                <a:gd name="connsiteY81" fmla="*/ 902451 h 1607594"/>
                <a:gd name="connsiteX82" fmla="*/ 3626240 w 3626241"/>
                <a:gd name="connsiteY82" fmla="*/ 902457 h 1607594"/>
                <a:gd name="connsiteX83" fmla="*/ 3626240 w 3626241"/>
                <a:gd name="connsiteY83" fmla="*/ 902873 h 1607594"/>
                <a:gd name="connsiteX84" fmla="*/ 3626240 w 3626241"/>
                <a:gd name="connsiteY84" fmla="*/ 1409462 h 1607594"/>
                <a:gd name="connsiteX85" fmla="*/ 3626240 w 3626241"/>
                <a:gd name="connsiteY85" fmla="*/ 1606761 h 1607594"/>
                <a:gd name="connsiteX86" fmla="*/ 3246228 w 3626241"/>
                <a:gd name="connsiteY86" fmla="*/ 1606761 h 1607594"/>
                <a:gd name="connsiteX87" fmla="*/ 2892478 w 3626241"/>
                <a:gd name="connsiteY87" fmla="*/ 1606761 h 1607594"/>
                <a:gd name="connsiteX88" fmla="*/ 2892478 w 3626241"/>
                <a:gd name="connsiteY88" fmla="*/ 1607594 h 1607594"/>
                <a:gd name="connsiteX89" fmla="*/ 2851429 w 3626241"/>
                <a:gd name="connsiteY89" fmla="*/ 1607594 h 1607594"/>
                <a:gd name="connsiteX90" fmla="*/ 2512466 w 3626241"/>
                <a:gd name="connsiteY90" fmla="*/ 1607594 h 1607594"/>
                <a:gd name="connsiteX91" fmla="*/ 2471417 w 3626241"/>
                <a:gd name="connsiteY91" fmla="*/ 1607594 h 1607594"/>
                <a:gd name="connsiteX92" fmla="*/ 1790092 w 3626241"/>
                <a:gd name="connsiteY92" fmla="*/ 1607594 h 1607594"/>
                <a:gd name="connsiteX93" fmla="*/ 1231616 w 3626241"/>
                <a:gd name="connsiteY93" fmla="*/ 1607594 h 1607594"/>
                <a:gd name="connsiteX94" fmla="*/ 851604 w 3626241"/>
                <a:gd name="connsiteY94" fmla="*/ 1607594 h 1607594"/>
                <a:gd name="connsiteX95" fmla="*/ 0 w 3626241"/>
                <a:gd name="connsiteY95" fmla="*/ 1607594 h 160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3626241" h="1607594">
                  <a:moveTo>
                    <a:pt x="0" y="0"/>
                  </a:moveTo>
                  <a:lnTo>
                    <a:pt x="810554" y="0"/>
                  </a:lnTo>
                  <a:lnTo>
                    <a:pt x="851604" y="0"/>
                  </a:lnTo>
                  <a:lnTo>
                    <a:pt x="1190566" y="0"/>
                  </a:lnTo>
                  <a:lnTo>
                    <a:pt x="1231616" y="0"/>
                  </a:lnTo>
                  <a:lnTo>
                    <a:pt x="1790092" y="0"/>
                  </a:lnTo>
                  <a:lnTo>
                    <a:pt x="2471417" y="0"/>
                  </a:lnTo>
                  <a:lnTo>
                    <a:pt x="2851429" y="0"/>
                  </a:lnTo>
                  <a:lnTo>
                    <a:pt x="2851429" y="842"/>
                  </a:lnTo>
                  <a:lnTo>
                    <a:pt x="2851661" y="842"/>
                  </a:lnTo>
                  <a:lnTo>
                    <a:pt x="2861601" y="842"/>
                  </a:lnTo>
                  <a:lnTo>
                    <a:pt x="2892478" y="842"/>
                  </a:lnTo>
                  <a:lnTo>
                    <a:pt x="2892478" y="2599"/>
                  </a:lnTo>
                  <a:lnTo>
                    <a:pt x="2925970" y="4041"/>
                  </a:lnTo>
                  <a:lnTo>
                    <a:pt x="2928851" y="4408"/>
                  </a:lnTo>
                  <a:lnTo>
                    <a:pt x="2930440" y="4481"/>
                  </a:lnTo>
                  <a:lnTo>
                    <a:pt x="2945546" y="6533"/>
                  </a:lnTo>
                  <a:lnTo>
                    <a:pt x="2993835" y="12680"/>
                  </a:lnTo>
                  <a:lnTo>
                    <a:pt x="2999389" y="13848"/>
                  </a:lnTo>
                  <a:lnTo>
                    <a:pt x="3002660" y="14293"/>
                  </a:lnTo>
                  <a:lnTo>
                    <a:pt x="3019546" y="18089"/>
                  </a:lnTo>
                  <a:lnTo>
                    <a:pt x="3059687" y="26532"/>
                  </a:lnTo>
                  <a:lnTo>
                    <a:pt x="3067808" y="28936"/>
                  </a:lnTo>
                  <a:lnTo>
                    <a:pt x="3072546" y="30002"/>
                  </a:lnTo>
                  <a:lnTo>
                    <a:pt x="3088701" y="35122"/>
                  </a:lnTo>
                  <a:lnTo>
                    <a:pt x="3123262" y="45355"/>
                  </a:lnTo>
                  <a:lnTo>
                    <a:pt x="3133749" y="49402"/>
                  </a:lnTo>
                  <a:lnTo>
                    <a:pt x="3139779" y="51314"/>
                  </a:lnTo>
                  <a:lnTo>
                    <a:pt x="3154407" y="57375"/>
                  </a:lnTo>
                  <a:lnTo>
                    <a:pt x="3184295" y="68910"/>
                  </a:lnTo>
                  <a:lnTo>
                    <a:pt x="3196911" y="74987"/>
                  </a:lnTo>
                  <a:lnTo>
                    <a:pt x="3204036" y="77940"/>
                  </a:lnTo>
                  <a:lnTo>
                    <a:pt x="3216845" y="84589"/>
                  </a:lnTo>
                  <a:lnTo>
                    <a:pt x="3242522" y="96956"/>
                  </a:lnTo>
                  <a:lnTo>
                    <a:pt x="3256996" y="105431"/>
                  </a:lnTo>
                  <a:lnTo>
                    <a:pt x="3264998" y="109585"/>
                  </a:lnTo>
                  <a:lnTo>
                    <a:pt x="3275898" y="116499"/>
                  </a:lnTo>
                  <a:lnTo>
                    <a:pt x="3297679" y="129253"/>
                  </a:lnTo>
                  <a:lnTo>
                    <a:pt x="3313704" y="140480"/>
                  </a:lnTo>
                  <a:lnTo>
                    <a:pt x="3322343" y="145960"/>
                  </a:lnTo>
                  <a:lnTo>
                    <a:pt x="3331354" y="152846"/>
                  </a:lnTo>
                  <a:lnTo>
                    <a:pt x="3349502" y="165561"/>
                  </a:lnTo>
                  <a:lnTo>
                    <a:pt x="3366741" y="179887"/>
                  </a:lnTo>
                  <a:lnTo>
                    <a:pt x="3375750" y="186772"/>
                  </a:lnTo>
                  <a:lnTo>
                    <a:pt x="3382956" y="193363"/>
                  </a:lnTo>
                  <a:lnTo>
                    <a:pt x="3397726" y="205638"/>
                  </a:lnTo>
                  <a:lnTo>
                    <a:pt x="3415817" y="223422"/>
                  </a:lnTo>
                  <a:lnTo>
                    <a:pt x="3424898" y="231728"/>
                  </a:lnTo>
                  <a:lnTo>
                    <a:pt x="3430428" y="237784"/>
                  </a:lnTo>
                  <a:lnTo>
                    <a:pt x="3442087" y="249246"/>
                  </a:lnTo>
                  <a:lnTo>
                    <a:pt x="3460650" y="270883"/>
                  </a:lnTo>
                  <a:lnTo>
                    <a:pt x="3469466" y="280538"/>
                  </a:lnTo>
                  <a:lnTo>
                    <a:pt x="3473482" y="285840"/>
                  </a:lnTo>
                  <a:lnTo>
                    <a:pt x="3482320" y="296142"/>
                  </a:lnTo>
                  <a:lnTo>
                    <a:pt x="3500979" y="322143"/>
                  </a:lnTo>
                  <a:lnTo>
                    <a:pt x="3509133" y="332909"/>
                  </a:lnTo>
                  <a:lnTo>
                    <a:pt x="3511826" y="337259"/>
                  </a:lnTo>
                  <a:lnTo>
                    <a:pt x="3518162" y="346088"/>
                  </a:lnTo>
                  <a:lnTo>
                    <a:pt x="3536579" y="377243"/>
                  </a:lnTo>
                  <a:lnTo>
                    <a:pt x="3543579" y="388549"/>
                  </a:lnTo>
                  <a:lnTo>
                    <a:pt x="3545166" y="391768"/>
                  </a:lnTo>
                  <a:lnTo>
                    <a:pt x="3549348" y="398843"/>
                  </a:lnTo>
                  <a:lnTo>
                    <a:pt x="3567343" y="436747"/>
                  </a:lnTo>
                  <a:lnTo>
                    <a:pt x="3572481" y="447167"/>
                  </a:lnTo>
                  <a:lnTo>
                    <a:pt x="3573205" y="449094"/>
                  </a:lnTo>
                  <a:lnTo>
                    <a:pt x="3575613" y="454166"/>
                  </a:lnTo>
                  <a:lnTo>
                    <a:pt x="3593679" y="503573"/>
                  </a:lnTo>
                  <a:lnTo>
                    <a:pt x="3595519" y="508470"/>
                  </a:lnTo>
                  <a:lnTo>
                    <a:pt x="3595649" y="508962"/>
                  </a:lnTo>
                  <a:lnTo>
                    <a:pt x="3596693" y="511816"/>
                  </a:lnTo>
                  <a:cubicBezTo>
                    <a:pt x="3608960" y="550973"/>
                    <a:pt x="3617593" y="591521"/>
                    <a:pt x="3622242" y="633141"/>
                  </a:cubicBezTo>
                  <a:lnTo>
                    <a:pt x="3622395" y="635897"/>
                  </a:lnTo>
                  <a:lnTo>
                    <a:pt x="3622720" y="637966"/>
                  </a:lnTo>
                  <a:lnTo>
                    <a:pt x="3624495" y="672064"/>
                  </a:lnTo>
                  <a:lnTo>
                    <a:pt x="3626240" y="672064"/>
                  </a:lnTo>
                  <a:lnTo>
                    <a:pt x="3626240" y="705146"/>
                  </a:lnTo>
                  <a:lnTo>
                    <a:pt x="3626241" y="705152"/>
                  </a:lnTo>
                  <a:lnTo>
                    <a:pt x="3626240" y="705159"/>
                  </a:lnTo>
                  <a:lnTo>
                    <a:pt x="3626240" y="705574"/>
                  </a:lnTo>
                  <a:lnTo>
                    <a:pt x="3626240" y="869363"/>
                  </a:lnTo>
                  <a:lnTo>
                    <a:pt x="3626240" y="902444"/>
                  </a:lnTo>
                  <a:lnTo>
                    <a:pt x="3626241" y="902451"/>
                  </a:lnTo>
                  <a:lnTo>
                    <a:pt x="3626240" y="902457"/>
                  </a:lnTo>
                  <a:lnTo>
                    <a:pt x="3626240" y="902873"/>
                  </a:lnTo>
                  <a:lnTo>
                    <a:pt x="3626240" y="1409462"/>
                  </a:lnTo>
                  <a:lnTo>
                    <a:pt x="3626240" y="1606761"/>
                  </a:lnTo>
                  <a:lnTo>
                    <a:pt x="3246228" y="1606761"/>
                  </a:lnTo>
                  <a:lnTo>
                    <a:pt x="2892478" y="1606761"/>
                  </a:lnTo>
                  <a:lnTo>
                    <a:pt x="2892478" y="1607594"/>
                  </a:lnTo>
                  <a:lnTo>
                    <a:pt x="2851429" y="1607594"/>
                  </a:lnTo>
                  <a:lnTo>
                    <a:pt x="2512466" y="1607594"/>
                  </a:lnTo>
                  <a:lnTo>
                    <a:pt x="2471417" y="1607594"/>
                  </a:lnTo>
                  <a:lnTo>
                    <a:pt x="1790092" y="1607594"/>
                  </a:lnTo>
                  <a:lnTo>
                    <a:pt x="1231616" y="1607594"/>
                  </a:lnTo>
                  <a:lnTo>
                    <a:pt x="851604" y="1607594"/>
                  </a:lnTo>
                  <a:lnTo>
                    <a:pt x="0" y="1607594"/>
                  </a:lnTo>
                  <a:close/>
                </a:path>
              </a:pathLst>
            </a:custGeom>
            <a:solidFill>
              <a:srgbClr val="FEB81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BA28A548-C565-0044-B8E7-14D32DAABEC6}"/>
                </a:ext>
              </a:extLst>
            </p:cNvPr>
            <p:cNvSpPr/>
            <p:nvPr/>
          </p:nvSpPr>
          <p:spPr>
            <a:xfrm>
              <a:off x="1654195" y="4783325"/>
              <a:ext cx="4928410" cy="1856234"/>
            </a:xfrm>
            <a:prstGeom prst="rect">
              <a:avLst/>
            </a:prstGeom>
            <a:solidFill>
              <a:srgbClr val="FFB91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66" name="Rectangle 65">
            <a:extLst>
              <a:ext uri="{FF2B5EF4-FFF2-40B4-BE49-F238E27FC236}">
                <a16:creationId xmlns:a16="http://schemas.microsoft.com/office/drawing/2014/main" id="{784601E3-6B92-6446-943A-C1B388C5F971}"/>
              </a:ext>
            </a:extLst>
          </p:cNvPr>
          <p:cNvSpPr/>
          <p:nvPr/>
        </p:nvSpPr>
        <p:spPr>
          <a:xfrm>
            <a:off x="8245199" y="2275838"/>
            <a:ext cx="3946800" cy="615553"/>
          </a:xfrm>
          <a:prstGeom prst="rect">
            <a:avLst/>
          </a:prstGeom>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2000" b="1" i="0" u="none" strike="noStrike" kern="1200" cap="none" spc="0" normalizeH="0" baseline="0" noProof="0" dirty="0">
                <a:ln>
                  <a:noFill/>
                </a:ln>
                <a:solidFill>
                  <a:srgbClr val="1D3166"/>
                </a:solidFill>
                <a:effectLst/>
                <a:uLnTx/>
                <a:uFillTx/>
                <a:latin typeface="Montserrat" pitchFamily="2" charset="77"/>
                <a:ea typeface="+mn-ea"/>
                <a:cs typeface="Segoe UI" panose="020B0502040204020203" pitchFamily="34" charset="0"/>
              </a:rPr>
              <a:t>PENGAWASA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2000" b="1" i="0" u="none" strike="noStrike" kern="1200" cap="none" spc="0" normalizeH="0" baseline="0" noProof="0" dirty="0">
                <a:ln>
                  <a:noFill/>
                </a:ln>
                <a:solidFill>
                  <a:srgbClr val="1D3166"/>
                </a:solidFill>
                <a:effectLst/>
                <a:uLnTx/>
                <a:uFillTx/>
                <a:latin typeface="Montserrat" pitchFamily="2" charset="77"/>
                <a:ea typeface="+mn-ea"/>
                <a:cs typeface="Segoe UI" panose="020B0502040204020203" pitchFamily="34" charset="0"/>
              </a:rPr>
              <a:t>INSIDENTAL</a:t>
            </a:r>
          </a:p>
        </p:txBody>
      </p:sp>
      <p:pic>
        <p:nvPicPr>
          <p:cNvPr id="67" name="Picture 66">
            <a:extLst>
              <a:ext uri="{FF2B5EF4-FFF2-40B4-BE49-F238E27FC236}">
                <a16:creationId xmlns:a16="http://schemas.microsoft.com/office/drawing/2014/main" id="{7073931B-636D-6D43-A0F2-70B4F097006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95310" y="69169"/>
            <a:ext cx="1861426" cy="617556"/>
          </a:xfrm>
          <a:prstGeom prst="rect">
            <a:avLst/>
          </a:prstGeom>
        </p:spPr>
      </p:pic>
      <p:sp>
        <p:nvSpPr>
          <p:cNvPr id="29" name="Title 1">
            <a:extLst>
              <a:ext uri="{FF2B5EF4-FFF2-40B4-BE49-F238E27FC236}">
                <a16:creationId xmlns:a16="http://schemas.microsoft.com/office/drawing/2014/main" id="{4993621C-428B-7C45-8F6D-AEB18D6A0804}"/>
              </a:ext>
            </a:extLst>
          </p:cNvPr>
          <p:cNvSpPr txBox="1">
            <a:spLocks/>
          </p:cNvSpPr>
          <p:nvPr/>
        </p:nvSpPr>
        <p:spPr>
          <a:xfrm>
            <a:off x="4824891" y="195686"/>
            <a:ext cx="3198222" cy="443061"/>
          </a:xfrm>
          <a:prstGeom prst="rect">
            <a:avLst/>
          </a:prstGeom>
        </p:spPr>
        <p:txBody>
          <a:bodyP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309" rtl="0" eaLnBrk="1" fontAlgn="auto" latinLnBrk="0" hangingPunct="1">
              <a:lnSpc>
                <a:spcPct val="100000"/>
              </a:lnSpc>
              <a:spcBef>
                <a:spcPts val="0"/>
              </a:spcBef>
              <a:spcAft>
                <a:spcPts val="0"/>
              </a:spcAft>
              <a:buClr>
                <a:srgbClr val="000000"/>
              </a:buClr>
              <a:buSzTx/>
              <a:buFont typeface="Arial"/>
              <a:buNone/>
              <a:tabLst/>
              <a:defRPr/>
            </a:pPr>
            <a:r>
              <a:rPr kumimoji="0" lang="en-US" sz="3600" b="0" i="0" u="none" strike="noStrike" kern="1200" cap="none" spc="0" normalizeH="0" baseline="0" noProof="0" dirty="0">
                <a:ln w="0"/>
                <a:solidFill>
                  <a:srgbClr val="1D3166"/>
                </a:solidFill>
                <a:effectLst/>
                <a:uLnTx/>
                <a:uFillTx/>
                <a:latin typeface="Montserrat" pitchFamily="2" charset="77"/>
                <a:ea typeface="Tahoma" pitchFamily="34" charset="0"/>
                <a:cs typeface="Tahoma" pitchFamily="34" charset="0"/>
                <a:sym typeface="Arial"/>
              </a:rPr>
              <a:t>PASAL 11</a:t>
            </a:r>
          </a:p>
        </p:txBody>
      </p:sp>
      <p:sp>
        <p:nvSpPr>
          <p:cNvPr id="28" name="Rectangle 27">
            <a:extLst>
              <a:ext uri="{FF2B5EF4-FFF2-40B4-BE49-F238E27FC236}">
                <a16:creationId xmlns:a16="http://schemas.microsoft.com/office/drawing/2014/main" id="{6E9BFEF7-36F3-1648-872C-B535A7A17E4C}"/>
              </a:ext>
            </a:extLst>
          </p:cNvPr>
          <p:cNvSpPr/>
          <p:nvPr/>
        </p:nvSpPr>
        <p:spPr>
          <a:xfrm>
            <a:off x="5563270" y="948073"/>
            <a:ext cx="5752430" cy="553998"/>
          </a:xfrm>
          <a:prstGeom prst="rect">
            <a:avLst/>
          </a:prstGeom>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3600" b="1" i="0" u="none" strike="noStrike" kern="1200" cap="none" spc="0" normalizeH="0" baseline="0" noProof="0" dirty="0">
                <a:ln>
                  <a:noFill/>
                </a:ln>
                <a:solidFill>
                  <a:prstClr val="white"/>
                </a:solidFill>
                <a:effectLst/>
                <a:uLnTx/>
                <a:uFillTx/>
                <a:latin typeface="Montserrat" pitchFamily="2" charset="77"/>
                <a:ea typeface="+mn-ea"/>
                <a:cs typeface="Segoe UI" panose="020B0502040204020203" pitchFamily="34" charset="0"/>
              </a:rPr>
              <a:t>JENIS PENGAWASAN</a:t>
            </a:r>
          </a:p>
        </p:txBody>
      </p:sp>
      <p:sp>
        <p:nvSpPr>
          <p:cNvPr id="31" name="Freeform: Shape 27">
            <a:extLst>
              <a:ext uri="{FF2B5EF4-FFF2-40B4-BE49-F238E27FC236}">
                <a16:creationId xmlns:a16="http://schemas.microsoft.com/office/drawing/2014/main" id="{8DA27006-C35C-2A42-9277-65269E22C143}"/>
              </a:ext>
            </a:extLst>
          </p:cNvPr>
          <p:cNvSpPr/>
          <p:nvPr/>
        </p:nvSpPr>
        <p:spPr>
          <a:xfrm rot="10800000" flipH="1">
            <a:off x="1114366" y="1579526"/>
            <a:ext cx="1231988" cy="1231988"/>
          </a:xfrm>
          <a:custGeom>
            <a:avLst/>
            <a:gdLst>
              <a:gd name="connsiteX0" fmla="*/ 2133600 w 4325258"/>
              <a:gd name="connsiteY0" fmla="*/ 0 h 4325258"/>
              <a:gd name="connsiteX1" fmla="*/ 2162629 w 4325258"/>
              <a:gd name="connsiteY1" fmla="*/ 0 h 4325258"/>
              <a:gd name="connsiteX2" fmla="*/ 4325257 w 4325258"/>
              <a:gd name="connsiteY2" fmla="*/ 0 h 4325258"/>
              <a:gd name="connsiteX3" fmla="*/ 4325257 w 4325258"/>
              <a:gd name="connsiteY3" fmla="*/ 2162609 h 4325258"/>
              <a:gd name="connsiteX4" fmla="*/ 4325258 w 4325258"/>
              <a:gd name="connsiteY4" fmla="*/ 2162629 h 4325258"/>
              <a:gd name="connsiteX5" fmla="*/ 4325257 w 4325258"/>
              <a:gd name="connsiteY5" fmla="*/ 2162650 h 4325258"/>
              <a:gd name="connsiteX6" fmla="*/ 4325257 w 4325258"/>
              <a:gd name="connsiteY6" fmla="*/ 2264228 h 4325258"/>
              <a:gd name="connsiteX7" fmla="*/ 4320128 w 4325258"/>
              <a:gd name="connsiteY7" fmla="*/ 2264228 h 4325258"/>
              <a:gd name="connsiteX8" fmla="*/ 4314093 w 4325258"/>
              <a:gd name="connsiteY8" fmla="*/ 2383745 h 4325258"/>
              <a:gd name="connsiteX9" fmla="*/ 2162629 w 4325258"/>
              <a:gd name="connsiteY9" fmla="*/ 4325258 h 4325258"/>
              <a:gd name="connsiteX10" fmla="*/ 0 w 4325258"/>
              <a:gd name="connsiteY10" fmla="*/ 2162629 h 4325258"/>
              <a:gd name="connsiteX11" fmla="*/ 1941513 w 4325258"/>
              <a:gd name="connsiteY11" fmla="*/ 11166 h 4325258"/>
              <a:gd name="connsiteX12" fmla="*/ 2133600 w 4325258"/>
              <a:gd name="connsiteY12" fmla="*/ 1466 h 432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25258" h="4325258">
                <a:moveTo>
                  <a:pt x="2133600" y="0"/>
                </a:moveTo>
                <a:lnTo>
                  <a:pt x="2162629" y="0"/>
                </a:lnTo>
                <a:lnTo>
                  <a:pt x="4325257" y="0"/>
                </a:lnTo>
                <a:lnTo>
                  <a:pt x="4325257" y="2162609"/>
                </a:lnTo>
                <a:lnTo>
                  <a:pt x="4325258" y="2162629"/>
                </a:lnTo>
                <a:lnTo>
                  <a:pt x="4325257" y="2162650"/>
                </a:lnTo>
                <a:lnTo>
                  <a:pt x="4325257" y="2264228"/>
                </a:lnTo>
                <a:lnTo>
                  <a:pt x="4320128" y="2264228"/>
                </a:lnTo>
                <a:lnTo>
                  <a:pt x="4314093" y="2383745"/>
                </a:lnTo>
                <a:cubicBezTo>
                  <a:pt x="4203344" y="3474264"/>
                  <a:pt x="3282367" y="4325258"/>
                  <a:pt x="2162629" y="4325258"/>
                </a:cubicBezTo>
                <a:cubicBezTo>
                  <a:pt x="968242" y="4325258"/>
                  <a:pt x="0" y="3357016"/>
                  <a:pt x="0" y="2162629"/>
                </a:cubicBezTo>
                <a:cubicBezTo>
                  <a:pt x="0" y="1042891"/>
                  <a:pt x="850994" y="121914"/>
                  <a:pt x="1941513" y="11166"/>
                </a:cubicBezTo>
                <a:lnTo>
                  <a:pt x="2133600" y="1466"/>
                </a:lnTo>
                <a:close/>
              </a:path>
            </a:pathLst>
          </a:cu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 name="Group 5">
            <a:extLst>
              <a:ext uri="{FF2B5EF4-FFF2-40B4-BE49-F238E27FC236}">
                <a16:creationId xmlns:a16="http://schemas.microsoft.com/office/drawing/2014/main" id="{A856E6D9-5A2D-9A4B-8343-8673010F9B44}"/>
              </a:ext>
            </a:extLst>
          </p:cNvPr>
          <p:cNvGrpSpPr/>
          <p:nvPr/>
        </p:nvGrpSpPr>
        <p:grpSpPr>
          <a:xfrm>
            <a:off x="6899887" y="2184063"/>
            <a:ext cx="4935391" cy="4455496"/>
            <a:chOff x="6899887" y="2184063"/>
            <a:chExt cx="4935391" cy="4455496"/>
          </a:xfrm>
        </p:grpSpPr>
        <p:sp>
          <p:nvSpPr>
            <p:cNvPr id="60" name="Freeform: Shape 59">
              <a:extLst>
                <a:ext uri="{FF2B5EF4-FFF2-40B4-BE49-F238E27FC236}">
                  <a16:creationId xmlns:a16="http://schemas.microsoft.com/office/drawing/2014/main" id="{06A8BAAC-2F80-4B6E-B89A-93C26A792873}"/>
                </a:ext>
              </a:extLst>
            </p:cNvPr>
            <p:cNvSpPr/>
            <p:nvPr/>
          </p:nvSpPr>
          <p:spPr>
            <a:xfrm>
              <a:off x="6899887" y="2184063"/>
              <a:ext cx="4935391" cy="2635690"/>
            </a:xfrm>
            <a:custGeom>
              <a:avLst/>
              <a:gdLst>
                <a:gd name="connsiteX0" fmla="*/ 0 w 3626241"/>
                <a:gd name="connsiteY0" fmla="*/ 0 h 1607594"/>
                <a:gd name="connsiteX1" fmla="*/ 810554 w 3626241"/>
                <a:gd name="connsiteY1" fmla="*/ 0 h 1607594"/>
                <a:gd name="connsiteX2" fmla="*/ 851604 w 3626241"/>
                <a:gd name="connsiteY2" fmla="*/ 0 h 1607594"/>
                <a:gd name="connsiteX3" fmla="*/ 1190566 w 3626241"/>
                <a:gd name="connsiteY3" fmla="*/ 0 h 1607594"/>
                <a:gd name="connsiteX4" fmla="*/ 1231616 w 3626241"/>
                <a:gd name="connsiteY4" fmla="*/ 0 h 1607594"/>
                <a:gd name="connsiteX5" fmla="*/ 1790092 w 3626241"/>
                <a:gd name="connsiteY5" fmla="*/ 0 h 1607594"/>
                <a:gd name="connsiteX6" fmla="*/ 2471417 w 3626241"/>
                <a:gd name="connsiteY6" fmla="*/ 0 h 1607594"/>
                <a:gd name="connsiteX7" fmla="*/ 2851429 w 3626241"/>
                <a:gd name="connsiteY7" fmla="*/ 0 h 1607594"/>
                <a:gd name="connsiteX8" fmla="*/ 2851429 w 3626241"/>
                <a:gd name="connsiteY8" fmla="*/ 842 h 1607594"/>
                <a:gd name="connsiteX9" fmla="*/ 2851661 w 3626241"/>
                <a:gd name="connsiteY9" fmla="*/ 842 h 1607594"/>
                <a:gd name="connsiteX10" fmla="*/ 2861601 w 3626241"/>
                <a:gd name="connsiteY10" fmla="*/ 842 h 1607594"/>
                <a:gd name="connsiteX11" fmla="*/ 2892478 w 3626241"/>
                <a:gd name="connsiteY11" fmla="*/ 842 h 1607594"/>
                <a:gd name="connsiteX12" fmla="*/ 2892478 w 3626241"/>
                <a:gd name="connsiteY12" fmla="*/ 2599 h 1607594"/>
                <a:gd name="connsiteX13" fmla="*/ 2925970 w 3626241"/>
                <a:gd name="connsiteY13" fmla="*/ 4041 h 1607594"/>
                <a:gd name="connsiteX14" fmla="*/ 2928851 w 3626241"/>
                <a:gd name="connsiteY14" fmla="*/ 4408 h 1607594"/>
                <a:gd name="connsiteX15" fmla="*/ 2930440 w 3626241"/>
                <a:gd name="connsiteY15" fmla="*/ 4481 h 1607594"/>
                <a:gd name="connsiteX16" fmla="*/ 2945546 w 3626241"/>
                <a:gd name="connsiteY16" fmla="*/ 6533 h 1607594"/>
                <a:gd name="connsiteX17" fmla="*/ 2993835 w 3626241"/>
                <a:gd name="connsiteY17" fmla="*/ 12680 h 1607594"/>
                <a:gd name="connsiteX18" fmla="*/ 2999389 w 3626241"/>
                <a:gd name="connsiteY18" fmla="*/ 13848 h 1607594"/>
                <a:gd name="connsiteX19" fmla="*/ 3002660 w 3626241"/>
                <a:gd name="connsiteY19" fmla="*/ 14293 h 1607594"/>
                <a:gd name="connsiteX20" fmla="*/ 3019546 w 3626241"/>
                <a:gd name="connsiteY20" fmla="*/ 18089 h 1607594"/>
                <a:gd name="connsiteX21" fmla="*/ 3059687 w 3626241"/>
                <a:gd name="connsiteY21" fmla="*/ 26532 h 1607594"/>
                <a:gd name="connsiteX22" fmla="*/ 3067808 w 3626241"/>
                <a:gd name="connsiteY22" fmla="*/ 28936 h 1607594"/>
                <a:gd name="connsiteX23" fmla="*/ 3072546 w 3626241"/>
                <a:gd name="connsiteY23" fmla="*/ 30002 h 1607594"/>
                <a:gd name="connsiteX24" fmla="*/ 3088701 w 3626241"/>
                <a:gd name="connsiteY24" fmla="*/ 35122 h 1607594"/>
                <a:gd name="connsiteX25" fmla="*/ 3123262 w 3626241"/>
                <a:gd name="connsiteY25" fmla="*/ 45355 h 1607594"/>
                <a:gd name="connsiteX26" fmla="*/ 3133749 w 3626241"/>
                <a:gd name="connsiteY26" fmla="*/ 49402 h 1607594"/>
                <a:gd name="connsiteX27" fmla="*/ 3139779 w 3626241"/>
                <a:gd name="connsiteY27" fmla="*/ 51314 h 1607594"/>
                <a:gd name="connsiteX28" fmla="*/ 3154407 w 3626241"/>
                <a:gd name="connsiteY28" fmla="*/ 57375 h 1607594"/>
                <a:gd name="connsiteX29" fmla="*/ 3184295 w 3626241"/>
                <a:gd name="connsiteY29" fmla="*/ 68910 h 1607594"/>
                <a:gd name="connsiteX30" fmla="*/ 3196911 w 3626241"/>
                <a:gd name="connsiteY30" fmla="*/ 74987 h 1607594"/>
                <a:gd name="connsiteX31" fmla="*/ 3204036 w 3626241"/>
                <a:gd name="connsiteY31" fmla="*/ 77940 h 1607594"/>
                <a:gd name="connsiteX32" fmla="*/ 3216845 w 3626241"/>
                <a:gd name="connsiteY32" fmla="*/ 84589 h 1607594"/>
                <a:gd name="connsiteX33" fmla="*/ 3242522 w 3626241"/>
                <a:gd name="connsiteY33" fmla="*/ 96956 h 1607594"/>
                <a:gd name="connsiteX34" fmla="*/ 3256996 w 3626241"/>
                <a:gd name="connsiteY34" fmla="*/ 105431 h 1607594"/>
                <a:gd name="connsiteX35" fmla="*/ 3264998 w 3626241"/>
                <a:gd name="connsiteY35" fmla="*/ 109585 h 1607594"/>
                <a:gd name="connsiteX36" fmla="*/ 3275898 w 3626241"/>
                <a:gd name="connsiteY36" fmla="*/ 116499 h 1607594"/>
                <a:gd name="connsiteX37" fmla="*/ 3297679 w 3626241"/>
                <a:gd name="connsiteY37" fmla="*/ 129253 h 1607594"/>
                <a:gd name="connsiteX38" fmla="*/ 3313704 w 3626241"/>
                <a:gd name="connsiteY38" fmla="*/ 140480 h 1607594"/>
                <a:gd name="connsiteX39" fmla="*/ 3322343 w 3626241"/>
                <a:gd name="connsiteY39" fmla="*/ 145960 h 1607594"/>
                <a:gd name="connsiteX40" fmla="*/ 3331354 w 3626241"/>
                <a:gd name="connsiteY40" fmla="*/ 152846 h 1607594"/>
                <a:gd name="connsiteX41" fmla="*/ 3349502 w 3626241"/>
                <a:gd name="connsiteY41" fmla="*/ 165561 h 1607594"/>
                <a:gd name="connsiteX42" fmla="*/ 3366741 w 3626241"/>
                <a:gd name="connsiteY42" fmla="*/ 179887 h 1607594"/>
                <a:gd name="connsiteX43" fmla="*/ 3375750 w 3626241"/>
                <a:gd name="connsiteY43" fmla="*/ 186772 h 1607594"/>
                <a:gd name="connsiteX44" fmla="*/ 3382956 w 3626241"/>
                <a:gd name="connsiteY44" fmla="*/ 193363 h 1607594"/>
                <a:gd name="connsiteX45" fmla="*/ 3397726 w 3626241"/>
                <a:gd name="connsiteY45" fmla="*/ 205638 h 1607594"/>
                <a:gd name="connsiteX46" fmla="*/ 3415817 w 3626241"/>
                <a:gd name="connsiteY46" fmla="*/ 223422 h 1607594"/>
                <a:gd name="connsiteX47" fmla="*/ 3424898 w 3626241"/>
                <a:gd name="connsiteY47" fmla="*/ 231728 h 1607594"/>
                <a:gd name="connsiteX48" fmla="*/ 3430428 w 3626241"/>
                <a:gd name="connsiteY48" fmla="*/ 237784 h 1607594"/>
                <a:gd name="connsiteX49" fmla="*/ 3442087 w 3626241"/>
                <a:gd name="connsiteY49" fmla="*/ 249246 h 1607594"/>
                <a:gd name="connsiteX50" fmla="*/ 3460650 w 3626241"/>
                <a:gd name="connsiteY50" fmla="*/ 270883 h 1607594"/>
                <a:gd name="connsiteX51" fmla="*/ 3469466 w 3626241"/>
                <a:gd name="connsiteY51" fmla="*/ 280538 h 1607594"/>
                <a:gd name="connsiteX52" fmla="*/ 3473482 w 3626241"/>
                <a:gd name="connsiteY52" fmla="*/ 285840 h 1607594"/>
                <a:gd name="connsiteX53" fmla="*/ 3482320 w 3626241"/>
                <a:gd name="connsiteY53" fmla="*/ 296142 h 1607594"/>
                <a:gd name="connsiteX54" fmla="*/ 3500979 w 3626241"/>
                <a:gd name="connsiteY54" fmla="*/ 322143 h 1607594"/>
                <a:gd name="connsiteX55" fmla="*/ 3509133 w 3626241"/>
                <a:gd name="connsiteY55" fmla="*/ 332909 h 1607594"/>
                <a:gd name="connsiteX56" fmla="*/ 3511826 w 3626241"/>
                <a:gd name="connsiteY56" fmla="*/ 337259 h 1607594"/>
                <a:gd name="connsiteX57" fmla="*/ 3518162 w 3626241"/>
                <a:gd name="connsiteY57" fmla="*/ 346088 h 1607594"/>
                <a:gd name="connsiteX58" fmla="*/ 3536579 w 3626241"/>
                <a:gd name="connsiteY58" fmla="*/ 377243 h 1607594"/>
                <a:gd name="connsiteX59" fmla="*/ 3543579 w 3626241"/>
                <a:gd name="connsiteY59" fmla="*/ 388549 h 1607594"/>
                <a:gd name="connsiteX60" fmla="*/ 3545166 w 3626241"/>
                <a:gd name="connsiteY60" fmla="*/ 391768 h 1607594"/>
                <a:gd name="connsiteX61" fmla="*/ 3549348 w 3626241"/>
                <a:gd name="connsiteY61" fmla="*/ 398843 h 1607594"/>
                <a:gd name="connsiteX62" fmla="*/ 3567343 w 3626241"/>
                <a:gd name="connsiteY62" fmla="*/ 436747 h 1607594"/>
                <a:gd name="connsiteX63" fmla="*/ 3572481 w 3626241"/>
                <a:gd name="connsiteY63" fmla="*/ 447167 h 1607594"/>
                <a:gd name="connsiteX64" fmla="*/ 3573205 w 3626241"/>
                <a:gd name="connsiteY64" fmla="*/ 449094 h 1607594"/>
                <a:gd name="connsiteX65" fmla="*/ 3575613 w 3626241"/>
                <a:gd name="connsiteY65" fmla="*/ 454166 h 1607594"/>
                <a:gd name="connsiteX66" fmla="*/ 3593679 w 3626241"/>
                <a:gd name="connsiteY66" fmla="*/ 503573 h 1607594"/>
                <a:gd name="connsiteX67" fmla="*/ 3595519 w 3626241"/>
                <a:gd name="connsiteY67" fmla="*/ 508470 h 1607594"/>
                <a:gd name="connsiteX68" fmla="*/ 3595649 w 3626241"/>
                <a:gd name="connsiteY68" fmla="*/ 508962 h 1607594"/>
                <a:gd name="connsiteX69" fmla="*/ 3596693 w 3626241"/>
                <a:gd name="connsiteY69" fmla="*/ 511816 h 1607594"/>
                <a:gd name="connsiteX70" fmla="*/ 3622242 w 3626241"/>
                <a:gd name="connsiteY70" fmla="*/ 633141 h 1607594"/>
                <a:gd name="connsiteX71" fmla="*/ 3622395 w 3626241"/>
                <a:gd name="connsiteY71" fmla="*/ 635897 h 1607594"/>
                <a:gd name="connsiteX72" fmla="*/ 3622720 w 3626241"/>
                <a:gd name="connsiteY72" fmla="*/ 637966 h 1607594"/>
                <a:gd name="connsiteX73" fmla="*/ 3624495 w 3626241"/>
                <a:gd name="connsiteY73" fmla="*/ 672064 h 1607594"/>
                <a:gd name="connsiteX74" fmla="*/ 3626240 w 3626241"/>
                <a:gd name="connsiteY74" fmla="*/ 672064 h 1607594"/>
                <a:gd name="connsiteX75" fmla="*/ 3626240 w 3626241"/>
                <a:gd name="connsiteY75" fmla="*/ 705146 h 1607594"/>
                <a:gd name="connsiteX76" fmla="*/ 3626241 w 3626241"/>
                <a:gd name="connsiteY76" fmla="*/ 705152 h 1607594"/>
                <a:gd name="connsiteX77" fmla="*/ 3626240 w 3626241"/>
                <a:gd name="connsiteY77" fmla="*/ 705159 h 1607594"/>
                <a:gd name="connsiteX78" fmla="*/ 3626240 w 3626241"/>
                <a:gd name="connsiteY78" fmla="*/ 705574 h 1607594"/>
                <a:gd name="connsiteX79" fmla="*/ 3626240 w 3626241"/>
                <a:gd name="connsiteY79" fmla="*/ 869363 h 1607594"/>
                <a:gd name="connsiteX80" fmla="*/ 3626240 w 3626241"/>
                <a:gd name="connsiteY80" fmla="*/ 902444 h 1607594"/>
                <a:gd name="connsiteX81" fmla="*/ 3626241 w 3626241"/>
                <a:gd name="connsiteY81" fmla="*/ 902451 h 1607594"/>
                <a:gd name="connsiteX82" fmla="*/ 3626240 w 3626241"/>
                <a:gd name="connsiteY82" fmla="*/ 902457 h 1607594"/>
                <a:gd name="connsiteX83" fmla="*/ 3626240 w 3626241"/>
                <a:gd name="connsiteY83" fmla="*/ 902873 h 1607594"/>
                <a:gd name="connsiteX84" fmla="*/ 3626240 w 3626241"/>
                <a:gd name="connsiteY84" fmla="*/ 1409462 h 1607594"/>
                <a:gd name="connsiteX85" fmla="*/ 3626240 w 3626241"/>
                <a:gd name="connsiteY85" fmla="*/ 1606761 h 1607594"/>
                <a:gd name="connsiteX86" fmla="*/ 3246228 w 3626241"/>
                <a:gd name="connsiteY86" fmla="*/ 1606761 h 1607594"/>
                <a:gd name="connsiteX87" fmla="*/ 2892478 w 3626241"/>
                <a:gd name="connsiteY87" fmla="*/ 1606761 h 1607594"/>
                <a:gd name="connsiteX88" fmla="*/ 2892478 w 3626241"/>
                <a:gd name="connsiteY88" fmla="*/ 1607594 h 1607594"/>
                <a:gd name="connsiteX89" fmla="*/ 2851429 w 3626241"/>
                <a:gd name="connsiteY89" fmla="*/ 1607594 h 1607594"/>
                <a:gd name="connsiteX90" fmla="*/ 2512466 w 3626241"/>
                <a:gd name="connsiteY90" fmla="*/ 1607594 h 1607594"/>
                <a:gd name="connsiteX91" fmla="*/ 2471417 w 3626241"/>
                <a:gd name="connsiteY91" fmla="*/ 1607594 h 1607594"/>
                <a:gd name="connsiteX92" fmla="*/ 1790092 w 3626241"/>
                <a:gd name="connsiteY92" fmla="*/ 1607594 h 1607594"/>
                <a:gd name="connsiteX93" fmla="*/ 1231616 w 3626241"/>
                <a:gd name="connsiteY93" fmla="*/ 1607594 h 1607594"/>
                <a:gd name="connsiteX94" fmla="*/ 851604 w 3626241"/>
                <a:gd name="connsiteY94" fmla="*/ 1607594 h 1607594"/>
                <a:gd name="connsiteX95" fmla="*/ 0 w 3626241"/>
                <a:gd name="connsiteY95" fmla="*/ 1607594 h 160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3626241" h="1607594">
                  <a:moveTo>
                    <a:pt x="0" y="0"/>
                  </a:moveTo>
                  <a:lnTo>
                    <a:pt x="810554" y="0"/>
                  </a:lnTo>
                  <a:lnTo>
                    <a:pt x="851604" y="0"/>
                  </a:lnTo>
                  <a:lnTo>
                    <a:pt x="1190566" y="0"/>
                  </a:lnTo>
                  <a:lnTo>
                    <a:pt x="1231616" y="0"/>
                  </a:lnTo>
                  <a:lnTo>
                    <a:pt x="1790092" y="0"/>
                  </a:lnTo>
                  <a:lnTo>
                    <a:pt x="2471417" y="0"/>
                  </a:lnTo>
                  <a:lnTo>
                    <a:pt x="2851429" y="0"/>
                  </a:lnTo>
                  <a:lnTo>
                    <a:pt x="2851429" y="842"/>
                  </a:lnTo>
                  <a:lnTo>
                    <a:pt x="2851661" y="842"/>
                  </a:lnTo>
                  <a:lnTo>
                    <a:pt x="2861601" y="842"/>
                  </a:lnTo>
                  <a:lnTo>
                    <a:pt x="2892478" y="842"/>
                  </a:lnTo>
                  <a:lnTo>
                    <a:pt x="2892478" y="2599"/>
                  </a:lnTo>
                  <a:lnTo>
                    <a:pt x="2925970" y="4041"/>
                  </a:lnTo>
                  <a:lnTo>
                    <a:pt x="2928851" y="4408"/>
                  </a:lnTo>
                  <a:lnTo>
                    <a:pt x="2930440" y="4481"/>
                  </a:lnTo>
                  <a:lnTo>
                    <a:pt x="2945546" y="6533"/>
                  </a:lnTo>
                  <a:lnTo>
                    <a:pt x="2993835" y="12680"/>
                  </a:lnTo>
                  <a:lnTo>
                    <a:pt x="2999389" y="13848"/>
                  </a:lnTo>
                  <a:lnTo>
                    <a:pt x="3002660" y="14293"/>
                  </a:lnTo>
                  <a:lnTo>
                    <a:pt x="3019546" y="18089"/>
                  </a:lnTo>
                  <a:lnTo>
                    <a:pt x="3059687" y="26532"/>
                  </a:lnTo>
                  <a:lnTo>
                    <a:pt x="3067808" y="28936"/>
                  </a:lnTo>
                  <a:lnTo>
                    <a:pt x="3072546" y="30002"/>
                  </a:lnTo>
                  <a:lnTo>
                    <a:pt x="3088701" y="35122"/>
                  </a:lnTo>
                  <a:lnTo>
                    <a:pt x="3123262" y="45355"/>
                  </a:lnTo>
                  <a:lnTo>
                    <a:pt x="3133749" y="49402"/>
                  </a:lnTo>
                  <a:lnTo>
                    <a:pt x="3139779" y="51314"/>
                  </a:lnTo>
                  <a:lnTo>
                    <a:pt x="3154407" y="57375"/>
                  </a:lnTo>
                  <a:lnTo>
                    <a:pt x="3184295" y="68910"/>
                  </a:lnTo>
                  <a:lnTo>
                    <a:pt x="3196911" y="74987"/>
                  </a:lnTo>
                  <a:lnTo>
                    <a:pt x="3204036" y="77940"/>
                  </a:lnTo>
                  <a:lnTo>
                    <a:pt x="3216845" y="84589"/>
                  </a:lnTo>
                  <a:lnTo>
                    <a:pt x="3242522" y="96956"/>
                  </a:lnTo>
                  <a:lnTo>
                    <a:pt x="3256996" y="105431"/>
                  </a:lnTo>
                  <a:lnTo>
                    <a:pt x="3264998" y="109585"/>
                  </a:lnTo>
                  <a:lnTo>
                    <a:pt x="3275898" y="116499"/>
                  </a:lnTo>
                  <a:lnTo>
                    <a:pt x="3297679" y="129253"/>
                  </a:lnTo>
                  <a:lnTo>
                    <a:pt x="3313704" y="140480"/>
                  </a:lnTo>
                  <a:lnTo>
                    <a:pt x="3322343" y="145960"/>
                  </a:lnTo>
                  <a:lnTo>
                    <a:pt x="3331354" y="152846"/>
                  </a:lnTo>
                  <a:lnTo>
                    <a:pt x="3349502" y="165561"/>
                  </a:lnTo>
                  <a:lnTo>
                    <a:pt x="3366741" y="179887"/>
                  </a:lnTo>
                  <a:lnTo>
                    <a:pt x="3375750" y="186772"/>
                  </a:lnTo>
                  <a:lnTo>
                    <a:pt x="3382956" y="193363"/>
                  </a:lnTo>
                  <a:lnTo>
                    <a:pt x="3397726" y="205638"/>
                  </a:lnTo>
                  <a:lnTo>
                    <a:pt x="3415817" y="223422"/>
                  </a:lnTo>
                  <a:lnTo>
                    <a:pt x="3424898" y="231728"/>
                  </a:lnTo>
                  <a:lnTo>
                    <a:pt x="3430428" y="237784"/>
                  </a:lnTo>
                  <a:lnTo>
                    <a:pt x="3442087" y="249246"/>
                  </a:lnTo>
                  <a:lnTo>
                    <a:pt x="3460650" y="270883"/>
                  </a:lnTo>
                  <a:lnTo>
                    <a:pt x="3469466" y="280538"/>
                  </a:lnTo>
                  <a:lnTo>
                    <a:pt x="3473482" y="285840"/>
                  </a:lnTo>
                  <a:lnTo>
                    <a:pt x="3482320" y="296142"/>
                  </a:lnTo>
                  <a:lnTo>
                    <a:pt x="3500979" y="322143"/>
                  </a:lnTo>
                  <a:lnTo>
                    <a:pt x="3509133" y="332909"/>
                  </a:lnTo>
                  <a:lnTo>
                    <a:pt x="3511826" y="337259"/>
                  </a:lnTo>
                  <a:lnTo>
                    <a:pt x="3518162" y="346088"/>
                  </a:lnTo>
                  <a:lnTo>
                    <a:pt x="3536579" y="377243"/>
                  </a:lnTo>
                  <a:lnTo>
                    <a:pt x="3543579" y="388549"/>
                  </a:lnTo>
                  <a:lnTo>
                    <a:pt x="3545166" y="391768"/>
                  </a:lnTo>
                  <a:lnTo>
                    <a:pt x="3549348" y="398843"/>
                  </a:lnTo>
                  <a:lnTo>
                    <a:pt x="3567343" y="436747"/>
                  </a:lnTo>
                  <a:lnTo>
                    <a:pt x="3572481" y="447167"/>
                  </a:lnTo>
                  <a:lnTo>
                    <a:pt x="3573205" y="449094"/>
                  </a:lnTo>
                  <a:lnTo>
                    <a:pt x="3575613" y="454166"/>
                  </a:lnTo>
                  <a:lnTo>
                    <a:pt x="3593679" y="503573"/>
                  </a:lnTo>
                  <a:lnTo>
                    <a:pt x="3595519" y="508470"/>
                  </a:lnTo>
                  <a:lnTo>
                    <a:pt x="3595649" y="508962"/>
                  </a:lnTo>
                  <a:lnTo>
                    <a:pt x="3596693" y="511816"/>
                  </a:lnTo>
                  <a:cubicBezTo>
                    <a:pt x="3608960" y="550973"/>
                    <a:pt x="3617593" y="591521"/>
                    <a:pt x="3622242" y="633141"/>
                  </a:cubicBezTo>
                  <a:lnTo>
                    <a:pt x="3622395" y="635897"/>
                  </a:lnTo>
                  <a:lnTo>
                    <a:pt x="3622720" y="637966"/>
                  </a:lnTo>
                  <a:lnTo>
                    <a:pt x="3624495" y="672064"/>
                  </a:lnTo>
                  <a:lnTo>
                    <a:pt x="3626240" y="672064"/>
                  </a:lnTo>
                  <a:lnTo>
                    <a:pt x="3626240" y="705146"/>
                  </a:lnTo>
                  <a:lnTo>
                    <a:pt x="3626241" y="705152"/>
                  </a:lnTo>
                  <a:lnTo>
                    <a:pt x="3626240" y="705159"/>
                  </a:lnTo>
                  <a:lnTo>
                    <a:pt x="3626240" y="705574"/>
                  </a:lnTo>
                  <a:lnTo>
                    <a:pt x="3626240" y="869363"/>
                  </a:lnTo>
                  <a:lnTo>
                    <a:pt x="3626240" y="902444"/>
                  </a:lnTo>
                  <a:lnTo>
                    <a:pt x="3626241" y="902451"/>
                  </a:lnTo>
                  <a:lnTo>
                    <a:pt x="3626240" y="902457"/>
                  </a:lnTo>
                  <a:lnTo>
                    <a:pt x="3626240" y="902873"/>
                  </a:lnTo>
                  <a:lnTo>
                    <a:pt x="3626240" y="1409462"/>
                  </a:lnTo>
                  <a:lnTo>
                    <a:pt x="3626240" y="1606761"/>
                  </a:lnTo>
                  <a:lnTo>
                    <a:pt x="3246228" y="1606761"/>
                  </a:lnTo>
                  <a:lnTo>
                    <a:pt x="2892478" y="1606761"/>
                  </a:lnTo>
                  <a:lnTo>
                    <a:pt x="2892478" y="1607594"/>
                  </a:lnTo>
                  <a:lnTo>
                    <a:pt x="2851429" y="1607594"/>
                  </a:lnTo>
                  <a:lnTo>
                    <a:pt x="2512466" y="1607594"/>
                  </a:lnTo>
                  <a:lnTo>
                    <a:pt x="2471417" y="1607594"/>
                  </a:lnTo>
                  <a:lnTo>
                    <a:pt x="1790092" y="1607594"/>
                  </a:lnTo>
                  <a:lnTo>
                    <a:pt x="1231616" y="1607594"/>
                  </a:lnTo>
                  <a:lnTo>
                    <a:pt x="851604" y="1607594"/>
                  </a:lnTo>
                  <a:lnTo>
                    <a:pt x="0" y="1607594"/>
                  </a:lnTo>
                  <a:close/>
                </a:path>
              </a:pathLst>
            </a:custGeom>
            <a:solidFill>
              <a:schemeClr val="bg1"/>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3743FF65-7DB4-BE46-9363-4E9911BA400E}"/>
                </a:ext>
              </a:extLst>
            </p:cNvPr>
            <p:cNvSpPr/>
            <p:nvPr/>
          </p:nvSpPr>
          <p:spPr>
            <a:xfrm>
              <a:off x="6899887" y="4819752"/>
              <a:ext cx="4935390" cy="1819807"/>
            </a:xfrm>
            <a:prstGeom prst="rect">
              <a:avLst/>
            </a:prstGeom>
            <a:solidFill>
              <a:schemeClr val="bg1"/>
            </a:solidFill>
            <a:ln>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2" name="Group 31">
            <a:extLst>
              <a:ext uri="{FF2B5EF4-FFF2-40B4-BE49-F238E27FC236}">
                <a16:creationId xmlns:a16="http://schemas.microsoft.com/office/drawing/2014/main" id="{349308D0-8E06-AE4A-8F97-E9CAAC68CDAD}"/>
              </a:ext>
            </a:extLst>
          </p:cNvPr>
          <p:cNvGrpSpPr/>
          <p:nvPr/>
        </p:nvGrpSpPr>
        <p:grpSpPr>
          <a:xfrm>
            <a:off x="1501822" y="1966618"/>
            <a:ext cx="466508" cy="552036"/>
            <a:chOff x="3013075" y="3624263"/>
            <a:chExt cx="285750" cy="338137"/>
          </a:xfrm>
        </p:grpSpPr>
        <p:sp>
          <p:nvSpPr>
            <p:cNvPr id="33" name="Freeform 338">
              <a:extLst>
                <a:ext uri="{FF2B5EF4-FFF2-40B4-BE49-F238E27FC236}">
                  <a16:creationId xmlns:a16="http://schemas.microsoft.com/office/drawing/2014/main" id="{58CC85F8-6830-C741-80A8-A68499A041D3}"/>
                </a:ext>
              </a:extLst>
            </p:cNvPr>
            <p:cNvSpPr>
              <a:spLocks/>
            </p:cNvSpPr>
            <p:nvPr/>
          </p:nvSpPr>
          <p:spPr bwMode="auto">
            <a:xfrm>
              <a:off x="3073400" y="3797300"/>
              <a:ext cx="165100" cy="104775"/>
            </a:xfrm>
            <a:custGeom>
              <a:avLst/>
              <a:gdLst>
                <a:gd name="T0" fmla="*/ 43 w 44"/>
                <a:gd name="T1" fmla="*/ 0 h 28"/>
                <a:gd name="T2" fmla="*/ 44 w 44"/>
                <a:gd name="T3" fmla="*/ 6 h 28"/>
                <a:gd name="T4" fmla="*/ 22 w 44"/>
                <a:gd name="T5" fmla="*/ 28 h 28"/>
                <a:gd name="T6" fmla="*/ 0 w 44"/>
                <a:gd name="T7" fmla="*/ 6 h 28"/>
                <a:gd name="T8" fmla="*/ 1 w 44"/>
                <a:gd name="T9" fmla="*/ 0 h 28"/>
              </a:gdLst>
              <a:ahLst/>
              <a:cxnLst>
                <a:cxn ang="0">
                  <a:pos x="T0" y="T1"/>
                </a:cxn>
                <a:cxn ang="0">
                  <a:pos x="T2" y="T3"/>
                </a:cxn>
                <a:cxn ang="0">
                  <a:pos x="T4" y="T5"/>
                </a:cxn>
                <a:cxn ang="0">
                  <a:pos x="T6" y="T7"/>
                </a:cxn>
                <a:cxn ang="0">
                  <a:pos x="T8" y="T9"/>
                </a:cxn>
              </a:cxnLst>
              <a:rect l="0" t="0" r="r" b="b"/>
              <a:pathLst>
                <a:path w="44" h="28">
                  <a:moveTo>
                    <a:pt x="43" y="0"/>
                  </a:moveTo>
                  <a:cubicBezTo>
                    <a:pt x="44" y="2"/>
                    <a:pt x="44" y="4"/>
                    <a:pt x="44" y="6"/>
                  </a:cubicBezTo>
                  <a:cubicBezTo>
                    <a:pt x="44" y="18"/>
                    <a:pt x="34" y="28"/>
                    <a:pt x="22" y="28"/>
                  </a:cubicBezTo>
                  <a:cubicBezTo>
                    <a:pt x="10" y="28"/>
                    <a:pt x="0" y="18"/>
                    <a:pt x="0" y="6"/>
                  </a:cubicBezTo>
                  <a:cubicBezTo>
                    <a:pt x="0" y="4"/>
                    <a:pt x="0" y="2"/>
                    <a:pt x="1" y="0"/>
                  </a:cubicBezTo>
                </a:path>
              </a:pathLst>
            </a:custGeom>
            <a:noFill/>
            <a:ln w="15875" cap="rnd">
              <a:solidFill>
                <a:srgbClr val="1D316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Montserrat" pitchFamily="2" charset="77"/>
                <a:ea typeface="+mn-ea"/>
                <a:cs typeface="+mn-cs"/>
              </a:endParaRPr>
            </a:p>
          </p:txBody>
        </p:sp>
        <p:sp>
          <p:nvSpPr>
            <p:cNvPr id="34" name="Freeform 339">
              <a:extLst>
                <a:ext uri="{FF2B5EF4-FFF2-40B4-BE49-F238E27FC236}">
                  <a16:creationId xmlns:a16="http://schemas.microsoft.com/office/drawing/2014/main" id="{BDBDFBE6-6353-7547-803D-03D54BF41500}"/>
                </a:ext>
              </a:extLst>
            </p:cNvPr>
            <p:cNvSpPr>
              <a:spLocks/>
            </p:cNvSpPr>
            <p:nvPr/>
          </p:nvSpPr>
          <p:spPr bwMode="auto">
            <a:xfrm>
              <a:off x="3013075" y="3714750"/>
              <a:ext cx="285750" cy="247650"/>
            </a:xfrm>
            <a:custGeom>
              <a:avLst/>
              <a:gdLst>
                <a:gd name="T0" fmla="*/ 64 w 76"/>
                <a:gd name="T1" fmla="*/ 0 h 66"/>
                <a:gd name="T2" fmla="*/ 76 w 76"/>
                <a:gd name="T3" fmla="*/ 28 h 66"/>
                <a:gd name="T4" fmla="*/ 38 w 76"/>
                <a:gd name="T5" fmla="*/ 66 h 66"/>
                <a:gd name="T6" fmla="*/ 0 w 76"/>
                <a:gd name="T7" fmla="*/ 28 h 66"/>
                <a:gd name="T8" fmla="*/ 12 w 76"/>
                <a:gd name="T9" fmla="*/ 0 h 66"/>
              </a:gdLst>
              <a:ahLst/>
              <a:cxnLst>
                <a:cxn ang="0">
                  <a:pos x="T0" y="T1"/>
                </a:cxn>
                <a:cxn ang="0">
                  <a:pos x="T2" y="T3"/>
                </a:cxn>
                <a:cxn ang="0">
                  <a:pos x="T4" y="T5"/>
                </a:cxn>
                <a:cxn ang="0">
                  <a:pos x="T6" y="T7"/>
                </a:cxn>
                <a:cxn ang="0">
                  <a:pos x="T8" y="T9"/>
                </a:cxn>
              </a:cxnLst>
              <a:rect l="0" t="0" r="r" b="b"/>
              <a:pathLst>
                <a:path w="76" h="66">
                  <a:moveTo>
                    <a:pt x="64" y="0"/>
                  </a:moveTo>
                  <a:cubicBezTo>
                    <a:pt x="71" y="7"/>
                    <a:pt x="76" y="17"/>
                    <a:pt x="76" y="28"/>
                  </a:cubicBezTo>
                  <a:cubicBezTo>
                    <a:pt x="76" y="49"/>
                    <a:pt x="59" y="66"/>
                    <a:pt x="38" y="66"/>
                  </a:cubicBezTo>
                  <a:cubicBezTo>
                    <a:pt x="17" y="66"/>
                    <a:pt x="0" y="49"/>
                    <a:pt x="0" y="28"/>
                  </a:cubicBezTo>
                  <a:cubicBezTo>
                    <a:pt x="0" y="17"/>
                    <a:pt x="5" y="7"/>
                    <a:pt x="12" y="0"/>
                  </a:cubicBezTo>
                </a:path>
              </a:pathLst>
            </a:custGeom>
            <a:noFill/>
            <a:ln w="15875" cap="rnd">
              <a:solidFill>
                <a:srgbClr val="1D316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Montserrat" pitchFamily="2" charset="77"/>
                <a:ea typeface="+mn-ea"/>
                <a:cs typeface="+mn-cs"/>
              </a:endParaRPr>
            </a:p>
          </p:txBody>
        </p:sp>
        <p:sp>
          <p:nvSpPr>
            <p:cNvPr id="35" name="Freeform 340">
              <a:extLst>
                <a:ext uri="{FF2B5EF4-FFF2-40B4-BE49-F238E27FC236}">
                  <a16:creationId xmlns:a16="http://schemas.microsoft.com/office/drawing/2014/main" id="{A54741B7-2465-1347-AE71-08E394022485}"/>
                </a:ext>
              </a:extLst>
            </p:cNvPr>
            <p:cNvSpPr>
              <a:spLocks/>
            </p:cNvSpPr>
            <p:nvPr/>
          </p:nvSpPr>
          <p:spPr bwMode="auto">
            <a:xfrm>
              <a:off x="3081338" y="3624263"/>
              <a:ext cx="150813" cy="153988"/>
            </a:xfrm>
            <a:custGeom>
              <a:avLst/>
              <a:gdLst>
                <a:gd name="T0" fmla="*/ 47 w 95"/>
                <a:gd name="T1" fmla="*/ 0 h 97"/>
                <a:gd name="T2" fmla="*/ 61 w 95"/>
                <a:gd name="T3" fmla="*/ 33 h 97"/>
                <a:gd name="T4" fmla="*/ 95 w 95"/>
                <a:gd name="T5" fmla="*/ 33 h 97"/>
                <a:gd name="T6" fmla="*/ 69 w 95"/>
                <a:gd name="T7" fmla="*/ 57 h 97"/>
                <a:gd name="T8" fmla="*/ 78 w 95"/>
                <a:gd name="T9" fmla="*/ 95 h 97"/>
                <a:gd name="T10" fmla="*/ 47 w 95"/>
                <a:gd name="T11" fmla="*/ 73 h 97"/>
                <a:gd name="T12" fmla="*/ 17 w 95"/>
                <a:gd name="T13" fmla="*/ 97 h 97"/>
                <a:gd name="T14" fmla="*/ 26 w 95"/>
                <a:gd name="T15" fmla="*/ 57 h 97"/>
                <a:gd name="T16" fmla="*/ 0 w 95"/>
                <a:gd name="T17" fmla="*/ 33 h 97"/>
                <a:gd name="T18" fmla="*/ 33 w 95"/>
                <a:gd name="T19" fmla="*/ 33 h 97"/>
                <a:gd name="T20" fmla="*/ 47 w 95"/>
                <a:gd name="T21"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97">
                  <a:moveTo>
                    <a:pt x="47" y="0"/>
                  </a:moveTo>
                  <a:lnTo>
                    <a:pt x="61" y="33"/>
                  </a:lnTo>
                  <a:lnTo>
                    <a:pt x="95" y="33"/>
                  </a:lnTo>
                  <a:lnTo>
                    <a:pt x="69" y="57"/>
                  </a:lnTo>
                  <a:lnTo>
                    <a:pt x="78" y="95"/>
                  </a:lnTo>
                  <a:lnTo>
                    <a:pt x="47" y="73"/>
                  </a:lnTo>
                  <a:lnTo>
                    <a:pt x="17" y="97"/>
                  </a:lnTo>
                  <a:lnTo>
                    <a:pt x="26" y="57"/>
                  </a:lnTo>
                  <a:lnTo>
                    <a:pt x="0" y="33"/>
                  </a:lnTo>
                  <a:lnTo>
                    <a:pt x="33" y="33"/>
                  </a:lnTo>
                  <a:lnTo>
                    <a:pt x="47" y="0"/>
                  </a:lnTo>
                  <a:close/>
                </a:path>
              </a:pathLst>
            </a:custGeom>
            <a:noFill/>
            <a:ln w="15875" cap="flat">
              <a:solidFill>
                <a:srgbClr val="1D316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Montserrat" pitchFamily="2" charset="77"/>
                <a:ea typeface="+mn-ea"/>
                <a:cs typeface="+mn-cs"/>
              </a:endParaRPr>
            </a:p>
          </p:txBody>
        </p:sp>
        <p:sp>
          <p:nvSpPr>
            <p:cNvPr id="36" name="Line 341">
              <a:extLst>
                <a:ext uri="{FF2B5EF4-FFF2-40B4-BE49-F238E27FC236}">
                  <a16:creationId xmlns:a16="http://schemas.microsoft.com/office/drawing/2014/main" id="{21C0E8DF-4C85-B949-BC07-02A01018C36A}"/>
                </a:ext>
              </a:extLst>
            </p:cNvPr>
            <p:cNvSpPr>
              <a:spLocks noChangeShapeType="1"/>
            </p:cNvSpPr>
            <p:nvPr/>
          </p:nvSpPr>
          <p:spPr bwMode="auto">
            <a:xfrm flipH="1">
              <a:off x="3119438" y="3740150"/>
              <a:ext cx="36513" cy="101600"/>
            </a:xfrm>
            <a:prstGeom prst="line">
              <a:avLst/>
            </a:prstGeom>
            <a:noFill/>
            <a:ln w="15875" cap="rnd">
              <a:solidFill>
                <a:srgbClr val="1D316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Montserrat" pitchFamily="2" charset="77"/>
                <a:ea typeface="+mn-ea"/>
                <a:cs typeface="+mn-cs"/>
              </a:endParaRPr>
            </a:p>
          </p:txBody>
        </p:sp>
        <p:sp>
          <p:nvSpPr>
            <p:cNvPr id="37" name="Line 342">
              <a:extLst>
                <a:ext uri="{FF2B5EF4-FFF2-40B4-BE49-F238E27FC236}">
                  <a16:creationId xmlns:a16="http://schemas.microsoft.com/office/drawing/2014/main" id="{389AD904-25AC-D740-8B77-C7E7D52D6D85}"/>
                </a:ext>
              </a:extLst>
            </p:cNvPr>
            <p:cNvSpPr>
              <a:spLocks noChangeShapeType="1"/>
            </p:cNvSpPr>
            <p:nvPr/>
          </p:nvSpPr>
          <p:spPr bwMode="auto">
            <a:xfrm>
              <a:off x="3155950" y="3740150"/>
              <a:ext cx="38100" cy="101600"/>
            </a:xfrm>
            <a:prstGeom prst="line">
              <a:avLst/>
            </a:prstGeom>
            <a:noFill/>
            <a:ln w="15875" cap="rnd">
              <a:solidFill>
                <a:srgbClr val="1D316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Montserrat" pitchFamily="2" charset="77"/>
                <a:ea typeface="+mn-ea"/>
                <a:cs typeface="+mn-cs"/>
              </a:endParaRPr>
            </a:p>
          </p:txBody>
        </p:sp>
      </p:grpSp>
      <p:pic>
        <p:nvPicPr>
          <p:cNvPr id="3" name="Picture 2">
            <a:extLst>
              <a:ext uri="{FF2B5EF4-FFF2-40B4-BE49-F238E27FC236}">
                <a16:creationId xmlns:a16="http://schemas.microsoft.com/office/drawing/2014/main" id="{4548C3CF-E3A5-DF46-989E-8DA8887CE9AD}"/>
              </a:ext>
            </a:extLst>
          </p:cNvPr>
          <p:cNvPicPr>
            <a:picLocks noChangeAspect="1"/>
          </p:cNvPicPr>
          <p:nvPr/>
        </p:nvPicPr>
        <p:blipFill>
          <a:blip r:embed="rId6"/>
          <a:stretch>
            <a:fillRect/>
          </a:stretch>
        </p:blipFill>
        <p:spPr>
          <a:xfrm>
            <a:off x="2075652" y="4102872"/>
            <a:ext cx="3879850" cy="2400300"/>
          </a:xfrm>
          <a:prstGeom prst="rect">
            <a:avLst/>
          </a:prstGeom>
        </p:spPr>
      </p:pic>
      <p:sp>
        <p:nvSpPr>
          <p:cNvPr id="59" name="TextBox 58">
            <a:extLst>
              <a:ext uri="{FF2B5EF4-FFF2-40B4-BE49-F238E27FC236}">
                <a16:creationId xmlns:a16="http://schemas.microsoft.com/office/drawing/2014/main" id="{0DB58215-BA08-584A-B73F-0EDC073CEAFD}"/>
              </a:ext>
            </a:extLst>
          </p:cNvPr>
          <p:cNvSpPr txBox="1"/>
          <p:nvPr/>
        </p:nvSpPr>
        <p:spPr>
          <a:xfrm>
            <a:off x="6947438" y="3059271"/>
            <a:ext cx="4977988" cy="3770263"/>
          </a:xfrm>
          <a:prstGeom prst="rect">
            <a:avLst/>
          </a:prstGeom>
          <a:noFill/>
        </p:spPr>
        <p:txBody>
          <a:bodyPr wrap="square" rtlCol="0">
            <a:spAutoFit/>
          </a:bodyPr>
          <a:lstStyle>
            <a:defPPr>
              <a:defRPr lang="en-US"/>
            </a:defPPr>
            <a:lvl1pPr algn="ctr">
              <a:defRPr sz="1200" b="1">
                <a:solidFill>
                  <a:schemeClr val="tx1">
                    <a:lumMod val="75000"/>
                    <a:lumOff val="25000"/>
                  </a:schemeClr>
                </a:solidFill>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Dilakukan</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dalam</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hal</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a:t>
            </a:r>
          </a:p>
          <a:p>
            <a:pPr marL="342900" marR="0" lvl="0" indent="-342900" algn="l" defTabSz="914400" rtl="0" eaLnBrk="1" fontAlgn="auto" latinLnBrk="0" hangingPunct="1">
              <a:lnSpc>
                <a:spcPct val="100000"/>
              </a:lnSpc>
              <a:spcBef>
                <a:spcPts val="600"/>
              </a:spcBef>
              <a:spcAft>
                <a:spcPts val="0"/>
              </a:spcAft>
              <a:buClrTx/>
              <a:buSzTx/>
              <a:buFont typeface="+mj-lt"/>
              <a:buAutoNum type="alphaLcPeriod"/>
              <a:tabLst/>
              <a:defRPr/>
            </a:pPr>
            <a:r>
              <a:rPr kumimoji="0" lang="en-ID" sz="1800" b="1" i="0" u="none" strike="noStrike" kern="1200" cap="none" spc="0" normalizeH="0" baseline="0" noProof="0" dirty="0" err="1">
                <a:ln>
                  <a:noFill/>
                </a:ln>
                <a:solidFill>
                  <a:srgbClr val="1D3166"/>
                </a:solidFill>
                <a:effectLst/>
                <a:uLnTx/>
                <a:uFillTx/>
                <a:latin typeface="Montserrat" pitchFamily="2" charset="77"/>
                <a:ea typeface="+mn-ea"/>
                <a:cs typeface="+mn-cs"/>
              </a:rPr>
              <a:t>hal-hal</a:t>
            </a:r>
            <a:r>
              <a:rPr kumimoji="0" lang="en-ID" sz="1800" b="1" i="0" u="none" strike="noStrike" kern="1200" cap="none" spc="0" normalizeH="0" baseline="0" noProof="0" dirty="0">
                <a:ln>
                  <a:noFill/>
                </a:ln>
                <a:solidFill>
                  <a:srgbClr val="1D3166"/>
                </a:solidFill>
                <a:effectLst/>
                <a:uLnTx/>
                <a:uFillTx/>
                <a:latin typeface="Montserrat" pitchFamily="2" charset="77"/>
                <a:ea typeface="+mn-ea"/>
                <a:cs typeface="+mn-cs"/>
              </a:rPr>
              <a:t> yang </a:t>
            </a:r>
            <a:r>
              <a:rPr kumimoji="0" lang="en-ID" sz="1800" b="1" i="0" u="none" strike="noStrike" kern="1200" cap="none" spc="0" normalizeH="0" baseline="0" noProof="0" dirty="0" err="1">
                <a:ln>
                  <a:noFill/>
                </a:ln>
                <a:solidFill>
                  <a:srgbClr val="1D3166"/>
                </a:solidFill>
                <a:effectLst/>
                <a:uLnTx/>
                <a:uFillTx/>
                <a:latin typeface="Montserrat" pitchFamily="2" charset="77"/>
                <a:ea typeface="+mn-ea"/>
                <a:cs typeface="+mn-cs"/>
              </a:rPr>
              <a:t>bersifat</a:t>
            </a:r>
            <a:r>
              <a:rPr kumimoji="0" lang="en-ID" sz="1800" b="1"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1" i="0" u="none" strike="noStrike" kern="1200" cap="none" spc="0" normalizeH="0" baseline="0" noProof="0" dirty="0" err="1">
                <a:ln>
                  <a:noFill/>
                </a:ln>
                <a:solidFill>
                  <a:srgbClr val="1D3166"/>
                </a:solidFill>
                <a:effectLst/>
                <a:uLnTx/>
                <a:uFillTx/>
                <a:latin typeface="Montserrat" pitchFamily="2" charset="77"/>
                <a:ea typeface="+mn-ea"/>
                <a:cs typeface="+mn-cs"/>
              </a:rPr>
              <a:t>khusus</a:t>
            </a:r>
            <a:r>
              <a:rPr kumimoji="0" lang="en-ID" sz="1800" b="1"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1" i="0" u="none" strike="noStrike" kern="1200" cap="none" spc="0" normalizeH="0" baseline="0" noProof="0" dirty="0" err="1">
                <a:ln>
                  <a:noFill/>
                </a:ln>
                <a:solidFill>
                  <a:srgbClr val="1D3166"/>
                </a:solidFill>
                <a:effectLst/>
                <a:uLnTx/>
                <a:uFillTx/>
                <a:latin typeface="Montserrat" pitchFamily="2" charset="77"/>
                <a:ea typeface="+mn-ea"/>
                <a:cs typeface="+mn-cs"/>
              </a:rPr>
              <a:t>atau</a:t>
            </a:r>
            <a:r>
              <a:rPr kumimoji="0" lang="en-ID" sz="1800" b="1"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1" i="0" u="none" strike="noStrike" kern="1200" cap="none" spc="0" normalizeH="0" baseline="0" noProof="0" dirty="0" err="1">
                <a:ln>
                  <a:noFill/>
                </a:ln>
                <a:solidFill>
                  <a:srgbClr val="1D3166"/>
                </a:solidFill>
                <a:effectLst/>
                <a:uLnTx/>
                <a:uFillTx/>
                <a:latin typeface="Montserrat" pitchFamily="2" charset="77"/>
                <a:ea typeface="+mn-ea"/>
                <a:cs typeface="+mn-cs"/>
              </a:rPr>
              <a:t>kondisi</a:t>
            </a:r>
            <a:r>
              <a:rPr kumimoji="0" lang="en-ID" sz="1800" b="1"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1" i="0" u="none" strike="noStrike" kern="1200" cap="none" spc="0" normalizeH="0" baseline="0" noProof="0" dirty="0" err="1">
                <a:ln>
                  <a:noFill/>
                </a:ln>
                <a:solidFill>
                  <a:srgbClr val="1D3166"/>
                </a:solidFill>
                <a:effectLst/>
                <a:uLnTx/>
                <a:uFillTx/>
                <a:latin typeface="Montserrat" pitchFamily="2" charset="77"/>
                <a:ea typeface="+mn-ea"/>
                <a:cs typeface="+mn-cs"/>
              </a:rPr>
              <a:t>tertentu</a:t>
            </a:r>
            <a:r>
              <a:rPr kumimoji="0" lang="en-ID" sz="1800" b="1" i="0" u="none" strike="noStrike" kern="1200" cap="none" spc="0" normalizeH="0" baseline="0" noProof="0" dirty="0">
                <a:ln>
                  <a:noFill/>
                </a:ln>
                <a:solidFill>
                  <a:srgbClr val="1D3166"/>
                </a:solidFill>
                <a:effectLst/>
                <a:uLnTx/>
                <a:uFillTx/>
                <a:latin typeface="Montserrat" pitchFamily="2" charset="77"/>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terjadinya</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kecelakaan</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konstruksi</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terjadinya</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kegagalan</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bangunan</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dan/</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atau</a:t>
            </a:r>
            <a:endPar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terjadinya</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masalah</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sosial</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dan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atau</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lingkungan</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di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lokasi</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kegiatan</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konstruksi</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dan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lokasi</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bangunan</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lphaLcPeriod" startAt="2"/>
              <a:tabLst/>
              <a:defRPr/>
            </a:pPr>
            <a:r>
              <a:rPr kumimoji="0" lang="en-ID" sz="1800" b="1" i="0" u="none" strike="noStrike" kern="1200" cap="none" spc="0" normalizeH="0" baseline="0" noProof="0" dirty="0" err="1">
                <a:ln>
                  <a:noFill/>
                </a:ln>
                <a:solidFill>
                  <a:srgbClr val="1D3166"/>
                </a:solidFill>
                <a:effectLst/>
                <a:uLnTx/>
                <a:uFillTx/>
                <a:latin typeface="Montserrat" pitchFamily="2" charset="77"/>
                <a:ea typeface="+mn-ea"/>
                <a:cs typeface="+mn-cs"/>
              </a:rPr>
              <a:t>Pengaduan</a:t>
            </a:r>
            <a:r>
              <a:rPr kumimoji="0" lang="en-ID" sz="1800" b="1"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1" i="0" u="none" strike="noStrike" kern="1200" cap="none" spc="0" normalizeH="0" baseline="0" noProof="0" dirty="0" err="1">
                <a:ln>
                  <a:noFill/>
                </a:ln>
                <a:solidFill>
                  <a:srgbClr val="1D3166"/>
                </a:solidFill>
                <a:effectLst/>
                <a:uLnTx/>
                <a:uFillTx/>
                <a:latin typeface="Montserrat" pitchFamily="2" charset="77"/>
                <a:ea typeface="+mn-ea"/>
                <a:cs typeface="+mn-cs"/>
              </a:rPr>
              <a:t>masyarakat</a:t>
            </a:r>
            <a:r>
              <a:rPr kumimoji="0" lang="en-ID" sz="1800" b="1" i="0" u="none" strike="noStrike" kern="1200" cap="none" spc="0" normalizeH="0" baseline="0" noProof="0" dirty="0">
                <a:ln>
                  <a:noFill/>
                </a:ln>
                <a:solidFill>
                  <a:srgbClr val="1D3166"/>
                </a:solidFill>
                <a:effectLst/>
                <a:uLnTx/>
                <a:uFillTx/>
                <a:latin typeface="Montserrat" pitchFamily="2" charset="77"/>
                <a:ea typeface="+mn-ea"/>
                <a:cs typeface="+mn-cs"/>
              </a:rPr>
              <a:t>: dan/</a:t>
            </a:r>
            <a:r>
              <a:rPr kumimoji="0" lang="en-ID" sz="1800" b="1" i="0" u="none" strike="noStrike" kern="1200" cap="none" spc="0" normalizeH="0" baseline="0" noProof="0" dirty="0" err="1">
                <a:ln>
                  <a:noFill/>
                </a:ln>
                <a:solidFill>
                  <a:srgbClr val="1D3166"/>
                </a:solidFill>
                <a:effectLst/>
                <a:uLnTx/>
                <a:uFillTx/>
                <a:latin typeface="Montserrat" pitchFamily="2" charset="77"/>
                <a:ea typeface="+mn-ea"/>
                <a:cs typeface="+mn-cs"/>
              </a:rPr>
              <a:t>atau</a:t>
            </a:r>
            <a:endParaRPr kumimoji="0" lang="en-ID" sz="1800" b="1" i="0" u="none" strike="noStrike" kern="1200" cap="none" spc="0" normalizeH="0" baseline="0" noProof="0" dirty="0">
              <a:ln>
                <a:noFill/>
              </a:ln>
              <a:solidFill>
                <a:srgbClr val="1D3166"/>
              </a:solidFill>
              <a:effectLst/>
              <a:uLnTx/>
              <a:uFillTx/>
              <a:latin typeface="Montserrat" pitchFamily="2" charset="77"/>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lphaLcPeriod" startAt="2"/>
              <a:tabLst/>
              <a:defRPr/>
            </a:pPr>
            <a:r>
              <a:rPr kumimoji="0" lang="en-ID" sz="1800" b="1" i="0" u="none" strike="noStrike" kern="1200" cap="none" spc="0" normalizeH="0" baseline="0" noProof="0" dirty="0" err="1">
                <a:ln>
                  <a:noFill/>
                </a:ln>
                <a:solidFill>
                  <a:srgbClr val="1D3166"/>
                </a:solidFill>
                <a:effectLst/>
                <a:uLnTx/>
                <a:uFillTx/>
                <a:latin typeface="Montserrat" pitchFamily="2" charset="77"/>
                <a:ea typeface="+mn-ea"/>
                <a:cs typeface="+mn-cs"/>
              </a:rPr>
              <a:t>rekomendasi</a:t>
            </a:r>
            <a:r>
              <a:rPr kumimoji="0" lang="en-ID" sz="1800" b="1"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1" i="0" u="none" strike="noStrike" kern="1200" cap="none" spc="0" normalizeH="0" baseline="0" noProof="0" dirty="0" err="1">
                <a:ln>
                  <a:noFill/>
                </a:ln>
                <a:solidFill>
                  <a:srgbClr val="1D3166"/>
                </a:solidFill>
                <a:effectLst/>
                <a:uLnTx/>
                <a:uFillTx/>
                <a:latin typeface="Montserrat" pitchFamily="2" charset="77"/>
                <a:ea typeface="+mn-ea"/>
                <a:cs typeface="+mn-cs"/>
              </a:rPr>
              <a:t>dari</a:t>
            </a:r>
            <a:r>
              <a:rPr kumimoji="0" lang="en-ID" sz="1800" b="1"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1" i="0" u="none" strike="noStrike" kern="1200" cap="none" spc="0" normalizeH="0" baseline="0" noProof="0" dirty="0" err="1">
                <a:ln>
                  <a:noFill/>
                </a:ln>
                <a:solidFill>
                  <a:srgbClr val="1D3166"/>
                </a:solidFill>
                <a:effectLst/>
                <a:uLnTx/>
                <a:uFillTx/>
                <a:latin typeface="Montserrat" pitchFamily="2" charset="77"/>
                <a:ea typeface="+mn-ea"/>
                <a:cs typeface="+mn-cs"/>
              </a:rPr>
              <a:t>pengawasan</a:t>
            </a:r>
            <a:r>
              <a:rPr kumimoji="0" lang="en-ID" sz="1800" b="1"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1" i="0" u="none" strike="noStrike" kern="1200" cap="none" spc="0" normalizeH="0" baseline="0" noProof="0" dirty="0" err="1">
                <a:ln>
                  <a:noFill/>
                </a:ln>
                <a:solidFill>
                  <a:srgbClr val="1D3166"/>
                </a:solidFill>
                <a:effectLst/>
                <a:uLnTx/>
                <a:uFillTx/>
                <a:latin typeface="Montserrat" pitchFamily="2" charset="77"/>
                <a:ea typeface="+mn-ea"/>
                <a:cs typeface="+mn-cs"/>
              </a:rPr>
              <a:t>rutin</a:t>
            </a:r>
            <a:r>
              <a:rPr kumimoji="0" lang="en-ID" sz="1800" b="1"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a:t>
            </a:r>
          </a:p>
        </p:txBody>
      </p:sp>
      <p:sp>
        <p:nvSpPr>
          <p:cNvPr id="62" name="Freeform: Shape 27">
            <a:extLst>
              <a:ext uri="{FF2B5EF4-FFF2-40B4-BE49-F238E27FC236}">
                <a16:creationId xmlns:a16="http://schemas.microsoft.com/office/drawing/2014/main" id="{21F9C11A-60B8-434D-8830-53F6A40DDCDA}"/>
              </a:ext>
            </a:extLst>
          </p:cNvPr>
          <p:cNvSpPr/>
          <p:nvPr/>
        </p:nvSpPr>
        <p:spPr>
          <a:xfrm rot="10800000" flipH="1">
            <a:off x="6513424" y="1626476"/>
            <a:ext cx="1231988" cy="1231988"/>
          </a:xfrm>
          <a:custGeom>
            <a:avLst/>
            <a:gdLst>
              <a:gd name="connsiteX0" fmla="*/ 2133600 w 4325258"/>
              <a:gd name="connsiteY0" fmla="*/ 0 h 4325258"/>
              <a:gd name="connsiteX1" fmla="*/ 2162629 w 4325258"/>
              <a:gd name="connsiteY1" fmla="*/ 0 h 4325258"/>
              <a:gd name="connsiteX2" fmla="*/ 4325257 w 4325258"/>
              <a:gd name="connsiteY2" fmla="*/ 0 h 4325258"/>
              <a:gd name="connsiteX3" fmla="*/ 4325257 w 4325258"/>
              <a:gd name="connsiteY3" fmla="*/ 2162609 h 4325258"/>
              <a:gd name="connsiteX4" fmla="*/ 4325258 w 4325258"/>
              <a:gd name="connsiteY4" fmla="*/ 2162629 h 4325258"/>
              <a:gd name="connsiteX5" fmla="*/ 4325257 w 4325258"/>
              <a:gd name="connsiteY5" fmla="*/ 2162650 h 4325258"/>
              <a:gd name="connsiteX6" fmla="*/ 4325257 w 4325258"/>
              <a:gd name="connsiteY6" fmla="*/ 2264228 h 4325258"/>
              <a:gd name="connsiteX7" fmla="*/ 4320128 w 4325258"/>
              <a:gd name="connsiteY7" fmla="*/ 2264228 h 4325258"/>
              <a:gd name="connsiteX8" fmla="*/ 4314093 w 4325258"/>
              <a:gd name="connsiteY8" fmla="*/ 2383745 h 4325258"/>
              <a:gd name="connsiteX9" fmla="*/ 2162629 w 4325258"/>
              <a:gd name="connsiteY9" fmla="*/ 4325258 h 4325258"/>
              <a:gd name="connsiteX10" fmla="*/ 0 w 4325258"/>
              <a:gd name="connsiteY10" fmla="*/ 2162629 h 4325258"/>
              <a:gd name="connsiteX11" fmla="*/ 1941513 w 4325258"/>
              <a:gd name="connsiteY11" fmla="*/ 11166 h 4325258"/>
              <a:gd name="connsiteX12" fmla="*/ 2133600 w 4325258"/>
              <a:gd name="connsiteY12" fmla="*/ 1466 h 432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25258" h="4325258">
                <a:moveTo>
                  <a:pt x="2133600" y="0"/>
                </a:moveTo>
                <a:lnTo>
                  <a:pt x="2162629" y="0"/>
                </a:lnTo>
                <a:lnTo>
                  <a:pt x="4325257" y="0"/>
                </a:lnTo>
                <a:lnTo>
                  <a:pt x="4325257" y="2162609"/>
                </a:lnTo>
                <a:lnTo>
                  <a:pt x="4325258" y="2162629"/>
                </a:lnTo>
                <a:lnTo>
                  <a:pt x="4325257" y="2162650"/>
                </a:lnTo>
                <a:lnTo>
                  <a:pt x="4325257" y="2264228"/>
                </a:lnTo>
                <a:lnTo>
                  <a:pt x="4320128" y="2264228"/>
                </a:lnTo>
                <a:lnTo>
                  <a:pt x="4314093" y="2383745"/>
                </a:lnTo>
                <a:cubicBezTo>
                  <a:pt x="4203344" y="3474264"/>
                  <a:pt x="3282367" y="4325258"/>
                  <a:pt x="2162629" y="4325258"/>
                </a:cubicBezTo>
                <a:cubicBezTo>
                  <a:pt x="968242" y="4325258"/>
                  <a:pt x="0" y="3357016"/>
                  <a:pt x="0" y="2162629"/>
                </a:cubicBezTo>
                <a:cubicBezTo>
                  <a:pt x="0" y="1042891"/>
                  <a:pt x="850994" y="121914"/>
                  <a:pt x="1941513" y="11166"/>
                </a:cubicBezTo>
                <a:lnTo>
                  <a:pt x="2133600" y="1466"/>
                </a:lnTo>
                <a:close/>
              </a:path>
            </a:pathLst>
          </a:custGeom>
          <a:solidFill>
            <a:srgbClr val="FEB813"/>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3" name="Group 62">
            <a:extLst>
              <a:ext uri="{FF2B5EF4-FFF2-40B4-BE49-F238E27FC236}">
                <a16:creationId xmlns:a16="http://schemas.microsoft.com/office/drawing/2014/main" id="{A0417547-EC83-1C4A-86B8-28ACBD775D7B}"/>
              </a:ext>
            </a:extLst>
          </p:cNvPr>
          <p:cNvGrpSpPr/>
          <p:nvPr/>
        </p:nvGrpSpPr>
        <p:grpSpPr>
          <a:xfrm>
            <a:off x="6857291" y="1924451"/>
            <a:ext cx="493556" cy="500675"/>
            <a:chOff x="7731125" y="2905125"/>
            <a:chExt cx="330200" cy="334963"/>
          </a:xfrm>
        </p:grpSpPr>
        <p:sp>
          <p:nvSpPr>
            <p:cNvPr id="64" name="Line 28">
              <a:extLst>
                <a:ext uri="{FF2B5EF4-FFF2-40B4-BE49-F238E27FC236}">
                  <a16:creationId xmlns:a16="http://schemas.microsoft.com/office/drawing/2014/main" id="{BB374BB0-6ECE-9749-80E0-BCE5B8E76A13}"/>
                </a:ext>
              </a:extLst>
            </p:cNvPr>
            <p:cNvSpPr>
              <a:spLocks noChangeShapeType="1"/>
            </p:cNvSpPr>
            <p:nvPr/>
          </p:nvSpPr>
          <p:spPr bwMode="auto">
            <a:xfrm flipV="1">
              <a:off x="7896225" y="3022600"/>
              <a:ext cx="0" cy="114300"/>
            </a:xfrm>
            <a:prstGeom prst="line">
              <a:avLst/>
            </a:prstGeom>
            <a:noFill/>
            <a:ln w="15875" cap="rnd">
              <a:solidFill>
                <a:srgbClr val="1D316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Montserrat" pitchFamily="2" charset="77"/>
                <a:ea typeface="+mn-ea"/>
                <a:cs typeface="+mn-cs"/>
              </a:endParaRPr>
            </a:p>
          </p:txBody>
        </p:sp>
        <p:sp>
          <p:nvSpPr>
            <p:cNvPr id="70" name="Freeform 69">
              <a:extLst>
                <a:ext uri="{FF2B5EF4-FFF2-40B4-BE49-F238E27FC236}">
                  <a16:creationId xmlns:a16="http://schemas.microsoft.com/office/drawing/2014/main" id="{86356A3B-1172-A348-A422-F4A0423309B2}"/>
                </a:ext>
              </a:extLst>
            </p:cNvPr>
            <p:cNvSpPr>
              <a:spLocks/>
            </p:cNvSpPr>
            <p:nvPr/>
          </p:nvSpPr>
          <p:spPr bwMode="auto">
            <a:xfrm>
              <a:off x="7731125" y="2905125"/>
              <a:ext cx="330200" cy="334963"/>
            </a:xfrm>
            <a:custGeom>
              <a:avLst/>
              <a:gdLst>
                <a:gd name="T0" fmla="*/ 208 w 208"/>
                <a:gd name="T1" fmla="*/ 211 h 211"/>
                <a:gd name="T2" fmla="*/ 0 w 208"/>
                <a:gd name="T3" fmla="*/ 211 h 211"/>
                <a:gd name="T4" fmla="*/ 104 w 208"/>
                <a:gd name="T5" fmla="*/ 0 h 211"/>
                <a:gd name="T6" fmla="*/ 208 w 208"/>
                <a:gd name="T7" fmla="*/ 211 h 211"/>
              </a:gdLst>
              <a:ahLst/>
              <a:cxnLst>
                <a:cxn ang="0">
                  <a:pos x="T0" y="T1"/>
                </a:cxn>
                <a:cxn ang="0">
                  <a:pos x="T2" y="T3"/>
                </a:cxn>
                <a:cxn ang="0">
                  <a:pos x="T4" y="T5"/>
                </a:cxn>
                <a:cxn ang="0">
                  <a:pos x="T6" y="T7"/>
                </a:cxn>
              </a:cxnLst>
              <a:rect l="0" t="0" r="r" b="b"/>
              <a:pathLst>
                <a:path w="208" h="211">
                  <a:moveTo>
                    <a:pt x="208" y="211"/>
                  </a:moveTo>
                  <a:lnTo>
                    <a:pt x="0" y="211"/>
                  </a:lnTo>
                  <a:lnTo>
                    <a:pt x="104" y="0"/>
                  </a:lnTo>
                  <a:lnTo>
                    <a:pt x="208" y="211"/>
                  </a:lnTo>
                  <a:close/>
                </a:path>
              </a:pathLst>
            </a:custGeom>
            <a:noFill/>
            <a:ln w="15875" cap="rnd">
              <a:solidFill>
                <a:srgbClr val="1D316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Montserrat" pitchFamily="2" charset="77"/>
                <a:ea typeface="+mn-ea"/>
                <a:cs typeface="+mn-cs"/>
              </a:endParaRPr>
            </a:p>
          </p:txBody>
        </p:sp>
        <p:sp>
          <p:nvSpPr>
            <p:cNvPr id="71" name="Freeform 70">
              <a:extLst>
                <a:ext uri="{FF2B5EF4-FFF2-40B4-BE49-F238E27FC236}">
                  <a16:creationId xmlns:a16="http://schemas.microsoft.com/office/drawing/2014/main" id="{5EF8A640-051C-5440-B51E-3C1365E00470}"/>
                </a:ext>
              </a:extLst>
            </p:cNvPr>
            <p:cNvSpPr>
              <a:spLocks/>
            </p:cNvSpPr>
            <p:nvPr/>
          </p:nvSpPr>
          <p:spPr bwMode="auto">
            <a:xfrm>
              <a:off x="7889875" y="3178175"/>
              <a:ext cx="14288" cy="15875"/>
            </a:xfrm>
            <a:custGeom>
              <a:avLst/>
              <a:gdLst>
                <a:gd name="T0" fmla="*/ 4 w 4"/>
                <a:gd name="T1" fmla="*/ 2 h 4"/>
                <a:gd name="T2" fmla="*/ 2 w 4"/>
                <a:gd name="T3" fmla="*/ 4 h 4"/>
                <a:gd name="T4" fmla="*/ 2 w 4"/>
                <a:gd name="T5" fmla="*/ 4 h 4"/>
                <a:gd name="T6" fmla="*/ 0 w 4"/>
                <a:gd name="T7" fmla="*/ 2 h 4"/>
                <a:gd name="T8" fmla="*/ 0 w 4"/>
                <a:gd name="T9" fmla="*/ 2 h 4"/>
                <a:gd name="T10" fmla="*/ 2 w 4"/>
                <a:gd name="T11" fmla="*/ 0 h 4"/>
                <a:gd name="T12" fmla="*/ 2 w 4"/>
                <a:gd name="T13" fmla="*/ 0 h 4"/>
                <a:gd name="T14" fmla="*/ 4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2"/>
                  </a:moveTo>
                  <a:cubicBezTo>
                    <a:pt x="4" y="3"/>
                    <a:pt x="3" y="4"/>
                    <a:pt x="2" y="4"/>
                  </a:cubicBezTo>
                  <a:cubicBezTo>
                    <a:pt x="2" y="4"/>
                    <a:pt x="2" y="4"/>
                    <a:pt x="2" y="4"/>
                  </a:cubicBezTo>
                  <a:cubicBezTo>
                    <a:pt x="1" y="4"/>
                    <a:pt x="0" y="3"/>
                    <a:pt x="0" y="2"/>
                  </a:cubicBezTo>
                  <a:cubicBezTo>
                    <a:pt x="0" y="2"/>
                    <a:pt x="0" y="2"/>
                    <a:pt x="0" y="2"/>
                  </a:cubicBezTo>
                  <a:cubicBezTo>
                    <a:pt x="0" y="1"/>
                    <a:pt x="1" y="0"/>
                    <a:pt x="2" y="0"/>
                  </a:cubicBezTo>
                  <a:cubicBezTo>
                    <a:pt x="2" y="0"/>
                    <a:pt x="2" y="0"/>
                    <a:pt x="2" y="0"/>
                  </a:cubicBezTo>
                  <a:cubicBezTo>
                    <a:pt x="3" y="0"/>
                    <a:pt x="4" y="1"/>
                    <a:pt x="4" y="2"/>
                  </a:cubicBezTo>
                  <a:close/>
                </a:path>
              </a:pathLst>
            </a:custGeom>
            <a:noFill/>
            <a:ln w="15875" cap="flat">
              <a:solidFill>
                <a:srgbClr val="1D316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Montserrat" pitchFamily="2" charset="77"/>
                <a:ea typeface="+mn-ea"/>
                <a:cs typeface="+mn-cs"/>
              </a:endParaRPr>
            </a:p>
          </p:txBody>
        </p:sp>
      </p:grpSp>
      <p:sp>
        <p:nvSpPr>
          <p:cNvPr id="76" name="Rectangle 75">
            <a:extLst>
              <a:ext uri="{FF2B5EF4-FFF2-40B4-BE49-F238E27FC236}">
                <a16:creationId xmlns:a16="http://schemas.microsoft.com/office/drawing/2014/main" id="{28DD517C-7E93-A445-98D2-E9075ACCD892}"/>
              </a:ext>
            </a:extLst>
          </p:cNvPr>
          <p:cNvSpPr/>
          <p:nvPr/>
        </p:nvSpPr>
        <p:spPr>
          <a:xfrm>
            <a:off x="2530712" y="2234634"/>
            <a:ext cx="3946800" cy="677108"/>
          </a:xfrm>
          <a:prstGeom prst="rect">
            <a:avLst/>
          </a:prstGeom>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2200" b="1" i="0" u="none" strike="noStrike" kern="1200" cap="none" spc="0" normalizeH="0" baseline="0" noProof="0" dirty="0">
                <a:ln>
                  <a:noFill/>
                </a:ln>
                <a:solidFill>
                  <a:srgbClr val="1D3166"/>
                </a:solidFill>
                <a:effectLst/>
                <a:uLnTx/>
                <a:uFillTx/>
                <a:latin typeface="Montserrat" pitchFamily="2" charset="77"/>
                <a:ea typeface="+mn-ea"/>
                <a:cs typeface="Segoe UI" panose="020B0502040204020203" pitchFamily="34" charset="0"/>
              </a:rPr>
              <a:t>PENGAWASA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2200" b="1" i="0" u="none" strike="noStrike" kern="1200" cap="none" spc="0" normalizeH="0" baseline="0" noProof="0" dirty="0">
                <a:ln>
                  <a:noFill/>
                </a:ln>
                <a:solidFill>
                  <a:srgbClr val="1D3166"/>
                </a:solidFill>
                <a:effectLst/>
                <a:uLnTx/>
                <a:uFillTx/>
                <a:latin typeface="Montserrat" pitchFamily="2" charset="77"/>
                <a:ea typeface="+mn-ea"/>
                <a:cs typeface="Segoe UI" panose="020B0502040204020203" pitchFamily="34" charset="0"/>
              </a:rPr>
              <a:t>RUTIN</a:t>
            </a:r>
          </a:p>
        </p:txBody>
      </p:sp>
      <p:sp>
        <p:nvSpPr>
          <p:cNvPr id="77" name="TextBox 76">
            <a:extLst>
              <a:ext uri="{FF2B5EF4-FFF2-40B4-BE49-F238E27FC236}">
                <a16:creationId xmlns:a16="http://schemas.microsoft.com/office/drawing/2014/main" id="{6779D789-C98D-944F-B873-1320FC1EE518}"/>
              </a:ext>
            </a:extLst>
          </p:cNvPr>
          <p:cNvSpPr txBox="1"/>
          <p:nvPr/>
        </p:nvSpPr>
        <p:spPr>
          <a:xfrm>
            <a:off x="1638948" y="3099727"/>
            <a:ext cx="4753259" cy="1200329"/>
          </a:xfrm>
          <a:prstGeom prst="rect">
            <a:avLst/>
          </a:prstGeom>
          <a:noFill/>
        </p:spPr>
        <p:txBody>
          <a:bodyPr wrap="square" rtlCol="0">
            <a:spAutoFit/>
          </a:bodyPr>
          <a:lstStyle>
            <a:defPPr>
              <a:defRPr lang="en-US"/>
            </a:defPPr>
            <a:lvl1pPr algn="ctr">
              <a:defRPr sz="1200" b="1">
                <a:solidFill>
                  <a:schemeClr val="tx1">
                    <a:lumMod val="75000"/>
                    <a:lumOff val="2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Pemeriksaan</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terhadap</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laporan</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sesuai</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dengan</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ketentuan</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peraturan</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r>
              <a:rPr kumimoji="0" lang="en-ID" sz="1800" b="0" i="0" u="none" strike="noStrike" kern="1200" cap="none" spc="0" normalizeH="0" baseline="0" noProof="0" dirty="0" err="1">
                <a:ln>
                  <a:noFill/>
                </a:ln>
                <a:solidFill>
                  <a:srgbClr val="1D3166"/>
                </a:solidFill>
                <a:effectLst/>
                <a:uLnTx/>
                <a:uFillTx/>
                <a:latin typeface="Montserrat" pitchFamily="2" charset="77"/>
                <a:ea typeface="+mn-ea"/>
                <a:cs typeface="+mn-cs"/>
              </a:rPr>
              <a:t>perundang-undangan</a:t>
            </a:r>
            <a:r>
              <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1D3166"/>
              </a:solidFill>
              <a:effectLst/>
              <a:uLnTx/>
              <a:uFillTx/>
              <a:latin typeface="Montserrat" pitchFamily="2" charset="77"/>
              <a:ea typeface="+mn-ea"/>
              <a:cs typeface="+mn-cs"/>
            </a:endParaRPr>
          </a:p>
        </p:txBody>
      </p:sp>
      <p:sp>
        <p:nvSpPr>
          <p:cNvPr id="78" name="Rectangle 77">
            <a:extLst>
              <a:ext uri="{FF2B5EF4-FFF2-40B4-BE49-F238E27FC236}">
                <a16:creationId xmlns:a16="http://schemas.microsoft.com/office/drawing/2014/main" id="{9845BF6E-3792-234C-B64D-17B59C1C4598}"/>
              </a:ext>
            </a:extLst>
          </p:cNvPr>
          <p:cNvSpPr/>
          <p:nvPr/>
        </p:nvSpPr>
        <p:spPr>
          <a:xfrm>
            <a:off x="7980808" y="2253803"/>
            <a:ext cx="3946800" cy="677108"/>
          </a:xfrm>
          <a:prstGeom prst="rect">
            <a:avLst/>
          </a:prstGeom>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2200" b="1" i="0" u="none" strike="noStrike" kern="1200" cap="none" spc="0" normalizeH="0" baseline="0" noProof="0" dirty="0">
                <a:ln>
                  <a:noFill/>
                </a:ln>
                <a:solidFill>
                  <a:srgbClr val="1D3166"/>
                </a:solidFill>
                <a:effectLst/>
                <a:uLnTx/>
                <a:uFillTx/>
                <a:latin typeface="Montserrat" pitchFamily="2" charset="77"/>
                <a:ea typeface="+mn-ea"/>
                <a:cs typeface="Segoe UI" panose="020B0502040204020203" pitchFamily="34" charset="0"/>
              </a:rPr>
              <a:t>PENGAWASA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2200" b="1" i="0" u="none" strike="noStrike" kern="1200" cap="none" spc="0" normalizeH="0" baseline="0" noProof="0" dirty="0">
                <a:ln>
                  <a:noFill/>
                </a:ln>
                <a:solidFill>
                  <a:srgbClr val="1D3166"/>
                </a:solidFill>
                <a:effectLst/>
                <a:uLnTx/>
                <a:uFillTx/>
                <a:latin typeface="Montserrat" pitchFamily="2" charset="77"/>
                <a:ea typeface="+mn-ea"/>
                <a:cs typeface="Segoe UI" panose="020B0502040204020203" pitchFamily="34" charset="0"/>
              </a:rPr>
              <a:t>INSIDENTAL</a:t>
            </a:r>
          </a:p>
        </p:txBody>
      </p:sp>
    </p:spTree>
    <p:extLst>
      <p:ext uri="{BB962C8B-B14F-4D97-AF65-F5344CB8AC3E}">
        <p14:creationId xmlns:p14="http://schemas.microsoft.com/office/powerpoint/2010/main" val="17848890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cstate="screen">
            <a:alphaModFix amt="23744"/>
            <a:lum/>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B18A197-6D33-4C1B-9262-7910802CD0DE}"/>
              </a:ext>
            </a:extLst>
          </p:cNvPr>
          <p:cNvSpPr/>
          <p:nvPr/>
        </p:nvSpPr>
        <p:spPr>
          <a:xfrm>
            <a:off x="0" y="1735149"/>
            <a:ext cx="12191996" cy="1725616"/>
          </a:xfrm>
          <a:prstGeom prst="rect">
            <a:avLst/>
          </a:prstGeom>
          <a:solidFill>
            <a:srgbClr val="1E3267"/>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ID" sz="1463"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7" name="Rectangle 6">
            <a:extLst>
              <a:ext uri="{FF2B5EF4-FFF2-40B4-BE49-F238E27FC236}">
                <a16:creationId xmlns:a16="http://schemas.microsoft.com/office/drawing/2014/main" id="{39AF9C6F-0B9D-4504-ADC0-CF8792B811A9}"/>
              </a:ext>
            </a:extLst>
          </p:cNvPr>
          <p:cNvSpPr/>
          <p:nvPr/>
        </p:nvSpPr>
        <p:spPr>
          <a:xfrm>
            <a:off x="2106440" y="283818"/>
            <a:ext cx="7602248" cy="9988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ID" sz="2800" b="1" i="0" u="none" strike="noStrike" kern="1200" cap="none" spc="0" normalizeH="0" baseline="0" noProof="0" dirty="0">
                <a:ln>
                  <a:noFill/>
                </a:ln>
                <a:solidFill>
                  <a:srgbClr val="1E3267"/>
                </a:solidFill>
                <a:effectLst/>
                <a:uLnTx/>
                <a:uFillTx/>
                <a:latin typeface="Century Gothic" panose="020B0502020202020204" pitchFamily="34" charset="0"/>
                <a:ea typeface="Tahoma" panose="020B0604030504040204" pitchFamily="34" charset="0"/>
                <a:cs typeface="Poppins" panose="00000500000000000000" pitchFamily="2" charset="0"/>
              </a:rPr>
              <a:t>AMANAT TERKAIT </a:t>
            </a:r>
          </a:p>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ID" sz="2800" b="1" i="0" u="none" strike="noStrike" kern="1200" cap="none" spc="0" normalizeH="0" baseline="0" noProof="0" dirty="0">
                <a:ln>
                  <a:noFill/>
                </a:ln>
                <a:solidFill>
                  <a:srgbClr val="1E3267"/>
                </a:solidFill>
                <a:effectLst/>
                <a:uLnTx/>
                <a:uFillTx/>
                <a:latin typeface="Century Gothic" panose="020B0502020202020204" pitchFamily="34" charset="0"/>
                <a:ea typeface="Tahoma" panose="020B0604030504040204" pitchFamily="34" charset="0"/>
                <a:cs typeface="Poppins" panose="00000500000000000000" pitchFamily="2" charset="0"/>
              </a:rPr>
              <a:t>REFORMASI STRUKTURAL DAN PERCEPATAN  TRANSFORMASI EKONOMI </a:t>
            </a:r>
          </a:p>
        </p:txBody>
      </p:sp>
      <p:graphicFrame>
        <p:nvGraphicFramePr>
          <p:cNvPr id="9" name="Table 9">
            <a:extLst>
              <a:ext uri="{FF2B5EF4-FFF2-40B4-BE49-F238E27FC236}">
                <a16:creationId xmlns:a16="http://schemas.microsoft.com/office/drawing/2014/main" id="{78E1A0AE-3A84-4D64-9668-E63326C65171}"/>
              </a:ext>
            </a:extLst>
          </p:cNvPr>
          <p:cNvGraphicFramePr>
            <a:graphicFrameLocks noGrp="1"/>
          </p:cNvGraphicFramePr>
          <p:nvPr>
            <p:extLst>
              <p:ext uri="{D42A27DB-BD31-4B8C-83A1-F6EECF244321}">
                <p14:modId xmlns:p14="http://schemas.microsoft.com/office/powerpoint/2010/main" val="2121735047"/>
              </p:ext>
            </p:extLst>
          </p:nvPr>
        </p:nvGraphicFramePr>
        <p:xfrm>
          <a:off x="3626550" y="2474556"/>
          <a:ext cx="8105667" cy="887096"/>
        </p:xfrm>
        <a:graphic>
          <a:graphicData uri="http://schemas.openxmlformats.org/drawingml/2006/table">
            <a:tbl>
              <a:tblPr firstRow="1" bandRow="1">
                <a:tableStyleId>{2D5ABB26-0587-4C30-8999-92F81FD0307C}</a:tableStyleId>
              </a:tblPr>
              <a:tblGrid>
                <a:gridCol w="2701889">
                  <a:extLst>
                    <a:ext uri="{9D8B030D-6E8A-4147-A177-3AD203B41FA5}">
                      <a16:colId xmlns:a16="http://schemas.microsoft.com/office/drawing/2014/main" val="3159779346"/>
                    </a:ext>
                  </a:extLst>
                </a:gridCol>
                <a:gridCol w="2701889">
                  <a:extLst>
                    <a:ext uri="{9D8B030D-6E8A-4147-A177-3AD203B41FA5}">
                      <a16:colId xmlns:a16="http://schemas.microsoft.com/office/drawing/2014/main" val="3571526461"/>
                    </a:ext>
                  </a:extLst>
                </a:gridCol>
                <a:gridCol w="2701889">
                  <a:extLst>
                    <a:ext uri="{9D8B030D-6E8A-4147-A177-3AD203B41FA5}">
                      <a16:colId xmlns:a16="http://schemas.microsoft.com/office/drawing/2014/main" val="3664528883"/>
                    </a:ext>
                  </a:extLst>
                </a:gridCol>
              </a:tblGrid>
              <a:tr h="887096">
                <a:tc>
                  <a:txBody>
                    <a:bodyPr/>
                    <a:lstStyle/>
                    <a:p>
                      <a:pPr algn="ctr"/>
                      <a:r>
                        <a:rPr lang="en-ID" sz="1300" b="0" dirty="0" err="1">
                          <a:solidFill>
                            <a:schemeClr val="bg1"/>
                          </a:solidFill>
                          <a:latin typeface="Century Gothic" panose="020B0502020202020204" pitchFamily="34" charset="0"/>
                          <a:ea typeface="Tahoma" panose="020B0604030504040204" pitchFamily="34" charset="0"/>
                          <a:cs typeface="Tahoma" panose="020B0604030504040204" pitchFamily="34" charset="0"/>
                        </a:rPr>
                        <a:t>Menyediakan</a:t>
                      </a:r>
                      <a:r>
                        <a:rPr lang="en-ID" sz="1300" b="0" dirty="0">
                          <a:solidFill>
                            <a:schemeClr val="bg1"/>
                          </a:solidFill>
                          <a:latin typeface="Century Gothic" panose="020B0502020202020204" pitchFamily="34" charset="0"/>
                          <a:ea typeface="Tahoma" panose="020B0604030504040204" pitchFamily="34" charset="0"/>
                          <a:cs typeface="Tahoma" panose="020B0604030504040204" pitchFamily="34" charset="0"/>
                        </a:rPr>
                        <a:t> </a:t>
                      </a:r>
                      <a:r>
                        <a:rPr lang="en-ID" sz="1300" b="0" dirty="0" err="1">
                          <a:solidFill>
                            <a:schemeClr val="bg1"/>
                          </a:solidFill>
                          <a:latin typeface="Century Gothic" panose="020B0502020202020204" pitchFamily="34" charset="0"/>
                          <a:ea typeface="Tahoma" panose="020B0604030504040204" pitchFamily="34" charset="0"/>
                          <a:cs typeface="Tahoma" panose="020B0604030504040204" pitchFamily="34" charset="0"/>
                        </a:rPr>
                        <a:t>lapangan</a:t>
                      </a:r>
                      <a:r>
                        <a:rPr lang="en-ID" sz="1300" b="0" dirty="0">
                          <a:solidFill>
                            <a:schemeClr val="bg1"/>
                          </a:solidFill>
                          <a:latin typeface="Century Gothic" panose="020B0502020202020204" pitchFamily="34" charset="0"/>
                          <a:ea typeface="Tahoma" panose="020B0604030504040204" pitchFamily="34" charset="0"/>
                          <a:cs typeface="Tahoma" panose="020B0604030504040204" pitchFamily="34" charset="0"/>
                        </a:rPr>
                        <a:t> </a:t>
                      </a:r>
                      <a:r>
                        <a:rPr lang="en-ID" sz="1300" b="0" dirty="0" err="1">
                          <a:solidFill>
                            <a:schemeClr val="bg1"/>
                          </a:solidFill>
                          <a:latin typeface="Century Gothic" panose="020B0502020202020204" pitchFamily="34" charset="0"/>
                          <a:ea typeface="Tahoma" panose="020B0604030504040204" pitchFamily="34" charset="0"/>
                          <a:cs typeface="Tahoma" panose="020B0604030504040204" pitchFamily="34" charset="0"/>
                        </a:rPr>
                        <a:t>kerja</a:t>
                      </a:r>
                      <a:r>
                        <a:rPr lang="en-ID" sz="1300" b="0" dirty="0">
                          <a:solidFill>
                            <a:schemeClr val="bg1"/>
                          </a:solidFill>
                          <a:latin typeface="Century Gothic" panose="020B0502020202020204" pitchFamily="34" charset="0"/>
                          <a:ea typeface="Tahoma" panose="020B0604030504040204" pitchFamily="34" charset="0"/>
                          <a:cs typeface="Tahoma" panose="020B0604030504040204" pitchFamily="34" charset="0"/>
                        </a:rPr>
                        <a:t> </a:t>
                      </a:r>
                      <a:r>
                        <a:rPr lang="en-ID" sz="1300" b="0" dirty="0" err="1">
                          <a:solidFill>
                            <a:schemeClr val="bg1"/>
                          </a:solidFill>
                          <a:latin typeface="Century Gothic" panose="020B0502020202020204" pitchFamily="34" charset="0"/>
                          <a:ea typeface="Tahoma" panose="020B0604030504040204" pitchFamily="34" charset="0"/>
                          <a:cs typeface="Tahoma" panose="020B0604030504040204" pitchFamily="34" charset="0"/>
                        </a:rPr>
                        <a:t>sebanyak-banyaknya</a:t>
                      </a:r>
                      <a:r>
                        <a:rPr lang="en-ID" sz="1300" b="0" dirty="0">
                          <a:solidFill>
                            <a:schemeClr val="bg1"/>
                          </a:solidFill>
                          <a:latin typeface="Century Gothic" panose="020B0502020202020204" pitchFamily="34" charset="0"/>
                          <a:ea typeface="Tahoma" panose="020B0604030504040204" pitchFamily="34" charset="0"/>
                          <a:cs typeface="Tahoma" panose="020B0604030504040204" pitchFamily="34" charset="0"/>
                        </a:rPr>
                        <a:t> </a:t>
                      </a:r>
                      <a:r>
                        <a:rPr lang="en-ID" sz="1300" b="0" dirty="0" err="1">
                          <a:solidFill>
                            <a:schemeClr val="bg1"/>
                          </a:solidFill>
                          <a:latin typeface="Century Gothic" panose="020B0502020202020204" pitchFamily="34" charset="0"/>
                          <a:ea typeface="Tahoma" panose="020B0604030504040204" pitchFamily="34" charset="0"/>
                          <a:cs typeface="Tahoma" panose="020B0604030504040204" pitchFamily="34" charset="0"/>
                        </a:rPr>
                        <a:t>bagi</a:t>
                      </a:r>
                      <a:r>
                        <a:rPr lang="en-ID" sz="1300" b="0" dirty="0">
                          <a:solidFill>
                            <a:schemeClr val="bg1"/>
                          </a:solidFill>
                          <a:latin typeface="Century Gothic" panose="020B0502020202020204" pitchFamily="34" charset="0"/>
                          <a:ea typeface="Tahoma" panose="020B0604030504040204" pitchFamily="34" charset="0"/>
                          <a:cs typeface="Tahoma" panose="020B0604030504040204" pitchFamily="34" charset="0"/>
                        </a:rPr>
                        <a:t> para </a:t>
                      </a:r>
                      <a:r>
                        <a:rPr lang="en-ID" sz="1300" b="0" dirty="0" err="1">
                          <a:solidFill>
                            <a:schemeClr val="bg1"/>
                          </a:solidFill>
                          <a:latin typeface="Century Gothic" panose="020B0502020202020204" pitchFamily="34" charset="0"/>
                          <a:ea typeface="Tahoma" panose="020B0604030504040204" pitchFamily="34" charset="0"/>
                          <a:cs typeface="Tahoma" panose="020B0604030504040204" pitchFamily="34" charset="0"/>
                        </a:rPr>
                        <a:t>pencari</a:t>
                      </a:r>
                      <a:r>
                        <a:rPr lang="en-ID" sz="1300" b="0" dirty="0">
                          <a:solidFill>
                            <a:schemeClr val="bg1"/>
                          </a:solidFill>
                          <a:latin typeface="Century Gothic" panose="020B0502020202020204" pitchFamily="34" charset="0"/>
                          <a:ea typeface="Tahoma" panose="020B0604030504040204" pitchFamily="34" charset="0"/>
                          <a:cs typeface="Tahoma" panose="020B0604030504040204" pitchFamily="34" charset="0"/>
                        </a:rPr>
                        <a:t> </a:t>
                      </a:r>
                      <a:r>
                        <a:rPr lang="en-ID" sz="1300" b="0" dirty="0" err="1">
                          <a:solidFill>
                            <a:schemeClr val="bg1"/>
                          </a:solidFill>
                          <a:latin typeface="Century Gothic" panose="020B0502020202020204" pitchFamily="34" charset="0"/>
                          <a:ea typeface="Tahoma" panose="020B0604030504040204" pitchFamily="34" charset="0"/>
                          <a:cs typeface="Tahoma" panose="020B0604030504040204" pitchFamily="34" charset="0"/>
                        </a:rPr>
                        <a:t>kerja</a:t>
                      </a:r>
                      <a:r>
                        <a:rPr lang="en-ID" sz="1300" b="0" dirty="0">
                          <a:solidFill>
                            <a:schemeClr val="bg1"/>
                          </a:solidFill>
                          <a:latin typeface="Century Gothic" panose="020B0502020202020204" pitchFamily="34" charset="0"/>
                          <a:ea typeface="Tahoma" panose="020B0604030504040204" pitchFamily="34" charset="0"/>
                          <a:cs typeface="Tahoma" panose="020B0604030504040204" pitchFamily="34" charset="0"/>
                        </a:rPr>
                        <a:t> </a:t>
                      </a:r>
                    </a:p>
                  </a:txBody>
                  <a:tcPr marL="74295" marR="74295" marT="37148" marB="37148">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noFill/>
                  </a:tcPr>
                </a:tc>
                <a:tc>
                  <a:txBody>
                    <a:bodyPr/>
                    <a:lstStyle/>
                    <a:p>
                      <a:pPr algn="ctr"/>
                      <a:r>
                        <a:rPr lang="en-ID" sz="1300" b="0" dirty="0" err="1">
                          <a:solidFill>
                            <a:schemeClr val="bg1"/>
                          </a:solidFill>
                          <a:latin typeface="Century Gothic" panose="020B0502020202020204" pitchFamily="34" charset="0"/>
                          <a:ea typeface="Tahoma" panose="020B0604030504040204" pitchFamily="34" charset="0"/>
                          <a:cs typeface="Tahoma" panose="020B0604030504040204" pitchFamily="34" charset="0"/>
                        </a:rPr>
                        <a:t>Memudahkan</a:t>
                      </a:r>
                      <a:r>
                        <a:rPr lang="en-ID" sz="1300" b="0" dirty="0">
                          <a:solidFill>
                            <a:schemeClr val="bg1"/>
                          </a:solidFill>
                          <a:latin typeface="Century Gothic" panose="020B0502020202020204" pitchFamily="34" charset="0"/>
                          <a:ea typeface="Tahoma" panose="020B0604030504040204" pitchFamily="34" charset="0"/>
                          <a:cs typeface="Tahoma" panose="020B0604030504040204" pitchFamily="34" charset="0"/>
                        </a:rPr>
                        <a:t> </a:t>
                      </a:r>
                      <a:r>
                        <a:rPr lang="en-ID" sz="1300" b="0" dirty="0" err="1">
                          <a:solidFill>
                            <a:schemeClr val="bg1"/>
                          </a:solidFill>
                          <a:latin typeface="Century Gothic" panose="020B0502020202020204" pitchFamily="34" charset="0"/>
                          <a:ea typeface="Tahoma" panose="020B0604030504040204" pitchFamily="34" charset="0"/>
                          <a:cs typeface="Tahoma" panose="020B0604030504040204" pitchFamily="34" charset="0"/>
                        </a:rPr>
                        <a:t>masyarakat</a:t>
                      </a:r>
                      <a:r>
                        <a:rPr lang="en-ID" sz="1300" b="0" dirty="0">
                          <a:solidFill>
                            <a:schemeClr val="bg1"/>
                          </a:solidFill>
                          <a:latin typeface="Century Gothic" panose="020B0502020202020204" pitchFamily="34" charset="0"/>
                          <a:ea typeface="Tahoma" panose="020B0604030504040204" pitchFamily="34" charset="0"/>
                          <a:cs typeface="Tahoma" panose="020B0604030504040204" pitchFamily="34" charset="0"/>
                        </a:rPr>
                        <a:t>, </a:t>
                      </a:r>
                      <a:r>
                        <a:rPr lang="en-ID" sz="1300" b="0" dirty="0" err="1">
                          <a:solidFill>
                            <a:schemeClr val="bg1"/>
                          </a:solidFill>
                          <a:latin typeface="Century Gothic" panose="020B0502020202020204" pitchFamily="34" charset="0"/>
                          <a:ea typeface="Tahoma" panose="020B0604030504040204" pitchFamily="34" charset="0"/>
                          <a:cs typeface="Tahoma" panose="020B0604030504040204" pitchFamily="34" charset="0"/>
                        </a:rPr>
                        <a:t>khususnya</a:t>
                      </a:r>
                      <a:r>
                        <a:rPr lang="en-ID" sz="1300" b="0" dirty="0">
                          <a:solidFill>
                            <a:schemeClr val="bg1"/>
                          </a:solidFill>
                          <a:latin typeface="Century Gothic" panose="020B0502020202020204" pitchFamily="34" charset="0"/>
                          <a:ea typeface="Tahoma" panose="020B0604030504040204" pitchFamily="34" charset="0"/>
                          <a:cs typeface="Tahoma" panose="020B0604030504040204" pitchFamily="34" charset="0"/>
                        </a:rPr>
                        <a:t> Usaha </a:t>
                      </a:r>
                      <a:r>
                        <a:rPr lang="en-ID" sz="1300" b="0" dirty="0" err="1">
                          <a:solidFill>
                            <a:schemeClr val="bg1"/>
                          </a:solidFill>
                          <a:latin typeface="Century Gothic" panose="020B0502020202020204" pitchFamily="34" charset="0"/>
                          <a:ea typeface="Tahoma" panose="020B0604030504040204" pitchFamily="34" charset="0"/>
                          <a:cs typeface="Tahoma" panose="020B0604030504040204" pitchFamily="34" charset="0"/>
                        </a:rPr>
                        <a:t>Mikro</a:t>
                      </a:r>
                      <a:r>
                        <a:rPr lang="en-ID" sz="1300" b="0" dirty="0">
                          <a:solidFill>
                            <a:schemeClr val="bg1"/>
                          </a:solidFill>
                          <a:latin typeface="Century Gothic" panose="020B0502020202020204" pitchFamily="34" charset="0"/>
                          <a:ea typeface="Tahoma" panose="020B0604030504040204" pitchFamily="34" charset="0"/>
                          <a:cs typeface="Tahoma" panose="020B0604030504040204" pitchFamily="34" charset="0"/>
                        </a:rPr>
                        <a:t> Kecil (UMK), </a:t>
                      </a:r>
                      <a:r>
                        <a:rPr lang="en-ID" sz="1300" b="0" dirty="0" err="1">
                          <a:solidFill>
                            <a:schemeClr val="bg1"/>
                          </a:solidFill>
                          <a:latin typeface="Century Gothic" panose="020B0502020202020204" pitchFamily="34" charset="0"/>
                          <a:ea typeface="Tahoma" panose="020B0604030504040204" pitchFamily="34" charset="0"/>
                          <a:cs typeface="Tahoma" panose="020B0604030504040204" pitchFamily="34" charset="0"/>
                        </a:rPr>
                        <a:t>untuk</a:t>
                      </a:r>
                      <a:r>
                        <a:rPr lang="en-ID" sz="1300" b="0" dirty="0">
                          <a:solidFill>
                            <a:schemeClr val="bg1"/>
                          </a:solidFill>
                          <a:latin typeface="Century Gothic" panose="020B0502020202020204" pitchFamily="34" charset="0"/>
                          <a:ea typeface="Tahoma" panose="020B0604030504040204" pitchFamily="34" charset="0"/>
                          <a:cs typeface="Tahoma" panose="020B0604030504040204" pitchFamily="34" charset="0"/>
                        </a:rPr>
                        <a:t> </a:t>
                      </a:r>
                      <a:r>
                        <a:rPr lang="en-ID" sz="1300" b="0" dirty="0" err="1">
                          <a:solidFill>
                            <a:schemeClr val="bg1"/>
                          </a:solidFill>
                          <a:latin typeface="Century Gothic" panose="020B0502020202020204" pitchFamily="34" charset="0"/>
                          <a:ea typeface="Tahoma" panose="020B0604030504040204" pitchFamily="34" charset="0"/>
                          <a:cs typeface="Tahoma" panose="020B0604030504040204" pitchFamily="34" charset="0"/>
                        </a:rPr>
                        <a:t>membuka</a:t>
                      </a:r>
                      <a:r>
                        <a:rPr lang="en-ID" sz="1300" b="0" dirty="0">
                          <a:solidFill>
                            <a:schemeClr val="bg1"/>
                          </a:solidFill>
                          <a:latin typeface="Century Gothic" panose="020B0502020202020204" pitchFamily="34" charset="0"/>
                          <a:ea typeface="Tahoma" panose="020B0604030504040204" pitchFamily="34" charset="0"/>
                          <a:cs typeface="Tahoma" panose="020B0604030504040204" pitchFamily="34" charset="0"/>
                        </a:rPr>
                        <a:t> </a:t>
                      </a:r>
                      <a:r>
                        <a:rPr lang="en-ID" sz="1300" b="0" dirty="0" err="1">
                          <a:solidFill>
                            <a:schemeClr val="bg1"/>
                          </a:solidFill>
                          <a:latin typeface="Century Gothic" panose="020B0502020202020204" pitchFamily="34" charset="0"/>
                          <a:ea typeface="Tahoma" panose="020B0604030504040204" pitchFamily="34" charset="0"/>
                          <a:cs typeface="Tahoma" panose="020B0604030504040204" pitchFamily="34" charset="0"/>
                        </a:rPr>
                        <a:t>usaha</a:t>
                      </a:r>
                      <a:r>
                        <a:rPr lang="en-ID" sz="1300" b="0" dirty="0">
                          <a:solidFill>
                            <a:schemeClr val="bg1"/>
                          </a:solidFill>
                          <a:latin typeface="Century Gothic" panose="020B0502020202020204" pitchFamily="34" charset="0"/>
                          <a:ea typeface="Tahoma" panose="020B0604030504040204" pitchFamily="34" charset="0"/>
                          <a:cs typeface="Tahoma" panose="020B0604030504040204" pitchFamily="34" charset="0"/>
                        </a:rPr>
                        <a:t> </a:t>
                      </a:r>
                      <a:r>
                        <a:rPr lang="en-ID" sz="1300" b="0" dirty="0" err="1">
                          <a:solidFill>
                            <a:schemeClr val="bg1"/>
                          </a:solidFill>
                          <a:latin typeface="Century Gothic" panose="020B0502020202020204" pitchFamily="34" charset="0"/>
                          <a:ea typeface="Tahoma" panose="020B0604030504040204" pitchFamily="34" charset="0"/>
                          <a:cs typeface="Tahoma" panose="020B0604030504040204" pitchFamily="34" charset="0"/>
                        </a:rPr>
                        <a:t>baru</a:t>
                      </a:r>
                      <a:r>
                        <a:rPr lang="en-ID" sz="1300" b="0" dirty="0">
                          <a:solidFill>
                            <a:schemeClr val="bg1"/>
                          </a:solidFill>
                          <a:latin typeface="Century Gothic" panose="020B0502020202020204" pitchFamily="34" charset="0"/>
                          <a:ea typeface="Tahoma" panose="020B0604030504040204" pitchFamily="34" charset="0"/>
                          <a:cs typeface="Tahoma" panose="020B0604030504040204" pitchFamily="34" charset="0"/>
                        </a:rPr>
                        <a:t> </a:t>
                      </a:r>
                    </a:p>
                  </a:txBody>
                  <a:tcPr marL="74295" marR="74295" marT="37148" marB="37148">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noFill/>
                  </a:tcPr>
                </a:tc>
                <a:tc>
                  <a:txBody>
                    <a:bodyPr/>
                    <a:lstStyle/>
                    <a:p>
                      <a:pPr algn="ctr"/>
                      <a:r>
                        <a:rPr lang="en-ID" sz="1300" b="0" dirty="0" err="1">
                          <a:solidFill>
                            <a:schemeClr val="bg1"/>
                          </a:solidFill>
                          <a:latin typeface="Century Gothic" panose="020B0502020202020204" pitchFamily="34" charset="0"/>
                          <a:ea typeface="Tahoma" panose="020B0604030504040204" pitchFamily="34" charset="0"/>
                          <a:cs typeface="Tahoma" panose="020B0604030504040204" pitchFamily="34" charset="0"/>
                        </a:rPr>
                        <a:t>Mendukung</a:t>
                      </a:r>
                      <a:r>
                        <a:rPr lang="en-ID" sz="1300" b="0" dirty="0">
                          <a:solidFill>
                            <a:schemeClr val="bg1"/>
                          </a:solidFill>
                          <a:latin typeface="Century Gothic" panose="020B0502020202020204" pitchFamily="34" charset="0"/>
                          <a:ea typeface="Tahoma" panose="020B0604030504040204" pitchFamily="34" charset="0"/>
                          <a:cs typeface="Tahoma" panose="020B0604030504040204" pitchFamily="34" charset="0"/>
                        </a:rPr>
                        <a:t> </a:t>
                      </a:r>
                      <a:r>
                        <a:rPr lang="en-ID" sz="1300" b="0" dirty="0" err="1">
                          <a:solidFill>
                            <a:schemeClr val="bg1"/>
                          </a:solidFill>
                          <a:latin typeface="Century Gothic" panose="020B0502020202020204" pitchFamily="34" charset="0"/>
                          <a:ea typeface="Tahoma" panose="020B0604030504040204" pitchFamily="34" charset="0"/>
                          <a:cs typeface="Tahoma" panose="020B0604030504040204" pitchFamily="34" charset="0"/>
                        </a:rPr>
                        <a:t>upaya</a:t>
                      </a:r>
                      <a:r>
                        <a:rPr lang="en-ID" sz="1300" b="0" dirty="0">
                          <a:solidFill>
                            <a:schemeClr val="bg1"/>
                          </a:solidFill>
                          <a:latin typeface="Century Gothic" panose="020B0502020202020204" pitchFamily="34" charset="0"/>
                          <a:ea typeface="Tahoma" panose="020B0604030504040204" pitchFamily="34" charset="0"/>
                          <a:cs typeface="Tahoma" panose="020B0604030504040204" pitchFamily="34" charset="0"/>
                        </a:rPr>
                        <a:t> </a:t>
                      </a:r>
                      <a:r>
                        <a:rPr lang="en-ID" sz="1300" b="0" dirty="0" err="1">
                          <a:solidFill>
                            <a:schemeClr val="bg1"/>
                          </a:solidFill>
                          <a:latin typeface="Century Gothic" panose="020B0502020202020204" pitchFamily="34" charset="0"/>
                          <a:ea typeface="Tahoma" panose="020B0604030504040204" pitchFamily="34" charset="0"/>
                          <a:cs typeface="Tahoma" panose="020B0604030504040204" pitchFamily="34" charset="0"/>
                        </a:rPr>
                        <a:t>pencegahan</a:t>
                      </a:r>
                      <a:r>
                        <a:rPr lang="en-ID" sz="1300" b="0" dirty="0">
                          <a:solidFill>
                            <a:schemeClr val="bg1"/>
                          </a:solidFill>
                          <a:latin typeface="Century Gothic" panose="020B0502020202020204" pitchFamily="34" charset="0"/>
                          <a:ea typeface="Tahoma" panose="020B0604030504040204" pitchFamily="34" charset="0"/>
                          <a:cs typeface="Tahoma" panose="020B0604030504040204" pitchFamily="34" charset="0"/>
                        </a:rPr>
                        <a:t> dan </a:t>
                      </a:r>
                      <a:r>
                        <a:rPr lang="en-ID" sz="1300" b="0" dirty="0" err="1">
                          <a:solidFill>
                            <a:schemeClr val="bg1"/>
                          </a:solidFill>
                          <a:latin typeface="Century Gothic" panose="020B0502020202020204" pitchFamily="34" charset="0"/>
                          <a:ea typeface="Tahoma" panose="020B0604030504040204" pitchFamily="34" charset="0"/>
                          <a:cs typeface="Tahoma" panose="020B0604030504040204" pitchFamily="34" charset="0"/>
                        </a:rPr>
                        <a:t>pemberantasan</a:t>
                      </a:r>
                      <a:r>
                        <a:rPr lang="en-ID" sz="1300" b="0" dirty="0">
                          <a:solidFill>
                            <a:schemeClr val="bg1"/>
                          </a:solidFill>
                          <a:latin typeface="Century Gothic" panose="020B0502020202020204" pitchFamily="34" charset="0"/>
                          <a:ea typeface="Tahoma" panose="020B0604030504040204" pitchFamily="34" charset="0"/>
                          <a:cs typeface="Tahoma" panose="020B0604030504040204" pitchFamily="34" charset="0"/>
                        </a:rPr>
                        <a:t> </a:t>
                      </a:r>
                      <a:r>
                        <a:rPr lang="en-ID" sz="1300" b="0" dirty="0" err="1">
                          <a:solidFill>
                            <a:schemeClr val="bg1"/>
                          </a:solidFill>
                          <a:latin typeface="Century Gothic" panose="020B0502020202020204" pitchFamily="34" charset="0"/>
                          <a:ea typeface="Tahoma" panose="020B0604030504040204" pitchFamily="34" charset="0"/>
                          <a:cs typeface="Tahoma" panose="020B0604030504040204" pitchFamily="34" charset="0"/>
                        </a:rPr>
                        <a:t>korupsi</a:t>
                      </a:r>
                      <a:endParaRPr lang="en-ID" sz="1300" b="0" dirty="0">
                        <a:solidFill>
                          <a:schemeClr val="bg1"/>
                        </a:solidFill>
                        <a:latin typeface="Century Gothic" panose="020B0502020202020204" pitchFamily="34" charset="0"/>
                        <a:ea typeface="Tahoma" panose="020B0604030504040204" pitchFamily="34" charset="0"/>
                        <a:cs typeface="Tahoma" panose="020B0604030504040204" pitchFamily="34" charset="0"/>
                      </a:endParaRPr>
                    </a:p>
                  </a:txBody>
                  <a:tcPr marL="74295" marR="74295" marT="37148" marB="37148">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noFill/>
                  </a:tcPr>
                </a:tc>
                <a:extLst>
                  <a:ext uri="{0D108BD9-81ED-4DB2-BD59-A6C34878D82A}">
                    <a16:rowId xmlns:a16="http://schemas.microsoft.com/office/drawing/2014/main" val="976074868"/>
                  </a:ext>
                </a:extLst>
              </a:tr>
            </a:tbl>
          </a:graphicData>
        </a:graphic>
      </p:graphicFrame>
      <p:pic>
        <p:nvPicPr>
          <p:cNvPr id="1028" name="Picture 4" descr="People Icon In Flat Style Group Of People Symbol For Your Web Site Design  Logo App Stock Illustration - Download Image Now - iStock">
            <a:extLst>
              <a:ext uri="{FF2B5EF4-FFF2-40B4-BE49-F238E27FC236}">
                <a16:creationId xmlns:a16="http://schemas.microsoft.com/office/drawing/2014/main" id="{CB8C664B-5140-4C0F-BEC0-95227CC93A5C}"/>
              </a:ext>
            </a:extLst>
          </p:cNvPr>
          <p:cNvPicPr>
            <a:picLocks noChangeAspect="1" noChangeArrowheads="1"/>
          </p:cNvPicPr>
          <p:nvPr/>
        </p:nvPicPr>
        <p:blipFill>
          <a:blip r:embed="rId4" cstate="screen">
            <a:lum bright="70000" contrast="-70000"/>
            <a:extLst>
              <a:ext uri="{BEBA8EAE-BF5A-486C-A8C5-ECC9F3942E4B}">
                <a14:imgProps xmlns:a14="http://schemas.microsoft.com/office/drawing/2010/main">
                  <a14:imgLayer r:embed="rId5">
                    <a14:imgEffect>
                      <a14:backgroundRemoval t="10000" b="90000" l="10000" r="90000">
                        <a14:foregroundMark x1="23077" y1="28606" x2="23077" y2="28606"/>
                        <a14:foregroundMark x1="37740" y1="40625" x2="37740" y2="40625"/>
                        <a14:foregroundMark x1="48077" y1="29567" x2="48077" y2="29567"/>
                        <a14:foregroundMark x1="64663" y1="38942" x2="64663" y2="38942"/>
                        <a14:foregroundMark x1="80048" y1="31971" x2="80048" y2="31971"/>
                        <a14:foregroundMark x1="82452" y1="50240" x2="82452" y2="50240"/>
                        <a14:foregroundMark x1="69471" y1="55048" x2="69471" y2="55048"/>
                        <a14:foregroundMark x1="51683" y1="49279" x2="51683" y2="49279"/>
                        <a14:foregroundMark x1="32933" y1="56731" x2="32933" y2="56731"/>
                        <a14:foregroundMark x1="15144" y1="50240" x2="15144" y2="50240"/>
                      </a14:backgroundRemoval>
                    </a14:imgEffect>
                  </a14:imgLayer>
                </a14:imgProps>
              </a:ext>
              <a:ext uri="{28A0092B-C50C-407E-A947-70E740481C1C}">
                <a14:useLocalDpi xmlns:a14="http://schemas.microsoft.com/office/drawing/2010/main"/>
              </a:ext>
            </a:extLst>
          </a:blip>
          <a:srcRect/>
          <a:stretch>
            <a:fillRect/>
          </a:stretch>
        </p:blipFill>
        <p:spPr bwMode="auto">
          <a:xfrm>
            <a:off x="4549963" y="1792003"/>
            <a:ext cx="726799" cy="72679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nilah 8 Permasalahan UMKM Yang Sering Terjadi - SEO Anak Sholeh">
            <a:extLst>
              <a:ext uri="{FF2B5EF4-FFF2-40B4-BE49-F238E27FC236}">
                <a16:creationId xmlns:a16="http://schemas.microsoft.com/office/drawing/2014/main" id="{3F2A45BC-0555-4081-9F73-D2B0ACA56F09}"/>
              </a:ext>
            </a:extLst>
          </p:cNvPr>
          <p:cNvPicPr>
            <a:picLocks noChangeAspect="1" noChangeArrowheads="1"/>
          </p:cNvPicPr>
          <p:nvPr/>
        </p:nvPicPr>
        <p:blipFill rotWithShape="1">
          <a:blip r:embed="rId6" cstate="screen">
            <a:duotone>
              <a:schemeClr val="bg2">
                <a:shade val="45000"/>
                <a:satMod val="135000"/>
              </a:schemeClr>
              <a:prstClr val="white"/>
            </a:duotone>
            <a:extLst>
              <a:ext uri="{28A0092B-C50C-407E-A947-70E740481C1C}">
                <a14:useLocalDpi xmlns:a14="http://schemas.microsoft.com/office/drawing/2010/main"/>
              </a:ext>
            </a:extLst>
          </a:blip>
          <a:srcRect t="-2"/>
          <a:stretch/>
        </p:blipFill>
        <p:spPr bwMode="auto">
          <a:xfrm>
            <a:off x="7111103" y="1944425"/>
            <a:ext cx="881327" cy="43444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GeRAK Apresiasi Kinerja KPK di Aceh | Rakyat Aceh">
            <a:extLst>
              <a:ext uri="{FF2B5EF4-FFF2-40B4-BE49-F238E27FC236}">
                <a16:creationId xmlns:a16="http://schemas.microsoft.com/office/drawing/2014/main" id="{B0E41F39-7ED8-4123-B6D2-862DCCD41917}"/>
              </a:ext>
            </a:extLst>
          </p:cNvPr>
          <p:cNvPicPr>
            <a:picLocks noChangeAspect="1" noChangeArrowheads="1"/>
          </p:cNvPicPr>
          <p:nvPr/>
        </p:nvPicPr>
        <p:blipFill>
          <a:blip r:embed="rId7" cstate="screen">
            <a:duotone>
              <a:schemeClr val="bg2">
                <a:shade val="45000"/>
                <a:satMod val="135000"/>
              </a:schemeClr>
              <a:prstClr val="white"/>
            </a:duotone>
            <a:extLst>
              <a:ext uri="{BEBA8EAE-BF5A-486C-A8C5-ECC9F3942E4B}">
                <a14:imgProps xmlns:a14="http://schemas.microsoft.com/office/drawing/2010/main">
                  <a14:imgLayer r:embed="rId8">
                    <a14:imgEffect>
                      <a14:backgroundRemoval t="4268" b="92683" l="9772" r="89577">
                        <a14:foregroundMark x1="49186" y1="4878" x2="49186" y2="4878"/>
                        <a14:foregroundMark x1="28664" y1="85976" x2="28664" y2="85976"/>
                        <a14:foregroundMark x1="34202" y1="83537" x2="34202" y2="83537"/>
                        <a14:foregroundMark x1="42671" y1="83537" x2="42671" y2="83537"/>
                        <a14:foregroundMark x1="51140" y1="84756" x2="51140" y2="84756"/>
                        <a14:foregroundMark x1="58632" y1="84756" x2="58632" y2="84756"/>
                        <a14:foregroundMark x1="67427" y1="84756" x2="67427" y2="84756"/>
                        <a14:foregroundMark x1="73941" y1="83537" x2="73941" y2="83537"/>
                        <a14:foregroundMark x1="66124" y1="92683" x2="66124" y2="92683"/>
                        <a14:backgroundMark x1="44300" y1="80488" x2="44300" y2="80488"/>
                        <a14:backgroundMark x1="60586" y1="81098" x2="60586" y2="81098"/>
                      </a14:backgroundRemoval>
                    </a14:imgEffect>
                  </a14:imgLayer>
                </a14:imgProps>
              </a:ext>
              <a:ext uri="{28A0092B-C50C-407E-A947-70E740481C1C}">
                <a14:useLocalDpi xmlns:a14="http://schemas.microsoft.com/office/drawing/2010/main"/>
              </a:ext>
            </a:extLst>
          </a:blip>
          <a:srcRect/>
          <a:stretch>
            <a:fillRect/>
          </a:stretch>
        </p:blipFill>
        <p:spPr bwMode="auto">
          <a:xfrm>
            <a:off x="9699939" y="1874275"/>
            <a:ext cx="1052513" cy="562254"/>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oogle Shape;434;p3">
            <a:extLst>
              <a:ext uri="{FF2B5EF4-FFF2-40B4-BE49-F238E27FC236}">
                <a16:creationId xmlns:a16="http://schemas.microsoft.com/office/drawing/2014/main" id="{80333BCA-788C-4154-9410-FB17B9FB685D}"/>
              </a:ext>
            </a:extLst>
          </p:cNvPr>
          <p:cNvGrpSpPr/>
          <p:nvPr/>
        </p:nvGrpSpPr>
        <p:grpSpPr>
          <a:xfrm>
            <a:off x="10461369" y="184657"/>
            <a:ext cx="1730631" cy="602744"/>
            <a:chOff x="8282365" y="1627618"/>
            <a:chExt cx="6992484" cy="2411556"/>
          </a:xfrm>
        </p:grpSpPr>
        <p:sp>
          <p:nvSpPr>
            <p:cNvPr id="22" name="Google Shape;435;p3">
              <a:extLst>
                <a:ext uri="{FF2B5EF4-FFF2-40B4-BE49-F238E27FC236}">
                  <a16:creationId xmlns:a16="http://schemas.microsoft.com/office/drawing/2014/main" id="{6A342948-499F-43E9-8AAA-69FCBA107564}"/>
                </a:ext>
              </a:extLst>
            </p:cNvPr>
            <p:cNvSpPr/>
            <p:nvPr/>
          </p:nvSpPr>
          <p:spPr>
            <a:xfrm rot="-5400000">
              <a:off x="10572829" y="-662846"/>
              <a:ext cx="2411556" cy="6992484"/>
            </a:xfrm>
            <a:prstGeom prst="round2SameRect">
              <a:avLst>
                <a:gd name="adj1" fmla="val 50000"/>
                <a:gd name="adj2" fmla="val 0"/>
              </a:avLst>
            </a:prstGeom>
            <a:solidFill>
              <a:schemeClr val="lt1">
                <a:alpha val="85882"/>
              </a:schemeClr>
            </a:solidFill>
            <a:ln>
              <a:noFill/>
            </a:ln>
            <a:effectLst>
              <a:outerShdw blurRad="50800" dist="38100" dir="10800000" algn="r" rotWithShape="0">
                <a:srgbClr val="000000">
                  <a:alpha val="40000"/>
                </a:srgbClr>
              </a:outerShdw>
            </a:effectLst>
          </p:spPr>
          <p:txBody>
            <a:bodyPr spcFirstLastPara="1" wrap="square" lIns="68569" tIns="34275" rIns="68569" bIns="34275" anchor="ctr" anchorCtr="0">
              <a:noAutofit/>
            </a:bodyPr>
            <a:lstStyle/>
            <a:p>
              <a:pPr marL="0" marR="0" lvl="0" indent="0" algn="ctr" defTabSz="609630" rtl="0" eaLnBrk="1" fontAlgn="auto" latinLnBrk="0" hangingPunct="1">
                <a:lnSpc>
                  <a:spcPct val="100000"/>
                </a:lnSpc>
                <a:spcBef>
                  <a:spcPts val="0"/>
                </a:spcBef>
                <a:spcAft>
                  <a:spcPts val="0"/>
                </a:spcAft>
                <a:buClr>
                  <a:prstClr val="white"/>
                </a:buClr>
                <a:buSzPts val="1400"/>
                <a:buFontTx/>
                <a:buNone/>
                <a:tabLst/>
                <a:defRPr/>
              </a:pPr>
              <a:endParaRPr kumimoji="0" sz="1050" b="0" i="0" u="none" strike="noStrike" kern="1200" cap="none" spc="0" normalizeH="0" baseline="0" noProof="0">
                <a:ln>
                  <a:noFill/>
                </a:ln>
                <a:solidFill>
                  <a:srgbClr val="FFFFFF"/>
                </a:solidFill>
                <a:effectLst/>
                <a:uLnTx/>
                <a:uFillTx/>
                <a:latin typeface="Century Gothic" panose="020B0502020202020204" pitchFamily="34" charset="0"/>
                <a:ea typeface="Tahoma"/>
                <a:cs typeface="Tahoma"/>
                <a:sym typeface="Tahoma"/>
              </a:endParaRPr>
            </a:p>
          </p:txBody>
        </p:sp>
        <p:pic>
          <p:nvPicPr>
            <p:cNvPr id="23" name="Google Shape;436;p3">
              <a:extLst>
                <a:ext uri="{FF2B5EF4-FFF2-40B4-BE49-F238E27FC236}">
                  <a16:creationId xmlns:a16="http://schemas.microsoft.com/office/drawing/2014/main" id="{241F6F3F-149D-4AC1-A232-D77F01B6F3D6}"/>
                </a:ext>
              </a:extLst>
            </p:cNvPr>
            <p:cNvPicPr preferRelativeResize="0"/>
            <p:nvPr/>
          </p:nvPicPr>
          <p:blipFill rotWithShape="1">
            <a:blip r:embed="rId9">
              <a:alphaModFix/>
            </a:blip>
            <a:srcRect/>
            <a:stretch/>
          </p:blipFill>
          <p:spPr>
            <a:xfrm>
              <a:off x="8955418" y="1820369"/>
              <a:ext cx="6319413" cy="2106467"/>
            </a:xfrm>
            <a:prstGeom prst="rect">
              <a:avLst/>
            </a:prstGeom>
            <a:noFill/>
            <a:ln>
              <a:noFill/>
            </a:ln>
          </p:spPr>
        </p:pic>
      </p:grpSp>
      <p:pic>
        <p:nvPicPr>
          <p:cNvPr id="24" name="Picture 23">
            <a:extLst>
              <a:ext uri="{FF2B5EF4-FFF2-40B4-BE49-F238E27FC236}">
                <a16:creationId xmlns:a16="http://schemas.microsoft.com/office/drawing/2014/main" id="{6CFFADD9-1907-4CAD-810E-95193389F5FB}"/>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570824" y="987702"/>
            <a:ext cx="5354527" cy="5870298"/>
          </a:xfrm>
          <a:prstGeom prst="rect">
            <a:avLst/>
          </a:prstGeom>
        </p:spPr>
      </p:pic>
      <p:sp>
        <p:nvSpPr>
          <p:cNvPr id="25" name="Rectangle 24">
            <a:extLst>
              <a:ext uri="{FF2B5EF4-FFF2-40B4-BE49-F238E27FC236}">
                <a16:creationId xmlns:a16="http://schemas.microsoft.com/office/drawing/2014/main" id="{EBF40D40-D46C-4E3F-86E5-3BD75ADFA3AE}"/>
              </a:ext>
            </a:extLst>
          </p:cNvPr>
          <p:cNvSpPr/>
          <p:nvPr/>
        </p:nvSpPr>
        <p:spPr>
          <a:xfrm>
            <a:off x="4672912" y="3773007"/>
            <a:ext cx="6255138" cy="399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r>
              <a:rPr kumimoji="0" lang="en-ID" sz="2000" b="1" i="0" u="none" strike="noStrike" kern="1200" cap="none" spc="0" normalizeH="0" baseline="0" noProof="0" dirty="0">
                <a:ln>
                  <a:noFill/>
                </a:ln>
                <a:solidFill>
                  <a:srgbClr val="1E3267"/>
                </a:solidFill>
                <a:effectLst/>
                <a:uLnTx/>
                <a:uFillTx/>
                <a:latin typeface="Century Gothic" panose="020B0502020202020204" pitchFamily="34" charset="0"/>
                <a:ea typeface="Tahoma" panose="020B0604030504040204" pitchFamily="34" charset="0"/>
                <a:cs typeface="Poppins" panose="00000500000000000000" pitchFamily="2" charset="0"/>
              </a:rPr>
              <a:t>KEBIJAKAN JASA KONSTRUKSI</a:t>
            </a:r>
          </a:p>
        </p:txBody>
      </p:sp>
      <p:graphicFrame>
        <p:nvGraphicFramePr>
          <p:cNvPr id="26" name="Table 2">
            <a:extLst>
              <a:ext uri="{FF2B5EF4-FFF2-40B4-BE49-F238E27FC236}">
                <a16:creationId xmlns:a16="http://schemas.microsoft.com/office/drawing/2014/main" id="{9F6A627C-6D0E-4DF7-A72F-786E94EDF281}"/>
              </a:ext>
            </a:extLst>
          </p:cNvPr>
          <p:cNvGraphicFramePr>
            <a:graphicFrameLocks noGrp="1"/>
          </p:cNvGraphicFramePr>
          <p:nvPr>
            <p:extLst>
              <p:ext uri="{D42A27DB-BD31-4B8C-83A1-F6EECF244321}">
                <p14:modId xmlns:p14="http://schemas.microsoft.com/office/powerpoint/2010/main" val="1774233395"/>
              </p:ext>
            </p:extLst>
          </p:nvPr>
        </p:nvGraphicFramePr>
        <p:xfrm>
          <a:off x="5575096" y="4507341"/>
          <a:ext cx="5751589" cy="1854200"/>
        </p:xfrm>
        <a:graphic>
          <a:graphicData uri="http://schemas.openxmlformats.org/drawingml/2006/table">
            <a:tbl>
              <a:tblPr firstRow="1" bandRow="1">
                <a:tableStyleId>{5940675A-B579-460E-94D1-54222C63F5DA}</a:tableStyleId>
              </a:tblPr>
              <a:tblGrid>
                <a:gridCol w="5751589">
                  <a:extLst>
                    <a:ext uri="{9D8B030D-6E8A-4147-A177-3AD203B41FA5}">
                      <a16:colId xmlns:a16="http://schemas.microsoft.com/office/drawing/2014/main" val="2262009672"/>
                    </a:ext>
                  </a:extLst>
                </a:gridCol>
              </a:tblGrid>
              <a:tr h="370840">
                <a:tc>
                  <a:txBody>
                    <a:bodyPr/>
                    <a:lstStyle/>
                    <a:p>
                      <a:pPr marL="444500" marR="0" lvl="0" indent="-444500" algn="l" defTabSz="71920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ID" sz="1800" dirty="0" err="1">
                          <a:solidFill>
                            <a:srgbClr val="1E3267"/>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Kemudahan</a:t>
                      </a:r>
                      <a:r>
                        <a:rPr lang="en-ID" sz="1800" dirty="0">
                          <a:solidFill>
                            <a:srgbClr val="1E3267"/>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 </a:t>
                      </a:r>
                      <a:r>
                        <a:rPr lang="en-ID" sz="1800" dirty="0" err="1">
                          <a:solidFill>
                            <a:srgbClr val="1E3267"/>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Perizinan</a:t>
                      </a:r>
                      <a:r>
                        <a:rPr lang="en-ID" sz="1800" dirty="0">
                          <a:solidFill>
                            <a:srgbClr val="1E3267"/>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 </a:t>
                      </a:r>
                      <a:r>
                        <a:rPr lang="en-ID" sz="1800" dirty="0" err="1">
                          <a:solidFill>
                            <a:srgbClr val="1E3267"/>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Berusaha</a:t>
                      </a:r>
                      <a:endParaRPr lang="en-ID" sz="1800" dirty="0">
                        <a:solidFill>
                          <a:srgbClr val="1E3267"/>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859434208"/>
                  </a:ext>
                </a:extLst>
              </a:tr>
              <a:tr h="370840">
                <a:tc>
                  <a:txBody>
                    <a:bodyPr/>
                    <a:lstStyle/>
                    <a:p>
                      <a:pPr marL="444500" marR="0" lvl="0" indent="-444500" algn="l" defTabSz="71920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ID" sz="1800" dirty="0" err="1">
                          <a:solidFill>
                            <a:srgbClr val="1E3267"/>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Perkuatan</a:t>
                      </a:r>
                      <a:r>
                        <a:rPr lang="en-ID" sz="1800" dirty="0">
                          <a:solidFill>
                            <a:srgbClr val="1E3267"/>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 Masyarakat Jasa </a:t>
                      </a:r>
                      <a:r>
                        <a:rPr lang="en-ID" sz="1800" dirty="0" err="1">
                          <a:solidFill>
                            <a:srgbClr val="1E3267"/>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Konstruksi</a:t>
                      </a:r>
                      <a:r>
                        <a:rPr lang="en-ID" sz="1800" dirty="0">
                          <a:solidFill>
                            <a:srgbClr val="1E3267"/>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03484834"/>
                  </a:ext>
                </a:extLst>
              </a:tr>
              <a:tr h="370840">
                <a:tc>
                  <a:txBody>
                    <a:bodyPr/>
                    <a:lstStyle/>
                    <a:p>
                      <a:pPr marL="444500" marR="0" lvl="0" indent="-444500" algn="l" defTabSz="71920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ID" sz="1800" dirty="0" err="1">
                          <a:solidFill>
                            <a:srgbClr val="1E3267"/>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Efisiensi</a:t>
                      </a:r>
                      <a:r>
                        <a:rPr lang="en-ID" sz="1800" dirty="0">
                          <a:solidFill>
                            <a:srgbClr val="1E3267"/>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 </a:t>
                      </a:r>
                      <a:r>
                        <a:rPr lang="en-ID" sz="1800" dirty="0" err="1">
                          <a:solidFill>
                            <a:srgbClr val="1E3267"/>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Transparansi</a:t>
                      </a:r>
                      <a:r>
                        <a:rPr lang="en-ID" sz="1800" dirty="0">
                          <a:solidFill>
                            <a:srgbClr val="1E3267"/>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 Dan </a:t>
                      </a:r>
                      <a:r>
                        <a:rPr lang="en-ID" sz="1800" dirty="0" err="1">
                          <a:solidFill>
                            <a:srgbClr val="1E3267"/>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Akuntabilitas</a:t>
                      </a:r>
                      <a:r>
                        <a:rPr lang="en-ID" sz="1800" dirty="0">
                          <a:solidFill>
                            <a:srgbClr val="1E3267"/>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 PBJ</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74016118"/>
                  </a:ext>
                </a:extLst>
              </a:tr>
              <a:tr h="370840">
                <a:tc>
                  <a:txBody>
                    <a:bodyPr/>
                    <a:lstStyle/>
                    <a:p>
                      <a:pPr marL="444500" marR="0" lvl="0" indent="-444500" algn="l" defTabSz="71920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ID" sz="1800" dirty="0" err="1">
                          <a:solidFill>
                            <a:srgbClr val="1E3267"/>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Infrastruktur</a:t>
                      </a:r>
                      <a:r>
                        <a:rPr lang="en-ID" sz="1800" dirty="0">
                          <a:solidFill>
                            <a:srgbClr val="1E3267"/>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 </a:t>
                      </a:r>
                      <a:r>
                        <a:rPr lang="en-ID" sz="1800" dirty="0" err="1">
                          <a:solidFill>
                            <a:srgbClr val="1E3267"/>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Berkualitas</a:t>
                      </a:r>
                      <a:endParaRPr lang="en-ID" sz="1800" dirty="0">
                        <a:solidFill>
                          <a:srgbClr val="1E3267"/>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832766065"/>
                  </a:ext>
                </a:extLst>
              </a:tr>
              <a:tr h="370840">
                <a:tc>
                  <a:txBody>
                    <a:bodyPr/>
                    <a:lstStyle/>
                    <a:p>
                      <a:pPr marL="444500" marR="0" lvl="0" indent="-444500" algn="l" defTabSz="719205"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fi-FI" sz="1800" dirty="0">
                          <a:solidFill>
                            <a:srgbClr val="1E3267"/>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Perkuatan Rantai Pasok Jasa Konstruksi</a:t>
                      </a:r>
                      <a:endParaRPr lang="en-ID" sz="1800" dirty="0">
                        <a:solidFill>
                          <a:srgbClr val="1E3267"/>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57950822"/>
                  </a:ext>
                </a:extLst>
              </a:tr>
            </a:tbl>
          </a:graphicData>
        </a:graphic>
      </p:graphicFrame>
      <p:cxnSp>
        <p:nvCxnSpPr>
          <p:cNvPr id="3" name="Straight Connector 2">
            <a:extLst>
              <a:ext uri="{FF2B5EF4-FFF2-40B4-BE49-F238E27FC236}">
                <a16:creationId xmlns:a16="http://schemas.microsoft.com/office/drawing/2014/main" id="{2F12AE30-4744-4C01-A4B2-B0A3DB3FCA1C}"/>
              </a:ext>
            </a:extLst>
          </p:cNvPr>
          <p:cNvCxnSpPr/>
          <p:nvPr/>
        </p:nvCxnSpPr>
        <p:spPr>
          <a:xfrm>
            <a:off x="5072964" y="4222727"/>
            <a:ext cx="5325026"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72695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A1791D6-7D7D-FC12-0495-D61B3BA20033}"/>
              </a:ext>
            </a:extLst>
          </p:cNvPr>
          <p:cNvSpPr>
            <a:spLocks noGrp="1"/>
          </p:cNvSpPr>
          <p:nvPr>
            <p:ph type="sldNum" sz="quarter" idx="12"/>
          </p:nvPr>
        </p:nvSpPr>
        <p:spPr/>
        <p:txBody>
          <a:bodyPr/>
          <a:lstStyle/>
          <a:p>
            <a:fld id="{420B1099-E721-E54F-9A56-8FD715DAFF88}" type="slidenum">
              <a:rPr lang="en-US" smtClean="0"/>
              <a:t>30</a:t>
            </a:fld>
            <a:endParaRPr lang="en-US"/>
          </a:p>
        </p:txBody>
      </p:sp>
      <p:sp>
        <p:nvSpPr>
          <p:cNvPr id="4" name="TextBox 3">
            <a:extLst>
              <a:ext uri="{FF2B5EF4-FFF2-40B4-BE49-F238E27FC236}">
                <a16:creationId xmlns:a16="http://schemas.microsoft.com/office/drawing/2014/main" id="{AF4AE7AE-5783-4D17-340B-136DC8E1D780}"/>
              </a:ext>
            </a:extLst>
          </p:cNvPr>
          <p:cNvSpPr txBox="1"/>
          <p:nvPr/>
        </p:nvSpPr>
        <p:spPr>
          <a:xfrm>
            <a:off x="-1003299" y="-994460"/>
            <a:ext cx="9169400" cy="9202519"/>
          </a:xfrm>
          <a:prstGeom prst="rect">
            <a:avLst/>
          </a:prstGeom>
          <a:noFill/>
        </p:spPr>
        <p:txBody>
          <a:bodyPr wrap="square" lIns="0" tIns="0" rIns="0" rtlCol="0" anchor="ctr">
            <a:spAutoFit/>
          </a:bodyPr>
          <a:lstStyle/>
          <a:p>
            <a:r>
              <a:rPr lang="id-ID" sz="59500" b="1" dirty="0">
                <a:blipFill dpi="0" rotWithShape="1">
                  <a:blip r:embed="rId2">
                    <a:alphaModFix amt="32000"/>
                  </a:blip>
                  <a:srcRect/>
                  <a:stretch>
                    <a:fillRect/>
                  </a:stretch>
                </a:blipFill>
                <a:latin typeface="Impact" panose="020B0806030902050204" pitchFamily="34" charset="0"/>
                <a:ea typeface="Hiragino Kaku Gothic StdN W8" panose="020B0800000000000000" pitchFamily="34" charset="-128"/>
                <a:cs typeface="Arial" panose="020B0604020202020204" pitchFamily="34" charset="0"/>
              </a:rPr>
              <a:t>04</a:t>
            </a:r>
          </a:p>
        </p:txBody>
      </p:sp>
      <p:sp>
        <p:nvSpPr>
          <p:cNvPr id="7" name="Rectangle 6">
            <a:extLst>
              <a:ext uri="{FF2B5EF4-FFF2-40B4-BE49-F238E27FC236}">
                <a16:creationId xmlns:a16="http://schemas.microsoft.com/office/drawing/2014/main" id="{1AC55671-5DDB-EEE4-92AC-61E7BA6585F3}"/>
              </a:ext>
            </a:extLst>
          </p:cNvPr>
          <p:cNvSpPr/>
          <p:nvPr/>
        </p:nvSpPr>
        <p:spPr>
          <a:xfrm>
            <a:off x="5226050" y="1228483"/>
            <a:ext cx="6965949" cy="252035"/>
          </a:xfrm>
          <a:prstGeom prst="rect">
            <a:avLst/>
          </a:prstGeom>
          <a:solidFill>
            <a:srgbClr val="1E32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TextBox 7">
            <a:extLst>
              <a:ext uri="{FF2B5EF4-FFF2-40B4-BE49-F238E27FC236}">
                <a16:creationId xmlns:a16="http://schemas.microsoft.com/office/drawing/2014/main" id="{194C30AD-FC66-8EA5-30E1-8BFD79017C33}"/>
              </a:ext>
            </a:extLst>
          </p:cNvPr>
          <p:cNvSpPr txBox="1"/>
          <p:nvPr/>
        </p:nvSpPr>
        <p:spPr>
          <a:xfrm>
            <a:off x="5903913" y="1490008"/>
            <a:ext cx="5880100" cy="2215991"/>
          </a:xfrm>
          <a:prstGeom prst="rect">
            <a:avLst/>
          </a:prstGeom>
          <a:noFill/>
        </p:spPr>
        <p:txBody>
          <a:bodyPr wrap="square" lIns="0" tIns="0" rIns="0" bIns="0" rtlCol="0" anchor="ctr">
            <a:spAutoFit/>
          </a:bodyPr>
          <a:lstStyle/>
          <a:p>
            <a:pPr lvl="0">
              <a:defRPr/>
            </a:pPr>
            <a:r>
              <a:rPr lang="id-ID" sz="3600" b="1" dirty="0">
                <a:solidFill>
                  <a:schemeClr val="accent1">
                    <a:lumMod val="50000"/>
                  </a:schemeClr>
                </a:solidFill>
                <a:latin typeface="Century Gothic" charset="0"/>
                <a:ea typeface="Century Gothic" charset="0"/>
                <a:cs typeface="Century Gothic" charset="0"/>
              </a:rPr>
              <a:t>LAPORAN KEGIATAN USAHA TAHUNAN DAN PENILAIAN KINERJA BADAN USAHA</a:t>
            </a:r>
            <a:endParaRPr lang="en-US" sz="3600" b="1" dirty="0">
              <a:solidFill>
                <a:schemeClr val="accent1">
                  <a:lumMod val="50000"/>
                </a:schemeClr>
              </a:solidFill>
              <a:latin typeface="Century Gothic" charset="0"/>
              <a:ea typeface="Century Gothic" charset="0"/>
              <a:cs typeface="Century Gothic" charset="0"/>
            </a:endParaRPr>
          </a:p>
        </p:txBody>
      </p:sp>
      <p:pic>
        <p:nvPicPr>
          <p:cNvPr id="9" name="Picture 8">
            <a:extLst>
              <a:ext uri="{FF2B5EF4-FFF2-40B4-BE49-F238E27FC236}">
                <a16:creationId xmlns:a16="http://schemas.microsoft.com/office/drawing/2014/main" id="{37481281-597B-1215-D940-21CC27FB689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085631" y="6159181"/>
            <a:ext cx="2106369" cy="698819"/>
          </a:xfrm>
          <a:prstGeom prst="rect">
            <a:avLst/>
          </a:prstGeom>
        </p:spPr>
      </p:pic>
      <p:pic>
        <p:nvPicPr>
          <p:cNvPr id="10" name="Picture 9" descr="Text, logo&#10;&#10;Description automatically generated">
            <a:extLst>
              <a:ext uri="{FF2B5EF4-FFF2-40B4-BE49-F238E27FC236}">
                <a16:creationId xmlns:a16="http://schemas.microsoft.com/office/drawing/2014/main" id="{98F27504-C8FF-E7B3-C944-4B80D9C7276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6207" y="5857175"/>
            <a:ext cx="2305163" cy="876866"/>
          </a:xfrm>
          <a:prstGeom prst="rect">
            <a:avLst/>
          </a:prstGeom>
        </p:spPr>
      </p:pic>
    </p:spTree>
    <p:extLst>
      <p:ext uri="{BB962C8B-B14F-4D97-AF65-F5344CB8AC3E}">
        <p14:creationId xmlns:p14="http://schemas.microsoft.com/office/powerpoint/2010/main" val="39311679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515"/>
        <p:cNvGrpSpPr/>
        <p:nvPr/>
      </p:nvGrpSpPr>
      <p:grpSpPr>
        <a:xfrm>
          <a:off x="0" y="0"/>
          <a:ext cx="0" cy="0"/>
          <a:chOff x="0" y="0"/>
          <a:chExt cx="0" cy="0"/>
        </a:xfrm>
      </p:grpSpPr>
      <p:sp>
        <p:nvSpPr>
          <p:cNvPr id="516" name="Google Shape;516;p3"/>
          <p:cNvSpPr txBox="1"/>
          <p:nvPr/>
        </p:nvSpPr>
        <p:spPr>
          <a:xfrm>
            <a:off x="276825" y="1119658"/>
            <a:ext cx="8324923" cy="40011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b="1">
                <a:solidFill>
                  <a:srgbClr val="1E4E79"/>
                </a:solidFill>
                <a:latin typeface="Calibri"/>
                <a:ea typeface="Calibri"/>
                <a:cs typeface="Calibri"/>
                <a:sym typeface="Calibri"/>
              </a:rPr>
              <a:t>Peraturan Pemerintah No. 5 Tahun 2021</a:t>
            </a:r>
            <a:endParaRPr sz="2000" b="1">
              <a:solidFill>
                <a:srgbClr val="1E4E79"/>
              </a:solidFill>
              <a:latin typeface="Calibri"/>
              <a:ea typeface="Calibri"/>
              <a:cs typeface="Calibri"/>
              <a:sym typeface="Calibri"/>
            </a:endParaRPr>
          </a:p>
        </p:txBody>
      </p:sp>
      <p:sp>
        <p:nvSpPr>
          <p:cNvPr id="517" name="Google Shape;517;p3"/>
          <p:cNvSpPr txBox="1"/>
          <p:nvPr/>
        </p:nvSpPr>
        <p:spPr>
          <a:xfrm>
            <a:off x="2648984" y="2477797"/>
            <a:ext cx="2578335" cy="1200329"/>
          </a:xfrm>
          <a:prstGeom prst="rect">
            <a:avLst/>
          </a:prstGeom>
          <a:noFill/>
          <a:ln>
            <a:noFill/>
          </a:ln>
        </p:spPr>
        <p:txBody>
          <a:bodyPr spcFirstLastPara="1" wrap="square" lIns="91425" tIns="45700" rIns="91425" bIns="45700" anchor="t" anchorCtr="0">
            <a:spAutoFit/>
          </a:bodyPr>
          <a:lstStyle/>
          <a:p>
            <a:pPr marL="342900" marR="0" lvl="0" indent="-342900" algn="l" rtl="0">
              <a:spcBef>
                <a:spcPts val="0"/>
              </a:spcBef>
              <a:spcAft>
                <a:spcPts val="0"/>
              </a:spcAft>
              <a:buClr>
                <a:schemeClr val="dk1"/>
              </a:buClr>
              <a:buSzPts val="1800"/>
              <a:buFont typeface="Calibri"/>
              <a:buAutoNum type="arabicPeriod"/>
            </a:pPr>
            <a:r>
              <a:rPr lang="en-US" sz="1800" b="1" u="sng">
                <a:solidFill>
                  <a:schemeClr val="dk1"/>
                </a:solidFill>
                <a:latin typeface="Calibri"/>
                <a:ea typeface="Calibri"/>
                <a:cs typeface="Calibri"/>
                <a:sym typeface="Calibri"/>
              </a:rPr>
              <a:t>Melaporkan kegiatan usaha tahunan; </a:t>
            </a:r>
            <a:r>
              <a:rPr lang="en-US" sz="1800" u="sng">
                <a:solidFill>
                  <a:schemeClr val="dk1"/>
                </a:solidFill>
                <a:latin typeface="Calibri"/>
                <a:ea typeface="Calibri"/>
                <a:cs typeface="Calibri"/>
                <a:sym typeface="Calibri"/>
              </a:rPr>
              <a:t>dan</a:t>
            </a:r>
            <a:endParaRPr/>
          </a:p>
          <a:p>
            <a:pPr marL="342900" marR="0" lvl="0" indent="-342900" algn="l" rtl="0">
              <a:spcBef>
                <a:spcPts val="0"/>
              </a:spcBef>
              <a:spcAft>
                <a:spcPts val="0"/>
              </a:spcAft>
              <a:buClr>
                <a:schemeClr val="dk1"/>
              </a:buClr>
              <a:buSzPts val="1800"/>
              <a:buFont typeface="Calibri"/>
              <a:buAutoNum type="arabicPeriod"/>
            </a:pPr>
            <a:r>
              <a:rPr lang="en-US" sz="1800" b="1" u="sng">
                <a:solidFill>
                  <a:schemeClr val="dk1"/>
                </a:solidFill>
                <a:latin typeface="Calibri"/>
                <a:ea typeface="Calibri"/>
                <a:cs typeface="Calibri"/>
                <a:sym typeface="Calibri"/>
              </a:rPr>
              <a:t>Pencatatan pengalaman</a:t>
            </a:r>
            <a:endParaRPr sz="1800" b="1" u="sng">
              <a:solidFill>
                <a:schemeClr val="dk1"/>
              </a:solidFill>
              <a:latin typeface="Calibri"/>
              <a:ea typeface="Calibri"/>
              <a:cs typeface="Calibri"/>
              <a:sym typeface="Calibri"/>
            </a:endParaRPr>
          </a:p>
        </p:txBody>
      </p:sp>
      <p:pic>
        <p:nvPicPr>
          <p:cNvPr id="518" name="Google Shape;518;p3" descr="PT Maleo Rachma Indo Abadi | Jasa Drilling Blasting Professional"/>
          <p:cNvPicPr preferRelativeResize="0"/>
          <p:nvPr/>
        </p:nvPicPr>
        <p:blipFill rotWithShape="1">
          <a:blip r:embed="rId3">
            <a:alphaModFix/>
          </a:blip>
          <a:srcRect l="13165" t="21383" r="12139" b="18664"/>
          <a:stretch/>
        </p:blipFill>
        <p:spPr>
          <a:xfrm>
            <a:off x="186363" y="2312673"/>
            <a:ext cx="1874520" cy="1504555"/>
          </a:xfrm>
          <a:prstGeom prst="rect">
            <a:avLst/>
          </a:prstGeom>
          <a:noFill/>
          <a:ln>
            <a:noFill/>
          </a:ln>
        </p:spPr>
      </p:pic>
      <p:sp>
        <p:nvSpPr>
          <p:cNvPr id="519" name="Google Shape;519;p3"/>
          <p:cNvSpPr txBox="1"/>
          <p:nvPr/>
        </p:nvSpPr>
        <p:spPr>
          <a:xfrm>
            <a:off x="290684" y="2468827"/>
            <a:ext cx="722227" cy="40011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000" b="1">
                <a:solidFill>
                  <a:schemeClr val="dk1"/>
                </a:solidFill>
                <a:latin typeface="Calibri"/>
                <a:ea typeface="Calibri"/>
                <a:cs typeface="Calibri"/>
                <a:sym typeface="Calibri"/>
              </a:rPr>
              <a:t>BUJK</a:t>
            </a:r>
            <a:endParaRPr sz="2400" b="1">
              <a:solidFill>
                <a:schemeClr val="dk1"/>
              </a:solidFill>
              <a:latin typeface="Calibri"/>
              <a:ea typeface="Calibri"/>
              <a:cs typeface="Calibri"/>
              <a:sym typeface="Calibri"/>
            </a:endParaRPr>
          </a:p>
        </p:txBody>
      </p:sp>
      <p:sp>
        <p:nvSpPr>
          <p:cNvPr id="520" name="Google Shape;520;p3"/>
          <p:cNvSpPr txBox="1"/>
          <p:nvPr/>
        </p:nvSpPr>
        <p:spPr>
          <a:xfrm>
            <a:off x="881762" y="2607850"/>
            <a:ext cx="1180420" cy="40011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000" b="1">
                <a:solidFill>
                  <a:schemeClr val="dk1"/>
                </a:solidFill>
                <a:latin typeface="Calibri"/>
                <a:ea typeface="Calibri"/>
                <a:cs typeface="Calibri"/>
                <a:sym typeface="Calibri"/>
              </a:rPr>
              <a:t>UOP</a:t>
            </a:r>
            <a:endParaRPr sz="1800" b="1">
              <a:solidFill>
                <a:schemeClr val="dk1"/>
              </a:solidFill>
              <a:latin typeface="Calibri"/>
              <a:ea typeface="Calibri"/>
              <a:cs typeface="Calibri"/>
              <a:sym typeface="Calibri"/>
            </a:endParaRPr>
          </a:p>
        </p:txBody>
      </p:sp>
      <p:sp>
        <p:nvSpPr>
          <p:cNvPr id="521" name="Google Shape;521;p3"/>
          <p:cNvSpPr txBox="1"/>
          <p:nvPr/>
        </p:nvSpPr>
        <p:spPr>
          <a:xfrm>
            <a:off x="194234" y="1567663"/>
            <a:ext cx="5033085" cy="646331"/>
          </a:xfrm>
          <a:prstGeom prst="rect">
            <a:avLst/>
          </a:prstGeom>
          <a:noFill/>
          <a:ln w="9525" cap="flat" cmpd="sng">
            <a:solidFill>
              <a:schemeClr val="accent2"/>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a:solidFill>
                  <a:schemeClr val="dk1"/>
                </a:solidFill>
                <a:latin typeface="Calibri"/>
                <a:ea typeface="Calibri"/>
                <a:cs typeface="Calibri"/>
                <a:sym typeface="Calibri"/>
              </a:rPr>
              <a:t>Pengawasan rutin pada subsektor jasa konstruksi, dilakukan berdasarkan:  </a:t>
            </a:r>
            <a:endParaRPr/>
          </a:p>
        </p:txBody>
      </p:sp>
      <p:sp>
        <p:nvSpPr>
          <p:cNvPr id="522" name="Google Shape;522;p3"/>
          <p:cNvSpPr/>
          <p:nvPr/>
        </p:nvSpPr>
        <p:spPr>
          <a:xfrm>
            <a:off x="2119928" y="2772720"/>
            <a:ext cx="474268" cy="504476"/>
          </a:xfrm>
          <a:prstGeom prst="rightArrow">
            <a:avLst>
              <a:gd name="adj1" fmla="val 50000"/>
              <a:gd name="adj2" fmla="val 50000"/>
            </a:avLst>
          </a:prstGeom>
          <a:solidFill>
            <a:srgbClr val="2E75B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Calibri"/>
              <a:ea typeface="Calibri"/>
              <a:cs typeface="Calibri"/>
              <a:sym typeface="Calibri"/>
            </a:endParaRPr>
          </a:p>
        </p:txBody>
      </p:sp>
      <p:cxnSp>
        <p:nvCxnSpPr>
          <p:cNvPr id="523" name="Google Shape;523;p3"/>
          <p:cNvCxnSpPr/>
          <p:nvPr/>
        </p:nvCxnSpPr>
        <p:spPr>
          <a:xfrm>
            <a:off x="5456915" y="1104814"/>
            <a:ext cx="0" cy="5522093"/>
          </a:xfrm>
          <a:prstGeom prst="straightConnector1">
            <a:avLst/>
          </a:prstGeom>
          <a:noFill/>
          <a:ln w="38100" cap="flat" cmpd="sng">
            <a:solidFill>
              <a:srgbClr val="2E75B5"/>
            </a:solidFill>
            <a:prstDash val="solid"/>
            <a:miter lim="800000"/>
            <a:headEnd type="none" w="sm" len="sm"/>
            <a:tailEnd type="none" w="sm" len="sm"/>
          </a:ln>
        </p:spPr>
      </p:cxnSp>
      <p:pic>
        <p:nvPicPr>
          <p:cNvPr id="524" name="Google Shape;524;p3" descr="A picture containing text, indoor, computer, computer&#10;&#10;Description automatically generated"/>
          <p:cNvPicPr preferRelativeResize="0"/>
          <p:nvPr/>
        </p:nvPicPr>
        <p:blipFill rotWithShape="1">
          <a:blip r:embed="rId4">
            <a:alphaModFix/>
          </a:blip>
          <a:srcRect/>
          <a:stretch/>
        </p:blipFill>
        <p:spPr>
          <a:xfrm>
            <a:off x="3251442" y="4647269"/>
            <a:ext cx="1123440" cy="1079952"/>
          </a:xfrm>
          <a:prstGeom prst="rect">
            <a:avLst/>
          </a:prstGeom>
          <a:noFill/>
          <a:ln>
            <a:noFill/>
          </a:ln>
        </p:spPr>
      </p:pic>
      <p:pic>
        <p:nvPicPr>
          <p:cNvPr id="525" name="Google Shape;525;p3" descr="Chevron arrows with solid fill"/>
          <p:cNvPicPr preferRelativeResize="0"/>
          <p:nvPr/>
        </p:nvPicPr>
        <p:blipFill rotWithShape="1">
          <a:blip r:embed="rId5">
            <a:alphaModFix/>
          </a:blip>
          <a:srcRect/>
          <a:stretch/>
        </p:blipFill>
        <p:spPr>
          <a:xfrm rot="-5400000">
            <a:off x="3473834" y="3958855"/>
            <a:ext cx="678656" cy="451741"/>
          </a:xfrm>
          <a:prstGeom prst="rect">
            <a:avLst/>
          </a:prstGeom>
          <a:noFill/>
          <a:ln>
            <a:noFill/>
          </a:ln>
        </p:spPr>
      </p:pic>
      <p:sp>
        <p:nvSpPr>
          <p:cNvPr id="526" name="Google Shape;526;p3"/>
          <p:cNvSpPr txBox="1"/>
          <p:nvPr/>
        </p:nvSpPr>
        <p:spPr>
          <a:xfrm>
            <a:off x="3918113" y="4022610"/>
            <a:ext cx="1042349" cy="442913"/>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None/>
            </a:pPr>
            <a:r>
              <a:rPr lang="en-US" sz="1867" b="0" i="1" u="none" strike="noStrike" cap="none">
                <a:solidFill>
                  <a:schemeClr val="dk1"/>
                </a:solidFill>
                <a:latin typeface="Arial"/>
                <a:ea typeface="Arial"/>
                <a:cs typeface="Arial"/>
                <a:sym typeface="Arial"/>
              </a:rPr>
              <a:t>melalui</a:t>
            </a:r>
            <a:endParaRPr sz="1867" b="0" i="1" u="none" strike="noStrike" cap="none">
              <a:solidFill>
                <a:schemeClr val="dk1"/>
              </a:solidFill>
              <a:latin typeface="Arial"/>
              <a:ea typeface="Arial"/>
              <a:cs typeface="Arial"/>
              <a:sym typeface="Arial"/>
            </a:endParaRPr>
          </a:p>
        </p:txBody>
      </p:sp>
      <p:sp>
        <p:nvSpPr>
          <p:cNvPr id="527" name="Google Shape;527;p3"/>
          <p:cNvSpPr txBox="1"/>
          <p:nvPr/>
        </p:nvSpPr>
        <p:spPr>
          <a:xfrm>
            <a:off x="2180315" y="5860610"/>
            <a:ext cx="3276600" cy="442913"/>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None/>
            </a:pPr>
            <a:r>
              <a:rPr lang="en-US" sz="1800" b="1" i="0" u="none" strike="noStrike" cap="none">
                <a:solidFill>
                  <a:srgbClr val="000000"/>
                </a:solidFill>
                <a:latin typeface="Calibri"/>
                <a:ea typeface="Calibri"/>
                <a:cs typeface="Calibri"/>
                <a:sym typeface="Calibri"/>
              </a:rPr>
              <a:t>Aplikasi Usaha Jasa Konstruksi</a:t>
            </a:r>
            <a:r>
              <a:rPr lang="en-US" sz="1800" b="0" i="0" u="none" strike="noStrike" cap="none">
                <a:solidFill>
                  <a:srgbClr val="000000"/>
                </a:solidFill>
                <a:latin typeface="Calibri"/>
                <a:ea typeface="Calibri"/>
                <a:cs typeface="Calibri"/>
                <a:sym typeface="Calibri"/>
              </a:rPr>
              <a:t> (AUJK) sistem informasi jasa konstruksi terintegrasi.</a:t>
            </a:r>
            <a:endParaRPr sz="1800" b="0" i="1" u="none" strike="noStrike" cap="none">
              <a:solidFill>
                <a:schemeClr val="dk1"/>
              </a:solidFill>
              <a:latin typeface="Calibri"/>
              <a:ea typeface="Calibri"/>
              <a:cs typeface="Calibri"/>
              <a:sym typeface="Calibri"/>
            </a:endParaRPr>
          </a:p>
        </p:txBody>
      </p:sp>
      <p:sp>
        <p:nvSpPr>
          <p:cNvPr id="528" name="Google Shape;528;p3"/>
          <p:cNvSpPr txBox="1"/>
          <p:nvPr/>
        </p:nvSpPr>
        <p:spPr>
          <a:xfrm>
            <a:off x="5487440" y="781645"/>
            <a:ext cx="5978344"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a:solidFill>
                  <a:schemeClr val="dk1"/>
                </a:solidFill>
                <a:latin typeface="Calibri"/>
                <a:ea typeface="Calibri"/>
                <a:cs typeface="Calibri"/>
                <a:sym typeface="Calibri"/>
              </a:rPr>
              <a:t>LAPORAN KEGIATAN USAHA TAHUNAN : </a:t>
            </a:r>
            <a:endParaRPr/>
          </a:p>
        </p:txBody>
      </p:sp>
      <p:sp>
        <p:nvSpPr>
          <p:cNvPr id="529" name="Google Shape;529;p3"/>
          <p:cNvSpPr txBox="1"/>
          <p:nvPr/>
        </p:nvSpPr>
        <p:spPr>
          <a:xfrm>
            <a:off x="5611885" y="1108835"/>
            <a:ext cx="2956138" cy="2031325"/>
          </a:xfrm>
          <a:prstGeom prst="rect">
            <a:avLst/>
          </a:prstGeom>
          <a:solidFill>
            <a:schemeClr val="lt1"/>
          </a:solidFill>
          <a:ln w="12700" cap="flat" cmpd="sng">
            <a:solidFill>
              <a:schemeClr val="accent2"/>
            </a:solidFill>
            <a:prstDash val="solid"/>
            <a:miter lim="800000"/>
            <a:headEnd type="none" w="sm" len="sm"/>
            <a:tailEnd type="none" w="sm" len="sm"/>
          </a:ln>
        </p:spPr>
        <p:txBody>
          <a:bodyPr spcFirstLastPara="1" wrap="square" lIns="91425" tIns="45700" rIns="91425" bIns="45700" anchor="t" anchorCtr="0">
            <a:spAutoFit/>
          </a:bodyPr>
          <a:lstStyle/>
          <a:p>
            <a:pPr marL="285750" marR="0" lvl="0" indent="-285750" algn="l" rtl="0">
              <a:spcBef>
                <a:spcPts val="0"/>
              </a:spcBef>
              <a:spcAft>
                <a:spcPts val="0"/>
              </a:spcAft>
              <a:buClr>
                <a:schemeClr val="dk1"/>
              </a:buClr>
              <a:buSzPts val="1800"/>
              <a:buFont typeface="Noto Sans Symbols"/>
              <a:buChar char="❑"/>
            </a:pPr>
            <a:r>
              <a:rPr lang="en-US" sz="1800" u="sng">
                <a:solidFill>
                  <a:schemeClr val="dk1"/>
                </a:solidFill>
                <a:latin typeface="Calibri"/>
                <a:ea typeface="Calibri"/>
                <a:cs typeface="Calibri"/>
                <a:sym typeface="Calibri"/>
              </a:rPr>
              <a:t>Usaha Orang Perseorangan</a:t>
            </a:r>
            <a:r>
              <a:rPr lang="en-US" sz="1800">
                <a:solidFill>
                  <a:schemeClr val="dk1"/>
                </a:solidFill>
                <a:latin typeface="Calibri"/>
                <a:ea typeface="Calibri"/>
                <a:cs typeface="Calibri"/>
                <a:sym typeface="Calibri"/>
              </a:rPr>
              <a:t> dan </a:t>
            </a:r>
            <a:r>
              <a:rPr lang="en-US" sz="1800" u="sng">
                <a:solidFill>
                  <a:schemeClr val="dk1"/>
                </a:solidFill>
                <a:latin typeface="Calibri"/>
                <a:ea typeface="Calibri"/>
                <a:cs typeface="Calibri"/>
                <a:sym typeface="Calibri"/>
              </a:rPr>
              <a:t>BUJK</a:t>
            </a:r>
            <a:r>
              <a:rPr lang="en-US" sz="1800">
                <a:solidFill>
                  <a:schemeClr val="dk1"/>
                </a:solidFill>
                <a:latin typeface="Calibri"/>
                <a:ea typeface="Calibri"/>
                <a:cs typeface="Calibri"/>
                <a:sym typeface="Calibri"/>
              </a:rPr>
              <a:t> </a:t>
            </a:r>
            <a:r>
              <a:rPr lang="en-US" sz="1800" b="1">
                <a:solidFill>
                  <a:schemeClr val="dk1"/>
                </a:solidFill>
                <a:latin typeface="Calibri"/>
                <a:ea typeface="Calibri"/>
                <a:cs typeface="Calibri"/>
                <a:sym typeface="Calibri"/>
              </a:rPr>
              <a:t>kualifikasi kecil</a:t>
            </a:r>
            <a:r>
              <a:rPr lang="en-US" sz="1800">
                <a:solidFill>
                  <a:schemeClr val="dk1"/>
                </a:solidFill>
                <a:latin typeface="Calibri"/>
                <a:ea typeface="Calibri"/>
                <a:cs typeface="Calibri"/>
                <a:sym typeface="Calibri"/>
              </a:rPr>
              <a:t> :</a:t>
            </a:r>
            <a:endParaRPr/>
          </a:p>
          <a:p>
            <a:pPr marL="620713" marR="0" lvl="0" indent="-342899" algn="l" rtl="0">
              <a:spcBef>
                <a:spcPts val="0"/>
              </a:spcBef>
              <a:spcAft>
                <a:spcPts val="0"/>
              </a:spcAft>
              <a:buClr>
                <a:schemeClr val="dk1"/>
              </a:buClr>
              <a:buSzPts val="1800"/>
              <a:buFont typeface="Calibri"/>
              <a:buAutoNum type="alphaLcPeriod"/>
            </a:pPr>
            <a:r>
              <a:rPr lang="en-US" sz="1800">
                <a:solidFill>
                  <a:schemeClr val="dk1"/>
                </a:solidFill>
                <a:latin typeface="Calibri"/>
                <a:ea typeface="Calibri"/>
                <a:cs typeface="Calibri"/>
                <a:sym typeface="Calibri"/>
              </a:rPr>
              <a:t>data usaha orang perseorangan / BUJK ;</a:t>
            </a:r>
            <a:endParaRPr/>
          </a:p>
          <a:p>
            <a:pPr marL="620713" marR="0" lvl="0" indent="-342899" algn="l" rtl="0">
              <a:spcBef>
                <a:spcPts val="0"/>
              </a:spcBef>
              <a:spcAft>
                <a:spcPts val="0"/>
              </a:spcAft>
              <a:buClr>
                <a:schemeClr val="dk1"/>
              </a:buClr>
              <a:buSzPts val="1800"/>
              <a:buFont typeface="Calibri"/>
              <a:buAutoNum type="alphaLcPeriod"/>
            </a:pPr>
            <a:r>
              <a:rPr lang="en-US" sz="1800">
                <a:solidFill>
                  <a:schemeClr val="dk1"/>
                </a:solidFill>
                <a:latin typeface="Calibri"/>
                <a:ea typeface="Calibri"/>
                <a:cs typeface="Calibri"/>
                <a:sym typeface="Calibri"/>
              </a:rPr>
              <a:t>data kewajiban pelaksanaan berusaha.</a:t>
            </a:r>
            <a:endParaRPr/>
          </a:p>
        </p:txBody>
      </p:sp>
      <p:sp>
        <p:nvSpPr>
          <p:cNvPr id="530" name="Google Shape;530;p3"/>
          <p:cNvSpPr txBox="1"/>
          <p:nvPr/>
        </p:nvSpPr>
        <p:spPr>
          <a:xfrm>
            <a:off x="8716154" y="1114412"/>
            <a:ext cx="3289483" cy="2031325"/>
          </a:xfrm>
          <a:prstGeom prst="rect">
            <a:avLst/>
          </a:prstGeom>
          <a:solidFill>
            <a:schemeClr val="lt1"/>
          </a:solidFill>
          <a:ln w="12700" cap="flat" cmpd="sng">
            <a:solidFill>
              <a:schemeClr val="accent2"/>
            </a:solidFill>
            <a:prstDash val="solid"/>
            <a:miter lim="800000"/>
            <a:headEnd type="none" w="sm" len="sm"/>
            <a:tailEnd type="none" w="sm" len="sm"/>
          </a:ln>
        </p:spPr>
        <p:txBody>
          <a:bodyPr spcFirstLastPara="1" wrap="square" lIns="91425" tIns="45700" rIns="91425" bIns="45700" anchor="t" anchorCtr="0">
            <a:spAutoFit/>
          </a:bodyPr>
          <a:lstStyle/>
          <a:p>
            <a:pPr marL="285750" marR="0" lvl="0" indent="-285750" algn="l" rtl="0">
              <a:spcBef>
                <a:spcPts val="0"/>
              </a:spcBef>
              <a:spcAft>
                <a:spcPts val="0"/>
              </a:spcAft>
              <a:buClr>
                <a:schemeClr val="dk1"/>
              </a:buClr>
              <a:buSzPts val="1800"/>
              <a:buFont typeface="Noto Sans Symbols"/>
              <a:buChar char="❑"/>
            </a:pPr>
            <a:r>
              <a:rPr lang="en-US" sz="1800" u="sng">
                <a:solidFill>
                  <a:schemeClr val="dk1"/>
                </a:solidFill>
                <a:latin typeface="Calibri"/>
                <a:ea typeface="Calibri"/>
                <a:cs typeface="Calibri"/>
                <a:sym typeface="Calibri"/>
              </a:rPr>
              <a:t>BUJK</a:t>
            </a:r>
            <a:r>
              <a:rPr lang="en-US" sz="1800">
                <a:solidFill>
                  <a:schemeClr val="dk1"/>
                </a:solidFill>
                <a:latin typeface="Calibri"/>
                <a:ea typeface="Calibri"/>
                <a:cs typeface="Calibri"/>
                <a:sym typeface="Calibri"/>
              </a:rPr>
              <a:t> kualifikasi </a:t>
            </a:r>
            <a:r>
              <a:rPr lang="en-US" sz="1800" b="1">
                <a:solidFill>
                  <a:schemeClr val="dk1"/>
                </a:solidFill>
                <a:latin typeface="Calibri"/>
                <a:ea typeface="Calibri"/>
                <a:cs typeface="Calibri"/>
                <a:sym typeface="Calibri"/>
              </a:rPr>
              <a:t>menengah, besar</a:t>
            </a:r>
            <a:r>
              <a:rPr lang="en-US" sz="1800">
                <a:solidFill>
                  <a:schemeClr val="dk1"/>
                </a:solidFill>
                <a:latin typeface="Calibri"/>
                <a:ea typeface="Calibri"/>
                <a:cs typeface="Calibri"/>
                <a:sym typeface="Calibri"/>
              </a:rPr>
              <a:t>, dan BUJK </a:t>
            </a:r>
            <a:r>
              <a:rPr lang="en-US" sz="1800" b="1">
                <a:solidFill>
                  <a:schemeClr val="dk1"/>
                </a:solidFill>
                <a:latin typeface="Calibri"/>
                <a:ea typeface="Calibri"/>
                <a:cs typeface="Calibri"/>
                <a:sym typeface="Calibri"/>
              </a:rPr>
              <a:t>spesialis</a:t>
            </a:r>
            <a:r>
              <a:rPr lang="en-US" sz="1800">
                <a:solidFill>
                  <a:schemeClr val="dk1"/>
                </a:solidFill>
                <a:latin typeface="Calibri"/>
                <a:ea typeface="Calibri"/>
                <a:cs typeface="Calibri"/>
                <a:sym typeface="Calibri"/>
              </a:rPr>
              <a:t> :</a:t>
            </a:r>
            <a:endParaRPr/>
          </a:p>
          <a:p>
            <a:pPr marL="719138" marR="0" lvl="0" indent="-342900" algn="l" rtl="0">
              <a:spcBef>
                <a:spcPts val="0"/>
              </a:spcBef>
              <a:spcAft>
                <a:spcPts val="0"/>
              </a:spcAft>
              <a:buClr>
                <a:schemeClr val="dk1"/>
              </a:buClr>
              <a:buSzPts val="1800"/>
              <a:buFont typeface="Calibri"/>
              <a:buAutoNum type="alphaLcPeriod"/>
            </a:pPr>
            <a:r>
              <a:rPr lang="en-US" sz="1800">
                <a:solidFill>
                  <a:schemeClr val="dk1"/>
                </a:solidFill>
                <a:latin typeface="Calibri"/>
                <a:ea typeface="Calibri"/>
                <a:cs typeface="Calibri"/>
                <a:sym typeface="Calibri"/>
              </a:rPr>
              <a:t>data kepatuhan pelaksanaan Perizinan; </a:t>
            </a:r>
            <a:endParaRPr/>
          </a:p>
          <a:p>
            <a:pPr marL="719138" marR="0" lvl="0" indent="-342900" algn="l" rtl="0">
              <a:spcBef>
                <a:spcPts val="0"/>
              </a:spcBef>
              <a:spcAft>
                <a:spcPts val="0"/>
              </a:spcAft>
              <a:buClr>
                <a:schemeClr val="dk1"/>
              </a:buClr>
              <a:buSzPts val="1800"/>
              <a:buFont typeface="Calibri"/>
              <a:buAutoNum type="alphaLcPeriod"/>
            </a:pPr>
            <a:r>
              <a:rPr lang="en-US" sz="1800">
                <a:solidFill>
                  <a:schemeClr val="dk1"/>
                </a:solidFill>
                <a:latin typeface="Calibri"/>
                <a:ea typeface="Calibri"/>
                <a:cs typeface="Calibri"/>
                <a:sym typeface="Calibri"/>
              </a:rPr>
              <a:t>data kinerja </a:t>
            </a:r>
            <a:r>
              <a:rPr lang="en-US" sz="1800" u="sng">
                <a:solidFill>
                  <a:schemeClr val="dk1"/>
                </a:solidFill>
                <a:latin typeface="Calibri"/>
                <a:ea typeface="Calibri"/>
                <a:cs typeface="Calibri"/>
                <a:sym typeface="Calibri"/>
              </a:rPr>
              <a:t>manajemen</a:t>
            </a:r>
            <a:r>
              <a:rPr lang="en-US" sz="1800">
                <a:solidFill>
                  <a:schemeClr val="dk1"/>
                </a:solidFill>
                <a:latin typeface="Calibri"/>
                <a:ea typeface="Calibri"/>
                <a:cs typeface="Calibri"/>
                <a:sym typeface="Calibri"/>
              </a:rPr>
              <a:t> perusahaan; </a:t>
            </a:r>
            <a:endParaRPr/>
          </a:p>
          <a:p>
            <a:pPr marL="719138" marR="0" lvl="0" indent="-342900" algn="l" rtl="0">
              <a:spcBef>
                <a:spcPts val="0"/>
              </a:spcBef>
              <a:spcAft>
                <a:spcPts val="0"/>
              </a:spcAft>
              <a:buClr>
                <a:schemeClr val="dk1"/>
              </a:buClr>
              <a:buSzPts val="1800"/>
              <a:buFont typeface="Calibri"/>
              <a:buAutoNum type="alphaLcPeriod"/>
            </a:pPr>
            <a:r>
              <a:rPr lang="en-US" sz="1800">
                <a:solidFill>
                  <a:schemeClr val="dk1"/>
                </a:solidFill>
                <a:latin typeface="Calibri"/>
                <a:ea typeface="Calibri"/>
                <a:cs typeface="Calibri"/>
                <a:sym typeface="Calibri"/>
              </a:rPr>
              <a:t>data kinerja </a:t>
            </a:r>
            <a:r>
              <a:rPr lang="en-US" sz="1800" u="sng">
                <a:solidFill>
                  <a:schemeClr val="dk1"/>
                </a:solidFill>
                <a:latin typeface="Calibri"/>
                <a:ea typeface="Calibri"/>
                <a:cs typeface="Calibri"/>
                <a:sym typeface="Calibri"/>
              </a:rPr>
              <a:t>proyek</a:t>
            </a:r>
            <a:r>
              <a:rPr lang="en-US" sz="1800">
                <a:solidFill>
                  <a:schemeClr val="dk1"/>
                </a:solidFill>
                <a:latin typeface="Calibri"/>
                <a:ea typeface="Calibri"/>
                <a:cs typeface="Calibri"/>
                <a:sym typeface="Calibri"/>
              </a:rPr>
              <a:t>.</a:t>
            </a:r>
            <a:endParaRPr/>
          </a:p>
        </p:txBody>
      </p:sp>
      <p:sp>
        <p:nvSpPr>
          <p:cNvPr id="531" name="Google Shape;531;p3"/>
          <p:cNvSpPr txBox="1"/>
          <p:nvPr/>
        </p:nvSpPr>
        <p:spPr>
          <a:xfrm>
            <a:off x="5595648" y="3198058"/>
            <a:ext cx="6409987" cy="1477328"/>
          </a:xfrm>
          <a:prstGeom prst="rect">
            <a:avLst/>
          </a:prstGeom>
          <a:solidFill>
            <a:schemeClr val="lt1"/>
          </a:solidFill>
          <a:ln w="12700" cap="flat" cmpd="sng">
            <a:solidFill>
              <a:schemeClr val="accent2"/>
            </a:solidFill>
            <a:prstDash val="solid"/>
            <a:miter lim="800000"/>
            <a:headEnd type="none" w="sm" len="sm"/>
            <a:tailEnd type="none" w="sm" len="sm"/>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a:solidFill>
                  <a:schemeClr val="dk1"/>
                </a:solidFill>
                <a:latin typeface="Calibri"/>
                <a:ea typeface="Calibri"/>
                <a:cs typeface="Calibri"/>
                <a:sym typeface="Calibri"/>
              </a:rPr>
              <a:t>Selain data di atas dapat dilengkapi dengan: </a:t>
            </a:r>
            <a:endParaRPr/>
          </a:p>
          <a:p>
            <a:pPr marL="342900" marR="0" lvl="0" indent="-342900" algn="l" rtl="0">
              <a:spcBef>
                <a:spcPts val="0"/>
              </a:spcBef>
              <a:spcAft>
                <a:spcPts val="0"/>
              </a:spcAft>
              <a:buClr>
                <a:schemeClr val="dk1"/>
              </a:buClr>
              <a:buSzPts val="1800"/>
              <a:buFont typeface="Calibri"/>
              <a:buAutoNum type="alphaLcPeriod"/>
            </a:pPr>
            <a:r>
              <a:rPr lang="en-US" sz="1800">
                <a:solidFill>
                  <a:schemeClr val="dk1"/>
                </a:solidFill>
                <a:latin typeface="Calibri"/>
                <a:ea typeface="Calibri"/>
                <a:cs typeface="Calibri"/>
                <a:sym typeface="Calibri"/>
              </a:rPr>
              <a:t>pemenuhan standar keamanan, keselamatan, kesehatan dan keberlanjutan; </a:t>
            </a:r>
            <a:endParaRPr/>
          </a:p>
          <a:p>
            <a:pPr marL="342900" marR="0" lvl="0" indent="-342900" algn="l" rtl="0">
              <a:spcBef>
                <a:spcPts val="0"/>
              </a:spcBef>
              <a:spcAft>
                <a:spcPts val="0"/>
              </a:spcAft>
              <a:buClr>
                <a:schemeClr val="dk1"/>
              </a:buClr>
              <a:buSzPts val="1800"/>
              <a:buFont typeface="Calibri"/>
              <a:buAutoNum type="alphaLcPeriod"/>
            </a:pPr>
            <a:r>
              <a:rPr lang="en-US" sz="1800">
                <a:solidFill>
                  <a:schemeClr val="dk1"/>
                </a:solidFill>
                <a:latin typeface="Calibri"/>
                <a:ea typeface="Calibri"/>
                <a:cs typeface="Calibri"/>
                <a:sym typeface="Calibri"/>
              </a:rPr>
              <a:t>daftar penggunaan TKK dan TKK bersertifikat; dan/atau </a:t>
            </a:r>
            <a:endParaRPr/>
          </a:p>
          <a:p>
            <a:pPr marL="342900" marR="0" lvl="0" indent="-342900" algn="l" rtl="0">
              <a:spcBef>
                <a:spcPts val="0"/>
              </a:spcBef>
              <a:spcAft>
                <a:spcPts val="0"/>
              </a:spcAft>
              <a:buClr>
                <a:schemeClr val="dk1"/>
              </a:buClr>
              <a:buSzPts val="1800"/>
              <a:buFont typeface="Calibri"/>
              <a:buAutoNum type="alphaLcPeriod"/>
            </a:pPr>
            <a:r>
              <a:rPr lang="en-US" sz="1800">
                <a:solidFill>
                  <a:schemeClr val="dk1"/>
                </a:solidFill>
                <a:latin typeface="Calibri"/>
                <a:ea typeface="Calibri"/>
                <a:cs typeface="Calibri"/>
                <a:sym typeface="Calibri"/>
              </a:rPr>
              <a:t>daftar penggunaan TKA.</a:t>
            </a:r>
            <a:endParaRPr/>
          </a:p>
        </p:txBody>
      </p:sp>
      <p:sp>
        <p:nvSpPr>
          <p:cNvPr id="532" name="Google Shape;532;p3"/>
          <p:cNvSpPr txBox="1"/>
          <p:nvPr/>
        </p:nvSpPr>
        <p:spPr>
          <a:xfrm>
            <a:off x="5595648" y="4721106"/>
            <a:ext cx="4416036" cy="2031325"/>
          </a:xfrm>
          <a:prstGeom prst="rect">
            <a:avLst/>
          </a:prstGeom>
          <a:solidFill>
            <a:schemeClr val="lt1"/>
          </a:solidFill>
          <a:ln w="12700" cap="flat" cmpd="sng">
            <a:solidFill>
              <a:schemeClr val="accent2"/>
            </a:solidFill>
            <a:prstDash val="solid"/>
            <a:miter lim="800000"/>
            <a:headEnd type="none" w="sm" len="sm"/>
            <a:tailEnd type="none" w="sm" len="sm"/>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a:solidFill>
                  <a:schemeClr val="dk1"/>
                </a:solidFill>
                <a:latin typeface="Calibri"/>
                <a:ea typeface="Calibri"/>
                <a:cs typeface="Calibri"/>
                <a:sym typeface="Calibri"/>
              </a:rPr>
              <a:t>PENCATATAN PENGALAMAN :</a:t>
            </a:r>
            <a:endParaRPr/>
          </a:p>
          <a:p>
            <a:pPr marL="342900" marR="0" lvl="0" indent="-342900" algn="l" rtl="0">
              <a:spcBef>
                <a:spcPts val="0"/>
              </a:spcBef>
              <a:spcAft>
                <a:spcPts val="0"/>
              </a:spcAft>
              <a:buClr>
                <a:schemeClr val="dk1"/>
              </a:buClr>
              <a:buSzPts val="1800"/>
              <a:buFont typeface="Calibri"/>
              <a:buAutoNum type="arabicPeriod"/>
            </a:pPr>
            <a:r>
              <a:rPr lang="en-US" sz="1800">
                <a:solidFill>
                  <a:schemeClr val="dk1"/>
                </a:solidFill>
                <a:latin typeface="Calibri"/>
                <a:ea typeface="Calibri"/>
                <a:cs typeface="Calibri"/>
                <a:sym typeface="Calibri"/>
              </a:rPr>
              <a:t>nama paket pekerjaan; </a:t>
            </a:r>
            <a:endParaRPr/>
          </a:p>
          <a:p>
            <a:pPr marL="342900" marR="0" lvl="0" indent="-342900" algn="l" rtl="0">
              <a:spcBef>
                <a:spcPts val="0"/>
              </a:spcBef>
              <a:spcAft>
                <a:spcPts val="0"/>
              </a:spcAft>
              <a:buClr>
                <a:schemeClr val="dk1"/>
              </a:buClr>
              <a:buSzPts val="1800"/>
              <a:buFont typeface="Calibri"/>
              <a:buAutoNum type="arabicPeriod"/>
            </a:pPr>
            <a:r>
              <a:rPr lang="en-US" sz="1800">
                <a:solidFill>
                  <a:schemeClr val="dk1"/>
                </a:solidFill>
                <a:latin typeface="Calibri"/>
                <a:ea typeface="Calibri"/>
                <a:cs typeface="Calibri"/>
                <a:sym typeface="Calibri"/>
              </a:rPr>
              <a:t>nama pengguna jasa; </a:t>
            </a:r>
            <a:endParaRPr/>
          </a:p>
          <a:p>
            <a:pPr marL="342900" marR="0" lvl="0" indent="-342900" algn="l" rtl="0">
              <a:spcBef>
                <a:spcPts val="0"/>
              </a:spcBef>
              <a:spcAft>
                <a:spcPts val="0"/>
              </a:spcAft>
              <a:buClr>
                <a:schemeClr val="dk1"/>
              </a:buClr>
              <a:buSzPts val="1800"/>
              <a:buFont typeface="Calibri"/>
              <a:buAutoNum type="arabicPeriod"/>
            </a:pPr>
            <a:r>
              <a:rPr lang="en-US" sz="1800">
                <a:solidFill>
                  <a:schemeClr val="dk1"/>
                </a:solidFill>
                <a:latin typeface="Calibri"/>
                <a:ea typeface="Calibri"/>
                <a:cs typeface="Calibri"/>
                <a:sym typeface="Calibri"/>
              </a:rPr>
              <a:t>tahun pelaksanaan pekerjaan; </a:t>
            </a:r>
            <a:endParaRPr/>
          </a:p>
          <a:p>
            <a:pPr marL="342900" marR="0" lvl="0" indent="-342900" algn="l" rtl="0">
              <a:spcBef>
                <a:spcPts val="0"/>
              </a:spcBef>
              <a:spcAft>
                <a:spcPts val="0"/>
              </a:spcAft>
              <a:buClr>
                <a:schemeClr val="dk1"/>
              </a:buClr>
              <a:buSzPts val="1800"/>
              <a:buFont typeface="Calibri"/>
              <a:buAutoNum type="arabicPeriod"/>
            </a:pPr>
            <a:r>
              <a:rPr lang="en-US" sz="1800">
                <a:solidFill>
                  <a:schemeClr val="dk1"/>
                </a:solidFill>
                <a:latin typeface="Calibri"/>
                <a:ea typeface="Calibri"/>
                <a:cs typeface="Calibri"/>
                <a:sym typeface="Calibri"/>
              </a:rPr>
              <a:t>nilai pekerjaan; </a:t>
            </a:r>
            <a:endParaRPr/>
          </a:p>
          <a:p>
            <a:pPr marL="342900" marR="0" lvl="0" indent="-342900" algn="l" rtl="0">
              <a:spcBef>
                <a:spcPts val="0"/>
              </a:spcBef>
              <a:spcAft>
                <a:spcPts val="0"/>
              </a:spcAft>
              <a:buClr>
                <a:schemeClr val="dk1"/>
              </a:buClr>
              <a:buSzPts val="1800"/>
              <a:buFont typeface="Calibri"/>
              <a:buAutoNum type="arabicPeriod"/>
            </a:pPr>
            <a:r>
              <a:rPr lang="en-US" sz="1800">
                <a:solidFill>
                  <a:schemeClr val="dk1"/>
                </a:solidFill>
                <a:latin typeface="Calibri"/>
                <a:ea typeface="Calibri"/>
                <a:cs typeface="Calibri"/>
                <a:sym typeface="Calibri"/>
              </a:rPr>
              <a:t>berita acara serah terima pekerjaan; dan </a:t>
            </a:r>
            <a:endParaRPr/>
          </a:p>
          <a:p>
            <a:pPr marL="342900" marR="0" lvl="0" indent="-342900" algn="l" rtl="0">
              <a:spcBef>
                <a:spcPts val="0"/>
              </a:spcBef>
              <a:spcAft>
                <a:spcPts val="0"/>
              </a:spcAft>
              <a:buClr>
                <a:schemeClr val="dk1"/>
              </a:buClr>
              <a:buSzPts val="1800"/>
              <a:buFont typeface="Calibri"/>
              <a:buAutoNum type="arabicPeriod"/>
            </a:pPr>
            <a:r>
              <a:rPr lang="en-US" sz="1800">
                <a:solidFill>
                  <a:schemeClr val="dk1"/>
                </a:solidFill>
                <a:latin typeface="Calibri"/>
                <a:ea typeface="Calibri"/>
                <a:cs typeface="Calibri"/>
                <a:sym typeface="Calibri"/>
              </a:rPr>
              <a:t>kinerja penyedia jasa tahunan.</a:t>
            </a:r>
            <a:endParaRPr/>
          </a:p>
        </p:txBody>
      </p:sp>
      <p:cxnSp>
        <p:nvCxnSpPr>
          <p:cNvPr id="533" name="Google Shape;533;p3"/>
          <p:cNvCxnSpPr/>
          <p:nvPr/>
        </p:nvCxnSpPr>
        <p:spPr>
          <a:xfrm rot="10800000" flipH="1">
            <a:off x="8852948" y="6396614"/>
            <a:ext cx="1420382" cy="202306"/>
          </a:xfrm>
          <a:prstGeom prst="straightConnector1">
            <a:avLst/>
          </a:prstGeom>
          <a:noFill/>
          <a:ln w="38100" cap="flat" cmpd="sng">
            <a:solidFill>
              <a:schemeClr val="accent1"/>
            </a:solidFill>
            <a:prstDash val="solid"/>
            <a:miter lim="800000"/>
            <a:headEnd type="none" w="sm" len="sm"/>
            <a:tailEnd type="triangle" w="med" len="med"/>
          </a:ln>
        </p:spPr>
      </p:cxnSp>
      <p:sp>
        <p:nvSpPr>
          <p:cNvPr id="534" name="Google Shape;534;p3"/>
          <p:cNvSpPr txBox="1"/>
          <p:nvPr/>
        </p:nvSpPr>
        <p:spPr>
          <a:xfrm>
            <a:off x="10298755" y="5935041"/>
            <a:ext cx="1752600" cy="828476"/>
          </a:xfrm>
          <a:prstGeom prst="rect">
            <a:avLst/>
          </a:prstGeom>
          <a:solidFill>
            <a:schemeClr val="lt1"/>
          </a:solidFill>
          <a:ln w="12700" cap="flat" cmpd="sng">
            <a:solidFill>
              <a:schemeClr val="accent2"/>
            </a:solidFill>
            <a:prstDash val="lgDashDot"/>
            <a:miter lim="800000"/>
            <a:headEnd type="none" w="sm" len="sm"/>
            <a:tailEnd type="none" w="sm" len="sm"/>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None/>
            </a:pPr>
            <a:r>
              <a:rPr lang="en-US" sz="1800" b="0" i="0" u="none" strike="noStrike" cap="none">
                <a:solidFill>
                  <a:srgbClr val="000000"/>
                </a:solidFill>
                <a:latin typeface="Calibri"/>
                <a:ea typeface="Calibri"/>
                <a:cs typeface="Calibri"/>
                <a:sym typeface="Calibri"/>
              </a:rPr>
              <a:t>Kecuali UOP dan BUJK Kualifikasi kecil</a:t>
            </a:r>
            <a:endParaRPr sz="1800" b="0" i="1" u="none" strike="noStrike" cap="none">
              <a:solidFill>
                <a:schemeClr val="dk1"/>
              </a:solidFill>
              <a:latin typeface="Calibri"/>
              <a:ea typeface="Calibri"/>
              <a:cs typeface="Calibri"/>
              <a:sym typeface="Calibri"/>
            </a:endParaRPr>
          </a:p>
        </p:txBody>
      </p:sp>
      <p:sp>
        <p:nvSpPr>
          <p:cNvPr id="535" name="Google Shape;535;p3"/>
          <p:cNvSpPr txBox="1"/>
          <p:nvPr/>
        </p:nvSpPr>
        <p:spPr>
          <a:xfrm>
            <a:off x="438583" y="4753583"/>
            <a:ext cx="1514562" cy="442913"/>
          </a:xfrm>
          <a:prstGeom prst="rect">
            <a:avLst/>
          </a:prstGeom>
          <a:solidFill>
            <a:srgbClr val="1E4E79"/>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None/>
            </a:pPr>
            <a:r>
              <a:rPr lang="en-US" sz="1867" b="0" i="0" u="none" strike="noStrike" cap="none">
                <a:solidFill>
                  <a:schemeClr val="lt1"/>
                </a:solidFill>
                <a:latin typeface="Arial"/>
                <a:ea typeface="Arial"/>
                <a:cs typeface="Arial"/>
                <a:sym typeface="Arial"/>
              </a:rPr>
              <a:t>PASAL 276</a:t>
            </a:r>
            <a:endParaRPr/>
          </a:p>
        </p:txBody>
      </p:sp>
      <p:sp>
        <p:nvSpPr>
          <p:cNvPr id="536" name="Google Shape;536;p3"/>
          <p:cNvSpPr/>
          <p:nvPr/>
        </p:nvSpPr>
        <p:spPr>
          <a:xfrm>
            <a:off x="1504578" y="-11077"/>
            <a:ext cx="10464801" cy="593558"/>
          </a:xfrm>
          <a:prstGeom prst="rect">
            <a:avLst/>
          </a:prstGeom>
          <a:solidFill>
            <a:srgbClr val="FEB813"/>
          </a:solidFill>
          <a:ln>
            <a:noFill/>
          </a:ln>
        </p:spPr>
        <p:txBody>
          <a:bodyPr spcFirstLastPara="1" wrap="square" lIns="91425" tIns="45700" rIns="91425" bIns="45700" anchor="ctr" anchorCtr="0">
            <a:noAutofit/>
          </a:bodyPr>
          <a:lstStyle/>
          <a:p>
            <a:pPr marL="352425" marR="0" lvl="0" indent="0" algn="just" rtl="0">
              <a:spcBef>
                <a:spcPts val="0"/>
              </a:spcBef>
              <a:spcAft>
                <a:spcPts val="0"/>
              </a:spcAft>
              <a:buNone/>
            </a:pPr>
            <a:r>
              <a:rPr lang="en-US" sz="2800" b="1">
                <a:solidFill>
                  <a:schemeClr val="lt1"/>
                </a:solidFill>
                <a:latin typeface="Arial Black"/>
                <a:ea typeface="Arial Black"/>
                <a:cs typeface="Arial Black"/>
                <a:sym typeface="Arial Black"/>
              </a:rPr>
              <a:t>Kewajiban Badan Usaha</a:t>
            </a:r>
            <a:endParaRPr/>
          </a:p>
        </p:txBody>
      </p:sp>
      <p:sp>
        <p:nvSpPr>
          <p:cNvPr id="537" name="Google Shape;537;p3"/>
          <p:cNvSpPr/>
          <p:nvPr/>
        </p:nvSpPr>
        <p:spPr>
          <a:xfrm>
            <a:off x="776668" y="93196"/>
            <a:ext cx="978568" cy="978568"/>
          </a:xfrm>
          <a:prstGeom prst="ellipse">
            <a:avLst/>
          </a:prstGeom>
          <a:solidFill>
            <a:schemeClr val="accent4"/>
          </a:solidFill>
          <a:ln w="76200" cap="flat" cmpd="sng">
            <a:solidFill>
              <a:srgbClr val="FFFF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2400" b="1">
                <a:solidFill>
                  <a:schemeClr val="dk1"/>
                </a:solidFill>
                <a:latin typeface="Arial Black"/>
                <a:ea typeface="Arial Black"/>
                <a:cs typeface="Arial Black"/>
                <a:sym typeface="Arial Black"/>
              </a:rPr>
              <a:t>1</a:t>
            </a:r>
            <a:endParaRPr sz="2400" b="1">
              <a:solidFill>
                <a:schemeClr val="dk1"/>
              </a:solidFill>
              <a:latin typeface="Arial Black"/>
              <a:ea typeface="Arial Black"/>
              <a:cs typeface="Arial Black"/>
              <a:sym typeface="Arial Black"/>
            </a:endParaRPr>
          </a:p>
        </p:txBody>
      </p:sp>
      <p:pic>
        <p:nvPicPr>
          <p:cNvPr id="538" name="Google Shape;538;p3"/>
          <p:cNvPicPr preferRelativeResize="0"/>
          <p:nvPr/>
        </p:nvPicPr>
        <p:blipFill rotWithShape="1">
          <a:blip r:embed="rId6">
            <a:alphaModFix/>
          </a:blip>
          <a:srcRect/>
          <a:stretch/>
        </p:blipFill>
        <p:spPr>
          <a:xfrm>
            <a:off x="0" y="6183027"/>
            <a:ext cx="2013494" cy="668007"/>
          </a:xfrm>
          <a:prstGeom prst="rect">
            <a:avLst/>
          </a:prstGeom>
          <a:noFill/>
          <a:ln>
            <a:noFill/>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559"/>
        <p:cNvGrpSpPr/>
        <p:nvPr/>
      </p:nvGrpSpPr>
      <p:grpSpPr>
        <a:xfrm>
          <a:off x="0" y="0"/>
          <a:ext cx="0" cy="0"/>
          <a:chOff x="0" y="0"/>
          <a:chExt cx="0" cy="0"/>
        </a:xfrm>
      </p:grpSpPr>
      <p:sp>
        <p:nvSpPr>
          <p:cNvPr id="560" name="Google Shape;560;p5"/>
          <p:cNvSpPr/>
          <p:nvPr/>
        </p:nvSpPr>
        <p:spPr>
          <a:xfrm>
            <a:off x="863599" y="1"/>
            <a:ext cx="10464801" cy="593558"/>
          </a:xfrm>
          <a:prstGeom prst="rect">
            <a:avLst/>
          </a:prstGeom>
          <a:solidFill>
            <a:srgbClr val="FEB813"/>
          </a:solidFill>
          <a:ln>
            <a:noFill/>
          </a:ln>
        </p:spPr>
        <p:txBody>
          <a:bodyPr spcFirstLastPara="1" wrap="square" lIns="91425" tIns="45700" rIns="91425" bIns="45700" anchor="ctr" anchorCtr="0">
            <a:noAutofit/>
          </a:bodyPr>
          <a:lstStyle/>
          <a:p>
            <a:pPr marL="352425" marR="0" lvl="0" indent="0" algn="just" rtl="0">
              <a:lnSpc>
                <a:spcPct val="100000"/>
              </a:lnSpc>
              <a:spcBef>
                <a:spcPts val="0"/>
              </a:spcBef>
              <a:spcAft>
                <a:spcPts val="0"/>
              </a:spcAft>
              <a:buClr>
                <a:srgbClr val="FFFFFF"/>
              </a:buClr>
              <a:buSzPts val="2800"/>
              <a:buFont typeface="Arial Black"/>
              <a:buNone/>
            </a:pPr>
            <a:r>
              <a:rPr lang="en-US" sz="2800" b="1" i="0" u="none" strike="noStrike" cap="none">
                <a:solidFill>
                  <a:srgbClr val="FFFFFF"/>
                </a:solidFill>
                <a:latin typeface="Arial Black"/>
                <a:ea typeface="Arial Black"/>
                <a:cs typeface="Arial Black"/>
                <a:sym typeface="Arial Black"/>
              </a:rPr>
              <a:t>PENILAIAN KINERJA BUJK</a:t>
            </a:r>
            <a:endParaRPr/>
          </a:p>
        </p:txBody>
      </p:sp>
      <p:pic>
        <p:nvPicPr>
          <p:cNvPr id="561" name="Google Shape;561;p5"/>
          <p:cNvPicPr preferRelativeResize="0"/>
          <p:nvPr/>
        </p:nvPicPr>
        <p:blipFill rotWithShape="1">
          <a:blip r:embed="rId3">
            <a:alphaModFix/>
          </a:blip>
          <a:srcRect/>
          <a:stretch/>
        </p:blipFill>
        <p:spPr>
          <a:xfrm>
            <a:off x="0" y="6189992"/>
            <a:ext cx="2013494" cy="668007"/>
          </a:xfrm>
          <a:prstGeom prst="rect">
            <a:avLst/>
          </a:prstGeom>
          <a:noFill/>
          <a:ln>
            <a:noFill/>
          </a:ln>
        </p:spPr>
      </p:pic>
      <p:sp>
        <p:nvSpPr>
          <p:cNvPr id="562" name="Google Shape;562;p5"/>
          <p:cNvSpPr txBox="1"/>
          <p:nvPr/>
        </p:nvSpPr>
        <p:spPr>
          <a:xfrm>
            <a:off x="485411" y="1416385"/>
            <a:ext cx="5257801" cy="4624971"/>
          </a:xfrm>
          <a:prstGeom prst="rect">
            <a:avLst/>
          </a:prstGeom>
          <a:noFill/>
          <a:ln>
            <a:noFill/>
          </a:ln>
        </p:spPr>
        <p:txBody>
          <a:bodyPr spcFirstLastPara="1" wrap="square" lIns="91425" tIns="45700" rIns="91425" bIns="45700" anchor="ctr" anchorCtr="0">
            <a:noAutofit/>
          </a:bodyPr>
          <a:lstStyle/>
          <a:p>
            <a:pPr marL="228611" marR="0" lvl="0" indent="-228611" algn="l" rtl="0">
              <a:lnSpc>
                <a:spcPct val="100000"/>
              </a:lnSpc>
              <a:spcBef>
                <a:spcPts val="0"/>
              </a:spcBef>
              <a:spcAft>
                <a:spcPts val="0"/>
              </a:spcAft>
              <a:buClr>
                <a:srgbClr val="000000"/>
              </a:buClr>
              <a:buSzPts val="1800"/>
              <a:buFont typeface="Arial"/>
              <a:buChar char="•"/>
            </a:pPr>
            <a:r>
              <a:rPr lang="en-US" sz="1800" b="1" i="0" u="none" strike="noStrike" cap="none">
                <a:solidFill>
                  <a:srgbClr val="000000"/>
                </a:solidFill>
                <a:latin typeface="Calibri"/>
                <a:ea typeface="Calibri"/>
                <a:cs typeface="Calibri"/>
                <a:sym typeface="Calibri"/>
              </a:rPr>
              <a:t>Penilaian kinerja </a:t>
            </a:r>
            <a:r>
              <a:rPr lang="en-US" sz="1800" b="0" i="0" u="none" strike="noStrike" cap="none">
                <a:solidFill>
                  <a:srgbClr val="000000"/>
                </a:solidFill>
                <a:latin typeface="Calibri"/>
                <a:ea typeface="Calibri"/>
                <a:cs typeface="Calibri"/>
                <a:sym typeface="Calibri"/>
              </a:rPr>
              <a:t>dilakukan kepada Badan Usaha Jasa Konstruksi (</a:t>
            </a:r>
            <a:r>
              <a:rPr lang="en-US" sz="1800" b="1" i="0" u="none" strike="noStrike" cap="none">
                <a:solidFill>
                  <a:srgbClr val="000000"/>
                </a:solidFill>
                <a:latin typeface="Calibri"/>
                <a:ea typeface="Calibri"/>
                <a:cs typeface="Calibri"/>
                <a:sym typeface="Calibri"/>
              </a:rPr>
              <a:t>BUJK</a:t>
            </a:r>
            <a:r>
              <a:rPr lang="en-US" sz="1800" b="0" i="0" u="none" strike="noStrike" cap="none">
                <a:solidFill>
                  <a:srgbClr val="000000"/>
                </a:solidFill>
                <a:latin typeface="Calibri"/>
                <a:ea typeface="Calibri"/>
                <a:cs typeface="Calibri"/>
                <a:sym typeface="Calibri"/>
              </a:rPr>
              <a:t>).</a:t>
            </a:r>
            <a:endParaRPr/>
          </a:p>
          <a:p>
            <a:pPr marL="228611" marR="0" lvl="0" indent="-228611" algn="l" rtl="0">
              <a:lnSpc>
                <a:spcPct val="100000"/>
              </a:lnSpc>
              <a:spcBef>
                <a:spcPts val="1000"/>
              </a:spcBef>
              <a:spcAft>
                <a:spcPts val="0"/>
              </a:spcAft>
              <a:buClr>
                <a:srgbClr val="000000"/>
              </a:buClr>
              <a:buSzPts val="1800"/>
              <a:buFont typeface="Arial"/>
              <a:buChar char="•"/>
            </a:pPr>
            <a:r>
              <a:rPr lang="en-US" sz="1800" b="0" i="0" u="none" strike="noStrike" cap="none">
                <a:solidFill>
                  <a:srgbClr val="000000"/>
                </a:solidFill>
                <a:latin typeface="Calibri"/>
                <a:ea typeface="Calibri"/>
                <a:cs typeface="Calibri"/>
                <a:sym typeface="Calibri"/>
              </a:rPr>
              <a:t>Penilaian kinerja bertujuan untuk menentukan badan usaha yang perlu melakukan </a:t>
            </a:r>
            <a:r>
              <a:rPr lang="en-US" sz="1800" b="1" i="0" u="none" strike="noStrike" cap="none">
                <a:solidFill>
                  <a:srgbClr val="000000"/>
                </a:solidFill>
                <a:latin typeface="Calibri"/>
                <a:ea typeface="Calibri"/>
                <a:cs typeface="Calibri"/>
                <a:sym typeface="Calibri"/>
              </a:rPr>
              <a:t>Pengembangan Usaha Berkelanjutan.</a:t>
            </a:r>
            <a:endParaRPr/>
          </a:p>
          <a:p>
            <a:pPr marL="228611" marR="0" lvl="0" indent="-228611" algn="l" rtl="0">
              <a:lnSpc>
                <a:spcPct val="100000"/>
              </a:lnSpc>
              <a:spcBef>
                <a:spcPts val="1000"/>
              </a:spcBef>
              <a:spcAft>
                <a:spcPts val="0"/>
              </a:spcAft>
              <a:buClr>
                <a:srgbClr val="000000"/>
              </a:buClr>
              <a:buSzPts val="1800"/>
              <a:buFont typeface="Arial"/>
              <a:buChar char="•"/>
            </a:pPr>
            <a:r>
              <a:rPr lang="en-US" sz="1800" b="1" i="0" u="none" strike="noStrike" cap="none">
                <a:solidFill>
                  <a:srgbClr val="000000"/>
                </a:solidFill>
                <a:latin typeface="Calibri"/>
                <a:ea typeface="Calibri"/>
                <a:cs typeface="Calibri"/>
                <a:sym typeface="Calibri"/>
              </a:rPr>
              <a:t>Pengembangan usaha berkelanjutan (PUB) </a:t>
            </a:r>
            <a:r>
              <a:rPr lang="en-US" sz="1800" b="0" i="0" u="none" strike="noStrike" cap="none">
                <a:solidFill>
                  <a:srgbClr val="000000"/>
                </a:solidFill>
                <a:latin typeface="Calibri"/>
                <a:ea typeface="Calibri"/>
                <a:cs typeface="Calibri"/>
                <a:sym typeface="Calibri"/>
              </a:rPr>
              <a:t>adalah upaya terus-menerus yang dilakukan untuk </a:t>
            </a:r>
            <a:r>
              <a:rPr lang="en-US" sz="1800" b="1" i="0" u="none" strike="noStrike" cap="none">
                <a:solidFill>
                  <a:srgbClr val="000000"/>
                </a:solidFill>
                <a:latin typeface="Calibri"/>
                <a:ea typeface="Calibri"/>
                <a:cs typeface="Calibri"/>
                <a:sym typeface="Calibri"/>
              </a:rPr>
              <a:t>menjaga</a:t>
            </a:r>
            <a:r>
              <a:rPr lang="en-US" sz="1800" b="0" i="0" u="none" strike="noStrike" cap="none">
                <a:solidFill>
                  <a:srgbClr val="000000"/>
                </a:solidFill>
                <a:latin typeface="Calibri"/>
                <a:ea typeface="Calibri"/>
                <a:cs typeface="Calibri"/>
                <a:sym typeface="Calibri"/>
              </a:rPr>
              <a:t> atau </a:t>
            </a:r>
            <a:r>
              <a:rPr lang="en-US" sz="1800" b="1" i="0" u="none" strike="noStrike" cap="none">
                <a:solidFill>
                  <a:srgbClr val="000000"/>
                </a:solidFill>
                <a:latin typeface="Calibri"/>
                <a:ea typeface="Calibri"/>
                <a:cs typeface="Calibri"/>
                <a:sym typeface="Calibri"/>
              </a:rPr>
              <a:t>meningkatkan</a:t>
            </a:r>
            <a:r>
              <a:rPr lang="en-US" sz="1800" b="0" i="0" u="none" strike="noStrike" cap="none">
                <a:solidFill>
                  <a:srgbClr val="000000"/>
                </a:solidFill>
                <a:latin typeface="Calibri"/>
                <a:ea typeface="Calibri"/>
                <a:cs typeface="Calibri"/>
                <a:sym typeface="Calibri"/>
              </a:rPr>
              <a:t> kemampuan badan usaha, sehingga badan usaha tersebut </a:t>
            </a:r>
            <a:r>
              <a:rPr lang="en-US" sz="1800" b="1" i="0" u="none" strike="noStrike" cap="none">
                <a:solidFill>
                  <a:srgbClr val="000000"/>
                </a:solidFill>
                <a:latin typeface="Calibri"/>
                <a:ea typeface="Calibri"/>
                <a:cs typeface="Calibri"/>
                <a:sym typeface="Calibri"/>
              </a:rPr>
              <a:t>tetap mampu</a:t>
            </a:r>
            <a:r>
              <a:rPr lang="en-US" sz="1800" b="0" i="0" u="none" strike="noStrike" cap="none">
                <a:solidFill>
                  <a:srgbClr val="000000"/>
                </a:solidFill>
                <a:latin typeface="Calibri"/>
                <a:ea typeface="Calibri"/>
                <a:cs typeface="Calibri"/>
                <a:sym typeface="Calibri"/>
              </a:rPr>
              <a:t> melaksanakan pekerjaan sesuai dengan sertifikat badan usaha yang dimilikinya.</a:t>
            </a:r>
            <a:endParaRPr/>
          </a:p>
          <a:p>
            <a:pPr marL="228611" marR="0" lvl="0" indent="-228611" algn="l" rtl="0">
              <a:lnSpc>
                <a:spcPct val="100000"/>
              </a:lnSpc>
              <a:spcBef>
                <a:spcPts val="1000"/>
              </a:spcBef>
              <a:spcAft>
                <a:spcPts val="0"/>
              </a:spcAft>
              <a:buClr>
                <a:srgbClr val="000000"/>
              </a:buClr>
              <a:buSzPts val="1800"/>
              <a:buFont typeface="Arial"/>
              <a:buChar char="•"/>
            </a:pPr>
            <a:r>
              <a:rPr lang="en-US" sz="1800" b="0" i="0" u="none" strike="noStrike" cap="none">
                <a:solidFill>
                  <a:srgbClr val="000000"/>
                </a:solidFill>
                <a:latin typeface="Calibri"/>
                <a:ea typeface="Calibri"/>
                <a:cs typeface="Calibri"/>
                <a:sym typeface="Calibri"/>
              </a:rPr>
              <a:t>Tujuan dilakukannya PUB</a:t>
            </a:r>
            <a:r>
              <a:rPr lang="en-US" sz="1800" b="1" i="0" u="none" strike="noStrike" cap="none">
                <a:solidFill>
                  <a:srgbClr val="000000"/>
                </a:solidFill>
                <a:latin typeface="Calibri"/>
                <a:ea typeface="Calibri"/>
                <a:cs typeface="Calibri"/>
                <a:sym typeface="Calibri"/>
              </a:rPr>
              <a:t> </a:t>
            </a:r>
            <a:r>
              <a:rPr lang="en-US" sz="1800" b="0" i="0" u="none" strike="noStrike" cap="none">
                <a:solidFill>
                  <a:srgbClr val="000000"/>
                </a:solidFill>
                <a:latin typeface="Calibri"/>
                <a:ea typeface="Calibri"/>
                <a:cs typeface="Calibri"/>
                <a:sym typeface="Calibri"/>
              </a:rPr>
              <a:t>untuk </a:t>
            </a:r>
            <a:r>
              <a:rPr lang="en-US" sz="1800" b="1" i="0" u="none" strike="noStrike" cap="none">
                <a:solidFill>
                  <a:srgbClr val="000000"/>
                </a:solidFill>
                <a:latin typeface="Calibri"/>
                <a:ea typeface="Calibri"/>
                <a:cs typeface="Calibri"/>
                <a:sym typeface="Calibri"/>
              </a:rPr>
              <a:t>meningkatkan tata kelola usaha yang baik </a:t>
            </a:r>
            <a:r>
              <a:rPr lang="en-US" sz="1800" b="0" i="0" u="none" strike="noStrike" cap="none">
                <a:solidFill>
                  <a:srgbClr val="000000"/>
                </a:solidFill>
                <a:latin typeface="Calibri"/>
                <a:ea typeface="Calibri"/>
                <a:cs typeface="Calibri"/>
                <a:sym typeface="Calibri"/>
              </a:rPr>
              <a:t>dan </a:t>
            </a:r>
            <a:r>
              <a:rPr lang="en-US" sz="1800" b="1" i="0" u="none" strike="noStrike" cap="none">
                <a:solidFill>
                  <a:srgbClr val="000000"/>
                </a:solidFill>
                <a:latin typeface="Calibri"/>
                <a:ea typeface="Calibri"/>
                <a:cs typeface="Calibri"/>
                <a:sym typeface="Calibri"/>
              </a:rPr>
              <a:t>memiliki tanggung jawab profesional termasuk tanggung jawab badan usaha terhadap masyarakat</a:t>
            </a:r>
            <a:r>
              <a:rPr lang="en-US" sz="1800" b="0" i="0" u="none" strike="noStrike" cap="none">
                <a:solidFill>
                  <a:srgbClr val="000000"/>
                </a:solidFill>
                <a:latin typeface="Calibri"/>
                <a:ea typeface="Calibri"/>
                <a:cs typeface="Calibri"/>
                <a:sym typeface="Calibri"/>
              </a:rPr>
              <a:t>.</a:t>
            </a:r>
            <a:endParaRPr/>
          </a:p>
        </p:txBody>
      </p:sp>
      <p:cxnSp>
        <p:nvCxnSpPr>
          <p:cNvPr id="563" name="Google Shape;563;p5"/>
          <p:cNvCxnSpPr/>
          <p:nvPr/>
        </p:nvCxnSpPr>
        <p:spPr>
          <a:xfrm>
            <a:off x="6230892" y="933745"/>
            <a:ext cx="0" cy="5590250"/>
          </a:xfrm>
          <a:prstGeom prst="straightConnector1">
            <a:avLst/>
          </a:prstGeom>
          <a:noFill/>
          <a:ln w="9525" cap="flat" cmpd="sng">
            <a:solidFill>
              <a:schemeClr val="accent4"/>
            </a:solidFill>
            <a:prstDash val="dash"/>
            <a:round/>
            <a:headEnd type="none" w="sm" len="sm"/>
            <a:tailEnd type="none" w="sm" len="sm"/>
          </a:ln>
        </p:spPr>
      </p:cxnSp>
      <p:sp>
        <p:nvSpPr>
          <p:cNvPr id="564" name="Google Shape;564;p5"/>
          <p:cNvSpPr/>
          <p:nvPr/>
        </p:nvSpPr>
        <p:spPr>
          <a:xfrm>
            <a:off x="9753600" y="6368716"/>
            <a:ext cx="2438400" cy="489283"/>
          </a:xfrm>
          <a:prstGeom prst="parallelogram">
            <a:avLst>
              <a:gd name="adj" fmla="val 25000"/>
            </a:avLst>
          </a:prstGeom>
          <a:solidFill>
            <a:srgbClr val="323F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565" name="Google Shape;565;p5"/>
          <p:cNvSpPr txBox="1"/>
          <p:nvPr/>
        </p:nvSpPr>
        <p:spPr>
          <a:xfrm>
            <a:off x="7264616" y="730387"/>
            <a:ext cx="3828300" cy="7080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000"/>
              <a:buFont typeface="Calibri"/>
              <a:buNone/>
            </a:pPr>
            <a:r>
              <a:rPr lang="en-US" sz="2000" b="1" i="0" u="none" strike="noStrike" cap="none">
                <a:solidFill>
                  <a:srgbClr val="000000"/>
                </a:solidFill>
                <a:latin typeface="Calibri"/>
                <a:ea typeface="Calibri"/>
                <a:cs typeface="Calibri"/>
                <a:sym typeface="Calibri"/>
              </a:rPr>
              <a:t>INDIKATOR PENILAIAN KINERJA BUJK </a:t>
            </a:r>
            <a:endParaRPr/>
          </a:p>
        </p:txBody>
      </p:sp>
      <p:sp>
        <p:nvSpPr>
          <p:cNvPr id="566" name="Google Shape;566;p5"/>
          <p:cNvSpPr/>
          <p:nvPr/>
        </p:nvSpPr>
        <p:spPr>
          <a:xfrm>
            <a:off x="6470282" y="2529683"/>
            <a:ext cx="1106599" cy="1106599"/>
          </a:xfrm>
          <a:prstGeom prst="ellipse">
            <a:avLst/>
          </a:prstGeom>
          <a:solidFill>
            <a:srgbClr val="BBBBC2"/>
          </a:solidFill>
          <a:ln w="12700" cap="flat" cmpd="sng">
            <a:solidFill>
              <a:schemeClr val="lt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567" name="Google Shape;567;p5"/>
          <p:cNvSpPr/>
          <p:nvPr/>
        </p:nvSpPr>
        <p:spPr>
          <a:xfrm>
            <a:off x="6459510" y="3966792"/>
            <a:ext cx="1106599" cy="1106599"/>
          </a:xfrm>
          <a:prstGeom prst="ellipse">
            <a:avLst/>
          </a:prstGeom>
          <a:solidFill>
            <a:srgbClr val="BBBBC2"/>
          </a:solidFill>
          <a:ln w="12700" cap="flat" cmpd="sng">
            <a:solidFill>
              <a:schemeClr val="lt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568" name="Google Shape;568;p5"/>
          <p:cNvSpPr/>
          <p:nvPr/>
        </p:nvSpPr>
        <p:spPr>
          <a:xfrm>
            <a:off x="6562809" y="4070091"/>
            <a:ext cx="900000" cy="900000"/>
          </a:xfrm>
          <a:prstGeom prst="ellipse">
            <a:avLst/>
          </a:prstGeom>
          <a:solidFill>
            <a:srgbClr val="0070C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2000"/>
              <a:buFont typeface="Calibri"/>
              <a:buNone/>
            </a:pPr>
            <a:r>
              <a:rPr lang="en-US" sz="2000" b="1">
                <a:solidFill>
                  <a:srgbClr val="FFFFFF"/>
                </a:solidFill>
                <a:latin typeface="Calibri"/>
                <a:ea typeface="Calibri"/>
                <a:cs typeface="Calibri"/>
                <a:sym typeface="Calibri"/>
              </a:rPr>
              <a:t>4</a:t>
            </a:r>
            <a:r>
              <a:rPr lang="en-US" sz="2000" b="1" i="0" u="none" strike="noStrike" cap="none">
                <a:solidFill>
                  <a:srgbClr val="FFFFFF"/>
                </a:solidFill>
                <a:latin typeface="Calibri"/>
                <a:ea typeface="Calibri"/>
                <a:cs typeface="Calibri"/>
                <a:sym typeface="Calibri"/>
              </a:rPr>
              <a:t>0%</a:t>
            </a:r>
            <a:endParaRPr/>
          </a:p>
        </p:txBody>
      </p:sp>
      <p:sp>
        <p:nvSpPr>
          <p:cNvPr id="569" name="Google Shape;569;p5"/>
          <p:cNvSpPr txBox="1"/>
          <p:nvPr/>
        </p:nvSpPr>
        <p:spPr>
          <a:xfrm>
            <a:off x="6582560" y="5413561"/>
            <a:ext cx="5040000" cy="830997"/>
          </a:xfrm>
          <a:prstGeom prst="rect">
            <a:avLst/>
          </a:prstGeom>
          <a:solidFill>
            <a:srgbClr val="FFC000"/>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0" i="0" u="none" strike="noStrike" cap="none">
                <a:solidFill>
                  <a:srgbClr val="000000"/>
                </a:solidFill>
                <a:latin typeface="Arial"/>
                <a:ea typeface="Arial"/>
                <a:cs typeface="Arial"/>
                <a:sym typeface="Arial"/>
              </a:rPr>
              <a:t>Penerapan indikator </a:t>
            </a:r>
            <a:r>
              <a:rPr lang="en-US" sz="1600" b="1" i="0" u="none" strike="noStrike" cap="none">
                <a:solidFill>
                  <a:srgbClr val="000000"/>
                </a:solidFill>
                <a:latin typeface="Arial"/>
                <a:ea typeface="Arial"/>
                <a:cs typeface="Arial"/>
                <a:sym typeface="Arial"/>
              </a:rPr>
              <a:t>penilaian kinerja </a:t>
            </a:r>
            <a:r>
              <a:rPr lang="en-US" sz="1600" b="0" i="0" u="none" strike="noStrike" cap="none">
                <a:solidFill>
                  <a:srgbClr val="000000"/>
                </a:solidFill>
                <a:latin typeface="Arial"/>
                <a:ea typeface="Arial"/>
                <a:cs typeface="Arial"/>
                <a:sym typeface="Arial"/>
              </a:rPr>
              <a:t>berdasarkan </a:t>
            </a:r>
            <a:r>
              <a:rPr lang="en-US" sz="1600" b="1" i="0" u="none" strike="noStrike" cap="none">
                <a:solidFill>
                  <a:srgbClr val="C00000"/>
                </a:solidFill>
                <a:latin typeface="Arial"/>
                <a:ea typeface="Arial"/>
                <a:cs typeface="Arial"/>
                <a:sym typeface="Arial"/>
              </a:rPr>
              <a:t>JENIS</a:t>
            </a:r>
            <a:r>
              <a:rPr lang="en-US" sz="1600" b="0" i="0" u="none" strike="noStrike" cap="none">
                <a:solidFill>
                  <a:srgbClr val="000000"/>
                </a:solidFill>
                <a:latin typeface="Arial"/>
                <a:ea typeface="Arial"/>
                <a:cs typeface="Arial"/>
                <a:sym typeface="Arial"/>
              </a:rPr>
              <a:t>, </a:t>
            </a:r>
            <a:r>
              <a:rPr lang="en-US" sz="1600" b="1" i="0" u="none" strike="noStrike" cap="none">
                <a:solidFill>
                  <a:srgbClr val="C00000"/>
                </a:solidFill>
                <a:latin typeface="Arial"/>
                <a:ea typeface="Arial"/>
                <a:cs typeface="Arial"/>
                <a:sym typeface="Arial"/>
              </a:rPr>
              <a:t>SIFAT</a:t>
            </a:r>
            <a:r>
              <a:rPr lang="en-US" sz="1600" b="0" i="0" u="none" strike="noStrike" cap="none">
                <a:solidFill>
                  <a:srgbClr val="000000"/>
                </a:solidFill>
                <a:latin typeface="Arial"/>
                <a:ea typeface="Arial"/>
                <a:cs typeface="Arial"/>
                <a:sym typeface="Arial"/>
              </a:rPr>
              <a:t>, dan </a:t>
            </a:r>
            <a:r>
              <a:rPr lang="en-US" sz="1600" b="1" i="0" u="none" strike="noStrike" cap="none">
                <a:solidFill>
                  <a:srgbClr val="C00000"/>
                </a:solidFill>
                <a:latin typeface="Arial"/>
                <a:ea typeface="Arial"/>
                <a:cs typeface="Arial"/>
                <a:sym typeface="Arial"/>
              </a:rPr>
              <a:t>LAYANAN USAHA </a:t>
            </a:r>
            <a:r>
              <a:rPr lang="en-US" sz="1600" b="0" i="0" u="none" strike="noStrike" cap="none">
                <a:solidFill>
                  <a:srgbClr val="000000"/>
                </a:solidFill>
                <a:latin typeface="Arial"/>
                <a:ea typeface="Arial"/>
                <a:cs typeface="Arial"/>
                <a:sym typeface="Arial"/>
              </a:rPr>
              <a:t>dari setiap badan usaha yang akan diukur kinerjanya.</a:t>
            </a:r>
            <a:endParaRPr/>
          </a:p>
        </p:txBody>
      </p:sp>
      <p:sp>
        <p:nvSpPr>
          <p:cNvPr id="570" name="Google Shape;570;p5"/>
          <p:cNvSpPr/>
          <p:nvPr/>
        </p:nvSpPr>
        <p:spPr>
          <a:xfrm>
            <a:off x="135689" y="104274"/>
            <a:ext cx="978568" cy="978568"/>
          </a:xfrm>
          <a:prstGeom prst="ellipse">
            <a:avLst/>
          </a:prstGeom>
          <a:solidFill>
            <a:schemeClr val="accent1"/>
          </a:solidFill>
          <a:ln w="76200" cap="flat" cmpd="sng">
            <a:solidFill>
              <a:srgbClr val="FFFF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2400" b="1">
                <a:solidFill>
                  <a:schemeClr val="dk1"/>
                </a:solidFill>
                <a:latin typeface="Arial Black"/>
                <a:ea typeface="Arial Black"/>
                <a:cs typeface="Arial Black"/>
                <a:sym typeface="Arial Black"/>
              </a:rPr>
              <a:t>3</a:t>
            </a:r>
            <a:endParaRPr sz="2400" b="1">
              <a:solidFill>
                <a:schemeClr val="dk1"/>
              </a:solidFill>
              <a:latin typeface="Arial Black"/>
              <a:ea typeface="Arial Black"/>
              <a:cs typeface="Arial Black"/>
              <a:sym typeface="Arial Black"/>
            </a:endParaRPr>
          </a:p>
        </p:txBody>
      </p:sp>
      <p:sp>
        <p:nvSpPr>
          <p:cNvPr id="571" name="Google Shape;571;p5"/>
          <p:cNvSpPr/>
          <p:nvPr/>
        </p:nvSpPr>
        <p:spPr>
          <a:xfrm>
            <a:off x="6573581" y="2632982"/>
            <a:ext cx="900000" cy="900000"/>
          </a:xfrm>
          <a:prstGeom prst="ellipse">
            <a:avLst/>
          </a:prstGeom>
          <a:solidFill>
            <a:srgbClr val="0070C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2000"/>
              <a:buFont typeface="Calibri"/>
              <a:buNone/>
            </a:pPr>
            <a:r>
              <a:rPr lang="en-US" sz="2000" b="1">
                <a:solidFill>
                  <a:srgbClr val="FFFFFF"/>
                </a:solidFill>
                <a:latin typeface="Calibri"/>
                <a:ea typeface="Calibri"/>
                <a:cs typeface="Calibri"/>
                <a:sym typeface="Calibri"/>
              </a:rPr>
              <a:t>6</a:t>
            </a:r>
            <a:r>
              <a:rPr lang="en-US" sz="2000" b="1" i="0" u="none" strike="noStrike" cap="none">
                <a:solidFill>
                  <a:srgbClr val="FFFFFF"/>
                </a:solidFill>
                <a:latin typeface="Calibri"/>
                <a:ea typeface="Calibri"/>
                <a:cs typeface="Calibri"/>
                <a:sym typeface="Calibri"/>
              </a:rPr>
              <a:t>0%</a:t>
            </a:r>
            <a:endParaRPr/>
          </a:p>
        </p:txBody>
      </p:sp>
      <p:sp>
        <p:nvSpPr>
          <p:cNvPr id="572" name="Google Shape;572;p5"/>
          <p:cNvSpPr/>
          <p:nvPr/>
        </p:nvSpPr>
        <p:spPr>
          <a:xfrm>
            <a:off x="7563554" y="2577987"/>
            <a:ext cx="3267094" cy="1010355"/>
          </a:xfrm>
          <a:prstGeom prst="hexagon">
            <a:avLst>
              <a:gd name="adj" fmla="val 25000"/>
              <a:gd name="vf" fmla="val 115470"/>
            </a:avLst>
          </a:prstGeom>
          <a:solidFill>
            <a:srgbClr val="00206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2400" b="1" i="0" u="none" strike="noStrike" cap="none">
                <a:solidFill>
                  <a:srgbClr val="FFFFFF"/>
                </a:solidFill>
                <a:latin typeface="Calibri"/>
                <a:ea typeface="Calibri"/>
                <a:cs typeface="Calibri"/>
                <a:sym typeface="Calibri"/>
              </a:rPr>
              <a:t>Kinerja Manajemen Perusahaan</a:t>
            </a:r>
            <a:endParaRPr/>
          </a:p>
        </p:txBody>
      </p:sp>
      <p:sp>
        <p:nvSpPr>
          <p:cNvPr id="573" name="Google Shape;573;p5"/>
          <p:cNvSpPr/>
          <p:nvPr/>
        </p:nvSpPr>
        <p:spPr>
          <a:xfrm>
            <a:off x="10830650" y="2529683"/>
            <a:ext cx="1106599" cy="1106599"/>
          </a:xfrm>
          <a:prstGeom prst="ellipse">
            <a:avLst/>
          </a:prstGeom>
          <a:solidFill>
            <a:srgbClr val="BBBBC2"/>
          </a:solidFill>
          <a:ln w="12700" cap="flat" cmpd="sng">
            <a:solidFill>
              <a:schemeClr val="lt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574" name="Google Shape;574;p5"/>
          <p:cNvSpPr/>
          <p:nvPr/>
        </p:nvSpPr>
        <p:spPr>
          <a:xfrm>
            <a:off x="10819878" y="3966792"/>
            <a:ext cx="1106599" cy="1106599"/>
          </a:xfrm>
          <a:prstGeom prst="ellipse">
            <a:avLst/>
          </a:prstGeom>
          <a:solidFill>
            <a:srgbClr val="BBBBC2"/>
          </a:solidFill>
          <a:ln w="12700" cap="flat" cmpd="sng">
            <a:solidFill>
              <a:schemeClr val="lt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575" name="Google Shape;575;p5"/>
          <p:cNvSpPr/>
          <p:nvPr/>
        </p:nvSpPr>
        <p:spPr>
          <a:xfrm>
            <a:off x="10923177" y="4070091"/>
            <a:ext cx="900000" cy="900000"/>
          </a:xfrm>
          <a:prstGeom prst="ellipse">
            <a:avLst/>
          </a:prstGeom>
          <a:solidFill>
            <a:srgbClr val="0070C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r>
              <a:rPr lang="en-US" sz="1900" b="1">
                <a:solidFill>
                  <a:srgbClr val="FFFFFF"/>
                </a:solidFill>
                <a:latin typeface="Calibri"/>
                <a:ea typeface="Calibri"/>
                <a:cs typeface="Calibri"/>
                <a:sym typeface="Calibri"/>
              </a:rPr>
              <a:t>6</a:t>
            </a:r>
            <a:r>
              <a:rPr lang="en-US" sz="1900" b="1" i="0" u="none" strike="noStrike" cap="none">
                <a:solidFill>
                  <a:srgbClr val="FFFFFF"/>
                </a:solidFill>
                <a:latin typeface="Calibri"/>
                <a:ea typeface="Calibri"/>
                <a:cs typeface="Calibri"/>
                <a:sym typeface="Calibri"/>
              </a:rPr>
              <a:t>0%</a:t>
            </a:r>
            <a:endParaRPr sz="1500"/>
          </a:p>
        </p:txBody>
      </p:sp>
      <p:sp>
        <p:nvSpPr>
          <p:cNvPr id="576" name="Google Shape;576;p5"/>
          <p:cNvSpPr/>
          <p:nvPr/>
        </p:nvSpPr>
        <p:spPr>
          <a:xfrm>
            <a:off x="10933949" y="2632982"/>
            <a:ext cx="900000" cy="900000"/>
          </a:xfrm>
          <a:prstGeom prst="ellipse">
            <a:avLst/>
          </a:prstGeom>
          <a:solidFill>
            <a:srgbClr val="0070C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r>
              <a:rPr lang="en-US" sz="1900" b="1">
                <a:solidFill>
                  <a:srgbClr val="FFFFFF"/>
                </a:solidFill>
                <a:latin typeface="Calibri"/>
                <a:ea typeface="Calibri"/>
                <a:cs typeface="Calibri"/>
                <a:sym typeface="Calibri"/>
              </a:rPr>
              <a:t>4</a:t>
            </a:r>
            <a:r>
              <a:rPr lang="en-US" sz="1900" b="1" i="0" u="none" strike="noStrike" cap="none">
                <a:solidFill>
                  <a:srgbClr val="FFFFFF"/>
                </a:solidFill>
                <a:latin typeface="Calibri"/>
                <a:ea typeface="Calibri"/>
                <a:cs typeface="Calibri"/>
                <a:sym typeface="Calibri"/>
              </a:rPr>
              <a:t>0%</a:t>
            </a:r>
            <a:endParaRPr sz="1500"/>
          </a:p>
        </p:txBody>
      </p:sp>
      <p:sp>
        <p:nvSpPr>
          <p:cNvPr id="577" name="Google Shape;577;p5"/>
          <p:cNvSpPr/>
          <p:nvPr/>
        </p:nvSpPr>
        <p:spPr>
          <a:xfrm>
            <a:off x="7563554" y="4014732"/>
            <a:ext cx="3267094" cy="1010355"/>
          </a:xfrm>
          <a:prstGeom prst="hexagon">
            <a:avLst>
              <a:gd name="adj" fmla="val 25000"/>
              <a:gd name="vf" fmla="val 115470"/>
            </a:avLst>
          </a:prstGeom>
          <a:solidFill>
            <a:srgbClr val="00206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2400" b="1" i="0" u="none" strike="noStrike" cap="none">
                <a:solidFill>
                  <a:srgbClr val="FFFFFF"/>
                </a:solidFill>
                <a:latin typeface="Calibri"/>
                <a:ea typeface="Calibri"/>
                <a:cs typeface="Calibri"/>
                <a:sym typeface="Calibri"/>
              </a:rPr>
              <a:t>Kinerja Proyek</a:t>
            </a:r>
            <a:endParaRPr/>
          </a:p>
        </p:txBody>
      </p:sp>
      <p:sp>
        <p:nvSpPr>
          <p:cNvPr id="578" name="Google Shape;578;p5"/>
          <p:cNvSpPr/>
          <p:nvPr/>
        </p:nvSpPr>
        <p:spPr>
          <a:xfrm>
            <a:off x="6324550" y="1374250"/>
            <a:ext cx="2438400" cy="6159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600"/>
              <a:buFont typeface="Arial"/>
              <a:buNone/>
            </a:pPr>
            <a:r>
              <a:rPr lang="en-US" sz="1600" b="0" i="0" u="none" strike="noStrike" cap="none">
                <a:solidFill>
                  <a:schemeClr val="dk1"/>
                </a:solidFill>
                <a:latin typeface="Arial"/>
                <a:ea typeface="Arial"/>
                <a:cs typeface="Arial"/>
                <a:sym typeface="Arial"/>
              </a:rPr>
              <a:t>Pekerjaan Konstruksi</a:t>
            </a:r>
            <a:r>
              <a:rPr lang="en-US" sz="1600">
                <a:solidFill>
                  <a:schemeClr val="dk1"/>
                </a:solidFill>
              </a:rPr>
              <a:t> </a:t>
            </a:r>
            <a:r>
              <a:rPr lang="en-US" sz="1600" b="0" i="0" u="none" strike="noStrike" cap="none">
                <a:solidFill>
                  <a:schemeClr val="dk1"/>
                </a:solidFill>
                <a:latin typeface="Arial"/>
                <a:ea typeface="Arial"/>
                <a:cs typeface="Arial"/>
                <a:sym typeface="Arial"/>
              </a:rPr>
              <a:t>&amp; Konstruksi Terintegrasi</a:t>
            </a:r>
            <a:endParaRPr sz="1600" b="0" i="0" u="none" strike="noStrike" cap="none">
              <a:solidFill>
                <a:schemeClr val="dk1"/>
              </a:solidFill>
              <a:latin typeface="Arial"/>
              <a:ea typeface="Arial"/>
              <a:cs typeface="Arial"/>
              <a:sym typeface="Arial"/>
            </a:endParaRPr>
          </a:p>
        </p:txBody>
      </p:sp>
      <p:sp>
        <p:nvSpPr>
          <p:cNvPr id="579" name="Google Shape;579;p5"/>
          <p:cNvSpPr/>
          <p:nvPr/>
        </p:nvSpPr>
        <p:spPr>
          <a:xfrm>
            <a:off x="9708444" y="1374247"/>
            <a:ext cx="2351801" cy="615888"/>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600"/>
              <a:buFont typeface="Arial"/>
              <a:buNone/>
            </a:pPr>
            <a:r>
              <a:rPr lang="en-US" sz="1600" b="0" i="0" u="none" strike="noStrike" cap="none">
                <a:solidFill>
                  <a:schemeClr val="dk1"/>
                </a:solidFill>
                <a:latin typeface="Arial"/>
                <a:ea typeface="Arial"/>
                <a:cs typeface="Arial"/>
                <a:sym typeface="Arial"/>
              </a:rPr>
              <a:t>Jasa Konsultansi Konstruksi</a:t>
            </a:r>
            <a:endParaRPr sz="1600" b="0" i="0" u="none" strike="noStrike" cap="none">
              <a:solidFill>
                <a:schemeClr val="dk1"/>
              </a:solidFill>
              <a:latin typeface="Arial"/>
              <a:ea typeface="Arial"/>
              <a:cs typeface="Arial"/>
              <a:sym typeface="Arial"/>
            </a:endParaRPr>
          </a:p>
        </p:txBody>
      </p:sp>
      <p:pic>
        <p:nvPicPr>
          <p:cNvPr id="580" name="Google Shape;580;p5" descr="Chevron arrows with solid fill"/>
          <p:cNvPicPr preferRelativeResize="0"/>
          <p:nvPr/>
        </p:nvPicPr>
        <p:blipFill rotWithShape="1">
          <a:blip r:embed="rId4">
            <a:alphaModFix/>
          </a:blip>
          <a:srcRect/>
          <a:stretch/>
        </p:blipFill>
        <p:spPr>
          <a:xfrm rot="-5400000">
            <a:off x="6775444" y="2090120"/>
            <a:ext cx="510150" cy="339577"/>
          </a:xfrm>
          <a:prstGeom prst="rect">
            <a:avLst/>
          </a:prstGeom>
          <a:noFill/>
          <a:ln>
            <a:noFill/>
          </a:ln>
        </p:spPr>
      </p:pic>
      <p:pic>
        <p:nvPicPr>
          <p:cNvPr id="581" name="Google Shape;581;p5" descr="Chevron arrows with solid fill"/>
          <p:cNvPicPr preferRelativeResize="0"/>
          <p:nvPr/>
        </p:nvPicPr>
        <p:blipFill rotWithShape="1">
          <a:blip r:embed="rId4">
            <a:alphaModFix/>
          </a:blip>
          <a:srcRect/>
          <a:stretch/>
        </p:blipFill>
        <p:spPr>
          <a:xfrm rot="-5400000">
            <a:off x="11128874" y="2075421"/>
            <a:ext cx="510150" cy="339577"/>
          </a:xfrm>
          <a:prstGeom prst="rect">
            <a:avLst/>
          </a:prstGeom>
          <a:noFill/>
          <a:ln>
            <a:noFill/>
          </a:ln>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585"/>
        <p:cNvGrpSpPr/>
        <p:nvPr/>
      </p:nvGrpSpPr>
      <p:grpSpPr>
        <a:xfrm>
          <a:off x="0" y="0"/>
          <a:ext cx="0" cy="0"/>
          <a:chOff x="0" y="0"/>
          <a:chExt cx="0" cy="0"/>
        </a:xfrm>
      </p:grpSpPr>
      <p:sp>
        <p:nvSpPr>
          <p:cNvPr id="586" name="Google Shape;586;p6"/>
          <p:cNvSpPr/>
          <p:nvPr/>
        </p:nvSpPr>
        <p:spPr>
          <a:xfrm>
            <a:off x="863599" y="1"/>
            <a:ext cx="10464801" cy="593558"/>
          </a:xfrm>
          <a:prstGeom prst="rect">
            <a:avLst/>
          </a:prstGeom>
          <a:solidFill>
            <a:srgbClr val="FEB813"/>
          </a:solidFill>
          <a:ln>
            <a:noFill/>
          </a:ln>
        </p:spPr>
        <p:txBody>
          <a:bodyPr spcFirstLastPara="1" wrap="square" lIns="91425" tIns="45700" rIns="91425" bIns="45700" anchor="ctr" anchorCtr="0">
            <a:noAutofit/>
          </a:bodyPr>
          <a:lstStyle/>
          <a:p>
            <a:pPr marL="352425" marR="0" lvl="0" indent="0" algn="just" rtl="0">
              <a:lnSpc>
                <a:spcPct val="100000"/>
              </a:lnSpc>
              <a:spcBef>
                <a:spcPts val="0"/>
              </a:spcBef>
              <a:spcAft>
                <a:spcPts val="0"/>
              </a:spcAft>
              <a:buClr>
                <a:srgbClr val="FFFFFF"/>
              </a:buClr>
              <a:buSzPts val="2800"/>
              <a:buFont typeface="Arial Black"/>
              <a:buNone/>
            </a:pPr>
            <a:r>
              <a:rPr lang="en-US" sz="2800" b="1" i="0" u="none" strike="noStrike" cap="none">
                <a:solidFill>
                  <a:srgbClr val="FFFFFF"/>
                </a:solidFill>
                <a:latin typeface="Arial Black"/>
                <a:ea typeface="Arial Black"/>
                <a:cs typeface="Arial Black"/>
                <a:sym typeface="Arial Black"/>
              </a:rPr>
              <a:t>PENILAIAN KINERJA BUJK</a:t>
            </a:r>
            <a:endParaRPr/>
          </a:p>
        </p:txBody>
      </p:sp>
      <p:pic>
        <p:nvPicPr>
          <p:cNvPr id="587" name="Google Shape;587;p6"/>
          <p:cNvPicPr preferRelativeResize="0"/>
          <p:nvPr/>
        </p:nvPicPr>
        <p:blipFill rotWithShape="1">
          <a:blip r:embed="rId3">
            <a:alphaModFix/>
          </a:blip>
          <a:srcRect/>
          <a:stretch/>
        </p:blipFill>
        <p:spPr>
          <a:xfrm>
            <a:off x="0" y="6189992"/>
            <a:ext cx="2013494" cy="668007"/>
          </a:xfrm>
          <a:prstGeom prst="rect">
            <a:avLst/>
          </a:prstGeom>
          <a:noFill/>
          <a:ln>
            <a:noFill/>
          </a:ln>
        </p:spPr>
      </p:pic>
      <p:sp>
        <p:nvSpPr>
          <p:cNvPr id="588" name="Google Shape;588;p6"/>
          <p:cNvSpPr/>
          <p:nvPr/>
        </p:nvSpPr>
        <p:spPr>
          <a:xfrm>
            <a:off x="9753600" y="6368716"/>
            <a:ext cx="2438400" cy="489283"/>
          </a:xfrm>
          <a:prstGeom prst="parallelogram">
            <a:avLst>
              <a:gd name="adj" fmla="val 25000"/>
            </a:avLst>
          </a:prstGeom>
          <a:solidFill>
            <a:srgbClr val="323F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400"/>
              <a:buFont typeface="Calibri"/>
              <a:buNone/>
            </a:pPr>
            <a:r>
              <a:rPr lang="en-US" sz="1400" b="0" i="0" u="none" strike="noStrike" cap="none">
                <a:solidFill>
                  <a:srgbClr val="FFFFFF"/>
                </a:solidFill>
                <a:latin typeface="Calibri"/>
                <a:ea typeface="Calibri"/>
                <a:cs typeface="Calibri"/>
                <a:sym typeface="Calibri"/>
              </a:rPr>
              <a:t>Permen PUPR 6/2021</a:t>
            </a:r>
            <a:endParaRPr sz="1400" b="0" i="0" u="none" strike="noStrike" cap="none">
              <a:solidFill>
                <a:srgbClr val="FFFFFF"/>
              </a:solidFill>
              <a:latin typeface="Calibri"/>
              <a:ea typeface="Calibri"/>
              <a:cs typeface="Calibri"/>
              <a:sym typeface="Calibri"/>
            </a:endParaRPr>
          </a:p>
        </p:txBody>
      </p:sp>
      <p:sp>
        <p:nvSpPr>
          <p:cNvPr id="589" name="Google Shape;589;p6"/>
          <p:cNvSpPr/>
          <p:nvPr/>
        </p:nvSpPr>
        <p:spPr>
          <a:xfrm>
            <a:off x="135689" y="104274"/>
            <a:ext cx="978568" cy="978568"/>
          </a:xfrm>
          <a:prstGeom prst="ellipse">
            <a:avLst/>
          </a:prstGeom>
          <a:solidFill>
            <a:schemeClr val="accent1"/>
          </a:solidFill>
          <a:ln w="76200" cap="flat" cmpd="sng">
            <a:solidFill>
              <a:srgbClr val="FFFF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2400" b="1">
                <a:solidFill>
                  <a:schemeClr val="dk1"/>
                </a:solidFill>
                <a:latin typeface="Arial Black"/>
                <a:ea typeface="Arial Black"/>
                <a:cs typeface="Arial Black"/>
                <a:sym typeface="Arial Black"/>
              </a:rPr>
              <a:t>3</a:t>
            </a:r>
            <a:endParaRPr sz="2400" b="1">
              <a:solidFill>
                <a:schemeClr val="dk1"/>
              </a:solidFill>
              <a:latin typeface="Arial Black"/>
              <a:ea typeface="Arial Black"/>
              <a:cs typeface="Arial Black"/>
              <a:sym typeface="Arial Black"/>
            </a:endParaRPr>
          </a:p>
        </p:txBody>
      </p:sp>
      <p:grpSp>
        <p:nvGrpSpPr>
          <p:cNvPr id="590" name="Google Shape;590;p6"/>
          <p:cNvGrpSpPr/>
          <p:nvPr/>
        </p:nvGrpSpPr>
        <p:grpSpPr>
          <a:xfrm>
            <a:off x="985099" y="1264185"/>
            <a:ext cx="10775102" cy="4856760"/>
            <a:chOff x="1416898" y="1264185"/>
            <a:chExt cx="10775102" cy="4856760"/>
          </a:xfrm>
        </p:grpSpPr>
        <p:grpSp>
          <p:nvGrpSpPr>
            <p:cNvPr id="591" name="Google Shape;591;p6"/>
            <p:cNvGrpSpPr/>
            <p:nvPr/>
          </p:nvGrpSpPr>
          <p:grpSpPr>
            <a:xfrm>
              <a:off x="6792000" y="1264185"/>
              <a:ext cx="5400000" cy="4856760"/>
              <a:chOff x="0" y="69046"/>
              <a:chExt cx="5400000" cy="4856760"/>
            </a:xfrm>
          </p:grpSpPr>
          <p:sp>
            <p:nvSpPr>
              <p:cNvPr id="592" name="Google Shape;592;p6"/>
              <p:cNvSpPr/>
              <p:nvPr/>
            </p:nvSpPr>
            <p:spPr>
              <a:xfrm>
                <a:off x="0" y="246166"/>
                <a:ext cx="5400000" cy="1474200"/>
              </a:xfrm>
              <a:prstGeom prst="rect">
                <a:avLst/>
              </a:prstGeom>
              <a:solidFill>
                <a:schemeClr val="lt1">
                  <a:alpha val="89803"/>
                </a:schemeClr>
              </a:solidFill>
              <a:ln w="12700" cap="flat" cmpd="sng">
                <a:solidFill>
                  <a:srgbClr val="22205A"/>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593;p6"/>
              <p:cNvSpPr txBox="1"/>
              <p:nvPr/>
            </p:nvSpPr>
            <p:spPr>
              <a:xfrm>
                <a:off x="0" y="246166"/>
                <a:ext cx="5400000" cy="1474200"/>
              </a:xfrm>
              <a:prstGeom prst="rect">
                <a:avLst/>
              </a:prstGeom>
              <a:noFill/>
              <a:ln>
                <a:noFill/>
              </a:ln>
            </p:spPr>
            <p:txBody>
              <a:bodyPr spcFirstLastPara="1" wrap="square" lIns="419100" tIns="249925" rIns="419100" bIns="99550" anchor="t" anchorCtr="0">
                <a:noAutofit/>
              </a:bodyPr>
              <a:lstStyle/>
              <a:p>
                <a:pPr marL="114300" marR="0" lvl="1" indent="-114300" algn="l" rtl="0">
                  <a:lnSpc>
                    <a:spcPct val="90000"/>
                  </a:lnSpc>
                  <a:spcBef>
                    <a:spcPts val="0"/>
                  </a:spcBef>
                  <a:spcAft>
                    <a:spcPts val="0"/>
                  </a:spcAft>
                  <a:buClr>
                    <a:schemeClr val="dk1"/>
                  </a:buClr>
                  <a:buSzPts val="1400"/>
                  <a:buFont typeface="Calibri"/>
                  <a:buChar char="•"/>
                </a:pPr>
                <a:r>
                  <a:rPr lang="en-US" sz="1400" b="0" i="0" u="none" strike="noStrike" cap="none">
                    <a:solidFill>
                      <a:schemeClr val="dk1"/>
                    </a:solidFill>
                    <a:latin typeface="Calibri"/>
                    <a:ea typeface="Calibri"/>
                    <a:cs typeface="Calibri"/>
                    <a:sym typeface="Calibri"/>
                  </a:rPr>
                  <a:t>Aspek Kemampuan Keuangan</a:t>
                </a:r>
                <a:endParaRPr sz="1400" b="0" i="0" u="none" strike="noStrike" cap="none">
                  <a:solidFill>
                    <a:schemeClr val="dk1"/>
                  </a:solidFill>
                  <a:latin typeface="Calibri"/>
                  <a:ea typeface="Calibri"/>
                  <a:cs typeface="Calibri"/>
                  <a:sym typeface="Calibri"/>
                </a:endParaRPr>
              </a:p>
              <a:p>
                <a:pPr marL="114300" marR="0" lvl="1" indent="-114300" algn="l" rtl="0">
                  <a:lnSpc>
                    <a:spcPct val="90000"/>
                  </a:lnSpc>
                  <a:spcBef>
                    <a:spcPts val="210"/>
                  </a:spcBef>
                  <a:spcAft>
                    <a:spcPts val="0"/>
                  </a:spcAft>
                  <a:buClr>
                    <a:schemeClr val="dk1"/>
                  </a:buClr>
                  <a:buSzPts val="1400"/>
                  <a:buFont typeface="Calibri"/>
                  <a:buChar char="•"/>
                </a:pPr>
                <a:r>
                  <a:rPr lang="en-US" sz="1400" b="0" i="0" u="none" strike="noStrike" cap="none">
                    <a:solidFill>
                      <a:schemeClr val="dk1"/>
                    </a:solidFill>
                    <a:latin typeface="Calibri"/>
                    <a:ea typeface="Calibri"/>
                    <a:cs typeface="Calibri"/>
                    <a:sym typeface="Calibri"/>
                  </a:rPr>
                  <a:t>Perkembangan Organisasi</a:t>
                </a:r>
                <a:endParaRPr/>
              </a:p>
              <a:p>
                <a:pPr marL="114300" marR="0" lvl="1" indent="-114300" algn="l" rtl="0">
                  <a:lnSpc>
                    <a:spcPct val="90000"/>
                  </a:lnSpc>
                  <a:spcBef>
                    <a:spcPts val="210"/>
                  </a:spcBef>
                  <a:spcAft>
                    <a:spcPts val="0"/>
                  </a:spcAft>
                  <a:buClr>
                    <a:schemeClr val="dk1"/>
                  </a:buClr>
                  <a:buSzPts val="1400"/>
                  <a:buFont typeface="Calibri"/>
                  <a:buChar char="•"/>
                </a:pPr>
                <a:r>
                  <a:rPr lang="en-US" sz="1400" b="0" i="0" u="none" strike="noStrike" cap="none">
                    <a:solidFill>
                      <a:schemeClr val="dk1"/>
                    </a:solidFill>
                    <a:latin typeface="Calibri"/>
                    <a:ea typeface="Calibri"/>
                    <a:cs typeface="Calibri"/>
                    <a:sym typeface="Calibri"/>
                  </a:rPr>
                  <a:t>Manajemen Operasi</a:t>
                </a:r>
                <a:endParaRPr/>
              </a:p>
              <a:p>
                <a:pPr marL="114300" marR="0" lvl="1" indent="-114300" algn="l" rtl="0">
                  <a:lnSpc>
                    <a:spcPct val="90000"/>
                  </a:lnSpc>
                  <a:spcBef>
                    <a:spcPts val="210"/>
                  </a:spcBef>
                  <a:spcAft>
                    <a:spcPts val="0"/>
                  </a:spcAft>
                  <a:buClr>
                    <a:schemeClr val="dk1"/>
                  </a:buClr>
                  <a:buSzPts val="1400"/>
                  <a:buFont typeface="Calibri"/>
                  <a:buChar char="•"/>
                </a:pPr>
                <a:r>
                  <a:rPr lang="en-US" sz="1400" b="0" i="0" u="none" strike="noStrike" cap="none">
                    <a:solidFill>
                      <a:schemeClr val="dk1"/>
                    </a:solidFill>
                    <a:latin typeface="Calibri"/>
                    <a:ea typeface="Calibri"/>
                    <a:cs typeface="Calibri"/>
                    <a:sym typeface="Calibri"/>
                  </a:rPr>
                  <a:t>Pemanfaatan Teknologi</a:t>
                </a:r>
                <a:endParaRPr/>
              </a:p>
              <a:p>
                <a:pPr marL="114300" marR="0" lvl="1" indent="-114300" algn="l" rtl="0">
                  <a:lnSpc>
                    <a:spcPct val="90000"/>
                  </a:lnSpc>
                  <a:spcBef>
                    <a:spcPts val="210"/>
                  </a:spcBef>
                  <a:spcAft>
                    <a:spcPts val="0"/>
                  </a:spcAft>
                  <a:buClr>
                    <a:schemeClr val="dk1"/>
                  </a:buClr>
                  <a:buSzPts val="1400"/>
                  <a:buFont typeface="Calibri"/>
                  <a:buChar char="•"/>
                </a:pPr>
                <a:r>
                  <a:rPr lang="en-US" sz="1400" b="0" i="0" u="none" strike="noStrike" cap="none">
                    <a:solidFill>
                      <a:schemeClr val="dk1"/>
                    </a:solidFill>
                    <a:latin typeface="Calibri"/>
                    <a:ea typeface="Calibri"/>
                    <a:cs typeface="Calibri"/>
                    <a:sym typeface="Calibri"/>
                  </a:rPr>
                  <a:t>Pengembangan Sumber Daya Manusia</a:t>
                </a:r>
                <a:endParaRPr/>
              </a:p>
            </p:txBody>
          </p:sp>
          <p:sp>
            <p:nvSpPr>
              <p:cNvPr id="594" name="Google Shape;594;p6"/>
              <p:cNvSpPr/>
              <p:nvPr/>
            </p:nvSpPr>
            <p:spPr>
              <a:xfrm>
                <a:off x="270000" y="69046"/>
                <a:ext cx="3780000" cy="354240"/>
              </a:xfrm>
              <a:prstGeom prst="roundRect">
                <a:avLst>
                  <a:gd name="adj" fmla="val 16667"/>
                </a:avLst>
              </a:prstGeom>
              <a:solidFill>
                <a:srgbClr val="22205A"/>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595;p6"/>
              <p:cNvSpPr txBox="1"/>
              <p:nvPr/>
            </p:nvSpPr>
            <p:spPr>
              <a:xfrm>
                <a:off x="287293" y="86339"/>
                <a:ext cx="3745414" cy="319654"/>
              </a:xfrm>
              <a:prstGeom prst="rect">
                <a:avLst/>
              </a:prstGeom>
              <a:noFill/>
              <a:ln>
                <a:noFill/>
              </a:ln>
            </p:spPr>
            <p:txBody>
              <a:bodyPr spcFirstLastPara="1" wrap="square" lIns="142875" tIns="0" rIns="142875" bIns="0" anchor="ctr" anchorCtr="0">
                <a:noAutofit/>
              </a:bodyPr>
              <a:lstStyle/>
              <a:p>
                <a:pPr marL="0" marR="0" lvl="0" indent="0" algn="l" rtl="0">
                  <a:lnSpc>
                    <a:spcPct val="90000"/>
                  </a:lnSpc>
                  <a:spcBef>
                    <a:spcPts val="0"/>
                  </a:spcBef>
                  <a:spcAft>
                    <a:spcPts val="0"/>
                  </a:spcAft>
                  <a:buClr>
                    <a:schemeClr val="lt1"/>
                  </a:buClr>
                  <a:buSzPts val="1400"/>
                  <a:buFont typeface="Calibri"/>
                  <a:buNone/>
                </a:pPr>
                <a:r>
                  <a:rPr lang="en-US" sz="1400" b="1">
                    <a:solidFill>
                      <a:schemeClr val="lt1"/>
                    </a:solidFill>
                    <a:latin typeface="Calibri"/>
                    <a:ea typeface="Calibri"/>
                    <a:cs typeface="Calibri"/>
                    <a:sym typeface="Calibri"/>
                  </a:rPr>
                  <a:t>Pekerjaan Konstruksi Bersifat Umum dan Spesialis</a:t>
                </a:r>
                <a:endParaRPr/>
              </a:p>
            </p:txBody>
          </p:sp>
          <p:sp>
            <p:nvSpPr>
              <p:cNvPr id="596" name="Google Shape;596;p6"/>
              <p:cNvSpPr/>
              <p:nvPr/>
            </p:nvSpPr>
            <p:spPr>
              <a:xfrm>
                <a:off x="0" y="1962286"/>
                <a:ext cx="5400000" cy="1474200"/>
              </a:xfrm>
              <a:prstGeom prst="rect">
                <a:avLst/>
              </a:prstGeom>
              <a:solidFill>
                <a:schemeClr val="lt1">
                  <a:alpha val="89803"/>
                </a:schemeClr>
              </a:solidFill>
              <a:ln w="12700" cap="flat" cmpd="sng">
                <a:solidFill>
                  <a:srgbClr val="22205A"/>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597;p6"/>
              <p:cNvSpPr txBox="1"/>
              <p:nvPr/>
            </p:nvSpPr>
            <p:spPr>
              <a:xfrm>
                <a:off x="0" y="1962286"/>
                <a:ext cx="5400000" cy="1474200"/>
              </a:xfrm>
              <a:prstGeom prst="rect">
                <a:avLst/>
              </a:prstGeom>
              <a:noFill/>
              <a:ln>
                <a:noFill/>
              </a:ln>
            </p:spPr>
            <p:txBody>
              <a:bodyPr spcFirstLastPara="1" wrap="square" lIns="419100" tIns="249925" rIns="419100" bIns="99550" anchor="t" anchorCtr="0">
                <a:noAutofit/>
              </a:bodyPr>
              <a:lstStyle/>
              <a:p>
                <a:pPr marL="114300" marR="0" lvl="1" indent="-114300" algn="l" rtl="0">
                  <a:lnSpc>
                    <a:spcPct val="90000"/>
                  </a:lnSpc>
                  <a:spcBef>
                    <a:spcPts val="0"/>
                  </a:spcBef>
                  <a:spcAft>
                    <a:spcPts val="0"/>
                  </a:spcAft>
                  <a:buClr>
                    <a:schemeClr val="dk1"/>
                  </a:buClr>
                  <a:buSzPts val="1400"/>
                  <a:buFont typeface="Calibri"/>
                  <a:buChar char="•"/>
                </a:pPr>
                <a:r>
                  <a:rPr lang="en-US" sz="1400" b="0" i="0" u="none" strike="noStrike" cap="none">
                    <a:solidFill>
                      <a:schemeClr val="dk1"/>
                    </a:solidFill>
                    <a:latin typeface="Calibri"/>
                    <a:ea typeface="Calibri"/>
                    <a:cs typeface="Calibri"/>
                    <a:sym typeface="Calibri"/>
                  </a:rPr>
                  <a:t>Aspek Kemampuan Keuangan</a:t>
                </a:r>
                <a:endParaRPr sz="1400" b="0" i="0" u="none" strike="noStrike" cap="none">
                  <a:solidFill>
                    <a:schemeClr val="dk1"/>
                  </a:solidFill>
                  <a:latin typeface="Calibri"/>
                  <a:ea typeface="Calibri"/>
                  <a:cs typeface="Calibri"/>
                  <a:sym typeface="Calibri"/>
                </a:endParaRPr>
              </a:p>
              <a:p>
                <a:pPr marL="114300" marR="0" lvl="1" indent="-114300" algn="l" rtl="0">
                  <a:lnSpc>
                    <a:spcPct val="90000"/>
                  </a:lnSpc>
                  <a:spcBef>
                    <a:spcPts val="210"/>
                  </a:spcBef>
                  <a:spcAft>
                    <a:spcPts val="0"/>
                  </a:spcAft>
                  <a:buClr>
                    <a:schemeClr val="dk1"/>
                  </a:buClr>
                  <a:buSzPts val="1400"/>
                  <a:buFont typeface="Calibri"/>
                  <a:buChar char="•"/>
                </a:pPr>
                <a:r>
                  <a:rPr lang="en-US" sz="1400" b="0" i="0" u="none" strike="noStrike" cap="none">
                    <a:solidFill>
                      <a:schemeClr val="dk1"/>
                    </a:solidFill>
                    <a:latin typeface="Calibri"/>
                    <a:ea typeface="Calibri"/>
                    <a:cs typeface="Calibri"/>
                    <a:sym typeface="Calibri"/>
                  </a:rPr>
                  <a:t>Perkembangan Organisasi</a:t>
                </a:r>
                <a:endParaRPr/>
              </a:p>
              <a:p>
                <a:pPr marL="114300" marR="0" lvl="1" indent="-114300" algn="l" rtl="0">
                  <a:lnSpc>
                    <a:spcPct val="90000"/>
                  </a:lnSpc>
                  <a:spcBef>
                    <a:spcPts val="210"/>
                  </a:spcBef>
                  <a:spcAft>
                    <a:spcPts val="0"/>
                  </a:spcAft>
                  <a:buClr>
                    <a:schemeClr val="dk1"/>
                  </a:buClr>
                  <a:buSzPts val="1400"/>
                  <a:buFont typeface="Calibri"/>
                  <a:buChar char="•"/>
                </a:pPr>
                <a:r>
                  <a:rPr lang="en-US" sz="1400" b="0" i="0" u="none" strike="noStrike" cap="none">
                    <a:solidFill>
                      <a:schemeClr val="dk1"/>
                    </a:solidFill>
                    <a:latin typeface="Calibri"/>
                    <a:ea typeface="Calibri"/>
                    <a:cs typeface="Calibri"/>
                    <a:sym typeface="Calibri"/>
                  </a:rPr>
                  <a:t>Manajemen Operasi</a:t>
                </a:r>
                <a:endParaRPr/>
              </a:p>
              <a:p>
                <a:pPr marL="114300" marR="0" lvl="1" indent="-114300" algn="l" rtl="0">
                  <a:lnSpc>
                    <a:spcPct val="90000"/>
                  </a:lnSpc>
                  <a:spcBef>
                    <a:spcPts val="210"/>
                  </a:spcBef>
                  <a:spcAft>
                    <a:spcPts val="0"/>
                  </a:spcAft>
                  <a:buClr>
                    <a:schemeClr val="dk1"/>
                  </a:buClr>
                  <a:buSzPts val="1400"/>
                  <a:buFont typeface="Calibri"/>
                  <a:buChar char="•"/>
                </a:pPr>
                <a:r>
                  <a:rPr lang="en-US" sz="1400" b="0" i="0" u="none" strike="noStrike" cap="none">
                    <a:solidFill>
                      <a:schemeClr val="dk1"/>
                    </a:solidFill>
                    <a:latin typeface="Calibri"/>
                    <a:ea typeface="Calibri"/>
                    <a:cs typeface="Calibri"/>
                    <a:sym typeface="Calibri"/>
                  </a:rPr>
                  <a:t>Pemanfaatan Teknologi</a:t>
                </a:r>
                <a:endParaRPr/>
              </a:p>
              <a:p>
                <a:pPr marL="114300" marR="0" lvl="1" indent="-114300" algn="l" rtl="0">
                  <a:lnSpc>
                    <a:spcPct val="90000"/>
                  </a:lnSpc>
                  <a:spcBef>
                    <a:spcPts val="210"/>
                  </a:spcBef>
                  <a:spcAft>
                    <a:spcPts val="0"/>
                  </a:spcAft>
                  <a:buClr>
                    <a:schemeClr val="dk1"/>
                  </a:buClr>
                  <a:buSzPts val="1400"/>
                  <a:buFont typeface="Calibri"/>
                  <a:buChar char="•"/>
                </a:pPr>
                <a:r>
                  <a:rPr lang="en-US" sz="1400" b="0" i="0" u="none" strike="noStrike" cap="none">
                    <a:solidFill>
                      <a:schemeClr val="dk1"/>
                    </a:solidFill>
                    <a:latin typeface="Calibri"/>
                    <a:ea typeface="Calibri"/>
                    <a:cs typeface="Calibri"/>
                    <a:sym typeface="Calibri"/>
                  </a:rPr>
                  <a:t>Pengembangan Sumber Daya Manusia</a:t>
                </a:r>
                <a:endParaRPr/>
              </a:p>
            </p:txBody>
          </p:sp>
          <p:sp>
            <p:nvSpPr>
              <p:cNvPr id="598" name="Google Shape;598;p6"/>
              <p:cNvSpPr/>
              <p:nvPr/>
            </p:nvSpPr>
            <p:spPr>
              <a:xfrm>
                <a:off x="270000" y="1785166"/>
                <a:ext cx="3780000" cy="354240"/>
              </a:xfrm>
              <a:prstGeom prst="roundRect">
                <a:avLst>
                  <a:gd name="adj" fmla="val 16667"/>
                </a:avLst>
              </a:prstGeom>
              <a:solidFill>
                <a:srgbClr val="22205A"/>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599;p6"/>
              <p:cNvSpPr txBox="1"/>
              <p:nvPr/>
            </p:nvSpPr>
            <p:spPr>
              <a:xfrm>
                <a:off x="287293" y="1802459"/>
                <a:ext cx="3745414" cy="319654"/>
              </a:xfrm>
              <a:prstGeom prst="rect">
                <a:avLst/>
              </a:prstGeom>
              <a:noFill/>
              <a:ln>
                <a:noFill/>
              </a:ln>
            </p:spPr>
            <p:txBody>
              <a:bodyPr spcFirstLastPara="1" wrap="square" lIns="142875" tIns="0" rIns="142875" bIns="0" anchor="ctr" anchorCtr="0">
                <a:noAutofit/>
              </a:bodyPr>
              <a:lstStyle/>
              <a:p>
                <a:pPr marL="0" marR="0" lvl="0" indent="0" algn="l" rtl="0">
                  <a:lnSpc>
                    <a:spcPct val="90000"/>
                  </a:lnSpc>
                  <a:spcBef>
                    <a:spcPts val="0"/>
                  </a:spcBef>
                  <a:spcAft>
                    <a:spcPts val="0"/>
                  </a:spcAft>
                  <a:buClr>
                    <a:schemeClr val="lt1"/>
                  </a:buClr>
                  <a:buSzPts val="1400"/>
                  <a:buFont typeface="Calibri"/>
                  <a:buNone/>
                </a:pPr>
                <a:r>
                  <a:rPr lang="en-US" sz="1400" b="1">
                    <a:solidFill>
                      <a:schemeClr val="lt1"/>
                    </a:solidFill>
                    <a:latin typeface="Calibri"/>
                    <a:ea typeface="Calibri"/>
                    <a:cs typeface="Calibri"/>
                    <a:sym typeface="Calibri"/>
                  </a:rPr>
                  <a:t>Pekerjaan Konstruksi Terintegrasi</a:t>
                </a:r>
                <a:endParaRPr/>
              </a:p>
            </p:txBody>
          </p:sp>
          <p:sp>
            <p:nvSpPr>
              <p:cNvPr id="600" name="Google Shape;600;p6"/>
              <p:cNvSpPr/>
              <p:nvPr/>
            </p:nvSpPr>
            <p:spPr>
              <a:xfrm>
                <a:off x="0" y="3678406"/>
                <a:ext cx="5400000" cy="1247400"/>
              </a:xfrm>
              <a:prstGeom prst="rect">
                <a:avLst/>
              </a:prstGeom>
              <a:solidFill>
                <a:schemeClr val="lt1">
                  <a:alpha val="89803"/>
                </a:schemeClr>
              </a:solidFill>
              <a:ln w="12700" cap="flat" cmpd="sng">
                <a:solidFill>
                  <a:srgbClr val="22205A"/>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1" name="Google Shape;601;p6"/>
              <p:cNvSpPr txBox="1"/>
              <p:nvPr/>
            </p:nvSpPr>
            <p:spPr>
              <a:xfrm>
                <a:off x="0" y="3678406"/>
                <a:ext cx="5400000" cy="1247400"/>
              </a:xfrm>
              <a:prstGeom prst="rect">
                <a:avLst/>
              </a:prstGeom>
              <a:noFill/>
              <a:ln>
                <a:noFill/>
              </a:ln>
            </p:spPr>
            <p:txBody>
              <a:bodyPr spcFirstLastPara="1" wrap="square" lIns="419100" tIns="249925" rIns="419100" bIns="99550" anchor="t" anchorCtr="0">
                <a:noAutofit/>
              </a:bodyPr>
              <a:lstStyle/>
              <a:p>
                <a:pPr marL="114300" marR="0" lvl="1" indent="-114300" algn="l" rtl="0">
                  <a:lnSpc>
                    <a:spcPct val="90000"/>
                  </a:lnSpc>
                  <a:spcBef>
                    <a:spcPts val="0"/>
                  </a:spcBef>
                  <a:spcAft>
                    <a:spcPts val="0"/>
                  </a:spcAft>
                  <a:buClr>
                    <a:schemeClr val="dk1"/>
                  </a:buClr>
                  <a:buSzPts val="1400"/>
                  <a:buFont typeface="Calibri"/>
                  <a:buChar char="•"/>
                </a:pPr>
                <a:r>
                  <a:rPr lang="en-US" sz="1400" b="0" i="0" u="none" strike="noStrike" cap="none">
                    <a:solidFill>
                      <a:schemeClr val="dk1"/>
                    </a:solidFill>
                    <a:latin typeface="Calibri"/>
                    <a:ea typeface="Calibri"/>
                    <a:cs typeface="Calibri"/>
                    <a:sym typeface="Calibri"/>
                  </a:rPr>
                  <a:t>Aspek Kemampuan Keuangan</a:t>
                </a:r>
                <a:endParaRPr sz="1400" b="0" i="0" u="none" strike="noStrike" cap="none">
                  <a:solidFill>
                    <a:schemeClr val="dk1"/>
                  </a:solidFill>
                  <a:latin typeface="Calibri"/>
                  <a:ea typeface="Calibri"/>
                  <a:cs typeface="Calibri"/>
                  <a:sym typeface="Calibri"/>
                </a:endParaRPr>
              </a:p>
              <a:p>
                <a:pPr marL="114300" marR="0" lvl="1" indent="-114300" algn="l" rtl="0">
                  <a:lnSpc>
                    <a:spcPct val="90000"/>
                  </a:lnSpc>
                  <a:spcBef>
                    <a:spcPts val="210"/>
                  </a:spcBef>
                  <a:spcAft>
                    <a:spcPts val="0"/>
                  </a:spcAft>
                  <a:buClr>
                    <a:schemeClr val="dk1"/>
                  </a:buClr>
                  <a:buSzPts val="1400"/>
                  <a:buFont typeface="Calibri"/>
                  <a:buChar char="•"/>
                </a:pPr>
                <a:r>
                  <a:rPr lang="en-US" sz="1400" b="0" i="0" u="none" strike="noStrike" cap="none">
                    <a:solidFill>
                      <a:schemeClr val="dk1"/>
                    </a:solidFill>
                    <a:latin typeface="Calibri"/>
                    <a:ea typeface="Calibri"/>
                    <a:cs typeface="Calibri"/>
                    <a:sym typeface="Calibri"/>
                  </a:rPr>
                  <a:t>Perkembangan Organisasi</a:t>
                </a:r>
                <a:endParaRPr sz="1400" b="0" i="0" u="none" strike="noStrike" cap="none">
                  <a:solidFill>
                    <a:schemeClr val="dk1"/>
                  </a:solidFill>
                  <a:latin typeface="Calibri"/>
                  <a:ea typeface="Calibri"/>
                  <a:cs typeface="Calibri"/>
                  <a:sym typeface="Calibri"/>
                </a:endParaRPr>
              </a:p>
              <a:p>
                <a:pPr marL="114300" marR="0" lvl="1" indent="-114300" algn="l" rtl="0">
                  <a:lnSpc>
                    <a:spcPct val="90000"/>
                  </a:lnSpc>
                  <a:spcBef>
                    <a:spcPts val="210"/>
                  </a:spcBef>
                  <a:spcAft>
                    <a:spcPts val="0"/>
                  </a:spcAft>
                  <a:buClr>
                    <a:schemeClr val="dk1"/>
                  </a:buClr>
                  <a:buSzPts val="1400"/>
                  <a:buFont typeface="Calibri"/>
                  <a:buChar char="•"/>
                </a:pPr>
                <a:r>
                  <a:rPr lang="en-US" sz="1400" b="0" i="0" u="none" strike="noStrike" cap="none">
                    <a:solidFill>
                      <a:schemeClr val="dk1"/>
                    </a:solidFill>
                    <a:latin typeface="Calibri"/>
                    <a:ea typeface="Calibri"/>
                    <a:cs typeface="Calibri"/>
                    <a:sym typeface="Calibri"/>
                  </a:rPr>
                  <a:t>Pemanfaatan Teknologi - Perangkat Keras dan Lunak</a:t>
                </a:r>
                <a:endParaRPr sz="1400" b="0" i="0" u="none" strike="noStrike" cap="none">
                  <a:solidFill>
                    <a:schemeClr val="dk1"/>
                  </a:solidFill>
                  <a:latin typeface="Calibri"/>
                  <a:ea typeface="Calibri"/>
                  <a:cs typeface="Calibri"/>
                  <a:sym typeface="Calibri"/>
                </a:endParaRPr>
              </a:p>
              <a:p>
                <a:pPr marL="114300" marR="0" lvl="1" indent="-114300" algn="l" rtl="0">
                  <a:lnSpc>
                    <a:spcPct val="90000"/>
                  </a:lnSpc>
                  <a:spcBef>
                    <a:spcPts val="210"/>
                  </a:spcBef>
                  <a:spcAft>
                    <a:spcPts val="0"/>
                  </a:spcAft>
                  <a:buClr>
                    <a:schemeClr val="dk1"/>
                  </a:buClr>
                  <a:buSzPts val="1400"/>
                  <a:buFont typeface="Calibri"/>
                  <a:buChar char="•"/>
                </a:pPr>
                <a:r>
                  <a:rPr lang="en-US" sz="1400" b="0" i="0" u="none" strike="noStrike" cap="none">
                    <a:solidFill>
                      <a:schemeClr val="dk1"/>
                    </a:solidFill>
                    <a:latin typeface="Calibri"/>
                    <a:ea typeface="Calibri"/>
                    <a:cs typeface="Calibri"/>
                    <a:sym typeface="Calibri"/>
                  </a:rPr>
                  <a:t>Perkembangan Sumber Daya Manusia</a:t>
                </a:r>
                <a:endParaRPr sz="1400" b="0" i="0" u="none" strike="noStrike" cap="none">
                  <a:solidFill>
                    <a:schemeClr val="dk1"/>
                  </a:solidFill>
                  <a:latin typeface="Calibri"/>
                  <a:ea typeface="Calibri"/>
                  <a:cs typeface="Calibri"/>
                  <a:sym typeface="Calibri"/>
                </a:endParaRPr>
              </a:p>
            </p:txBody>
          </p:sp>
          <p:sp>
            <p:nvSpPr>
              <p:cNvPr id="602" name="Google Shape;602;p6"/>
              <p:cNvSpPr/>
              <p:nvPr/>
            </p:nvSpPr>
            <p:spPr>
              <a:xfrm>
                <a:off x="270000" y="3501286"/>
                <a:ext cx="3780000" cy="354240"/>
              </a:xfrm>
              <a:prstGeom prst="roundRect">
                <a:avLst>
                  <a:gd name="adj" fmla="val 16667"/>
                </a:avLst>
              </a:prstGeom>
              <a:solidFill>
                <a:srgbClr val="22205A"/>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3" name="Google Shape;603;p6"/>
              <p:cNvSpPr txBox="1"/>
              <p:nvPr/>
            </p:nvSpPr>
            <p:spPr>
              <a:xfrm>
                <a:off x="287293" y="3518579"/>
                <a:ext cx="3745414" cy="319654"/>
              </a:xfrm>
              <a:prstGeom prst="rect">
                <a:avLst/>
              </a:prstGeom>
              <a:noFill/>
              <a:ln>
                <a:noFill/>
              </a:ln>
            </p:spPr>
            <p:txBody>
              <a:bodyPr spcFirstLastPara="1" wrap="square" lIns="142875" tIns="0" rIns="142875" bIns="0" anchor="ctr" anchorCtr="0">
                <a:noAutofit/>
              </a:bodyPr>
              <a:lstStyle/>
              <a:p>
                <a:pPr marL="0" marR="0" lvl="0" indent="0" algn="l" rtl="0">
                  <a:lnSpc>
                    <a:spcPct val="90000"/>
                  </a:lnSpc>
                  <a:spcBef>
                    <a:spcPts val="0"/>
                  </a:spcBef>
                  <a:spcAft>
                    <a:spcPts val="0"/>
                  </a:spcAft>
                  <a:buClr>
                    <a:schemeClr val="lt1"/>
                  </a:buClr>
                  <a:buSzPts val="1400"/>
                  <a:buFont typeface="Calibri"/>
                  <a:buNone/>
                </a:pPr>
                <a:r>
                  <a:rPr lang="en-US" sz="1400" b="1">
                    <a:solidFill>
                      <a:schemeClr val="lt1"/>
                    </a:solidFill>
                    <a:latin typeface="Calibri"/>
                    <a:ea typeface="Calibri"/>
                    <a:cs typeface="Calibri"/>
                    <a:sym typeface="Calibri"/>
                  </a:rPr>
                  <a:t>Jasa Konsultansi Konstruksi Umum dan Spesialis</a:t>
                </a:r>
                <a:endParaRPr/>
              </a:p>
            </p:txBody>
          </p:sp>
        </p:grpSp>
        <p:sp>
          <p:nvSpPr>
            <p:cNvPr id="604" name="Google Shape;604;p6"/>
            <p:cNvSpPr/>
            <p:nvPr/>
          </p:nvSpPr>
          <p:spPr>
            <a:xfrm>
              <a:off x="1416898" y="3139265"/>
              <a:ext cx="3231900" cy="1106600"/>
            </a:xfrm>
            <a:custGeom>
              <a:avLst/>
              <a:gdLst/>
              <a:ahLst/>
              <a:cxnLst/>
              <a:rect l="l" t="t" r="r" b="b"/>
              <a:pathLst>
                <a:path w="3231900" h="1106599" extrusionOk="0">
                  <a:moveTo>
                    <a:pt x="3231900" y="1106598"/>
                  </a:moveTo>
                  <a:lnTo>
                    <a:pt x="553299" y="1106598"/>
                  </a:lnTo>
                  <a:lnTo>
                    <a:pt x="0" y="553299"/>
                  </a:lnTo>
                  <a:lnTo>
                    <a:pt x="553299" y="1"/>
                  </a:lnTo>
                  <a:lnTo>
                    <a:pt x="3231900" y="1"/>
                  </a:lnTo>
                  <a:lnTo>
                    <a:pt x="3231900" y="1106598"/>
                  </a:lnTo>
                  <a:close/>
                </a:path>
              </a:pathLst>
            </a:custGeom>
            <a:solidFill>
              <a:srgbClr val="22205A"/>
            </a:solidFill>
            <a:ln w="12700" cap="flat" cmpd="sng">
              <a:solidFill>
                <a:schemeClr val="lt1"/>
              </a:solidFill>
              <a:prstDash val="solid"/>
              <a:miter lim="800000"/>
              <a:headEnd type="none" w="sm" len="sm"/>
              <a:tailEnd type="none" w="sm" len="sm"/>
            </a:ln>
          </p:spPr>
          <p:txBody>
            <a:bodyPr spcFirstLastPara="1" wrap="square" lIns="764625" tIns="87625" rIns="163575" bIns="87625" anchor="ctr" anchorCtr="0">
              <a:noAutofit/>
            </a:bodyPr>
            <a:lstStyle/>
            <a:p>
              <a:pPr marL="0" marR="0" lvl="0" indent="0" algn="ctr" rtl="0">
                <a:lnSpc>
                  <a:spcPct val="90000"/>
                </a:lnSpc>
                <a:spcBef>
                  <a:spcPts val="0"/>
                </a:spcBef>
                <a:spcAft>
                  <a:spcPts val="0"/>
                </a:spcAft>
                <a:buClr>
                  <a:srgbClr val="FFFFFF"/>
                </a:buClr>
                <a:buSzPts val="2300"/>
                <a:buFont typeface="Calibri"/>
                <a:buNone/>
              </a:pPr>
              <a:r>
                <a:rPr lang="en-US" sz="2300" b="1" i="0" u="none" strike="noStrike" cap="none">
                  <a:solidFill>
                    <a:srgbClr val="FFFFFF"/>
                  </a:solidFill>
                  <a:latin typeface="Calibri"/>
                  <a:ea typeface="Calibri"/>
                  <a:cs typeface="Calibri"/>
                  <a:sym typeface="Calibri"/>
                </a:rPr>
                <a:t>Kinerja Manajemen Perusahaan</a:t>
              </a:r>
              <a:endParaRPr/>
            </a:p>
          </p:txBody>
        </p:sp>
        <p:cxnSp>
          <p:nvCxnSpPr>
            <p:cNvPr id="605" name="Google Shape;605;p6"/>
            <p:cNvCxnSpPr>
              <a:stCxn id="604" idx="2"/>
            </p:cNvCxnSpPr>
            <p:nvPr/>
          </p:nvCxnSpPr>
          <p:spPr>
            <a:xfrm>
              <a:off x="4648798" y="3692566"/>
              <a:ext cx="2143200" cy="600"/>
            </a:xfrm>
            <a:prstGeom prst="bentConnector3">
              <a:avLst>
                <a:gd name="adj1" fmla="val 50000"/>
              </a:avLst>
            </a:prstGeom>
            <a:noFill/>
            <a:ln w="19050" cap="flat" cmpd="sng">
              <a:solidFill>
                <a:schemeClr val="accent1"/>
              </a:solidFill>
              <a:prstDash val="solid"/>
              <a:miter lim="800000"/>
              <a:headEnd type="none" w="sm" len="sm"/>
              <a:tailEnd type="triangle" w="med" len="med"/>
            </a:ln>
          </p:spPr>
        </p:cxnSp>
        <p:cxnSp>
          <p:nvCxnSpPr>
            <p:cNvPr id="606" name="Google Shape;606;p6"/>
            <p:cNvCxnSpPr>
              <a:stCxn id="604" idx="2"/>
            </p:cNvCxnSpPr>
            <p:nvPr/>
          </p:nvCxnSpPr>
          <p:spPr>
            <a:xfrm rot="10800000" flipH="1">
              <a:off x="4648798" y="2133166"/>
              <a:ext cx="2143200" cy="1559400"/>
            </a:xfrm>
            <a:prstGeom prst="bentConnector3">
              <a:avLst>
                <a:gd name="adj1" fmla="val 50000"/>
              </a:avLst>
            </a:prstGeom>
            <a:noFill/>
            <a:ln w="19050" cap="flat" cmpd="sng">
              <a:solidFill>
                <a:schemeClr val="accent1"/>
              </a:solidFill>
              <a:prstDash val="solid"/>
              <a:miter lim="800000"/>
              <a:headEnd type="none" w="sm" len="sm"/>
              <a:tailEnd type="triangle" w="med" len="med"/>
            </a:ln>
          </p:spPr>
        </p:cxnSp>
        <p:cxnSp>
          <p:nvCxnSpPr>
            <p:cNvPr id="607" name="Google Shape;607;p6"/>
            <p:cNvCxnSpPr>
              <a:stCxn id="604" idx="2"/>
            </p:cNvCxnSpPr>
            <p:nvPr/>
          </p:nvCxnSpPr>
          <p:spPr>
            <a:xfrm>
              <a:off x="4648798" y="3692566"/>
              <a:ext cx="2143200" cy="1807200"/>
            </a:xfrm>
            <a:prstGeom prst="bentConnector3">
              <a:avLst>
                <a:gd name="adj1" fmla="val 50000"/>
              </a:avLst>
            </a:prstGeom>
            <a:noFill/>
            <a:ln w="19050" cap="flat" cmpd="sng">
              <a:solidFill>
                <a:schemeClr val="accent1"/>
              </a:solidFill>
              <a:prstDash val="solid"/>
              <a:miter lim="800000"/>
              <a:headEnd type="none" w="sm" len="sm"/>
              <a:tailEnd type="triangle" w="med" len="med"/>
            </a:ln>
          </p:spPr>
        </p:cxnSp>
      </p:grpSp>
      <p:sp>
        <p:nvSpPr>
          <p:cNvPr id="608" name="Google Shape;608;p6"/>
          <p:cNvSpPr/>
          <p:nvPr/>
        </p:nvSpPr>
        <p:spPr>
          <a:xfrm>
            <a:off x="712535" y="593558"/>
            <a:ext cx="651044" cy="593557"/>
          </a:xfrm>
          <a:prstGeom prst="ellipse">
            <a:avLst/>
          </a:prstGeom>
          <a:solidFill>
            <a:schemeClr val="accent1"/>
          </a:solidFill>
          <a:ln w="76200" cap="flat" cmpd="sng">
            <a:solidFill>
              <a:srgbClr val="FFFF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Black"/>
              <a:buNone/>
            </a:pPr>
            <a:r>
              <a:rPr lang="en-US" sz="2400" b="1" i="0" u="none" strike="noStrike" cap="none">
                <a:solidFill>
                  <a:srgbClr val="000000"/>
                </a:solidFill>
                <a:latin typeface="Arial Black"/>
                <a:ea typeface="Arial Black"/>
                <a:cs typeface="Arial Black"/>
                <a:sym typeface="Arial Black"/>
              </a:rPr>
              <a:t>a</a:t>
            </a:r>
            <a:endParaRPr/>
          </a:p>
        </p:txBody>
      </p:sp>
      <p:sp>
        <p:nvSpPr>
          <p:cNvPr id="609" name="Google Shape;609;p6"/>
          <p:cNvSpPr/>
          <p:nvPr/>
        </p:nvSpPr>
        <p:spPr>
          <a:xfrm>
            <a:off x="1274009" y="661739"/>
            <a:ext cx="4680000" cy="46522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r>
              <a:rPr lang="en-US" sz="1800" b="0" i="0" u="none" strike="noStrike" cap="none">
                <a:solidFill>
                  <a:schemeClr val="dk1"/>
                </a:solidFill>
                <a:latin typeface="Arial"/>
                <a:ea typeface="Arial"/>
                <a:cs typeface="Arial"/>
                <a:sym typeface="Arial"/>
              </a:rPr>
              <a:t>Indikator Kinerja Manajemen Perusahaan</a:t>
            </a:r>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613"/>
        <p:cNvGrpSpPr/>
        <p:nvPr/>
      </p:nvGrpSpPr>
      <p:grpSpPr>
        <a:xfrm>
          <a:off x="0" y="0"/>
          <a:ext cx="0" cy="0"/>
          <a:chOff x="0" y="0"/>
          <a:chExt cx="0" cy="0"/>
        </a:xfrm>
      </p:grpSpPr>
      <p:sp>
        <p:nvSpPr>
          <p:cNvPr id="614" name="Google Shape;614;p7"/>
          <p:cNvSpPr/>
          <p:nvPr/>
        </p:nvSpPr>
        <p:spPr>
          <a:xfrm>
            <a:off x="863599" y="1"/>
            <a:ext cx="10464801" cy="593558"/>
          </a:xfrm>
          <a:prstGeom prst="rect">
            <a:avLst/>
          </a:prstGeom>
          <a:solidFill>
            <a:srgbClr val="FEB813"/>
          </a:solidFill>
          <a:ln>
            <a:noFill/>
          </a:ln>
        </p:spPr>
        <p:txBody>
          <a:bodyPr spcFirstLastPara="1" wrap="square" lIns="91425" tIns="45700" rIns="91425" bIns="45700" anchor="ctr" anchorCtr="0">
            <a:noAutofit/>
          </a:bodyPr>
          <a:lstStyle/>
          <a:p>
            <a:pPr marL="352425" marR="0" lvl="0" indent="0" algn="just" rtl="0">
              <a:lnSpc>
                <a:spcPct val="100000"/>
              </a:lnSpc>
              <a:spcBef>
                <a:spcPts val="0"/>
              </a:spcBef>
              <a:spcAft>
                <a:spcPts val="0"/>
              </a:spcAft>
              <a:buClr>
                <a:srgbClr val="FFFFFF"/>
              </a:buClr>
              <a:buSzPts val="2800"/>
              <a:buFont typeface="Arial Black"/>
              <a:buNone/>
            </a:pPr>
            <a:r>
              <a:rPr lang="en-US" sz="2800" b="1" i="0" u="none" strike="noStrike" cap="none">
                <a:solidFill>
                  <a:srgbClr val="FFFFFF"/>
                </a:solidFill>
                <a:latin typeface="Arial Black"/>
                <a:ea typeface="Arial Black"/>
                <a:cs typeface="Arial Black"/>
                <a:sym typeface="Arial Black"/>
              </a:rPr>
              <a:t>PENILAIAN KINERJA BUJK</a:t>
            </a:r>
            <a:endParaRPr/>
          </a:p>
        </p:txBody>
      </p:sp>
      <p:pic>
        <p:nvPicPr>
          <p:cNvPr id="615" name="Google Shape;615;p7"/>
          <p:cNvPicPr preferRelativeResize="0"/>
          <p:nvPr/>
        </p:nvPicPr>
        <p:blipFill rotWithShape="1">
          <a:blip r:embed="rId3">
            <a:alphaModFix/>
          </a:blip>
          <a:srcRect/>
          <a:stretch/>
        </p:blipFill>
        <p:spPr>
          <a:xfrm>
            <a:off x="0" y="6189992"/>
            <a:ext cx="2013494" cy="668007"/>
          </a:xfrm>
          <a:prstGeom prst="rect">
            <a:avLst/>
          </a:prstGeom>
          <a:noFill/>
          <a:ln>
            <a:noFill/>
          </a:ln>
        </p:spPr>
      </p:pic>
      <p:sp>
        <p:nvSpPr>
          <p:cNvPr id="616" name="Google Shape;616;p7"/>
          <p:cNvSpPr/>
          <p:nvPr/>
        </p:nvSpPr>
        <p:spPr>
          <a:xfrm>
            <a:off x="9753600" y="6368716"/>
            <a:ext cx="2438400" cy="489283"/>
          </a:xfrm>
          <a:prstGeom prst="parallelogram">
            <a:avLst>
              <a:gd name="adj" fmla="val 25000"/>
            </a:avLst>
          </a:prstGeom>
          <a:solidFill>
            <a:srgbClr val="323F4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400"/>
              <a:buFont typeface="Calibri"/>
              <a:buNone/>
            </a:pPr>
            <a:r>
              <a:rPr lang="en-US" sz="1400" b="0" i="0" u="none" strike="noStrike" cap="none">
                <a:solidFill>
                  <a:srgbClr val="FFFFFF"/>
                </a:solidFill>
                <a:latin typeface="Calibri"/>
                <a:ea typeface="Calibri"/>
                <a:cs typeface="Calibri"/>
                <a:sym typeface="Calibri"/>
              </a:rPr>
              <a:t>Permen PUPR 6/2021</a:t>
            </a:r>
            <a:endParaRPr sz="1400" b="0" i="0" u="none" strike="noStrike" cap="none">
              <a:solidFill>
                <a:srgbClr val="FFFFFF"/>
              </a:solidFill>
              <a:latin typeface="Calibri"/>
              <a:ea typeface="Calibri"/>
              <a:cs typeface="Calibri"/>
              <a:sym typeface="Calibri"/>
            </a:endParaRPr>
          </a:p>
        </p:txBody>
      </p:sp>
      <p:grpSp>
        <p:nvGrpSpPr>
          <p:cNvPr id="617" name="Google Shape;617;p7"/>
          <p:cNvGrpSpPr/>
          <p:nvPr/>
        </p:nvGrpSpPr>
        <p:grpSpPr>
          <a:xfrm>
            <a:off x="6360201" y="1226385"/>
            <a:ext cx="5400000" cy="4932360"/>
            <a:chOff x="0" y="31246"/>
            <a:chExt cx="5400000" cy="4932360"/>
          </a:xfrm>
        </p:grpSpPr>
        <p:sp>
          <p:nvSpPr>
            <p:cNvPr id="618" name="Google Shape;618;p7"/>
            <p:cNvSpPr/>
            <p:nvPr/>
          </p:nvSpPr>
          <p:spPr>
            <a:xfrm>
              <a:off x="0" y="208366"/>
              <a:ext cx="5400000" cy="1285200"/>
            </a:xfrm>
            <a:prstGeom prst="rect">
              <a:avLst/>
            </a:prstGeom>
            <a:solidFill>
              <a:schemeClr val="lt1">
                <a:alpha val="89803"/>
              </a:schemeClr>
            </a:solidFill>
            <a:ln w="12700" cap="flat" cmpd="sng">
              <a:solidFill>
                <a:srgbClr val="22205A"/>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9" name="Google Shape;619;p7"/>
            <p:cNvSpPr txBox="1"/>
            <p:nvPr/>
          </p:nvSpPr>
          <p:spPr>
            <a:xfrm>
              <a:off x="0" y="208366"/>
              <a:ext cx="5400000" cy="1285200"/>
            </a:xfrm>
            <a:prstGeom prst="rect">
              <a:avLst/>
            </a:prstGeom>
            <a:noFill/>
            <a:ln>
              <a:noFill/>
            </a:ln>
          </p:spPr>
          <p:txBody>
            <a:bodyPr spcFirstLastPara="1" wrap="square" lIns="419100" tIns="249925" rIns="419100" bIns="85325" anchor="t" anchorCtr="0">
              <a:noAutofit/>
            </a:bodyPr>
            <a:lstStyle/>
            <a:p>
              <a:pPr marL="114300" marR="0" lvl="1" indent="-114300" algn="l" rtl="0">
                <a:lnSpc>
                  <a:spcPct val="90000"/>
                </a:lnSpc>
                <a:spcBef>
                  <a:spcPts val="0"/>
                </a:spcBef>
                <a:spcAft>
                  <a:spcPts val="0"/>
                </a:spcAft>
                <a:buClr>
                  <a:schemeClr val="dk1"/>
                </a:buClr>
                <a:buSzPts val="1200"/>
                <a:buFont typeface="Calibri"/>
                <a:buChar char="•"/>
              </a:pPr>
              <a:r>
                <a:rPr lang="en-US" sz="1200" b="0" i="0" u="none" strike="noStrike" cap="none">
                  <a:solidFill>
                    <a:schemeClr val="dk1"/>
                  </a:solidFill>
                  <a:latin typeface="Calibri"/>
                  <a:ea typeface="Calibri"/>
                  <a:cs typeface="Calibri"/>
                  <a:sym typeface="Calibri"/>
                </a:rPr>
                <a:t>Kesesuaian Tenaga Ahli Pelaksanaan Konstruksi</a:t>
              </a:r>
              <a:endParaRPr sz="1200" b="0" i="0" u="none" strike="noStrike" cap="none">
                <a:solidFill>
                  <a:schemeClr val="dk1"/>
                </a:solidFill>
                <a:latin typeface="Calibri"/>
                <a:ea typeface="Calibri"/>
                <a:cs typeface="Calibri"/>
                <a:sym typeface="Calibri"/>
              </a:endParaRPr>
            </a:p>
            <a:p>
              <a:pPr marL="114300" marR="0" lvl="1" indent="-114300" algn="l" rtl="0">
                <a:lnSpc>
                  <a:spcPct val="90000"/>
                </a:lnSpc>
                <a:spcBef>
                  <a:spcPts val="180"/>
                </a:spcBef>
                <a:spcAft>
                  <a:spcPts val="0"/>
                </a:spcAft>
                <a:buClr>
                  <a:schemeClr val="dk1"/>
                </a:buClr>
                <a:buSzPts val="1200"/>
                <a:buFont typeface="Calibri"/>
                <a:buChar char="•"/>
              </a:pPr>
              <a:r>
                <a:rPr lang="en-US" sz="1200" b="0" i="0" u="none" strike="noStrike" cap="none">
                  <a:solidFill>
                    <a:schemeClr val="dk1"/>
                  </a:solidFill>
                  <a:latin typeface="Calibri"/>
                  <a:ea typeface="Calibri"/>
                  <a:cs typeface="Calibri"/>
                  <a:sym typeface="Calibri"/>
                </a:rPr>
                <a:t>Kesesuaian Peralatan Proyek di Lapangan</a:t>
              </a:r>
              <a:endParaRPr sz="1200" b="0" i="0" u="none" strike="noStrike" cap="none">
                <a:solidFill>
                  <a:schemeClr val="dk1"/>
                </a:solidFill>
                <a:latin typeface="Calibri"/>
                <a:ea typeface="Calibri"/>
                <a:cs typeface="Calibri"/>
                <a:sym typeface="Calibri"/>
              </a:endParaRPr>
            </a:p>
            <a:p>
              <a:pPr marL="114300" marR="0" lvl="1" indent="-114300" algn="l" rtl="0">
                <a:lnSpc>
                  <a:spcPct val="90000"/>
                </a:lnSpc>
                <a:spcBef>
                  <a:spcPts val="180"/>
                </a:spcBef>
                <a:spcAft>
                  <a:spcPts val="0"/>
                </a:spcAft>
                <a:buClr>
                  <a:schemeClr val="dk1"/>
                </a:buClr>
                <a:buSzPts val="1200"/>
                <a:buFont typeface="Calibri"/>
                <a:buChar char="•"/>
              </a:pPr>
              <a:r>
                <a:rPr lang="en-US" sz="1200" b="0" i="0" u="none" strike="noStrike" cap="none">
                  <a:solidFill>
                    <a:schemeClr val="dk1"/>
                  </a:solidFill>
                  <a:latin typeface="Calibri"/>
                  <a:ea typeface="Calibri"/>
                  <a:cs typeface="Calibri"/>
                  <a:sym typeface="Calibri"/>
                </a:rPr>
                <a:t>Kesesuaian Kualitas Hasil Pekerjaan Fisik Terpasang</a:t>
              </a:r>
              <a:endParaRPr sz="1200" b="0" i="0" u="none" strike="noStrike" cap="none">
                <a:solidFill>
                  <a:schemeClr val="dk1"/>
                </a:solidFill>
                <a:latin typeface="Calibri"/>
                <a:ea typeface="Calibri"/>
                <a:cs typeface="Calibri"/>
                <a:sym typeface="Calibri"/>
              </a:endParaRPr>
            </a:p>
            <a:p>
              <a:pPr marL="114300" marR="0" lvl="1" indent="-114300" algn="l" rtl="0">
                <a:lnSpc>
                  <a:spcPct val="90000"/>
                </a:lnSpc>
                <a:spcBef>
                  <a:spcPts val="180"/>
                </a:spcBef>
                <a:spcAft>
                  <a:spcPts val="0"/>
                </a:spcAft>
                <a:buClr>
                  <a:schemeClr val="dk1"/>
                </a:buClr>
                <a:buSzPts val="1200"/>
                <a:buFont typeface="Calibri"/>
                <a:buChar char="•"/>
              </a:pPr>
              <a:r>
                <a:rPr lang="en-US" sz="1200" b="0" i="0" u="none" strike="noStrike" cap="none">
                  <a:solidFill>
                    <a:schemeClr val="dk1"/>
                  </a:solidFill>
                  <a:latin typeface="Calibri"/>
                  <a:ea typeface="Calibri"/>
                  <a:cs typeface="Calibri"/>
                  <a:sym typeface="Calibri"/>
                </a:rPr>
                <a:t>Tingkat Keselamatan Kerja</a:t>
              </a:r>
              <a:endParaRPr sz="1200" b="0" i="0" u="none" strike="noStrike" cap="none">
                <a:solidFill>
                  <a:schemeClr val="dk1"/>
                </a:solidFill>
                <a:latin typeface="Calibri"/>
                <a:ea typeface="Calibri"/>
                <a:cs typeface="Calibri"/>
                <a:sym typeface="Calibri"/>
              </a:endParaRPr>
            </a:p>
            <a:p>
              <a:pPr marL="114300" marR="0" lvl="1" indent="-114300" algn="l" rtl="0">
                <a:lnSpc>
                  <a:spcPct val="90000"/>
                </a:lnSpc>
                <a:spcBef>
                  <a:spcPts val="180"/>
                </a:spcBef>
                <a:spcAft>
                  <a:spcPts val="0"/>
                </a:spcAft>
                <a:buClr>
                  <a:schemeClr val="dk1"/>
                </a:buClr>
                <a:buSzPts val="1200"/>
                <a:buFont typeface="Calibri"/>
                <a:buChar char="•"/>
              </a:pPr>
              <a:r>
                <a:rPr lang="en-US" sz="1200" b="0" i="0" u="none" strike="noStrike" cap="none">
                  <a:solidFill>
                    <a:schemeClr val="dk1"/>
                  </a:solidFill>
                  <a:latin typeface="Calibri"/>
                  <a:ea typeface="Calibri"/>
                  <a:cs typeface="Calibri"/>
                  <a:sym typeface="Calibri"/>
                </a:rPr>
                <a:t>Kesesuaian Waktu Penyelesaian Pekerjaan Konstruksi</a:t>
              </a:r>
              <a:endParaRPr/>
            </a:p>
          </p:txBody>
        </p:sp>
        <p:sp>
          <p:nvSpPr>
            <p:cNvPr id="620" name="Google Shape;620;p7"/>
            <p:cNvSpPr/>
            <p:nvPr/>
          </p:nvSpPr>
          <p:spPr>
            <a:xfrm>
              <a:off x="270000" y="31246"/>
              <a:ext cx="3780000" cy="354240"/>
            </a:xfrm>
            <a:prstGeom prst="roundRect">
              <a:avLst>
                <a:gd name="adj" fmla="val 16667"/>
              </a:avLst>
            </a:prstGeom>
            <a:solidFill>
              <a:srgbClr val="22205A"/>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1" name="Google Shape;621;p7"/>
            <p:cNvSpPr txBox="1"/>
            <p:nvPr/>
          </p:nvSpPr>
          <p:spPr>
            <a:xfrm>
              <a:off x="287293" y="48539"/>
              <a:ext cx="3745414" cy="319654"/>
            </a:xfrm>
            <a:prstGeom prst="rect">
              <a:avLst/>
            </a:prstGeom>
            <a:noFill/>
            <a:ln>
              <a:noFill/>
            </a:ln>
          </p:spPr>
          <p:txBody>
            <a:bodyPr spcFirstLastPara="1" wrap="square" lIns="142875" tIns="0" rIns="142875" bIns="0" anchor="ctr" anchorCtr="0">
              <a:noAutofit/>
            </a:bodyPr>
            <a:lstStyle/>
            <a:p>
              <a:pPr marL="0" marR="0" lvl="0" indent="0" algn="l" rtl="0">
                <a:lnSpc>
                  <a:spcPct val="90000"/>
                </a:lnSpc>
                <a:spcBef>
                  <a:spcPts val="0"/>
                </a:spcBef>
                <a:spcAft>
                  <a:spcPts val="0"/>
                </a:spcAft>
                <a:buClr>
                  <a:schemeClr val="lt1"/>
                </a:buClr>
                <a:buSzPts val="1200"/>
                <a:buFont typeface="Calibri"/>
                <a:buNone/>
              </a:pPr>
              <a:r>
                <a:rPr lang="en-US" sz="1200" b="1">
                  <a:solidFill>
                    <a:schemeClr val="lt1"/>
                  </a:solidFill>
                  <a:latin typeface="Calibri"/>
                  <a:ea typeface="Calibri"/>
                  <a:cs typeface="Calibri"/>
                  <a:sym typeface="Calibri"/>
                </a:rPr>
                <a:t>Pekerjaan Konstruksi Bersifat Umum dan Spesialis</a:t>
              </a:r>
              <a:endParaRPr/>
            </a:p>
          </p:txBody>
        </p:sp>
        <p:sp>
          <p:nvSpPr>
            <p:cNvPr id="622" name="Google Shape;622;p7"/>
            <p:cNvSpPr/>
            <p:nvPr/>
          </p:nvSpPr>
          <p:spPr>
            <a:xfrm>
              <a:off x="0" y="1735486"/>
              <a:ext cx="5400000" cy="1701000"/>
            </a:xfrm>
            <a:prstGeom prst="rect">
              <a:avLst/>
            </a:prstGeom>
            <a:solidFill>
              <a:schemeClr val="lt1">
                <a:alpha val="89803"/>
              </a:schemeClr>
            </a:solidFill>
            <a:ln w="12700" cap="flat" cmpd="sng">
              <a:solidFill>
                <a:srgbClr val="22205A"/>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3" name="Google Shape;623;p7"/>
            <p:cNvSpPr txBox="1"/>
            <p:nvPr/>
          </p:nvSpPr>
          <p:spPr>
            <a:xfrm>
              <a:off x="0" y="1735486"/>
              <a:ext cx="5400000" cy="1701000"/>
            </a:xfrm>
            <a:prstGeom prst="rect">
              <a:avLst/>
            </a:prstGeom>
            <a:noFill/>
            <a:ln>
              <a:noFill/>
            </a:ln>
          </p:spPr>
          <p:txBody>
            <a:bodyPr spcFirstLastPara="1" wrap="square" lIns="419100" tIns="249925" rIns="419100" bIns="85325" anchor="t" anchorCtr="0">
              <a:noAutofit/>
            </a:bodyPr>
            <a:lstStyle/>
            <a:p>
              <a:pPr marL="114300" marR="0" lvl="1" indent="-114300" algn="l" rtl="0">
                <a:lnSpc>
                  <a:spcPct val="90000"/>
                </a:lnSpc>
                <a:spcBef>
                  <a:spcPts val="0"/>
                </a:spcBef>
                <a:spcAft>
                  <a:spcPts val="0"/>
                </a:spcAft>
                <a:buClr>
                  <a:schemeClr val="dk1"/>
                </a:buClr>
                <a:buSzPts val="1200"/>
                <a:buFont typeface="Calibri"/>
                <a:buChar char="•"/>
              </a:pPr>
              <a:r>
                <a:rPr lang="en-US" sz="1200" b="0" i="0" u="none" strike="noStrike" cap="none">
                  <a:solidFill>
                    <a:schemeClr val="dk1"/>
                  </a:solidFill>
                  <a:latin typeface="Calibri"/>
                  <a:ea typeface="Calibri"/>
                  <a:cs typeface="Calibri"/>
                  <a:sym typeface="Calibri"/>
                </a:rPr>
                <a:t>Kesesuaian Tenaga Ahli Perancangan dan Pelaksanaan Konstruksi</a:t>
              </a:r>
              <a:endParaRPr sz="1200" b="0" i="0" u="none" strike="noStrike" cap="none">
                <a:solidFill>
                  <a:schemeClr val="dk1"/>
                </a:solidFill>
                <a:latin typeface="Calibri"/>
                <a:ea typeface="Calibri"/>
                <a:cs typeface="Calibri"/>
                <a:sym typeface="Calibri"/>
              </a:endParaRPr>
            </a:p>
            <a:p>
              <a:pPr marL="114300" marR="0" lvl="1" indent="-114300" algn="l" rtl="0">
                <a:lnSpc>
                  <a:spcPct val="90000"/>
                </a:lnSpc>
                <a:spcBef>
                  <a:spcPts val="180"/>
                </a:spcBef>
                <a:spcAft>
                  <a:spcPts val="0"/>
                </a:spcAft>
                <a:buClr>
                  <a:schemeClr val="dk1"/>
                </a:buClr>
                <a:buSzPts val="1200"/>
                <a:buFont typeface="Calibri"/>
                <a:buChar char="•"/>
              </a:pPr>
              <a:r>
                <a:rPr lang="en-US" sz="1200" b="0" i="0" u="none" strike="noStrike" cap="none">
                  <a:solidFill>
                    <a:schemeClr val="dk1"/>
                  </a:solidFill>
                  <a:latin typeface="Calibri"/>
                  <a:ea typeface="Calibri"/>
                  <a:cs typeface="Calibri"/>
                  <a:sym typeface="Calibri"/>
                </a:rPr>
                <a:t>Kesesuaian Kelengkapan Fasilitas Pendukung UntukPerancangan</a:t>
              </a:r>
              <a:endParaRPr sz="1200" b="0" i="0" u="none" strike="noStrike" cap="none">
                <a:solidFill>
                  <a:schemeClr val="dk1"/>
                </a:solidFill>
                <a:latin typeface="Calibri"/>
                <a:ea typeface="Calibri"/>
                <a:cs typeface="Calibri"/>
                <a:sym typeface="Calibri"/>
              </a:endParaRPr>
            </a:p>
            <a:p>
              <a:pPr marL="114300" marR="0" lvl="1" indent="-114300" algn="l" rtl="0">
                <a:lnSpc>
                  <a:spcPct val="90000"/>
                </a:lnSpc>
                <a:spcBef>
                  <a:spcPts val="180"/>
                </a:spcBef>
                <a:spcAft>
                  <a:spcPts val="0"/>
                </a:spcAft>
                <a:buClr>
                  <a:schemeClr val="dk1"/>
                </a:buClr>
                <a:buSzPts val="1200"/>
                <a:buFont typeface="Calibri"/>
                <a:buChar char="•"/>
              </a:pPr>
              <a:r>
                <a:rPr lang="en-US" sz="1200" b="0" i="0" u="none" strike="noStrike" cap="none">
                  <a:solidFill>
                    <a:schemeClr val="dk1"/>
                  </a:solidFill>
                  <a:latin typeface="Calibri"/>
                  <a:ea typeface="Calibri"/>
                  <a:cs typeface="Calibri"/>
                  <a:sym typeface="Calibri"/>
                </a:rPr>
                <a:t>Kesesuaian Peralatan Proyek di Lapangan</a:t>
              </a:r>
              <a:endParaRPr sz="1200" b="0" i="0" u="none" strike="noStrike" cap="none">
                <a:solidFill>
                  <a:schemeClr val="dk1"/>
                </a:solidFill>
                <a:latin typeface="Calibri"/>
                <a:ea typeface="Calibri"/>
                <a:cs typeface="Calibri"/>
                <a:sym typeface="Calibri"/>
              </a:endParaRPr>
            </a:p>
            <a:p>
              <a:pPr marL="114300" marR="0" lvl="1" indent="-114300" algn="l" rtl="0">
                <a:lnSpc>
                  <a:spcPct val="90000"/>
                </a:lnSpc>
                <a:spcBef>
                  <a:spcPts val="180"/>
                </a:spcBef>
                <a:spcAft>
                  <a:spcPts val="0"/>
                </a:spcAft>
                <a:buClr>
                  <a:schemeClr val="dk1"/>
                </a:buClr>
                <a:buSzPts val="1200"/>
                <a:buFont typeface="Calibri"/>
                <a:buChar char="•"/>
              </a:pPr>
              <a:r>
                <a:rPr lang="en-US" sz="1200" b="0" i="0" u="none" strike="noStrike" cap="none">
                  <a:solidFill>
                    <a:schemeClr val="dk1"/>
                  </a:solidFill>
                  <a:latin typeface="Calibri"/>
                  <a:ea typeface="Calibri"/>
                  <a:cs typeface="Calibri"/>
                  <a:sym typeface="Calibri"/>
                </a:rPr>
                <a:t>Kesesuaian Waktu Penyelesaian dan Penyerahan Dokumen Perancangan</a:t>
              </a:r>
              <a:endParaRPr sz="1200" b="0" i="0" u="none" strike="noStrike" cap="none">
                <a:solidFill>
                  <a:schemeClr val="dk1"/>
                </a:solidFill>
                <a:latin typeface="Calibri"/>
                <a:ea typeface="Calibri"/>
                <a:cs typeface="Calibri"/>
                <a:sym typeface="Calibri"/>
              </a:endParaRPr>
            </a:p>
            <a:p>
              <a:pPr marL="114300" marR="0" lvl="1" indent="-114300" algn="l" rtl="0">
                <a:lnSpc>
                  <a:spcPct val="90000"/>
                </a:lnSpc>
                <a:spcBef>
                  <a:spcPts val="180"/>
                </a:spcBef>
                <a:spcAft>
                  <a:spcPts val="0"/>
                </a:spcAft>
                <a:buClr>
                  <a:schemeClr val="dk1"/>
                </a:buClr>
                <a:buSzPts val="1200"/>
                <a:buFont typeface="Calibri"/>
                <a:buChar char="•"/>
              </a:pPr>
              <a:r>
                <a:rPr lang="en-US" sz="1200" b="0" i="0" u="none" strike="noStrike" cap="none">
                  <a:solidFill>
                    <a:schemeClr val="dk1"/>
                  </a:solidFill>
                  <a:latin typeface="Calibri"/>
                  <a:ea typeface="Calibri"/>
                  <a:cs typeface="Calibri"/>
                  <a:sym typeface="Calibri"/>
                </a:rPr>
                <a:t>Kesesuaian Kualitas Hasil Pekerjaan Fisik Terpasang</a:t>
              </a:r>
              <a:endParaRPr sz="1200" b="0" i="0" u="none" strike="noStrike" cap="none">
                <a:solidFill>
                  <a:schemeClr val="dk1"/>
                </a:solidFill>
                <a:latin typeface="Calibri"/>
                <a:ea typeface="Calibri"/>
                <a:cs typeface="Calibri"/>
                <a:sym typeface="Calibri"/>
              </a:endParaRPr>
            </a:p>
            <a:p>
              <a:pPr marL="114300" marR="0" lvl="1" indent="-114300" algn="l" rtl="0">
                <a:lnSpc>
                  <a:spcPct val="90000"/>
                </a:lnSpc>
                <a:spcBef>
                  <a:spcPts val="180"/>
                </a:spcBef>
                <a:spcAft>
                  <a:spcPts val="0"/>
                </a:spcAft>
                <a:buClr>
                  <a:schemeClr val="dk1"/>
                </a:buClr>
                <a:buSzPts val="1200"/>
                <a:buFont typeface="Calibri"/>
                <a:buChar char="•"/>
              </a:pPr>
              <a:r>
                <a:rPr lang="en-US" sz="1200" b="0" i="0" u="none" strike="noStrike" cap="none">
                  <a:solidFill>
                    <a:schemeClr val="dk1"/>
                  </a:solidFill>
                  <a:latin typeface="Calibri"/>
                  <a:ea typeface="Calibri"/>
                  <a:cs typeface="Calibri"/>
                  <a:sym typeface="Calibri"/>
                </a:rPr>
                <a:t>Tingkat Keselamatan Kerja</a:t>
              </a:r>
              <a:endParaRPr sz="1200" b="0" i="0" u="none" strike="noStrike" cap="none">
                <a:solidFill>
                  <a:schemeClr val="dk1"/>
                </a:solidFill>
                <a:latin typeface="Calibri"/>
                <a:ea typeface="Calibri"/>
                <a:cs typeface="Calibri"/>
                <a:sym typeface="Calibri"/>
              </a:endParaRPr>
            </a:p>
            <a:p>
              <a:pPr marL="114300" marR="0" lvl="1" indent="-114300" algn="l" rtl="0">
                <a:lnSpc>
                  <a:spcPct val="90000"/>
                </a:lnSpc>
                <a:spcBef>
                  <a:spcPts val="180"/>
                </a:spcBef>
                <a:spcAft>
                  <a:spcPts val="0"/>
                </a:spcAft>
                <a:buClr>
                  <a:schemeClr val="dk1"/>
                </a:buClr>
                <a:buSzPts val="1200"/>
                <a:buFont typeface="Calibri"/>
                <a:buChar char="•"/>
              </a:pPr>
              <a:r>
                <a:rPr lang="en-US" sz="1200" b="0" i="0" u="none" strike="noStrike" cap="none">
                  <a:solidFill>
                    <a:schemeClr val="dk1"/>
                  </a:solidFill>
                  <a:latin typeface="Calibri"/>
                  <a:ea typeface="Calibri"/>
                  <a:cs typeface="Calibri"/>
                  <a:sym typeface="Calibri"/>
                </a:rPr>
                <a:t>Kesesuaian Waktu Penyelesaian Pekerjaan Konstruksi</a:t>
              </a:r>
              <a:endParaRPr/>
            </a:p>
          </p:txBody>
        </p:sp>
        <p:sp>
          <p:nvSpPr>
            <p:cNvPr id="624" name="Google Shape;624;p7"/>
            <p:cNvSpPr/>
            <p:nvPr/>
          </p:nvSpPr>
          <p:spPr>
            <a:xfrm>
              <a:off x="270000" y="1558366"/>
              <a:ext cx="3780000" cy="354240"/>
            </a:xfrm>
            <a:prstGeom prst="roundRect">
              <a:avLst>
                <a:gd name="adj" fmla="val 16667"/>
              </a:avLst>
            </a:prstGeom>
            <a:solidFill>
              <a:srgbClr val="22205A"/>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5" name="Google Shape;625;p7"/>
            <p:cNvSpPr txBox="1"/>
            <p:nvPr/>
          </p:nvSpPr>
          <p:spPr>
            <a:xfrm>
              <a:off x="287293" y="1575659"/>
              <a:ext cx="3745414" cy="319654"/>
            </a:xfrm>
            <a:prstGeom prst="rect">
              <a:avLst/>
            </a:prstGeom>
            <a:noFill/>
            <a:ln>
              <a:noFill/>
            </a:ln>
          </p:spPr>
          <p:txBody>
            <a:bodyPr spcFirstLastPara="1" wrap="square" lIns="142875" tIns="0" rIns="142875" bIns="0" anchor="ctr" anchorCtr="0">
              <a:noAutofit/>
            </a:bodyPr>
            <a:lstStyle/>
            <a:p>
              <a:pPr marL="0" marR="0" lvl="0" indent="0" algn="l" rtl="0">
                <a:lnSpc>
                  <a:spcPct val="90000"/>
                </a:lnSpc>
                <a:spcBef>
                  <a:spcPts val="0"/>
                </a:spcBef>
                <a:spcAft>
                  <a:spcPts val="0"/>
                </a:spcAft>
                <a:buClr>
                  <a:schemeClr val="lt1"/>
                </a:buClr>
                <a:buSzPts val="1200"/>
                <a:buFont typeface="Calibri"/>
                <a:buNone/>
              </a:pPr>
              <a:r>
                <a:rPr lang="en-US" sz="1200" b="1">
                  <a:solidFill>
                    <a:schemeClr val="lt1"/>
                  </a:solidFill>
                  <a:latin typeface="Calibri"/>
                  <a:ea typeface="Calibri"/>
                  <a:cs typeface="Calibri"/>
                  <a:sym typeface="Calibri"/>
                </a:rPr>
                <a:t>Pekerjaan Konstruksi Terintegrasi</a:t>
              </a:r>
              <a:endParaRPr/>
            </a:p>
          </p:txBody>
        </p:sp>
        <p:sp>
          <p:nvSpPr>
            <p:cNvPr id="626" name="Google Shape;626;p7"/>
            <p:cNvSpPr/>
            <p:nvPr/>
          </p:nvSpPr>
          <p:spPr>
            <a:xfrm>
              <a:off x="0" y="3678406"/>
              <a:ext cx="5400000" cy="1285200"/>
            </a:xfrm>
            <a:prstGeom prst="rect">
              <a:avLst/>
            </a:prstGeom>
            <a:solidFill>
              <a:schemeClr val="lt1">
                <a:alpha val="89803"/>
              </a:schemeClr>
            </a:solidFill>
            <a:ln w="12700" cap="flat" cmpd="sng">
              <a:solidFill>
                <a:srgbClr val="22205A"/>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7" name="Google Shape;627;p7"/>
            <p:cNvSpPr txBox="1"/>
            <p:nvPr/>
          </p:nvSpPr>
          <p:spPr>
            <a:xfrm>
              <a:off x="0" y="3678406"/>
              <a:ext cx="5400000" cy="1285200"/>
            </a:xfrm>
            <a:prstGeom prst="rect">
              <a:avLst/>
            </a:prstGeom>
            <a:noFill/>
            <a:ln>
              <a:noFill/>
            </a:ln>
          </p:spPr>
          <p:txBody>
            <a:bodyPr spcFirstLastPara="1" wrap="square" lIns="419100" tIns="249925" rIns="419100" bIns="85325" anchor="t" anchorCtr="0">
              <a:noAutofit/>
            </a:bodyPr>
            <a:lstStyle/>
            <a:p>
              <a:pPr marL="114300" marR="0" lvl="1" indent="-114300" algn="l" rtl="0">
                <a:lnSpc>
                  <a:spcPct val="90000"/>
                </a:lnSpc>
                <a:spcBef>
                  <a:spcPts val="0"/>
                </a:spcBef>
                <a:spcAft>
                  <a:spcPts val="0"/>
                </a:spcAft>
                <a:buClr>
                  <a:schemeClr val="dk1"/>
                </a:buClr>
                <a:buSzPts val="1200"/>
                <a:buFont typeface="Calibri"/>
                <a:buChar char="•"/>
              </a:pPr>
              <a:r>
                <a:rPr lang="en-US" sz="1200" b="0" i="0" u="none" strike="noStrike" cap="none">
                  <a:solidFill>
                    <a:schemeClr val="dk1"/>
                  </a:solidFill>
                  <a:latin typeface="Calibri"/>
                  <a:ea typeface="Calibri"/>
                  <a:cs typeface="Calibri"/>
                  <a:sym typeface="Calibri"/>
                </a:rPr>
                <a:t>Kesesuaian Tenaga Ahli</a:t>
              </a:r>
              <a:endParaRPr sz="1200" b="0" i="0" u="none" strike="noStrike" cap="none">
                <a:solidFill>
                  <a:schemeClr val="dk1"/>
                </a:solidFill>
                <a:latin typeface="Calibri"/>
                <a:ea typeface="Calibri"/>
                <a:cs typeface="Calibri"/>
                <a:sym typeface="Calibri"/>
              </a:endParaRPr>
            </a:p>
            <a:p>
              <a:pPr marL="114300" marR="0" lvl="1" indent="-114300" algn="l" rtl="0">
                <a:lnSpc>
                  <a:spcPct val="90000"/>
                </a:lnSpc>
                <a:spcBef>
                  <a:spcPts val="180"/>
                </a:spcBef>
                <a:spcAft>
                  <a:spcPts val="0"/>
                </a:spcAft>
                <a:buClr>
                  <a:schemeClr val="dk1"/>
                </a:buClr>
                <a:buSzPts val="1200"/>
                <a:buFont typeface="Calibri"/>
                <a:buChar char="•"/>
              </a:pPr>
              <a:r>
                <a:rPr lang="en-US" sz="1200" b="0" i="0" u="none" strike="noStrike" cap="none">
                  <a:solidFill>
                    <a:schemeClr val="dk1"/>
                  </a:solidFill>
                  <a:latin typeface="Calibri"/>
                  <a:ea typeface="Calibri"/>
                  <a:cs typeface="Calibri"/>
                  <a:sym typeface="Calibri"/>
                </a:rPr>
                <a:t>Kesesuaian Kelengkapan Fasilitas Pendukung</a:t>
              </a:r>
              <a:endParaRPr sz="1200" b="0" i="0" u="none" strike="noStrike" cap="none">
                <a:solidFill>
                  <a:schemeClr val="dk1"/>
                </a:solidFill>
                <a:latin typeface="Calibri"/>
                <a:ea typeface="Calibri"/>
                <a:cs typeface="Calibri"/>
                <a:sym typeface="Calibri"/>
              </a:endParaRPr>
            </a:p>
            <a:p>
              <a:pPr marL="114300" marR="0" lvl="1" indent="-114300" algn="l" rtl="0">
                <a:lnSpc>
                  <a:spcPct val="90000"/>
                </a:lnSpc>
                <a:spcBef>
                  <a:spcPts val="180"/>
                </a:spcBef>
                <a:spcAft>
                  <a:spcPts val="0"/>
                </a:spcAft>
                <a:buClr>
                  <a:schemeClr val="dk1"/>
                </a:buClr>
                <a:buSzPts val="1200"/>
                <a:buFont typeface="Calibri"/>
                <a:buChar char="•"/>
              </a:pPr>
              <a:r>
                <a:rPr lang="en-US" sz="1200" b="0" i="0" u="none" strike="noStrike" cap="none">
                  <a:solidFill>
                    <a:schemeClr val="dk1"/>
                  </a:solidFill>
                  <a:latin typeface="Calibri"/>
                  <a:ea typeface="Calibri"/>
                  <a:cs typeface="Calibri"/>
                  <a:sym typeface="Calibri"/>
                </a:rPr>
                <a:t>Keterlambatan Waktu Penyelesaian dan Penyerahan Dokumen</a:t>
              </a:r>
              <a:endParaRPr sz="1200" b="0" i="0" u="none" strike="noStrike" cap="none">
                <a:solidFill>
                  <a:schemeClr val="dk1"/>
                </a:solidFill>
                <a:latin typeface="Calibri"/>
                <a:ea typeface="Calibri"/>
                <a:cs typeface="Calibri"/>
                <a:sym typeface="Calibri"/>
              </a:endParaRPr>
            </a:p>
            <a:p>
              <a:pPr marL="114300" marR="0" lvl="1" indent="-114300" algn="l" rtl="0">
                <a:lnSpc>
                  <a:spcPct val="90000"/>
                </a:lnSpc>
                <a:spcBef>
                  <a:spcPts val="180"/>
                </a:spcBef>
                <a:spcAft>
                  <a:spcPts val="0"/>
                </a:spcAft>
                <a:buClr>
                  <a:schemeClr val="dk1"/>
                </a:buClr>
                <a:buSzPts val="1200"/>
                <a:buFont typeface="Calibri"/>
                <a:buChar char="•"/>
              </a:pPr>
              <a:r>
                <a:rPr lang="en-US" sz="1200" b="0" i="0" u="none" strike="noStrike" cap="none">
                  <a:solidFill>
                    <a:schemeClr val="dk1"/>
                  </a:solidFill>
                  <a:latin typeface="Calibri"/>
                  <a:ea typeface="Calibri"/>
                  <a:cs typeface="Calibri"/>
                  <a:sym typeface="Calibri"/>
                </a:rPr>
                <a:t>Kesesuaian Kualitas Hasil Pekerjaan Fisik Terpasang </a:t>
              </a:r>
              <a:r>
                <a:rPr lang="en-US" sz="1200" b="0" i="0" u="none" strike="noStrike" cap="none" baseline="30000">
                  <a:solidFill>
                    <a:schemeClr val="dk1"/>
                  </a:solidFill>
                  <a:latin typeface="Calibri"/>
                  <a:ea typeface="Calibri"/>
                  <a:cs typeface="Calibri"/>
                  <a:sym typeface="Calibri"/>
                </a:rPr>
                <a:t>1)</a:t>
              </a:r>
              <a:endParaRPr sz="1200" b="0" i="0" u="none" strike="noStrike" cap="none" baseline="30000">
                <a:solidFill>
                  <a:schemeClr val="dk1"/>
                </a:solidFill>
                <a:latin typeface="Calibri"/>
                <a:ea typeface="Calibri"/>
                <a:cs typeface="Calibri"/>
                <a:sym typeface="Calibri"/>
              </a:endParaRPr>
            </a:p>
            <a:p>
              <a:pPr marL="114300" marR="0" lvl="1" indent="-114300" algn="l" rtl="0">
                <a:lnSpc>
                  <a:spcPct val="90000"/>
                </a:lnSpc>
                <a:spcBef>
                  <a:spcPts val="180"/>
                </a:spcBef>
                <a:spcAft>
                  <a:spcPts val="0"/>
                </a:spcAft>
                <a:buClr>
                  <a:schemeClr val="dk1"/>
                </a:buClr>
                <a:buSzPts val="1200"/>
                <a:buFont typeface="Calibri"/>
                <a:buChar char="•"/>
              </a:pPr>
              <a:r>
                <a:rPr lang="en-US" sz="1200" b="0" i="0" u="none" strike="noStrike" cap="none">
                  <a:solidFill>
                    <a:schemeClr val="dk1"/>
                  </a:solidFill>
                  <a:latin typeface="Calibri"/>
                  <a:ea typeface="Calibri"/>
                  <a:cs typeface="Calibri"/>
                  <a:sym typeface="Calibri"/>
                </a:rPr>
                <a:t>Keterlambatan Waktu Penyelesaian Pekerjaan Konstruksi </a:t>
              </a:r>
              <a:r>
                <a:rPr lang="en-US" sz="1200" b="0" i="0" u="none" strike="noStrike" cap="none" baseline="30000">
                  <a:solidFill>
                    <a:schemeClr val="dk1"/>
                  </a:solidFill>
                  <a:latin typeface="Calibri"/>
                  <a:ea typeface="Calibri"/>
                  <a:cs typeface="Calibri"/>
                  <a:sym typeface="Calibri"/>
                </a:rPr>
                <a:t>2)</a:t>
              </a:r>
              <a:endParaRPr sz="1200" b="0" i="0" u="none" strike="noStrike" cap="none" baseline="30000">
                <a:solidFill>
                  <a:schemeClr val="dk1"/>
                </a:solidFill>
                <a:latin typeface="Calibri"/>
                <a:ea typeface="Calibri"/>
                <a:cs typeface="Calibri"/>
                <a:sym typeface="Calibri"/>
              </a:endParaRPr>
            </a:p>
          </p:txBody>
        </p:sp>
        <p:sp>
          <p:nvSpPr>
            <p:cNvPr id="628" name="Google Shape;628;p7"/>
            <p:cNvSpPr/>
            <p:nvPr/>
          </p:nvSpPr>
          <p:spPr>
            <a:xfrm>
              <a:off x="270000" y="3501286"/>
              <a:ext cx="3780000" cy="354240"/>
            </a:xfrm>
            <a:prstGeom prst="roundRect">
              <a:avLst>
                <a:gd name="adj" fmla="val 16667"/>
              </a:avLst>
            </a:prstGeom>
            <a:solidFill>
              <a:srgbClr val="22205A"/>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9" name="Google Shape;629;p7"/>
            <p:cNvSpPr txBox="1"/>
            <p:nvPr/>
          </p:nvSpPr>
          <p:spPr>
            <a:xfrm>
              <a:off x="287293" y="3518579"/>
              <a:ext cx="3745414" cy="319654"/>
            </a:xfrm>
            <a:prstGeom prst="rect">
              <a:avLst/>
            </a:prstGeom>
            <a:noFill/>
            <a:ln>
              <a:noFill/>
            </a:ln>
          </p:spPr>
          <p:txBody>
            <a:bodyPr spcFirstLastPara="1" wrap="square" lIns="142875" tIns="0" rIns="142875" bIns="0" anchor="ctr" anchorCtr="0">
              <a:noAutofit/>
            </a:bodyPr>
            <a:lstStyle/>
            <a:p>
              <a:pPr marL="0" marR="0" lvl="0" indent="0" algn="l" rtl="0">
                <a:lnSpc>
                  <a:spcPct val="90000"/>
                </a:lnSpc>
                <a:spcBef>
                  <a:spcPts val="0"/>
                </a:spcBef>
                <a:spcAft>
                  <a:spcPts val="0"/>
                </a:spcAft>
                <a:buClr>
                  <a:schemeClr val="lt1"/>
                </a:buClr>
                <a:buSzPts val="1200"/>
                <a:buFont typeface="Calibri"/>
                <a:buNone/>
              </a:pPr>
              <a:r>
                <a:rPr lang="en-US" sz="1200" b="1">
                  <a:solidFill>
                    <a:schemeClr val="lt1"/>
                  </a:solidFill>
                  <a:latin typeface="Calibri"/>
                  <a:ea typeface="Calibri"/>
                  <a:cs typeface="Calibri"/>
                  <a:sym typeface="Calibri"/>
                </a:rPr>
                <a:t>Jasa Konsultansi Konstruksi Umum dan Spesialis</a:t>
              </a:r>
              <a:endParaRPr/>
            </a:p>
          </p:txBody>
        </p:sp>
      </p:grpSp>
      <p:sp>
        <p:nvSpPr>
          <p:cNvPr id="630" name="Google Shape;630;p7"/>
          <p:cNvSpPr/>
          <p:nvPr/>
        </p:nvSpPr>
        <p:spPr>
          <a:xfrm>
            <a:off x="985099" y="3139265"/>
            <a:ext cx="3231900" cy="1106600"/>
          </a:xfrm>
          <a:custGeom>
            <a:avLst/>
            <a:gdLst/>
            <a:ahLst/>
            <a:cxnLst/>
            <a:rect l="l" t="t" r="r" b="b"/>
            <a:pathLst>
              <a:path w="3231900" h="1106599" extrusionOk="0">
                <a:moveTo>
                  <a:pt x="3231900" y="1106598"/>
                </a:moveTo>
                <a:lnTo>
                  <a:pt x="553299" y="1106598"/>
                </a:lnTo>
                <a:lnTo>
                  <a:pt x="0" y="553299"/>
                </a:lnTo>
                <a:lnTo>
                  <a:pt x="553299" y="1"/>
                </a:lnTo>
                <a:lnTo>
                  <a:pt x="3231900" y="1"/>
                </a:lnTo>
                <a:lnTo>
                  <a:pt x="3231900" y="1106598"/>
                </a:lnTo>
                <a:close/>
              </a:path>
            </a:pathLst>
          </a:custGeom>
          <a:solidFill>
            <a:srgbClr val="22205A"/>
          </a:solidFill>
          <a:ln w="12700" cap="flat" cmpd="sng">
            <a:solidFill>
              <a:schemeClr val="lt1"/>
            </a:solidFill>
            <a:prstDash val="solid"/>
            <a:miter lim="800000"/>
            <a:headEnd type="none" w="sm" len="sm"/>
            <a:tailEnd type="none" w="sm" len="sm"/>
          </a:ln>
        </p:spPr>
        <p:txBody>
          <a:bodyPr spcFirstLastPara="1" wrap="square" lIns="764625" tIns="87625" rIns="163575" bIns="87625" anchor="ctr" anchorCtr="0">
            <a:noAutofit/>
          </a:bodyPr>
          <a:lstStyle/>
          <a:p>
            <a:pPr marL="0" marR="0" lvl="0" indent="0" algn="ctr" rtl="0">
              <a:lnSpc>
                <a:spcPct val="90000"/>
              </a:lnSpc>
              <a:spcBef>
                <a:spcPts val="0"/>
              </a:spcBef>
              <a:spcAft>
                <a:spcPts val="0"/>
              </a:spcAft>
              <a:buClr>
                <a:srgbClr val="FFFFFF"/>
              </a:buClr>
              <a:buSzPts val="2300"/>
              <a:buFont typeface="Calibri"/>
              <a:buNone/>
            </a:pPr>
            <a:r>
              <a:rPr lang="en-US" sz="2300" b="1" i="0" u="none" strike="noStrike" cap="none">
                <a:solidFill>
                  <a:srgbClr val="FFFFFF"/>
                </a:solidFill>
                <a:latin typeface="Calibri"/>
                <a:ea typeface="Calibri"/>
                <a:cs typeface="Calibri"/>
                <a:sym typeface="Calibri"/>
              </a:rPr>
              <a:t>Kinerja Proyek</a:t>
            </a:r>
            <a:endParaRPr/>
          </a:p>
        </p:txBody>
      </p:sp>
      <p:cxnSp>
        <p:nvCxnSpPr>
          <p:cNvPr id="631" name="Google Shape;631;p7"/>
          <p:cNvCxnSpPr>
            <a:stCxn id="630" idx="2"/>
          </p:cNvCxnSpPr>
          <p:nvPr/>
        </p:nvCxnSpPr>
        <p:spPr>
          <a:xfrm>
            <a:off x="4216999" y="3692566"/>
            <a:ext cx="2143200" cy="600"/>
          </a:xfrm>
          <a:prstGeom prst="bentConnector3">
            <a:avLst>
              <a:gd name="adj1" fmla="val 50000"/>
            </a:avLst>
          </a:prstGeom>
          <a:noFill/>
          <a:ln w="19050" cap="flat" cmpd="sng">
            <a:solidFill>
              <a:schemeClr val="accent1"/>
            </a:solidFill>
            <a:prstDash val="solid"/>
            <a:miter lim="800000"/>
            <a:headEnd type="none" w="sm" len="sm"/>
            <a:tailEnd type="triangle" w="med" len="med"/>
          </a:ln>
        </p:spPr>
      </p:cxnSp>
      <p:cxnSp>
        <p:nvCxnSpPr>
          <p:cNvPr id="632" name="Google Shape;632;p7"/>
          <p:cNvCxnSpPr>
            <a:stCxn id="630" idx="2"/>
          </p:cNvCxnSpPr>
          <p:nvPr/>
        </p:nvCxnSpPr>
        <p:spPr>
          <a:xfrm rot="10800000" flipH="1">
            <a:off x="4216999" y="2133166"/>
            <a:ext cx="2143200" cy="1559400"/>
          </a:xfrm>
          <a:prstGeom prst="bentConnector3">
            <a:avLst>
              <a:gd name="adj1" fmla="val 50000"/>
            </a:avLst>
          </a:prstGeom>
          <a:noFill/>
          <a:ln w="19050" cap="flat" cmpd="sng">
            <a:solidFill>
              <a:schemeClr val="accent1"/>
            </a:solidFill>
            <a:prstDash val="solid"/>
            <a:miter lim="800000"/>
            <a:headEnd type="none" w="sm" len="sm"/>
            <a:tailEnd type="triangle" w="med" len="med"/>
          </a:ln>
        </p:spPr>
      </p:cxnSp>
      <p:cxnSp>
        <p:nvCxnSpPr>
          <p:cNvPr id="633" name="Google Shape;633;p7"/>
          <p:cNvCxnSpPr>
            <a:stCxn id="630" idx="2"/>
          </p:cNvCxnSpPr>
          <p:nvPr/>
        </p:nvCxnSpPr>
        <p:spPr>
          <a:xfrm>
            <a:off x="4216999" y="3692566"/>
            <a:ext cx="2143200" cy="1807200"/>
          </a:xfrm>
          <a:prstGeom prst="bentConnector3">
            <a:avLst>
              <a:gd name="adj1" fmla="val 50000"/>
            </a:avLst>
          </a:prstGeom>
          <a:noFill/>
          <a:ln w="19050" cap="flat" cmpd="sng">
            <a:solidFill>
              <a:schemeClr val="accent1"/>
            </a:solidFill>
            <a:prstDash val="solid"/>
            <a:miter lim="800000"/>
            <a:headEnd type="none" w="sm" len="sm"/>
            <a:tailEnd type="triangle" w="med" len="med"/>
          </a:ln>
        </p:spPr>
      </p:cxnSp>
      <p:sp>
        <p:nvSpPr>
          <p:cNvPr id="634" name="Google Shape;634;p7"/>
          <p:cNvSpPr txBox="1"/>
          <p:nvPr/>
        </p:nvSpPr>
        <p:spPr>
          <a:xfrm>
            <a:off x="431799" y="5499627"/>
            <a:ext cx="5642891" cy="57708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50"/>
              <a:buFont typeface="Calibri"/>
              <a:buNone/>
            </a:pPr>
            <a:r>
              <a:rPr lang="en-US" sz="1050" b="1" i="0" u="none" strike="noStrike" cap="none">
                <a:solidFill>
                  <a:srgbClr val="000000"/>
                </a:solidFill>
                <a:latin typeface="Calibri"/>
                <a:ea typeface="Calibri"/>
                <a:cs typeface="Calibri"/>
                <a:sym typeface="Calibri"/>
              </a:rPr>
              <a:t>Keterangan:</a:t>
            </a:r>
            <a:endParaRPr/>
          </a:p>
          <a:p>
            <a:pPr marL="0" marR="0" lvl="0" indent="0" algn="l" rtl="0">
              <a:lnSpc>
                <a:spcPct val="100000"/>
              </a:lnSpc>
              <a:spcBef>
                <a:spcPts val="0"/>
              </a:spcBef>
              <a:spcAft>
                <a:spcPts val="0"/>
              </a:spcAft>
              <a:buClr>
                <a:srgbClr val="000000"/>
              </a:buClr>
              <a:buSzPts val="1050"/>
              <a:buFont typeface="Calibri"/>
              <a:buNone/>
            </a:pPr>
            <a:r>
              <a:rPr lang="en-US" sz="1050" b="0" i="0" u="none" strike="noStrike" cap="none">
                <a:solidFill>
                  <a:srgbClr val="000000"/>
                </a:solidFill>
                <a:latin typeface="Calibri"/>
                <a:ea typeface="Calibri"/>
                <a:cs typeface="Calibri"/>
                <a:sym typeface="Calibri"/>
              </a:rPr>
              <a:t>1) Tambahan khusus untuk layanan usaha </a:t>
            </a:r>
            <a:r>
              <a:rPr lang="en-US" sz="1050" b="1" i="0" u="none" strike="noStrike" cap="none">
                <a:solidFill>
                  <a:srgbClr val="000000"/>
                </a:solidFill>
                <a:latin typeface="Calibri"/>
                <a:ea typeface="Calibri"/>
                <a:cs typeface="Calibri"/>
                <a:sym typeface="Calibri"/>
              </a:rPr>
              <a:t>Pengawasan</a:t>
            </a:r>
            <a:r>
              <a:rPr lang="en-US" sz="1050" b="0" i="0" u="none" strike="noStrike" cap="none">
                <a:solidFill>
                  <a:srgbClr val="000000"/>
                </a:solidFill>
                <a:latin typeface="Calibri"/>
                <a:ea typeface="Calibri"/>
                <a:cs typeface="Calibri"/>
                <a:sym typeface="Calibri"/>
              </a:rPr>
              <a:t> dan </a:t>
            </a:r>
            <a:r>
              <a:rPr lang="en-US" sz="1050" b="1" i="0" u="none" strike="noStrike" cap="none">
                <a:solidFill>
                  <a:srgbClr val="000000"/>
                </a:solidFill>
                <a:latin typeface="Calibri"/>
                <a:ea typeface="Calibri"/>
                <a:cs typeface="Calibri"/>
                <a:sym typeface="Calibri"/>
              </a:rPr>
              <a:t>Manajemen Penyelenggaraan Konstruksi</a:t>
            </a:r>
            <a:endParaRPr/>
          </a:p>
          <a:p>
            <a:pPr marL="0" marR="0" lvl="0" indent="0" algn="l" rtl="0">
              <a:lnSpc>
                <a:spcPct val="100000"/>
              </a:lnSpc>
              <a:spcBef>
                <a:spcPts val="0"/>
              </a:spcBef>
              <a:spcAft>
                <a:spcPts val="0"/>
              </a:spcAft>
              <a:buClr>
                <a:srgbClr val="000000"/>
              </a:buClr>
              <a:buSzPts val="1050"/>
              <a:buFont typeface="Calibri"/>
              <a:buNone/>
            </a:pPr>
            <a:r>
              <a:rPr lang="en-US" sz="1050" b="0" i="0" u="none" strike="noStrike" cap="none">
                <a:solidFill>
                  <a:srgbClr val="000000"/>
                </a:solidFill>
                <a:latin typeface="Calibri"/>
                <a:ea typeface="Calibri"/>
                <a:cs typeface="Calibri"/>
                <a:sym typeface="Calibri"/>
              </a:rPr>
              <a:t>2) Tambahan khusus untuk layanan usaha </a:t>
            </a:r>
            <a:r>
              <a:rPr lang="en-US" sz="1050" b="1" i="0" u="none" strike="noStrike" cap="none">
                <a:solidFill>
                  <a:srgbClr val="000000"/>
                </a:solidFill>
                <a:latin typeface="Calibri"/>
                <a:ea typeface="Calibri"/>
                <a:cs typeface="Calibri"/>
                <a:sym typeface="Calibri"/>
              </a:rPr>
              <a:t>Manajemen Penyelenggaraan Konstruksi</a:t>
            </a:r>
            <a:endParaRPr sz="1050" b="1" i="0" u="none" strike="noStrike" cap="none">
              <a:solidFill>
                <a:srgbClr val="000000"/>
              </a:solidFill>
              <a:latin typeface="Calibri"/>
              <a:ea typeface="Calibri"/>
              <a:cs typeface="Calibri"/>
              <a:sym typeface="Calibri"/>
            </a:endParaRPr>
          </a:p>
        </p:txBody>
      </p:sp>
      <p:sp>
        <p:nvSpPr>
          <p:cNvPr id="635" name="Google Shape;635;p7"/>
          <p:cNvSpPr/>
          <p:nvPr/>
        </p:nvSpPr>
        <p:spPr>
          <a:xfrm>
            <a:off x="135689" y="104274"/>
            <a:ext cx="978568" cy="978568"/>
          </a:xfrm>
          <a:prstGeom prst="ellipse">
            <a:avLst/>
          </a:prstGeom>
          <a:solidFill>
            <a:schemeClr val="accent1"/>
          </a:solidFill>
          <a:ln w="76200" cap="flat" cmpd="sng">
            <a:solidFill>
              <a:srgbClr val="FFFF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2400" b="1">
                <a:solidFill>
                  <a:schemeClr val="dk1"/>
                </a:solidFill>
                <a:latin typeface="Arial Black"/>
                <a:ea typeface="Arial Black"/>
                <a:cs typeface="Arial Black"/>
                <a:sym typeface="Arial Black"/>
              </a:rPr>
              <a:t>3</a:t>
            </a:r>
            <a:endParaRPr sz="2400" b="1">
              <a:solidFill>
                <a:schemeClr val="dk1"/>
              </a:solidFill>
              <a:latin typeface="Arial Black"/>
              <a:ea typeface="Arial Black"/>
              <a:cs typeface="Arial Black"/>
              <a:sym typeface="Arial Black"/>
            </a:endParaRPr>
          </a:p>
        </p:txBody>
      </p:sp>
      <p:sp>
        <p:nvSpPr>
          <p:cNvPr id="636" name="Google Shape;636;p7"/>
          <p:cNvSpPr/>
          <p:nvPr/>
        </p:nvSpPr>
        <p:spPr>
          <a:xfrm>
            <a:off x="1274008" y="661739"/>
            <a:ext cx="2880000" cy="46522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r>
              <a:rPr lang="en-US" sz="1800" b="0" i="0" u="none" strike="noStrike" cap="none">
                <a:solidFill>
                  <a:schemeClr val="dk1"/>
                </a:solidFill>
                <a:latin typeface="Arial"/>
                <a:ea typeface="Arial"/>
                <a:cs typeface="Arial"/>
                <a:sym typeface="Arial"/>
              </a:rPr>
              <a:t>Indikator Kinerja Proyek</a:t>
            </a:r>
            <a:endParaRPr sz="1800" b="0" i="0" u="none" strike="noStrike" cap="none">
              <a:solidFill>
                <a:schemeClr val="dk1"/>
              </a:solidFill>
              <a:latin typeface="Arial"/>
              <a:ea typeface="Arial"/>
              <a:cs typeface="Arial"/>
              <a:sym typeface="Arial"/>
            </a:endParaRPr>
          </a:p>
        </p:txBody>
      </p:sp>
      <p:sp>
        <p:nvSpPr>
          <p:cNvPr id="637" name="Google Shape;637;p7"/>
          <p:cNvSpPr/>
          <p:nvPr/>
        </p:nvSpPr>
        <p:spPr>
          <a:xfrm>
            <a:off x="712535" y="593558"/>
            <a:ext cx="651044" cy="593557"/>
          </a:xfrm>
          <a:prstGeom prst="ellipse">
            <a:avLst/>
          </a:prstGeom>
          <a:solidFill>
            <a:schemeClr val="accent1"/>
          </a:solidFill>
          <a:ln w="76200" cap="flat" cmpd="sng">
            <a:solidFill>
              <a:srgbClr val="FFFF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Black"/>
              <a:buNone/>
            </a:pPr>
            <a:r>
              <a:rPr lang="en-US" sz="2400" b="1" i="0" u="none" strike="noStrike" cap="none">
                <a:solidFill>
                  <a:srgbClr val="000000"/>
                </a:solidFill>
                <a:latin typeface="Arial Black"/>
                <a:ea typeface="Arial Black"/>
                <a:cs typeface="Arial Black"/>
                <a:sym typeface="Arial Black"/>
              </a:rPr>
              <a:t>b</a:t>
            </a:r>
            <a:endParaRPr sz="2400" b="1" i="0" u="none" strike="noStrike" cap="none">
              <a:solidFill>
                <a:srgbClr val="000000"/>
              </a:solidFill>
              <a:latin typeface="Arial Black"/>
              <a:ea typeface="Arial Black"/>
              <a:cs typeface="Arial Black"/>
              <a:sym typeface="Arial Black"/>
            </a:endParaRPr>
          </a:p>
        </p:txBody>
      </p:sp>
    </p:spTree>
    <p:extLst>
      <p:ext uri="{BB962C8B-B14F-4D97-AF65-F5344CB8AC3E}">
        <p14:creationId xmlns:p14="http://schemas.microsoft.com/office/powerpoint/2010/main" val="17219435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8" name="Rounded Rectangle 17">
            <a:extLst>
              <a:ext uri="{FF2B5EF4-FFF2-40B4-BE49-F238E27FC236}">
                <a16:creationId xmlns:a16="http://schemas.microsoft.com/office/drawing/2014/main" id="{B3F2D0BF-FE2C-A547-82D6-6877AAEEBE48}"/>
              </a:ext>
            </a:extLst>
          </p:cNvPr>
          <p:cNvSpPr/>
          <p:nvPr/>
        </p:nvSpPr>
        <p:spPr>
          <a:xfrm>
            <a:off x="6422174" y="2101590"/>
            <a:ext cx="2640288" cy="1093439"/>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9" name="Rounded Rectangle 18">
            <a:extLst>
              <a:ext uri="{FF2B5EF4-FFF2-40B4-BE49-F238E27FC236}">
                <a16:creationId xmlns:a16="http://schemas.microsoft.com/office/drawing/2014/main" id="{7D8FDB3E-5D27-9945-B39A-58316D84B12A}"/>
              </a:ext>
            </a:extLst>
          </p:cNvPr>
          <p:cNvSpPr/>
          <p:nvPr/>
        </p:nvSpPr>
        <p:spPr>
          <a:xfrm>
            <a:off x="9171201" y="2101590"/>
            <a:ext cx="2648100" cy="109343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5" name="TextBox 14">
            <a:extLst>
              <a:ext uri="{FF2B5EF4-FFF2-40B4-BE49-F238E27FC236}">
                <a16:creationId xmlns:a16="http://schemas.microsoft.com/office/drawing/2014/main" id="{B1936E8A-650D-FF43-8B18-337053C00F58}"/>
              </a:ext>
            </a:extLst>
          </p:cNvPr>
          <p:cNvSpPr txBox="1"/>
          <p:nvPr/>
        </p:nvSpPr>
        <p:spPr>
          <a:xfrm>
            <a:off x="6466103" y="1339683"/>
            <a:ext cx="2743193"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Se 21</a:t>
            </a:r>
          </a:p>
        </p:txBody>
      </p:sp>
      <p:sp>
        <p:nvSpPr>
          <p:cNvPr id="17" name="TextBox 16">
            <a:extLst>
              <a:ext uri="{FF2B5EF4-FFF2-40B4-BE49-F238E27FC236}">
                <a16:creationId xmlns:a16="http://schemas.microsoft.com/office/drawing/2014/main" id="{CB6833D4-B8DC-EE44-B6E7-4C9FCD809F5E}"/>
              </a:ext>
            </a:extLst>
          </p:cNvPr>
          <p:cNvSpPr txBox="1"/>
          <p:nvPr/>
        </p:nvSpPr>
        <p:spPr>
          <a:xfrm>
            <a:off x="9345962" y="2285661"/>
            <a:ext cx="2298578"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Kep</a:t>
            </a:r>
            <a:r>
              <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DirJen</a:t>
            </a:r>
            <a:r>
              <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Bina </a:t>
            </a: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Konstruksi</a:t>
            </a:r>
            <a:r>
              <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Nomor</a:t>
            </a:r>
            <a:r>
              <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144/KPTS/DK/2022  </a:t>
            </a: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Standar</a:t>
            </a:r>
            <a:r>
              <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Skema </a:t>
            </a: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Sertifikasi</a:t>
            </a:r>
            <a:r>
              <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Badan Usaha Jasa </a:t>
            </a: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Konstruksi</a:t>
            </a:r>
            <a:r>
              <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p>
          <a:p>
            <a:pPr marL="0" marR="0" lvl="0" indent="0" algn="ctr" defTabSz="914400" rtl="0" eaLnBrk="1" fontAlgn="auto" latinLnBrk="0" hangingPunct="1">
              <a:lnSpc>
                <a:spcPct val="100000"/>
              </a:lnSpc>
              <a:spcBef>
                <a:spcPts val="0"/>
              </a:spcBef>
              <a:spcAft>
                <a:spcPts val="0"/>
              </a:spcAft>
              <a:buClr>
                <a:srgbClr val="000000"/>
              </a:buClr>
              <a:buSzPts val="2800"/>
              <a:buFont typeface="Arial"/>
              <a:buNone/>
              <a:tabLst/>
              <a:defRPr/>
            </a:pPr>
            <a:endPar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endParaRPr>
          </a:p>
        </p:txBody>
      </p:sp>
      <p:sp>
        <p:nvSpPr>
          <p:cNvPr id="21" name="TextBox 20">
            <a:extLst>
              <a:ext uri="{FF2B5EF4-FFF2-40B4-BE49-F238E27FC236}">
                <a16:creationId xmlns:a16="http://schemas.microsoft.com/office/drawing/2014/main" id="{7BB784A9-0640-2846-859C-F8A8969D4000}"/>
              </a:ext>
            </a:extLst>
          </p:cNvPr>
          <p:cNvSpPr txBox="1"/>
          <p:nvPr/>
        </p:nvSpPr>
        <p:spPr>
          <a:xfrm>
            <a:off x="6354279" y="2063533"/>
            <a:ext cx="2749027" cy="116955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Permen</a:t>
            </a:r>
            <a:r>
              <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PUPR </a:t>
            </a: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Nomor</a:t>
            </a:r>
            <a:r>
              <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8 </a:t>
            </a: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Tahun</a:t>
            </a:r>
            <a:r>
              <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2022 </a:t>
            </a: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tentang</a:t>
            </a:r>
            <a:r>
              <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Tata Cara </a:t>
            </a: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Pelaksanaan</a:t>
            </a:r>
            <a:r>
              <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Pemenuhan</a:t>
            </a:r>
            <a:r>
              <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Sertifikat</a:t>
            </a:r>
            <a:r>
              <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Standar</a:t>
            </a:r>
            <a:r>
              <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Jasa </a:t>
            </a: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Konstruksi</a:t>
            </a:r>
            <a:r>
              <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Dalam</a:t>
            </a:r>
            <a:r>
              <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Rangka</a:t>
            </a:r>
            <a:r>
              <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Mendukung</a:t>
            </a:r>
            <a:r>
              <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Kemudahan</a:t>
            </a:r>
            <a:r>
              <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Perizinan</a:t>
            </a:r>
            <a:r>
              <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Berusaha</a:t>
            </a:r>
            <a:r>
              <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Bagi</a:t>
            </a:r>
            <a:r>
              <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Pelaku</a:t>
            </a:r>
            <a:r>
              <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Usaha Jasa </a:t>
            </a:r>
            <a:r>
              <a:rPr kumimoji="0" lang="en-ID" sz="10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Konstruksi</a:t>
            </a:r>
            <a:endParaRPr kumimoji="0" lang="en-ID" sz="1000" b="1" i="0" u="none" strike="noStrike" kern="0" cap="none" spc="0" normalizeH="0" baseline="0" noProof="0" dirty="0">
              <a:ln>
                <a:noFill/>
              </a:ln>
              <a:solidFill>
                <a:srgbClr val="1E3267"/>
              </a:solidFill>
              <a:effectLst/>
              <a:uLnTx/>
              <a:uFillTx/>
              <a:latin typeface="Montserrat" pitchFamily="2" charset="77"/>
              <a:ea typeface="Tahoma"/>
              <a:cs typeface="Tahoma"/>
              <a:sym typeface="Tahoma"/>
            </a:endParaRPr>
          </a:p>
        </p:txBody>
      </p:sp>
      <p:sp>
        <p:nvSpPr>
          <p:cNvPr id="25" name="Rounded Rectangle 24">
            <a:extLst>
              <a:ext uri="{FF2B5EF4-FFF2-40B4-BE49-F238E27FC236}">
                <a16:creationId xmlns:a16="http://schemas.microsoft.com/office/drawing/2014/main" id="{41D5777F-9CE1-F54C-9A4B-571EC3E2E40C}"/>
              </a:ext>
            </a:extLst>
          </p:cNvPr>
          <p:cNvSpPr/>
          <p:nvPr/>
        </p:nvSpPr>
        <p:spPr>
          <a:xfrm>
            <a:off x="3659932" y="1100887"/>
            <a:ext cx="2640288" cy="87577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27" name="TextBox 26">
            <a:extLst>
              <a:ext uri="{FF2B5EF4-FFF2-40B4-BE49-F238E27FC236}">
                <a16:creationId xmlns:a16="http://schemas.microsoft.com/office/drawing/2014/main" id="{59BA333C-1715-494B-9F3F-1DE14DBACBD6}"/>
              </a:ext>
            </a:extLst>
          </p:cNvPr>
          <p:cNvSpPr txBox="1"/>
          <p:nvPr/>
        </p:nvSpPr>
        <p:spPr>
          <a:xfrm>
            <a:off x="3646076" y="1112685"/>
            <a:ext cx="2592612"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en-ID" sz="10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Permen</a:t>
            </a:r>
            <a:r>
              <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PUPR </a:t>
            </a:r>
            <a:r>
              <a:rPr kumimoji="0" lang="en-ID" sz="10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Nomor</a:t>
            </a:r>
            <a:r>
              <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6 </a:t>
            </a:r>
            <a:r>
              <a:rPr kumimoji="0" lang="en-ID" sz="10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Tahun</a:t>
            </a:r>
            <a:r>
              <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2021  </a:t>
            </a:r>
            <a:r>
              <a:rPr kumimoji="0" lang="en-ID" sz="10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Tentang</a:t>
            </a:r>
            <a:r>
              <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10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Standar</a:t>
            </a:r>
            <a:r>
              <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10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Kegiatan</a:t>
            </a:r>
            <a:r>
              <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Usaha Dan </a:t>
            </a:r>
            <a:r>
              <a:rPr kumimoji="0" lang="en-ID" sz="10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Produk</a:t>
            </a:r>
            <a:r>
              <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Pada </a:t>
            </a:r>
            <a:r>
              <a:rPr kumimoji="0" lang="en-ID" sz="10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Penyelenggaraan</a:t>
            </a:r>
            <a:r>
              <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10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Perizinan</a:t>
            </a:r>
            <a:r>
              <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10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Berusaha</a:t>
            </a:r>
            <a:r>
              <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10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Berbasis</a:t>
            </a:r>
            <a:r>
              <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10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Risiko</a:t>
            </a:r>
            <a:r>
              <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10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Sektor</a:t>
            </a:r>
            <a:r>
              <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PUPR</a:t>
            </a:r>
          </a:p>
        </p:txBody>
      </p:sp>
      <p:sp>
        <p:nvSpPr>
          <p:cNvPr id="28" name="TextBox 27">
            <a:extLst>
              <a:ext uri="{FF2B5EF4-FFF2-40B4-BE49-F238E27FC236}">
                <a16:creationId xmlns:a16="http://schemas.microsoft.com/office/drawing/2014/main" id="{7622036E-4504-C740-BBB3-8874B68742CB}"/>
              </a:ext>
            </a:extLst>
          </p:cNvPr>
          <p:cNvSpPr txBox="1"/>
          <p:nvPr/>
        </p:nvSpPr>
        <p:spPr>
          <a:xfrm>
            <a:off x="6428008" y="1103595"/>
            <a:ext cx="2743193"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se21</a:t>
            </a:r>
          </a:p>
        </p:txBody>
      </p:sp>
      <p:sp>
        <p:nvSpPr>
          <p:cNvPr id="29" name="Rounded Rectangle 28">
            <a:extLst>
              <a:ext uri="{FF2B5EF4-FFF2-40B4-BE49-F238E27FC236}">
                <a16:creationId xmlns:a16="http://schemas.microsoft.com/office/drawing/2014/main" id="{301C2FAD-1985-4D44-A575-D3AFABF782F9}"/>
              </a:ext>
            </a:extLst>
          </p:cNvPr>
          <p:cNvSpPr/>
          <p:nvPr/>
        </p:nvSpPr>
        <p:spPr>
          <a:xfrm>
            <a:off x="6427800" y="1114634"/>
            <a:ext cx="2640288" cy="87577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31" name="Rounded Rectangle 30">
            <a:extLst>
              <a:ext uri="{FF2B5EF4-FFF2-40B4-BE49-F238E27FC236}">
                <a16:creationId xmlns:a16="http://schemas.microsoft.com/office/drawing/2014/main" id="{19B5306A-9CBE-F441-B967-CAE3D9E4C7E0}"/>
              </a:ext>
            </a:extLst>
          </p:cNvPr>
          <p:cNvSpPr/>
          <p:nvPr/>
        </p:nvSpPr>
        <p:spPr>
          <a:xfrm>
            <a:off x="9179013" y="1114634"/>
            <a:ext cx="2640288" cy="87577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32" name="TextBox 31">
            <a:extLst>
              <a:ext uri="{FF2B5EF4-FFF2-40B4-BE49-F238E27FC236}">
                <a16:creationId xmlns:a16="http://schemas.microsoft.com/office/drawing/2014/main" id="{AD86B83F-D313-9846-8635-1193D5DFC232}"/>
              </a:ext>
            </a:extLst>
          </p:cNvPr>
          <p:cNvSpPr txBox="1"/>
          <p:nvPr/>
        </p:nvSpPr>
        <p:spPr>
          <a:xfrm>
            <a:off x="9277180" y="1184225"/>
            <a:ext cx="2608715"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en-ID" sz="10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Kep</a:t>
            </a:r>
            <a:r>
              <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10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DirJen</a:t>
            </a:r>
            <a:r>
              <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Bina </a:t>
            </a:r>
            <a:r>
              <a:rPr kumimoji="0" lang="en-ID" sz="10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Konstruksi</a:t>
            </a:r>
            <a:r>
              <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10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Nomor</a:t>
            </a:r>
            <a:r>
              <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89/KPTS/DK/2021 </a:t>
            </a:r>
            <a:r>
              <a:rPr kumimoji="0" lang="en-ID" sz="10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Tentang</a:t>
            </a:r>
            <a:r>
              <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10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Penetapan</a:t>
            </a:r>
            <a:r>
              <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10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Standar</a:t>
            </a:r>
            <a:r>
              <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Skema </a:t>
            </a:r>
            <a:r>
              <a:rPr kumimoji="0" lang="en-ID" sz="10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Sertifikasi</a:t>
            </a:r>
            <a:r>
              <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Badan Usaha Jasa </a:t>
            </a:r>
            <a:r>
              <a:rPr kumimoji="0" lang="en-ID" sz="10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Konstruksi</a:t>
            </a:r>
            <a:r>
              <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p>
          <a:p>
            <a:pPr marL="0" marR="0" lvl="0" indent="0" algn="ctr" defTabSz="914400" rtl="0" eaLnBrk="1" fontAlgn="auto" latinLnBrk="0" hangingPunct="1">
              <a:lnSpc>
                <a:spcPct val="100000"/>
              </a:lnSpc>
              <a:spcBef>
                <a:spcPts val="0"/>
              </a:spcBef>
              <a:spcAft>
                <a:spcPts val="0"/>
              </a:spcAft>
              <a:buClr>
                <a:srgbClr val="000000"/>
              </a:buClr>
              <a:buSzPts val="2800"/>
              <a:buFont typeface="Arial"/>
              <a:buNone/>
              <a:tabLst/>
              <a:defRPr/>
            </a:pPr>
            <a:endParaRPr kumimoji="0" lang="en-ID" sz="1000" b="0" i="0" u="none" strike="noStrike" kern="0" cap="none" spc="0" normalizeH="0" baseline="0" noProof="0" dirty="0">
              <a:ln>
                <a:noFill/>
              </a:ln>
              <a:solidFill>
                <a:srgbClr val="1E3267"/>
              </a:solidFill>
              <a:effectLst/>
              <a:uLnTx/>
              <a:uFillTx/>
              <a:latin typeface="Montserrat" pitchFamily="2" charset="77"/>
              <a:ea typeface="Tahoma"/>
              <a:cs typeface="Tahoma"/>
              <a:sym typeface="Tahoma"/>
            </a:endParaRPr>
          </a:p>
        </p:txBody>
      </p:sp>
      <p:sp>
        <p:nvSpPr>
          <p:cNvPr id="34" name="Right Arrow 33">
            <a:extLst>
              <a:ext uri="{FF2B5EF4-FFF2-40B4-BE49-F238E27FC236}">
                <a16:creationId xmlns:a16="http://schemas.microsoft.com/office/drawing/2014/main" id="{D1C4060E-F601-E047-9994-25972BB5241D}"/>
              </a:ext>
            </a:extLst>
          </p:cNvPr>
          <p:cNvSpPr/>
          <p:nvPr/>
        </p:nvSpPr>
        <p:spPr>
          <a:xfrm>
            <a:off x="8951949" y="1389377"/>
            <a:ext cx="435337" cy="335578"/>
          </a:xfrm>
          <a:prstGeom prst="rightArrow">
            <a:avLst/>
          </a:prstGeom>
          <a:solidFill>
            <a:srgbClr val="931B18"/>
          </a:solidFill>
          <a:ln>
            <a:solidFill>
              <a:srgbClr val="931B1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35" name="TextBox 34">
            <a:extLst>
              <a:ext uri="{FF2B5EF4-FFF2-40B4-BE49-F238E27FC236}">
                <a16:creationId xmlns:a16="http://schemas.microsoft.com/office/drawing/2014/main" id="{B431F544-FC1C-154F-85DA-574946E3E533}"/>
              </a:ext>
            </a:extLst>
          </p:cNvPr>
          <p:cNvSpPr txBox="1"/>
          <p:nvPr/>
        </p:nvSpPr>
        <p:spPr>
          <a:xfrm>
            <a:off x="6466103" y="878526"/>
            <a:ext cx="2634454"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Pts val="2800"/>
              <a:buFont typeface="Arial"/>
              <a:buNone/>
              <a:tabLst/>
              <a:defRPr/>
            </a:pPr>
            <a:br>
              <a:rPr kumimoji="0" lang="en-ID" sz="8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br>
            <a:endParaRPr kumimoji="0" lang="en-ID" sz="800" b="0" i="0" u="none" strike="noStrike" kern="0" cap="none" spc="0" normalizeH="0" baseline="0" noProof="0" dirty="0">
              <a:ln>
                <a:noFill/>
              </a:ln>
              <a:solidFill>
                <a:srgbClr val="1E3267"/>
              </a:solidFill>
              <a:effectLst/>
              <a:uLnTx/>
              <a:uFillTx/>
              <a:latin typeface="Montserrat" pitchFamily="2" charset="77"/>
              <a:ea typeface="Tahoma"/>
              <a:cs typeface="Tahoma"/>
              <a:sym typeface="Tahoma"/>
            </a:endParaRPr>
          </a:p>
          <a:p>
            <a:pPr marL="0" marR="0" lvl="0" indent="0" algn="ctr"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en-ID" sz="8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SE Menteri PUPR No. 21/SE/M/2021 </a:t>
            </a:r>
          </a:p>
          <a:p>
            <a:pPr marL="0" marR="0" lvl="0" indent="0" algn="ctr"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en-ID" sz="8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Tentang</a:t>
            </a:r>
            <a:r>
              <a:rPr kumimoji="0" lang="en-ID" sz="8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Tata Cara </a:t>
            </a:r>
            <a:r>
              <a:rPr kumimoji="0" lang="en-ID" sz="8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Pemenuhan</a:t>
            </a:r>
            <a:r>
              <a:rPr kumimoji="0" lang="en-ID" sz="8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8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Persyaratan</a:t>
            </a:r>
            <a:r>
              <a:rPr kumimoji="0" lang="en-ID" sz="8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8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Perizinan</a:t>
            </a:r>
            <a:r>
              <a:rPr kumimoji="0" lang="en-ID" sz="8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8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Berusaha</a:t>
            </a:r>
            <a:r>
              <a:rPr kumimoji="0" lang="en-ID" sz="8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8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Pelaksanaan</a:t>
            </a:r>
            <a:r>
              <a:rPr kumimoji="0" lang="en-ID" sz="8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8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Sertifikasi</a:t>
            </a:r>
            <a:r>
              <a:rPr kumimoji="0" lang="en-ID" sz="8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8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Kompetensi</a:t>
            </a:r>
            <a:r>
              <a:rPr kumimoji="0" lang="en-ID" sz="8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8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Kerja</a:t>
            </a:r>
            <a:r>
              <a:rPr kumimoji="0" lang="en-ID" sz="8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8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Konstruksi</a:t>
            </a:r>
            <a:r>
              <a:rPr kumimoji="0" lang="en-ID" sz="8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dan </a:t>
            </a:r>
            <a:r>
              <a:rPr kumimoji="0" lang="en-ID" sz="8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Pemberlakuan</a:t>
            </a:r>
            <a:r>
              <a:rPr kumimoji="0" lang="en-ID" sz="8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8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Sertifikat</a:t>
            </a:r>
            <a:r>
              <a:rPr kumimoji="0" lang="en-ID" sz="8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Badan Usaha Serta </a:t>
            </a:r>
            <a:r>
              <a:rPr kumimoji="0" lang="en-ID" sz="8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Sertifikat</a:t>
            </a:r>
            <a:r>
              <a:rPr kumimoji="0" lang="en-ID" sz="8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8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Kompetensi</a:t>
            </a:r>
            <a:r>
              <a:rPr kumimoji="0" lang="en-ID" sz="8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8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Kerja</a:t>
            </a:r>
            <a:r>
              <a:rPr kumimoji="0" lang="en-ID" sz="8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800" b="0"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Konstruksi</a:t>
            </a:r>
            <a:r>
              <a:rPr kumimoji="0" lang="en-ID" sz="800" b="0"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p>
        </p:txBody>
      </p:sp>
      <p:sp>
        <p:nvSpPr>
          <p:cNvPr id="36" name="Right Arrow 35">
            <a:extLst>
              <a:ext uri="{FF2B5EF4-FFF2-40B4-BE49-F238E27FC236}">
                <a16:creationId xmlns:a16="http://schemas.microsoft.com/office/drawing/2014/main" id="{1D6CD64B-52F6-884E-B875-A4BBBBC7B7E3}"/>
              </a:ext>
            </a:extLst>
          </p:cNvPr>
          <p:cNvSpPr/>
          <p:nvPr/>
        </p:nvSpPr>
        <p:spPr>
          <a:xfrm>
            <a:off x="8951949" y="2480519"/>
            <a:ext cx="445465" cy="335578"/>
          </a:xfrm>
          <a:prstGeom prst="rightArrow">
            <a:avLst/>
          </a:prstGeom>
          <a:solidFill>
            <a:srgbClr val="931B18"/>
          </a:solidFill>
          <a:ln>
            <a:solidFill>
              <a:srgbClr val="931B1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37" name="Right Arrow 36">
            <a:extLst>
              <a:ext uri="{FF2B5EF4-FFF2-40B4-BE49-F238E27FC236}">
                <a16:creationId xmlns:a16="http://schemas.microsoft.com/office/drawing/2014/main" id="{235D1373-01E0-7949-A017-8BB520863F3D}"/>
              </a:ext>
            </a:extLst>
          </p:cNvPr>
          <p:cNvSpPr/>
          <p:nvPr/>
        </p:nvSpPr>
        <p:spPr>
          <a:xfrm>
            <a:off x="6115641" y="1383379"/>
            <a:ext cx="435337" cy="335578"/>
          </a:xfrm>
          <a:prstGeom prst="rightArrow">
            <a:avLst/>
          </a:prstGeom>
          <a:solidFill>
            <a:srgbClr val="931B18"/>
          </a:solidFill>
          <a:ln>
            <a:solidFill>
              <a:srgbClr val="931B1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38" name="Rounded Rectangle 37">
            <a:extLst>
              <a:ext uri="{FF2B5EF4-FFF2-40B4-BE49-F238E27FC236}">
                <a16:creationId xmlns:a16="http://schemas.microsoft.com/office/drawing/2014/main" id="{1730CC8F-9D9B-0C46-9C73-124147C68ECD}"/>
              </a:ext>
            </a:extLst>
          </p:cNvPr>
          <p:cNvSpPr/>
          <p:nvPr/>
        </p:nvSpPr>
        <p:spPr>
          <a:xfrm>
            <a:off x="3142585" y="2113924"/>
            <a:ext cx="1842448" cy="788158"/>
          </a:xfrm>
          <a:prstGeom prst="roundRect">
            <a:avLst>
              <a:gd name="adj" fmla="val 27057"/>
            </a:avLst>
          </a:prstGeom>
          <a:solidFill>
            <a:schemeClr val="bg1">
              <a:lumMod val="85000"/>
            </a:schemeClr>
          </a:solidFill>
          <a:ln w="38100">
            <a:solidFill>
              <a:srgbClr val="1E32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39" name="TextBox 38">
            <a:extLst>
              <a:ext uri="{FF2B5EF4-FFF2-40B4-BE49-F238E27FC236}">
                <a16:creationId xmlns:a16="http://schemas.microsoft.com/office/drawing/2014/main" id="{F26178A4-6A5D-8E48-A4AC-6824AD642A14}"/>
              </a:ext>
            </a:extLst>
          </p:cNvPr>
          <p:cNvSpPr txBox="1"/>
          <p:nvPr/>
        </p:nvSpPr>
        <p:spPr>
          <a:xfrm>
            <a:off x="2314135" y="2131511"/>
            <a:ext cx="2592612" cy="73866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en-ID" sz="14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JAMINAN </a:t>
            </a:r>
          </a:p>
          <a:p>
            <a:pPr marL="0" marR="0" lvl="0" indent="0" algn="r"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en-ID" sz="14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MUTU </a:t>
            </a:r>
          </a:p>
          <a:p>
            <a:pPr marL="0" marR="0" lvl="0" indent="0" algn="r" defTabSz="914400" rtl="0" eaLnBrk="1" fontAlgn="auto" latinLnBrk="0" hangingPunct="1">
              <a:lnSpc>
                <a:spcPct val="100000"/>
              </a:lnSpc>
              <a:spcBef>
                <a:spcPts val="0"/>
              </a:spcBef>
              <a:spcAft>
                <a:spcPts val="0"/>
              </a:spcAft>
              <a:buClr>
                <a:srgbClr val="000000"/>
              </a:buClr>
              <a:buSzPts val="2800"/>
              <a:buFont typeface="Arial"/>
              <a:buNone/>
              <a:tabLst/>
              <a:defRPr/>
            </a:pPr>
            <a:r>
              <a:rPr kumimoji="0" lang="en-ID" sz="14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PELAYANAN</a:t>
            </a:r>
          </a:p>
        </p:txBody>
      </p:sp>
      <p:pic>
        <p:nvPicPr>
          <p:cNvPr id="43" name="Picture 42" descr="A picture containing text&#10;&#10;Description automatically generated">
            <a:extLst>
              <a:ext uri="{FF2B5EF4-FFF2-40B4-BE49-F238E27FC236}">
                <a16:creationId xmlns:a16="http://schemas.microsoft.com/office/drawing/2014/main" id="{33521DD1-26A7-4746-8CAB-6C9EF2E2089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352299" y="2316035"/>
            <a:ext cx="1653644" cy="1067917"/>
          </a:xfrm>
          <a:prstGeom prst="rect">
            <a:avLst/>
          </a:prstGeom>
        </p:spPr>
      </p:pic>
      <p:pic>
        <p:nvPicPr>
          <p:cNvPr id="44" name="Picture 43" descr="A picture containing text&#10;&#10;Description automatically generated">
            <a:extLst>
              <a:ext uri="{FF2B5EF4-FFF2-40B4-BE49-F238E27FC236}">
                <a16:creationId xmlns:a16="http://schemas.microsoft.com/office/drawing/2014/main" id="{AA8D07C6-D4CD-3441-88D0-00B62F06E79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890516" y="2393283"/>
            <a:ext cx="1758622" cy="1135711"/>
          </a:xfrm>
          <a:prstGeom prst="rect">
            <a:avLst/>
          </a:prstGeom>
        </p:spPr>
      </p:pic>
      <p:pic>
        <p:nvPicPr>
          <p:cNvPr id="45" name="Picture 44" descr="A picture containing text&#10;&#10;Description automatically generated">
            <a:extLst>
              <a:ext uri="{FF2B5EF4-FFF2-40B4-BE49-F238E27FC236}">
                <a16:creationId xmlns:a16="http://schemas.microsoft.com/office/drawing/2014/main" id="{DE280AE7-9AB2-A34C-8FA9-7FEDE89F7E1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907745" y="4360034"/>
            <a:ext cx="2687359" cy="2348039"/>
          </a:xfrm>
          <a:prstGeom prst="rect">
            <a:avLst/>
          </a:prstGeom>
        </p:spPr>
      </p:pic>
      <p:pic>
        <p:nvPicPr>
          <p:cNvPr id="46" name="Picture 45" descr="A picture containing text&#10;&#10;Description automatically generated">
            <a:extLst>
              <a:ext uri="{FF2B5EF4-FFF2-40B4-BE49-F238E27FC236}">
                <a16:creationId xmlns:a16="http://schemas.microsoft.com/office/drawing/2014/main" id="{DE9DBFCD-0818-A74D-9466-4D8480F30EA8}"/>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3641" b="-22126"/>
          <a:stretch/>
        </p:blipFill>
        <p:spPr>
          <a:xfrm>
            <a:off x="9952011" y="5421060"/>
            <a:ext cx="2327077" cy="1609811"/>
          </a:xfrm>
          <a:prstGeom prst="rect">
            <a:avLst/>
          </a:prstGeom>
        </p:spPr>
      </p:pic>
      <p:pic>
        <p:nvPicPr>
          <p:cNvPr id="47" name="Picture 46">
            <a:extLst>
              <a:ext uri="{FF2B5EF4-FFF2-40B4-BE49-F238E27FC236}">
                <a16:creationId xmlns:a16="http://schemas.microsoft.com/office/drawing/2014/main" id="{A9467063-6C9C-9543-9AB0-03678644C55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145392" y="3647137"/>
            <a:ext cx="4138863" cy="2902251"/>
          </a:xfrm>
          <a:prstGeom prst="rect">
            <a:avLst/>
          </a:prstGeom>
        </p:spPr>
      </p:pic>
      <p:graphicFrame>
        <p:nvGraphicFramePr>
          <p:cNvPr id="48" name="Table 9">
            <a:extLst>
              <a:ext uri="{FF2B5EF4-FFF2-40B4-BE49-F238E27FC236}">
                <a16:creationId xmlns:a16="http://schemas.microsoft.com/office/drawing/2014/main" id="{F96108B5-A030-2F47-96E9-C8E9D3343103}"/>
              </a:ext>
            </a:extLst>
          </p:cNvPr>
          <p:cNvGraphicFramePr>
            <a:graphicFrameLocks noGrp="1"/>
          </p:cNvGraphicFramePr>
          <p:nvPr/>
        </p:nvGraphicFramePr>
        <p:xfrm>
          <a:off x="9107350" y="3721632"/>
          <a:ext cx="2648100" cy="989615"/>
        </p:xfrm>
        <a:graphic>
          <a:graphicData uri="http://schemas.openxmlformats.org/drawingml/2006/table">
            <a:tbl>
              <a:tblPr firstRow="1" bandRow="1">
                <a:tableStyleId>{5940675A-B579-460E-94D1-54222C63F5DA}</a:tableStyleId>
              </a:tblPr>
              <a:tblGrid>
                <a:gridCol w="2648100">
                  <a:extLst>
                    <a:ext uri="{9D8B030D-6E8A-4147-A177-3AD203B41FA5}">
                      <a16:colId xmlns:a16="http://schemas.microsoft.com/office/drawing/2014/main" val="1099309215"/>
                    </a:ext>
                  </a:extLst>
                </a:gridCol>
              </a:tblGrid>
              <a:tr h="446163">
                <a:tc>
                  <a:txBody>
                    <a:bodyPr/>
                    <a:lstStyle/>
                    <a:p>
                      <a:pPr marL="0" indent="0" latinLnBrk="1">
                        <a:buFont typeface="Wingdings" pitchFamily="2" charset="2"/>
                        <a:buNone/>
                        <a:defRPr/>
                      </a:pPr>
                      <a:r>
                        <a:rPr lang="en-US" sz="800" b="1" dirty="0" err="1">
                          <a:solidFill>
                            <a:schemeClr val="tx1"/>
                          </a:solidFill>
                          <a:latin typeface="Montserrat" pitchFamily="2" charset="77"/>
                          <a:cs typeface="Poppins" panose="00000500000000000000" pitchFamily="2" charset="0"/>
                        </a:rPr>
                        <a:t>Asosiasi</a:t>
                      </a:r>
                      <a:r>
                        <a:rPr lang="en-US" sz="800" b="1" dirty="0">
                          <a:solidFill>
                            <a:schemeClr val="tx1"/>
                          </a:solidFill>
                          <a:latin typeface="Montserrat" pitchFamily="2" charset="77"/>
                          <a:cs typeface="Poppins" panose="00000500000000000000" pitchFamily="2" charset="0"/>
                        </a:rPr>
                        <a:t> </a:t>
                      </a:r>
                      <a:r>
                        <a:rPr lang="en-US" sz="800" b="1" dirty="0" err="1">
                          <a:solidFill>
                            <a:schemeClr val="tx1"/>
                          </a:solidFill>
                          <a:latin typeface="Montserrat" pitchFamily="2" charset="77"/>
                          <a:cs typeface="Poppins" panose="00000500000000000000" pitchFamily="2" charset="0"/>
                        </a:rPr>
                        <a:t>Terakreditasi</a:t>
                      </a:r>
                      <a:endParaRPr lang="en-US" sz="800" b="1" dirty="0">
                        <a:solidFill>
                          <a:schemeClr val="tx1"/>
                        </a:solidFill>
                        <a:latin typeface="Montserrat" pitchFamily="2" charset="77"/>
                        <a:cs typeface="Poppins" panose="00000500000000000000" pitchFamily="2" charset="0"/>
                      </a:endParaRPr>
                    </a:p>
                    <a:p>
                      <a:pPr marL="517525" indent="-285750" latinLnBrk="1">
                        <a:buFont typeface="Wingdings" panose="05000000000000000000" pitchFamily="2" charset="2"/>
                        <a:buChar char="ü"/>
                        <a:defRPr/>
                      </a:pPr>
                      <a:r>
                        <a:rPr lang="en-US" sz="800" b="0" dirty="0" err="1">
                          <a:solidFill>
                            <a:schemeClr val="tx1"/>
                          </a:solidFill>
                          <a:latin typeface="Montserrat" pitchFamily="2" charset="77"/>
                          <a:cs typeface="Poppins" panose="00000500000000000000" pitchFamily="2" charset="0"/>
                        </a:rPr>
                        <a:t>Pengembangan</a:t>
                      </a:r>
                      <a:r>
                        <a:rPr lang="en-US" sz="800" b="0" dirty="0">
                          <a:solidFill>
                            <a:schemeClr val="tx1"/>
                          </a:solidFill>
                          <a:latin typeface="Montserrat" pitchFamily="2" charset="77"/>
                          <a:cs typeface="Poppins" panose="00000500000000000000" pitchFamily="2" charset="0"/>
                        </a:rPr>
                        <a:t> </a:t>
                      </a:r>
                      <a:r>
                        <a:rPr lang="en-US" sz="800" b="0" dirty="0" err="1">
                          <a:solidFill>
                            <a:schemeClr val="tx1"/>
                          </a:solidFill>
                          <a:latin typeface="Montserrat" pitchFamily="2" charset="77"/>
                          <a:cs typeface="Poppins" panose="00000500000000000000" pitchFamily="2" charset="0"/>
                        </a:rPr>
                        <a:t>usaha</a:t>
                      </a:r>
                      <a:r>
                        <a:rPr lang="en-US" sz="800" b="0" dirty="0">
                          <a:solidFill>
                            <a:schemeClr val="tx1"/>
                          </a:solidFill>
                          <a:latin typeface="Montserrat" pitchFamily="2" charset="77"/>
                          <a:cs typeface="Poppins" panose="00000500000000000000" pitchFamily="2" charset="0"/>
                        </a:rPr>
                        <a:t> </a:t>
                      </a:r>
                      <a:r>
                        <a:rPr lang="en-US" sz="800" b="0" dirty="0" err="1">
                          <a:solidFill>
                            <a:schemeClr val="tx1"/>
                          </a:solidFill>
                          <a:latin typeface="Montserrat" pitchFamily="2" charset="77"/>
                          <a:cs typeface="Poppins" panose="00000500000000000000" pitchFamily="2" charset="0"/>
                        </a:rPr>
                        <a:t>berkelanjutan</a:t>
                      </a:r>
                      <a:endParaRPr lang="en-US" sz="800" b="0" dirty="0">
                        <a:solidFill>
                          <a:schemeClr val="tx1"/>
                        </a:solidFill>
                        <a:latin typeface="Montserrat" pitchFamily="2" charset="77"/>
                        <a:cs typeface="Poppins" panose="00000500000000000000" pitchFamily="2" charset="0"/>
                      </a:endParaRPr>
                    </a:p>
                    <a:p>
                      <a:pPr marL="517525" indent="-285750" latinLnBrk="1">
                        <a:buFont typeface="Wingdings" panose="05000000000000000000" pitchFamily="2" charset="2"/>
                        <a:buChar char="ü"/>
                        <a:defRPr/>
                      </a:pPr>
                      <a:r>
                        <a:rPr lang="en-US" sz="800" b="0" dirty="0" err="1">
                          <a:solidFill>
                            <a:schemeClr val="tx1"/>
                          </a:solidFill>
                          <a:latin typeface="Montserrat" pitchFamily="2" charset="77"/>
                          <a:cs typeface="Poppins" panose="00000500000000000000" pitchFamily="2" charset="0"/>
                        </a:rPr>
                        <a:t>Pengembangan</a:t>
                      </a:r>
                      <a:r>
                        <a:rPr lang="en-US" sz="800" b="0" dirty="0">
                          <a:solidFill>
                            <a:schemeClr val="tx1"/>
                          </a:solidFill>
                          <a:latin typeface="Montserrat" pitchFamily="2" charset="77"/>
                          <a:cs typeface="Poppins" panose="00000500000000000000" pitchFamily="2" charset="0"/>
                        </a:rPr>
                        <a:t> </a:t>
                      </a:r>
                      <a:r>
                        <a:rPr lang="en-US" sz="800" b="0" dirty="0" err="1">
                          <a:solidFill>
                            <a:schemeClr val="tx1"/>
                          </a:solidFill>
                          <a:latin typeface="Montserrat" pitchFamily="2" charset="77"/>
                          <a:cs typeface="Poppins" panose="00000500000000000000" pitchFamily="2" charset="0"/>
                        </a:rPr>
                        <a:t>keprofesian</a:t>
                      </a:r>
                      <a:r>
                        <a:rPr lang="en-US" sz="800" b="0" dirty="0">
                          <a:solidFill>
                            <a:schemeClr val="tx1"/>
                          </a:solidFill>
                          <a:latin typeface="Montserrat" pitchFamily="2" charset="77"/>
                          <a:cs typeface="Poppins" panose="00000500000000000000" pitchFamily="2" charset="0"/>
                        </a:rPr>
                        <a:t> </a:t>
                      </a:r>
                      <a:r>
                        <a:rPr lang="en-US" sz="800" b="0" dirty="0" err="1">
                          <a:solidFill>
                            <a:schemeClr val="tx1"/>
                          </a:solidFill>
                          <a:latin typeface="Montserrat" pitchFamily="2" charset="77"/>
                          <a:cs typeface="Poppins" panose="00000500000000000000" pitchFamily="2" charset="0"/>
                        </a:rPr>
                        <a:t>berkelanjutan</a:t>
                      </a:r>
                      <a:endParaRPr lang="en-US" sz="800" b="0" dirty="0">
                        <a:solidFill>
                          <a:schemeClr val="tx1"/>
                        </a:solidFill>
                        <a:latin typeface="Montserrat" pitchFamily="2" charset="77"/>
                        <a:cs typeface="Poppins" panose="00000500000000000000" pitchFamily="2" charset="0"/>
                      </a:endParaRPr>
                    </a:p>
                  </a:txBody>
                  <a:tcPr marL="55770" marR="55770" marT="27886" marB="27886"/>
                </a:tc>
                <a:extLst>
                  <a:ext uri="{0D108BD9-81ED-4DB2-BD59-A6C34878D82A}">
                    <a16:rowId xmlns:a16="http://schemas.microsoft.com/office/drawing/2014/main" val="1048168755"/>
                  </a:ext>
                </a:extLst>
              </a:tr>
              <a:tr h="446163">
                <a:tc>
                  <a:txBody>
                    <a:bodyPr/>
                    <a:lstStyle/>
                    <a:p>
                      <a:pPr marL="0" indent="0" latinLnBrk="1">
                        <a:buFont typeface="Wingdings" pitchFamily="2" charset="2"/>
                        <a:buNone/>
                        <a:defRPr/>
                      </a:pPr>
                      <a:r>
                        <a:rPr lang="en-US" sz="800" b="1" dirty="0">
                          <a:solidFill>
                            <a:schemeClr val="tx1"/>
                          </a:solidFill>
                          <a:latin typeface="Montserrat" pitchFamily="2" charset="77"/>
                          <a:cs typeface="Poppins" panose="00000500000000000000" pitchFamily="2" charset="0"/>
                        </a:rPr>
                        <a:t>Wakil Masyarakat Jasa </a:t>
                      </a:r>
                      <a:r>
                        <a:rPr lang="en-US" sz="800" b="1" dirty="0" err="1">
                          <a:solidFill>
                            <a:schemeClr val="tx1"/>
                          </a:solidFill>
                          <a:latin typeface="Montserrat" pitchFamily="2" charset="77"/>
                          <a:cs typeface="Poppins" panose="00000500000000000000" pitchFamily="2" charset="0"/>
                        </a:rPr>
                        <a:t>Konstruksi</a:t>
                      </a:r>
                      <a:r>
                        <a:rPr lang="en-US" sz="800" b="1" dirty="0">
                          <a:solidFill>
                            <a:schemeClr val="tx1"/>
                          </a:solidFill>
                          <a:latin typeface="Montserrat" pitchFamily="2" charset="77"/>
                          <a:cs typeface="Poppins" panose="00000500000000000000" pitchFamily="2" charset="0"/>
                        </a:rPr>
                        <a:t>  </a:t>
                      </a:r>
                      <a:r>
                        <a:rPr lang="en-US" sz="800" b="1" dirty="0" err="1">
                          <a:solidFill>
                            <a:schemeClr val="tx1"/>
                          </a:solidFill>
                          <a:latin typeface="Montserrat" pitchFamily="2" charset="77"/>
                          <a:cs typeface="Poppins" panose="00000500000000000000" pitchFamily="2" charset="0"/>
                        </a:rPr>
                        <a:t>dalam</a:t>
                      </a:r>
                      <a:r>
                        <a:rPr lang="en-US" sz="800" b="1" dirty="0">
                          <a:solidFill>
                            <a:schemeClr val="tx1"/>
                          </a:solidFill>
                          <a:latin typeface="Montserrat" pitchFamily="2" charset="77"/>
                          <a:cs typeface="Poppins" panose="00000500000000000000" pitchFamily="2" charset="0"/>
                        </a:rPr>
                        <a:t> LPJK</a:t>
                      </a:r>
                    </a:p>
                    <a:p>
                      <a:pPr marL="560387" indent="-285750" latinLnBrk="1">
                        <a:buFont typeface="Wingdings" panose="05000000000000000000" pitchFamily="2" charset="2"/>
                        <a:buChar char="ü"/>
                        <a:defRPr/>
                      </a:pPr>
                      <a:r>
                        <a:rPr lang="en-US" sz="800" b="0" dirty="0" err="1">
                          <a:solidFill>
                            <a:schemeClr val="tx1"/>
                          </a:solidFill>
                          <a:latin typeface="Montserrat" pitchFamily="2" charset="77"/>
                          <a:cs typeface="Poppins" panose="00000500000000000000" pitchFamily="2" charset="0"/>
                        </a:rPr>
                        <a:t>Unsur</a:t>
                      </a:r>
                      <a:r>
                        <a:rPr lang="en-US" sz="800" b="0" dirty="0">
                          <a:solidFill>
                            <a:schemeClr val="tx1"/>
                          </a:solidFill>
                          <a:latin typeface="Montserrat" pitchFamily="2" charset="77"/>
                          <a:cs typeface="Poppins" panose="00000500000000000000" pitchFamily="2" charset="0"/>
                        </a:rPr>
                        <a:t> </a:t>
                      </a:r>
                      <a:r>
                        <a:rPr lang="en-US" sz="800" b="0" dirty="0" err="1">
                          <a:solidFill>
                            <a:schemeClr val="tx1"/>
                          </a:solidFill>
                          <a:latin typeface="Montserrat" pitchFamily="2" charset="77"/>
                          <a:cs typeface="Poppins" panose="00000500000000000000" pitchFamily="2" charset="0"/>
                        </a:rPr>
                        <a:t>Pengurus</a:t>
                      </a:r>
                      <a:endParaRPr lang="en-US" sz="800" b="0" dirty="0">
                        <a:solidFill>
                          <a:schemeClr val="tx1"/>
                        </a:solidFill>
                        <a:latin typeface="Montserrat" pitchFamily="2" charset="77"/>
                        <a:cs typeface="Poppins" panose="00000500000000000000" pitchFamily="2" charset="0"/>
                      </a:endParaRPr>
                    </a:p>
                    <a:p>
                      <a:pPr marL="560387" indent="-285750" latinLnBrk="1">
                        <a:buFont typeface="Wingdings" panose="05000000000000000000" pitchFamily="2" charset="2"/>
                        <a:buChar char="ü"/>
                        <a:defRPr/>
                      </a:pPr>
                      <a:r>
                        <a:rPr lang="en-US" sz="800" b="0" dirty="0" err="1">
                          <a:solidFill>
                            <a:schemeClr val="tx1"/>
                          </a:solidFill>
                          <a:latin typeface="Montserrat" pitchFamily="2" charset="77"/>
                          <a:cs typeface="Poppins" panose="00000500000000000000" pitchFamily="2" charset="0"/>
                        </a:rPr>
                        <a:t>Pemilihan</a:t>
                      </a:r>
                      <a:r>
                        <a:rPr lang="en-US" sz="800" b="0" dirty="0">
                          <a:solidFill>
                            <a:schemeClr val="tx1"/>
                          </a:solidFill>
                          <a:latin typeface="Montserrat" pitchFamily="2" charset="77"/>
                          <a:cs typeface="Poppins" panose="00000500000000000000" pitchFamily="2" charset="0"/>
                        </a:rPr>
                        <a:t> </a:t>
                      </a:r>
                      <a:r>
                        <a:rPr lang="en-US" sz="800" b="0" dirty="0" err="1">
                          <a:solidFill>
                            <a:schemeClr val="tx1"/>
                          </a:solidFill>
                          <a:latin typeface="Montserrat" pitchFamily="2" charset="77"/>
                          <a:cs typeface="Poppins" panose="00000500000000000000" pitchFamily="2" charset="0"/>
                        </a:rPr>
                        <a:t>Pengurus</a:t>
                      </a:r>
                      <a:r>
                        <a:rPr lang="en-US" sz="800" b="0" dirty="0">
                          <a:solidFill>
                            <a:schemeClr val="tx1"/>
                          </a:solidFill>
                          <a:latin typeface="Montserrat" pitchFamily="2" charset="77"/>
                          <a:cs typeface="Poppins" panose="00000500000000000000" pitchFamily="2" charset="0"/>
                        </a:rPr>
                        <a:t> </a:t>
                      </a:r>
                      <a:r>
                        <a:rPr lang="en-US" sz="800" b="0" dirty="0" err="1">
                          <a:solidFill>
                            <a:schemeClr val="tx1"/>
                          </a:solidFill>
                          <a:latin typeface="Montserrat" pitchFamily="2" charset="77"/>
                          <a:cs typeface="Poppins" panose="00000500000000000000" pitchFamily="2" charset="0"/>
                        </a:rPr>
                        <a:t>bersama</a:t>
                      </a:r>
                      <a:r>
                        <a:rPr lang="en-US" sz="800" b="0" dirty="0">
                          <a:solidFill>
                            <a:schemeClr val="tx1"/>
                          </a:solidFill>
                          <a:latin typeface="Montserrat" pitchFamily="2" charset="77"/>
                          <a:cs typeface="Poppins" panose="00000500000000000000" pitchFamily="2" charset="0"/>
                        </a:rPr>
                        <a:t> DPR</a:t>
                      </a:r>
                    </a:p>
                  </a:txBody>
                  <a:tcPr marL="55770" marR="55770" marT="27886" marB="27886"/>
                </a:tc>
                <a:extLst>
                  <a:ext uri="{0D108BD9-81ED-4DB2-BD59-A6C34878D82A}">
                    <a16:rowId xmlns:a16="http://schemas.microsoft.com/office/drawing/2014/main" val="4250516429"/>
                  </a:ext>
                </a:extLst>
              </a:tr>
            </a:tbl>
          </a:graphicData>
        </a:graphic>
      </p:graphicFrame>
      <p:pic>
        <p:nvPicPr>
          <p:cNvPr id="50" name="Picture 49" descr="Graphical user interface&#10;&#10;Description automatically generated">
            <a:extLst>
              <a:ext uri="{FF2B5EF4-FFF2-40B4-BE49-F238E27FC236}">
                <a16:creationId xmlns:a16="http://schemas.microsoft.com/office/drawing/2014/main" id="{E211C042-7AFE-DF42-B3A2-B405B9C7940A}"/>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9359316" y="4753602"/>
            <a:ext cx="1264014" cy="1037511"/>
          </a:xfrm>
          <a:prstGeom prst="rect">
            <a:avLst/>
          </a:prstGeom>
        </p:spPr>
      </p:pic>
      <p:sp>
        <p:nvSpPr>
          <p:cNvPr id="2" name="Rounded Rectangle 1">
            <a:extLst>
              <a:ext uri="{FF2B5EF4-FFF2-40B4-BE49-F238E27FC236}">
                <a16:creationId xmlns:a16="http://schemas.microsoft.com/office/drawing/2014/main" id="{2F356848-3DE4-2536-EA75-CA78E3BD3ABD}"/>
              </a:ext>
            </a:extLst>
          </p:cNvPr>
          <p:cNvSpPr/>
          <p:nvPr/>
        </p:nvSpPr>
        <p:spPr>
          <a:xfrm>
            <a:off x="6300220" y="823776"/>
            <a:ext cx="5724766" cy="1238170"/>
          </a:xfrm>
          <a:prstGeom prst="roundRect">
            <a:avLst/>
          </a:prstGeom>
          <a:noFill/>
          <a:ln w="38100">
            <a:solidFill>
              <a:srgbClr val="FF0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4" name="TextBox 3">
            <a:extLst>
              <a:ext uri="{FF2B5EF4-FFF2-40B4-BE49-F238E27FC236}">
                <a16:creationId xmlns:a16="http://schemas.microsoft.com/office/drawing/2014/main" id="{5892AC6F-BF37-A6ED-CCAD-DF72EFA49C0D}"/>
              </a:ext>
            </a:extLst>
          </p:cNvPr>
          <p:cNvSpPr txBox="1"/>
          <p:nvPr/>
        </p:nvSpPr>
        <p:spPr>
          <a:xfrm>
            <a:off x="7205893" y="808493"/>
            <a:ext cx="3713138" cy="21544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D" sz="8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Tidak</a:t>
            </a:r>
            <a:r>
              <a:rPr kumimoji="0" lang="en-ID" sz="8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8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berlaku</a:t>
            </a:r>
            <a:r>
              <a:rPr kumimoji="0" lang="en-ID" sz="8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8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dengan</a:t>
            </a:r>
            <a:r>
              <a:rPr kumimoji="0" lang="en-ID" sz="8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8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terbitnya</a:t>
            </a:r>
            <a:r>
              <a:rPr kumimoji="0" lang="en-ID" sz="8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a:t>
            </a:r>
            <a:r>
              <a:rPr kumimoji="0" lang="en-ID" sz="8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PerMen</a:t>
            </a:r>
            <a:r>
              <a:rPr kumimoji="0" lang="en-ID" sz="8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PUPR No 8 </a:t>
            </a:r>
            <a:r>
              <a:rPr kumimoji="0" lang="en-ID" sz="800" b="1" i="0" u="none" strike="noStrike" kern="0" cap="none" spc="0" normalizeH="0" baseline="0" noProof="0" dirty="0" err="1">
                <a:ln>
                  <a:noFill/>
                </a:ln>
                <a:solidFill>
                  <a:srgbClr val="1E3267"/>
                </a:solidFill>
                <a:effectLst/>
                <a:uLnTx/>
                <a:uFillTx/>
                <a:latin typeface="Montserrat" pitchFamily="2" charset="77"/>
                <a:ea typeface="Tahoma"/>
                <a:cs typeface="Tahoma"/>
                <a:sym typeface="Tahoma"/>
              </a:rPr>
              <a:t>Tahun</a:t>
            </a:r>
            <a:r>
              <a:rPr kumimoji="0" lang="en-ID" sz="800" b="1" i="0" u="none" strike="noStrike" kern="0" cap="none" spc="0" normalizeH="0" baseline="0" noProof="0" dirty="0">
                <a:ln>
                  <a:noFill/>
                </a:ln>
                <a:solidFill>
                  <a:srgbClr val="1E3267"/>
                </a:solidFill>
                <a:effectLst/>
                <a:uLnTx/>
                <a:uFillTx/>
                <a:latin typeface="Montserrat" pitchFamily="2" charset="77"/>
                <a:ea typeface="Tahoma"/>
                <a:cs typeface="Tahoma"/>
                <a:sym typeface="Tahoma"/>
              </a:rPr>
              <a:t> 2022</a:t>
            </a:r>
            <a:endParaRPr kumimoji="0" lang="en-US" sz="800" b="0" i="0" u="none" strike="noStrike" kern="0" cap="none" spc="0" normalizeH="0" baseline="0" noProof="0" dirty="0">
              <a:ln>
                <a:noFill/>
              </a:ln>
              <a:solidFill>
                <a:srgbClr val="000000"/>
              </a:solidFill>
              <a:effectLst/>
              <a:uLnTx/>
              <a:uFillTx/>
              <a:latin typeface="Arial"/>
              <a:cs typeface="Arial"/>
              <a:sym typeface="Arial"/>
            </a:endParaRPr>
          </a:p>
        </p:txBody>
      </p:sp>
      <p:sp>
        <p:nvSpPr>
          <p:cNvPr id="5" name="Rectangle 4">
            <a:extLst>
              <a:ext uri="{FF2B5EF4-FFF2-40B4-BE49-F238E27FC236}">
                <a16:creationId xmlns:a16="http://schemas.microsoft.com/office/drawing/2014/main" id="{79861E21-D888-E18D-097A-9E4A0AAC71B8}"/>
              </a:ext>
            </a:extLst>
          </p:cNvPr>
          <p:cNvSpPr/>
          <p:nvPr/>
        </p:nvSpPr>
        <p:spPr>
          <a:xfrm>
            <a:off x="2721561" y="113963"/>
            <a:ext cx="8922979" cy="441774"/>
          </a:xfrm>
          <a:prstGeom prst="rect">
            <a:avLst/>
          </a:prstGeom>
          <a:solidFill>
            <a:srgbClr val="1E32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6" name="TextBox 5">
            <a:extLst>
              <a:ext uri="{FF2B5EF4-FFF2-40B4-BE49-F238E27FC236}">
                <a16:creationId xmlns:a16="http://schemas.microsoft.com/office/drawing/2014/main" id="{9076C4E5-A1AD-31D2-549C-3BE70F478840}"/>
              </a:ext>
            </a:extLst>
          </p:cNvPr>
          <p:cNvSpPr txBox="1"/>
          <p:nvPr/>
        </p:nvSpPr>
        <p:spPr>
          <a:xfrm>
            <a:off x="2721561" y="173234"/>
            <a:ext cx="8602912"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 typeface="Arial"/>
              <a:buNone/>
              <a:tabLst/>
              <a:defRPr/>
            </a:pPr>
            <a:r>
              <a:rPr kumimoji="0" lang="en-US" sz="1800" b="1" i="0" u="none" strike="noStrike" kern="0" cap="none" spc="0" normalizeH="0" baseline="0" noProof="0" dirty="0">
                <a:ln>
                  <a:noFill/>
                </a:ln>
                <a:solidFill>
                  <a:prstClr val="white"/>
                </a:solidFill>
                <a:effectLst/>
                <a:uLnTx/>
                <a:uFillTx/>
                <a:latin typeface="Montserrat" pitchFamily="2" charset="77"/>
                <a:cs typeface="Arial" panose="020B0604020202020204" pitchFamily="34" charset="0"/>
                <a:sym typeface="Wingdings" panose="05000000000000000000" pitchFamily="2" charset="2"/>
              </a:rPr>
              <a:t>PENYELENGGARAAN SERTIFIKASI BIDANG JASA KONSTRUKSI</a:t>
            </a:r>
          </a:p>
        </p:txBody>
      </p:sp>
    </p:spTree>
    <p:extLst>
      <p:ext uri="{BB962C8B-B14F-4D97-AF65-F5344CB8AC3E}">
        <p14:creationId xmlns:p14="http://schemas.microsoft.com/office/powerpoint/2010/main" val="14798665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DCA718B4-DAF6-4B86-9F29-34EDBB98BEB6}"/>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50" name="Rectangle 149">
            <a:extLst>
              <a:ext uri="{FF2B5EF4-FFF2-40B4-BE49-F238E27FC236}">
                <a16:creationId xmlns:a16="http://schemas.microsoft.com/office/drawing/2014/main" id="{8AA2187C-FF14-D4D6-2D9B-6AE16C6F5E60}"/>
              </a:ext>
            </a:extLst>
          </p:cNvPr>
          <p:cNvSpPr/>
          <p:nvPr/>
        </p:nvSpPr>
        <p:spPr>
          <a:xfrm>
            <a:off x="0" y="0"/>
            <a:ext cx="12192000" cy="6858000"/>
          </a:xfrm>
          <a:prstGeom prst="rect">
            <a:avLst/>
          </a:prstGeom>
          <a:gradFill>
            <a:gsLst>
              <a:gs pos="0">
                <a:schemeClr val="bg1"/>
              </a:gs>
              <a:gs pos="100000">
                <a:srgbClr val="1E3267">
                  <a:alpha val="75949"/>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5" name="Rectangle: Single Corner Rounded 4">
            <a:extLst>
              <a:ext uri="{FF2B5EF4-FFF2-40B4-BE49-F238E27FC236}">
                <a16:creationId xmlns:a16="http://schemas.microsoft.com/office/drawing/2014/main" id="{6B7EFB90-D2F5-99CF-0A50-57E9FAA78EFB}"/>
              </a:ext>
            </a:extLst>
          </p:cNvPr>
          <p:cNvSpPr/>
          <p:nvPr/>
        </p:nvSpPr>
        <p:spPr>
          <a:xfrm flipH="1" flipV="1">
            <a:off x="6699996" y="-3"/>
            <a:ext cx="5492004" cy="6634559"/>
          </a:xfrm>
          <a:prstGeom prst="round1Rect">
            <a:avLst/>
          </a:prstGeom>
          <a:solidFill>
            <a:schemeClr val="bg1"/>
          </a:solidFill>
          <a:ln>
            <a:noFill/>
          </a:ln>
          <a:effectLst>
            <a:outerShdw blurRad="508000" dist="127000" dir="81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4" name="Slide Number Placeholder 3">
            <a:extLst>
              <a:ext uri="{FF2B5EF4-FFF2-40B4-BE49-F238E27FC236}">
                <a16:creationId xmlns:a16="http://schemas.microsoft.com/office/drawing/2014/main" id="{C061FF23-803C-4EDE-E3BE-3E4E51FF3F9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5A0E4C-AEED-4EAC-B96D-5DCBA748C5AA}" type="slidenum">
              <a:rPr kumimoji="0" lang="en-ID" sz="1200" b="0" i="0" u="none" strike="noStrike" kern="1200" cap="none" spc="0" normalizeH="0" baseline="0" noProof="0" smtClean="0">
                <a:ln>
                  <a:noFill/>
                </a:ln>
                <a:solidFill>
                  <a:prstClr val="white"/>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ID" sz="1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24" name="Rectangle: Rounded Corners 23">
            <a:extLst>
              <a:ext uri="{FF2B5EF4-FFF2-40B4-BE49-F238E27FC236}">
                <a16:creationId xmlns:a16="http://schemas.microsoft.com/office/drawing/2014/main" id="{9A44698F-18D7-A040-B8AC-B41B3E95220F}"/>
              </a:ext>
            </a:extLst>
          </p:cNvPr>
          <p:cNvSpPr/>
          <p:nvPr/>
        </p:nvSpPr>
        <p:spPr>
          <a:xfrm>
            <a:off x="580362" y="711450"/>
            <a:ext cx="5539272" cy="546069"/>
          </a:xfrm>
          <a:prstGeom prst="roundRect">
            <a:avLst/>
          </a:prstGeom>
          <a:solidFill>
            <a:srgbClr val="213268"/>
          </a:solidFill>
        </p:spPr>
        <p:style>
          <a:lnRef idx="0">
            <a:schemeClr val="accent4"/>
          </a:lnRef>
          <a:fillRef idx="3">
            <a:schemeClr val="accent4"/>
          </a:fillRef>
          <a:effectRef idx="3">
            <a:schemeClr val="accent4"/>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entury Gothic" panose="020B0502020202020204" pitchFamily="34" charset="0"/>
                <a:ea typeface="Tahoma" panose="020B0604030504040204" pitchFamily="34" charset="0"/>
                <a:cs typeface="Tahoma" panose="020B0604030504040204" pitchFamily="34" charset="0"/>
              </a:rPr>
              <a:t>IMPLEMENTASI SISTEM INFORMASI JASA KONSTRUKSI (SIJKT) TERINTEGRASI</a:t>
            </a:r>
            <a:endParaRPr kumimoji="0" lang="en-ID" sz="1600" b="1" i="0" u="none" strike="noStrike" kern="1200" cap="none" spc="0" normalizeH="0" baseline="0" noProof="0" dirty="0">
              <a:ln>
                <a:noFill/>
              </a:ln>
              <a:solidFill>
                <a:prstClr val="white"/>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sp>
        <p:nvSpPr>
          <p:cNvPr id="25" name="TextBox 24">
            <a:extLst>
              <a:ext uri="{FF2B5EF4-FFF2-40B4-BE49-F238E27FC236}">
                <a16:creationId xmlns:a16="http://schemas.microsoft.com/office/drawing/2014/main" id="{728EF177-B31C-DC4E-93BF-199D01FBFA29}"/>
              </a:ext>
            </a:extLst>
          </p:cNvPr>
          <p:cNvSpPr txBox="1"/>
          <p:nvPr/>
        </p:nvSpPr>
        <p:spPr>
          <a:xfrm>
            <a:off x="838200" y="6492034"/>
            <a:ext cx="304762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213268"/>
                </a:solidFill>
                <a:effectLst/>
                <a:uLnTx/>
                <a:uFillTx/>
                <a:latin typeface="Arial Nova" panose="020B0504020202020204" pitchFamily="34" charset="0"/>
                <a:ea typeface="Tahoma" panose="020B0604030504040204" pitchFamily="34" charset="0"/>
                <a:cs typeface="Tahoma" panose="020B0604030504040204" pitchFamily="34" charset="0"/>
              </a:rPr>
              <a:t>Sumber</a:t>
            </a:r>
            <a:r>
              <a:rPr kumimoji="0" lang="en-US" sz="1000" b="0" i="0" u="none" strike="noStrike" kern="1200" cap="none" spc="0" normalizeH="0" baseline="0" noProof="0" dirty="0">
                <a:ln>
                  <a:noFill/>
                </a:ln>
                <a:solidFill>
                  <a:srgbClr val="213268"/>
                </a:solidFill>
                <a:effectLst/>
                <a:uLnTx/>
                <a:uFillTx/>
                <a:latin typeface="Arial Nova" panose="020B0504020202020204" pitchFamily="34" charset="0"/>
                <a:ea typeface="Tahoma" panose="020B0604030504040204" pitchFamily="34" charset="0"/>
                <a:cs typeface="Tahoma" panose="020B0604030504040204" pitchFamily="34" charset="0"/>
              </a:rPr>
              <a:t>: </a:t>
            </a:r>
            <a:r>
              <a:rPr kumimoji="0" lang="en-US" sz="1000" b="0" i="0" u="none" strike="noStrike" kern="1200" cap="none" spc="0" normalizeH="0" baseline="0" noProof="0" dirty="0" err="1">
                <a:ln>
                  <a:noFill/>
                </a:ln>
                <a:solidFill>
                  <a:srgbClr val="213268"/>
                </a:solidFill>
                <a:effectLst/>
                <a:uLnTx/>
                <a:uFillTx/>
                <a:latin typeface="Arial Nova" panose="020B0504020202020204" pitchFamily="34" charset="0"/>
                <a:ea typeface="Tahoma" panose="020B0604030504040204" pitchFamily="34" charset="0"/>
                <a:cs typeface="Tahoma" panose="020B0604030504040204" pitchFamily="34" charset="0"/>
              </a:rPr>
              <a:t>Direktorat</a:t>
            </a:r>
            <a:r>
              <a:rPr kumimoji="0" lang="en-US" sz="1000" b="0" i="0" u="none" strike="noStrike" kern="1200" cap="none" spc="0" normalizeH="0" baseline="0" noProof="0" dirty="0">
                <a:ln>
                  <a:noFill/>
                </a:ln>
                <a:solidFill>
                  <a:srgbClr val="213268"/>
                </a:solidFill>
                <a:effectLst/>
                <a:uLnTx/>
                <a:uFillTx/>
                <a:latin typeface="Arial Nova" panose="020B0504020202020204" pitchFamily="34" charset="0"/>
                <a:ea typeface="Tahoma" panose="020B0604030504040204" pitchFamily="34" charset="0"/>
                <a:cs typeface="Tahoma" panose="020B0604030504040204" pitchFamily="34" charset="0"/>
              </a:rPr>
              <a:t> </a:t>
            </a:r>
            <a:r>
              <a:rPr kumimoji="0" lang="en-US" sz="1000" b="0" i="0" u="none" strike="noStrike" kern="1200" cap="none" spc="0" normalizeH="0" baseline="0" noProof="0" dirty="0" err="1">
                <a:ln>
                  <a:noFill/>
                </a:ln>
                <a:solidFill>
                  <a:srgbClr val="213268"/>
                </a:solidFill>
                <a:effectLst/>
                <a:uLnTx/>
                <a:uFillTx/>
                <a:latin typeface="Arial Nova" panose="020B0504020202020204" pitchFamily="34" charset="0"/>
                <a:ea typeface="Tahoma" panose="020B0604030504040204" pitchFamily="34" charset="0"/>
                <a:cs typeface="Tahoma" panose="020B0604030504040204" pitchFamily="34" charset="0"/>
              </a:rPr>
              <a:t>Jenderal</a:t>
            </a:r>
            <a:r>
              <a:rPr kumimoji="0" lang="en-US" sz="1000" b="0" i="0" u="none" strike="noStrike" kern="1200" cap="none" spc="0" normalizeH="0" baseline="0" noProof="0" dirty="0">
                <a:ln>
                  <a:noFill/>
                </a:ln>
                <a:solidFill>
                  <a:srgbClr val="213268"/>
                </a:solidFill>
                <a:effectLst/>
                <a:uLnTx/>
                <a:uFillTx/>
                <a:latin typeface="Arial Nova" panose="020B0504020202020204" pitchFamily="34" charset="0"/>
                <a:ea typeface="Tahoma" panose="020B0604030504040204" pitchFamily="34" charset="0"/>
                <a:cs typeface="Tahoma" panose="020B0604030504040204" pitchFamily="34" charset="0"/>
              </a:rPr>
              <a:t> Bina </a:t>
            </a:r>
            <a:r>
              <a:rPr kumimoji="0" lang="en-US" sz="1000" b="0" i="0" u="none" strike="noStrike" kern="1200" cap="none" spc="0" normalizeH="0" baseline="0" noProof="0" dirty="0" err="1">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Konstruksi</a:t>
            </a:r>
            <a:r>
              <a:rPr kumimoji="0" lang="en-US" sz="1000" b="0" i="0" u="none" strike="noStrike" kern="1200" cap="none" spc="0" normalizeH="0" baseline="0" noProof="0" dirty="0">
                <a:ln>
                  <a:noFill/>
                </a:ln>
                <a:solidFill>
                  <a:srgbClr val="213268"/>
                </a:solidFill>
                <a:effectLst/>
                <a:uLnTx/>
                <a:uFillTx/>
                <a:latin typeface="Arial Nova" panose="020B0504020202020204" pitchFamily="34" charset="0"/>
                <a:ea typeface="Tahoma" panose="020B0604030504040204" pitchFamily="34" charset="0"/>
                <a:cs typeface="Tahoma" panose="020B0604030504040204" pitchFamily="34" charset="0"/>
              </a:rPr>
              <a:t>, 2021</a:t>
            </a:r>
            <a:endParaRPr kumimoji="0" lang="en-ID" sz="1000" b="0" i="0" u="none" strike="noStrike" kern="1200" cap="none" spc="0" normalizeH="0" baseline="0" noProof="0" dirty="0">
              <a:ln>
                <a:noFill/>
              </a:ln>
              <a:solidFill>
                <a:srgbClr val="213268"/>
              </a:solidFill>
              <a:effectLst/>
              <a:uLnTx/>
              <a:uFillTx/>
              <a:latin typeface="Arial Nova" panose="020B0504020202020204" pitchFamily="34" charset="0"/>
              <a:ea typeface="Tahoma" panose="020B0604030504040204" pitchFamily="34" charset="0"/>
              <a:cs typeface="Tahoma" panose="020B0604030504040204" pitchFamily="34" charset="0"/>
            </a:endParaRPr>
          </a:p>
        </p:txBody>
      </p:sp>
      <p:sp>
        <p:nvSpPr>
          <p:cNvPr id="26" name="Rectangle 25">
            <a:extLst>
              <a:ext uri="{FF2B5EF4-FFF2-40B4-BE49-F238E27FC236}">
                <a16:creationId xmlns:a16="http://schemas.microsoft.com/office/drawing/2014/main" id="{F33FCE8E-1E88-844E-B630-04C4D3B174F4}"/>
              </a:ext>
            </a:extLst>
          </p:cNvPr>
          <p:cNvSpPr/>
          <p:nvPr/>
        </p:nvSpPr>
        <p:spPr>
          <a:xfrm>
            <a:off x="580361" y="1321172"/>
            <a:ext cx="5539272" cy="533847"/>
          </a:xfrm>
          <a:prstGeom prst="rect">
            <a:avLst/>
          </a:prstGeom>
          <a:solidFill>
            <a:srgbClr val="F9B916"/>
          </a:solidFill>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black"/>
                </a:solidFill>
                <a:effectLst/>
                <a:uLnTx/>
                <a:uFillTx/>
                <a:latin typeface="Century Gothic" panose="020B0502020202020204" pitchFamily="34" charset="0"/>
                <a:ea typeface="Tahoma" panose="020B0604030504040204" pitchFamily="34" charset="0"/>
                <a:cs typeface="Tahoma" panose="020B0604030504040204" pitchFamily="34" charset="0"/>
              </a:rPr>
              <a:t>Sistem</a:t>
            </a: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Tahoma" panose="020B0604030504040204" pitchFamily="34" charset="0"/>
                <a:cs typeface="Tahoma" panose="020B0604030504040204" pitchFamily="34" charset="0"/>
              </a:rPr>
              <a:t> </a:t>
            </a:r>
            <a:r>
              <a:rPr kumimoji="0" lang="en-US" sz="1400" b="1" i="0" u="none" strike="noStrike" kern="1200" cap="none" spc="0" normalizeH="0" baseline="0" noProof="0" dirty="0" err="1">
                <a:ln>
                  <a:noFill/>
                </a:ln>
                <a:solidFill>
                  <a:prstClr val="black"/>
                </a:solidFill>
                <a:effectLst/>
                <a:uLnTx/>
                <a:uFillTx/>
                <a:latin typeface="Century Gothic" panose="020B0502020202020204" pitchFamily="34" charset="0"/>
                <a:ea typeface="Tahoma" panose="020B0604030504040204" pitchFamily="34" charset="0"/>
                <a:cs typeface="Tahoma" panose="020B0604030504040204" pitchFamily="34" charset="0"/>
              </a:rPr>
              <a:t>Informasi</a:t>
            </a: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Tahoma" panose="020B0604030504040204" pitchFamily="34" charset="0"/>
                <a:cs typeface="Tahoma" panose="020B0604030504040204" pitchFamily="34" charset="0"/>
              </a:rPr>
              <a:t> Jasa </a:t>
            </a:r>
            <a:r>
              <a:rPr kumimoji="0" lang="en-US" sz="1400" b="1" i="0" u="none" strike="noStrike" kern="1200" cap="none" spc="0" normalizeH="0" baseline="0" noProof="0" dirty="0" err="1">
                <a:ln>
                  <a:noFill/>
                </a:ln>
                <a:solidFill>
                  <a:prstClr val="black"/>
                </a:solidFill>
                <a:effectLst/>
                <a:uLnTx/>
                <a:uFillTx/>
                <a:latin typeface="Century Gothic" panose="020B0502020202020204" pitchFamily="34" charset="0"/>
                <a:ea typeface="Tahoma" panose="020B0604030504040204" pitchFamily="34" charset="0"/>
                <a:cs typeface="Tahoma" panose="020B0604030504040204" pitchFamily="34" charset="0"/>
              </a:rPr>
              <a:t>Konstruksi</a:t>
            </a: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Tahoma" panose="020B0604030504040204" pitchFamily="34" charset="0"/>
                <a:cs typeface="Tahoma" panose="020B0604030504040204" pitchFamily="34" charset="0"/>
              </a:rPr>
              <a:t> (SIJK) </a:t>
            </a:r>
            <a:r>
              <a:rPr kumimoji="0" lang="en-US" sz="1400" b="1" i="0" u="none" strike="noStrike" kern="1200" cap="none" spc="0" normalizeH="0" baseline="0" noProof="0" dirty="0" err="1">
                <a:ln>
                  <a:noFill/>
                </a:ln>
                <a:solidFill>
                  <a:prstClr val="black"/>
                </a:solidFill>
                <a:effectLst/>
                <a:uLnTx/>
                <a:uFillTx/>
                <a:latin typeface="Century Gothic" panose="020B0502020202020204" pitchFamily="34" charset="0"/>
                <a:ea typeface="Tahoma" panose="020B0604030504040204" pitchFamily="34" charset="0"/>
                <a:cs typeface="Tahoma" panose="020B0604030504040204" pitchFamily="34" charset="0"/>
              </a:rPr>
              <a:t>Terintegrasi</a:t>
            </a: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Tahoma" panose="020B0604030504040204" pitchFamily="34" charset="0"/>
                <a:cs typeface="Tahoma" panose="020B0604030504040204" pitchFamily="34" charset="0"/>
              </a:rPr>
              <a:t> </a:t>
            </a:r>
            <a:r>
              <a:rPr kumimoji="0" lang="en-US" sz="1400" b="1" i="0" u="none" strike="noStrike" kern="1200" cap="none" spc="0" normalizeH="0" baseline="0" noProof="0" dirty="0" err="1">
                <a:ln>
                  <a:noFill/>
                </a:ln>
                <a:solidFill>
                  <a:prstClr val="black"/>
                </a:solidFill>
                <a:effectLst/>
                <a:uLnTx/>
                <a:uFillTx/>
                <a:latin typeface="Century Gothic" panose="020B0502020202020204" pitchFamily="34" charset="0"/>
                <a:ea typeface="Tahoma" panose="020B0604030504040204" pitchFamily="34" charset="0"/>
                <a:cs typeface="Tahoma" panose="020B0604030504040204" pitchFamily="34" charset="0"/>
              </a:rPr>
              <a:t>sebagai</a:t>
            </a: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Tahoma" panose="020B0604030504040204" pitchFamily="34" charset="0"/>
                <a:cs typeface="Tahoma" panose="020B0604030504040204" pitchFamily="34" charset="0"/>
              </a:rPr>
              <a:t> </a:t>
            </a:r>
            <a:r>
              <a:rPr kumimoji="0" lang="en-US" sz="1400" b="1" i="1" u="none" strike="noStrike" kern="1200" cap="none" spc="0" normalizeH="0" baseline="0" noProof="0" dirty="0">
                <a:ln>
                  <a:noFill/>
                </a:ln>
                <a:solidFill>
                  <a:prstClr val="black"/>
                </a:solidFill>
                <a:effectLst/>
                <a:uLnTx/>
                <a:uFillTx/>
                <a:latin typeface="Century Gothic" panose="020B0502020202020204" pitchFamily="34" charset="0"/>
                <a:ea typeface="Tahoma" panose="020B0604030504040204" pitchFamily="34" charset="0"/>
                <a:cs typeface="Tahoma" panose="020B0604030504040204" pitchFamily="34" charset="0"/>
              </a:rPr>
              <a:t>Decision Support System </a:t>
            </a:r>
            <a:r>
              <a:rPr kumimoji="0" lang="en-US" sz="1400" b="1" i="0" u="none" strike="noStrike" kern="1200" cap="none" spc="0" normalizeH="0" baseline="0" noProof="0" dirty="0" err="1">
                <a:ln>
                  <a:noFill/>
                </a:ln>
                <a:solidFill>
                  <a:prstClr val="black"/>
                </a:solidFill>
                <a:effectLst/>
                <a:uLnTx/>
                <a:uFillTx/>
                <a:latin typeface="Century Gothic" panose="020B0502020202020204" pitchFamily="34" charset="0"/>
                <a:ea typeface="Tahoma" panose="020B0604030504040204" pitchFamily="34" charset="0"/>
                <a:cs typeface="Tahoma" panose="020B0604030504040204" pitchFamily="34" charset="0"/>
              </a:rPr>
              <a:t>dalam</a:t>
            </a: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Tahoma" panose="020B0604030504040204" pitchFamily="34" charset="0"/>
                <a:cs typeface="Tahoma" panose="020B0604030504040204" pitchFamily="34" charset="0"/>
              </a:rPr>
              <a:t> </a:t>
            </a:r>
            <a:r>
              <a:rPr kumimoji="0" lang="en-US" sz="1400" b="1" i="0" u="none" strike="noStrike" kern="1200" cap="none" spc="0" normalizeH="0" baseline="0" noProof="0" dirty="0" err="1">
                <a:ln>
                  <a:noFill/>
                </a:ln>
                <a:solidFill>
                  <a:prstClr val="black"/>
                </a:solidFill>
                <a:effectLst/>
                <a:uLnTx/>
                <a:uFillTx/>
                <a:latin typeface="Century Gothic" panose="020B0502020202020204" pitchFamily="34" charset="0"/>
                <a:ea typeface="Tahoma" panose="020B0604030504040204" pitchFamily="34" charset="0"/>
                <a:cs typeface="Tahoma" panose="020B0604030504040204" pitchFamily="34" charset="0"/>
              </a:rPr>
              <a:t>Perumusan</a:t>
            </a: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Tahoma" panose="020B0604030504040204" pitchFamily="34" charset="0"/>
                <a:cs typeface="Tahoma" panose="020B0604030504040204" pitchFamily="34" charset="0"/>
              </a:rPr>
              <a:t> </a:t>
            </a:r>
            <a:r>
              <a:rPr kumimoji="0" lang="en-US" sz="1400" b="1" i="0" u="none" strike="noStrike" kern="1200" cap="none" spc="0" normalizeH="0" baseline="0" noProof="0" dirty="0" err="1">
                <a:ln>
                  <a:noFill/>
                </a:ln>
                <a:solidFill>
                  <a:prstClr val="black"/>
                </a:solidFill>
                <a:effectLst/>
                <a:uLnTx/>
                <a:uFillTx/>
                <a:latin typeface="Century Gothic" panose="020B0502020202020204" pitchFamily="34" charset="0"/>
                <a:ea typeface="Tahoma" panose="020B0604030504040204" pitchFamily="34" charset="0"/>
                <a:cs typeface="Tahoma" panose="020B0604030504040204" pitchFamily="34" charset="0"/>
              </a:rPr>
              <a:t>Kebijakan</a:t>
            </a: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Tahoma" panose="020B0604030504040204" pitchFamily="34" charset="0"/>
                <a:cs typeface="Tahoma" panose="020B0604030504040204" pitchFamily="34" charset="0"/>
              </a:rPr>
              <a:t> </a:t>
            </a:r>
            <a:endParaRPr kumimoji="0" lang="en-US" sz="1000" b="1" i="0" u="none" strike="noStrike" kern="1200" cap="none" spc="0" normalizeH="0" baseline="0" noProof="0" dirty="0">
              <a:ln>
                <a:noFill/>
              </a:ln>
              <a:solidFill>
                <a:prstClr val="black"/>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graphicFrame>
        <p:nvGraphicFramePr>
          <p:cNvPr id="27" name="Diagram 26">
            <a:extLst>
              <a:ext uri="{FF2B5EF4-FFF2-40B4-BE49-F238E27FC236}">
                <a16:creationId xmlns:a16="http://schemas.microsoft.com/office/drawing/2014/main" id="{5E10840D-849F-4546-80E2-70B40E0EE289}"/>
              </a:ext>
            </a:extLst>
          </p:cNvPr>
          <p:cNvGraphicFramePr/>
          <p:nvPr/>
        </p:nvGraphicFramePr>
        <p:xfrm>
          <a:off x="150365" y="2061330"/>
          <a:ext cx="4862309" cy="436736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cxnSp>
        <p:nvCxnSpPr>
          <p:cNvPr id="28" name="Straight Connector 27">
            <a:extLst>
              <a:ext uri="{FF2B5EF4-FFF2-40B4-BE49-F238E27FC236}">
                <a16:creationId xmlns:a16="http://schemas.microsoft.com/office/drawing/2014/main" id="{7347271C-0F38-A549-A075-484B653B17AA}"/>
              </a:ext>
            </a:extLst>
          </p:cNvPr>
          <p:cNvCxnSpPr>
            <a:cxnSpLocks/>
          </p:cNvCxnSpPr>
          <p:nvPr/>
        </p:nvCxnSpPr>
        <p:spPr>
          <a:xfrm flipV="1">
            <a:off x="4212294" y="4946857"/>
            <a:ext cx="2119223" cy="1"/>
          </a:xfrm>
          <a:prstGeom prst="line">
            <a:avLst/>
          </a:prstGeom>
          <a:ln w="34925">
            <a:solidFill>
              <a:schemeClr val="tx1">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D14D387D-3E15-3D4A-8FA0-44E41F0043E9}"/>
              </a:ext>
            </a:extLst>
          </p:cNvPr>
          <p:cNvSpPr txBox="1"/>
          <p:nvPr/>
        </p:nvSpPr>
        <p:spPr>
          <a:xfrm>
            <a:off x="4968485" y="5086229"/>
            <a:ext cx="1638285"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1E3267"/>
                </a:solidFill>
                <a:effectLst/>
                <a:uLnTx/>
                <a:uFillTx/>
                <a:latin typeface="Century Gothic" panose="020B0502020202020204" pitchFamily="34" charset="0"/>
                <a:ea typeface="Tahoma" panose="020B0604030504040204" pitchFamily="34" charset="0"/>
                <a:cs typeface="Tahoma" panose="020B0604030504040204" pitchFamily="34" charset="0"/>
              </a:rPr>
              <a:t>Aplikasi</a:t>
            </a:r>
            <a:r>
              <a:rPr kumimoji="0" lang="en-US" sz="1200" b="0" i="0" u="none" strike="noStrike" kern="1200" cap="none" spc="0" normalizeH="0" baseline="0" noProof="0" dirty="0">
                <a:ln>
                  <a:noFill/>
                </a:ln>
                <a:solidFill>
                  <a:srgbClr val="1E3267"/>
                </a:solidFill>
                <a:effectLst/>
                <a:uLnTx/>
                <a:uFillTx/>
                <a:latin typeface="Century Gothic" panose="020B0502020202020204" pitchFamily="34" charset="0"/>
                <a:ea typeface="Tahoma" panose="020B0604030504040204" pitchFamily="34" charset="0"/>
                <a:cs typeface="Tahoma" panose="020B0604030504040204" pitchFamily="34" charset="0"/>
              </a:rPr>
              <a:t> </a:t>
            </a:r>
            <a:r>
              <a:rPr kumimoji="0" lang="en-US" sz="1200" b="0" i="0" u="none" strike="noStrike" kern="1200" cap="none" spc="0" normalizeH="0" baseline="0" noProof="0" dirty="0" err="1">
                <a:ln>
                  <a:noFill/>
                </a:ln>
                <a:solidFill>
                  <a:srgbClr val="1E3267"/>
                </a:solidFill>
                <a:effectLst/>
                <a:uLnTx/>
                <a:uFillTx/>
                <a:latin typeface="Century Gothic" panose="020B0502020202020204" pitchFamily="34" charset="0"/>
                <a:ea typeface="Tahoma" panose="020B0604030504040204" pitchFamily="34" charset="0"/>
                <a:cs typeface="Tahoma" panose="020B0604030504040204" pitchFamily="34" charset="0"/>
              </a:rPr>
              <a:t>pada</a:t>
            </a:r>
            <a:r>
              <a:rPr kumimoji="0" lang="en-US" sz="1200" b="0" i="0" u="none" strike="noStrike" kern="1200" cap="none" spc="0" normalizeH="0" baseline="0" noProof="0" dirty="0">
                <a:ln>
                  <a:noFill/>
                </a:ln>
                <a:solidFill>
                  <a:srgbClr val="1E3267"/>
                </a:solidFill>
                <a:effectLst/>
                <a:uLnTx/>
                <a:uFillTx/>
                <a:latin typeface="Century Gothic" panose="020B0502020202020204" pitchFamily="34" charset="0"/>
                <a:ea typeface="Tahoma" panose="020B0604030504040204" pitchFamily="34" charset="0"/>
                <a:cs typeface="Tahoma" panose="020B0604030504040204" pitchFamily="34" charset="0"/>
              </a:rPr>
              <a:t> Unit </a:t>
            </a:r>
            <a:r>
              <a:rPr kumimoji="0" lang="en-US" sz="1200" b="0" i="0" u="none" strike="noStrike" kern="1200" cap="none" spc="0" normalizeH="0" baseline="0" noProof="0" dirty="0" err="1">
                <a:ln>
                  <a:noFill/>
                </a:ln>
                <a:solidFill>
                  <a:srgbClr val="1E3267"/>
                </a:solidFill>
                <a:effectLst/>
                <a:uLnTx/>
                <a:uFillTx/>
                <a:latin typeface="Century Gothic" panose="020B0502020202020204" pitchFamily="34" charset="0"/>
                <a:ea typeface="Tahoma" panose="020B0604030504040204" pitchFamily="34" charset="0"/>
                <a:cs typeface="Tahoma" panose="020B0604030504040204" pitchFamily="34" charset="0"/>
              </a:rPr>
              <a:t>Kerja</a:t>
            </a:r>
            <a:r>
              <a:rPr kumimoji="0" lang="en-US" sz="1200" b="0" i="0" u="none" strike="noStrike" kern="1200" cap="none" spc="0" normalizeH="0" baseline="0" noProof="0" dirty="0">
                <a:ln>
                  <a:noFill/>
                </a:ln>
                <a:solidFill>
                  <a:srgbClr val="1E3267"/>
                </a:solidFill>
                <a:effectLst/>
                <a:uLnTx/>
                <a:uFillTx/>
                <a:latin typeface="Century Gothic" panose="020B0502020202020204" pitchFamily="34" charset="0"/>
                <a:ea typeface="Tahoma" panose="020B0604030504040204" pitchFamily="34" charset="0"/>
                <a:cs typeface="Tahoma" panose="020B0604030504040204" pitchFamily="34" charset="0"/>
              </a:rPr>
              <a:t> (SIPJAKI, SIMPK </a:t>
            </a:r>
            <a:r>
              <a:rPr kumimoji="0" lang="en-US" sz="1200" b="0" i="0" u="none" strike="noStrike" kern="1200" cap="none" spc="0" normalizeH="0" baseline="0" noProof="0" dirty="0" err="1">
                <a:ln>
                  <a:noFill/>
                </a:ln>
                <a:solidFill>
                  <a:srgbClr val="1E3267"/>
                </a:solidFill>
                <a:effectLst/>
                <a:uLnTx/>
                <a:uFillTx/>
                <a:latin typeface="Century Gothic" panose="020B0502020202020204" pitchFamily="34" charset="0"/>
                <a:ea typeface="Tahoma" panose="020B0604030504040204" pitchFamily="34" charset="0"/>
                <a:cs typeface="Tahoma" panose="020B0604030504040204" pitchFamily="34" charset="0"/>
              </a:rPr>
              <a:t>Dayanaker</a:t>
            </a:r>
            <a:r>
              <a:rPr kumimoji="0" lang="en-US" sz="1200" b="0" i="0" u="none" strike="noStrike" kern="1200" cap="none" spc="0" normalizeH="0" baseline="0" noProof="0" dirty="0">
                <a:ln>
                  <a:noFill/>
                </a:ln>
                <a:solidFill>
                  <a:srgbClr val="1E3267"/>
                </a:solidFill>
                <a:effectLst/>
                <a:uLnTx/>
                <a:uFillTx/>
                <a:latin typeface="Century Gothic" panose="020B0502020202020204" pitchFamily="34" charset="0"/>
                <a:ea typeface="Tahoma" panose="020B0604030504040204" pitchFamily="34" charset="0"/>
                <a:cs typeface="Tahoma" panose="020B0604030504040204" pitchFamily="34" charset="0"/>
              </a:rPr>
              <a:t>, SIMPAN, SIPBJ, SIPASTI) </a:t>
            </a:r>
            <a:r>
              <a:rPr kumimoji="0" lang="en-US" sz="1200" b="0" i="0" u="none" strike="noStrike" kern="1200" cap="none" spc="0" normalizeH="0" baseline="0" noProof="0" dirty="0" err="1">
                <a:ln>
                  <a:noFill/>
                </a:ln>
                <a:solidFill>
                  <a:srgbClr val="1E3267"/>
                </a:solidFill>
                <a:effectLst/>
                <a:uLnTx/>
                <a:uFillTx/>
                <a:latin typeface="Century Gothic" panose="020B0502020202020204" pitchFamily="34" charset="0"/>
                <a:ea typeface="Tahoma" panose="020B0604030504040204" pitchFamily="34" charset="0"/>
                <a:cs typeface="Tahoma" panose="020B0604030504040204" pitchFamily="34" charset="0"/>
              </a:rPr>
              <a:t>dan</a:t>
            </a:r>
            <a:r>
              <a:rPr kumimoji="0" lang="en-US" sz="1200" b="0" i="0" u="none" strike="noStrike" kern="1200" cap="none" spc="0" normalizeH="0" baseline="0" noProof="0" dirty="0">
                <a:ln>
                  <a:noFill/>
                </a:ln>
                <a:solidFill>
                  <a:srgbClr val="1E3267"/>
                </a:solidFill>
                <a:effectLst/>
                <a:uLnTx/>
                <a:uFillTx/>
                <a:latin typeface="Century Gothic" panose="020B0502020202020204" pitchFamily="34" charset="0"/>
                <a:ea typeface="Tahoma" panose="020B0604030504040204" pitchFamily="34" charset="0"/>
                <a:cs typeface="Tahoma" panose="020B0604030504040204" pitchFamily="34" charset="0"/>
              </a:rPr>
              <a:t> / Stakeholders </a:t>
            </a:r>
            <a:r>
              <a:rPr kumimoji="0" lang="en-US" sz="1200" b="0" i="0" u="none" strike="noStrike" kern="1200" cap="none" spc="0" normalizeH="0" baseline="0" noProof="0" dirty="0" err="1">
                <a:ln>
                  <a:noFill/>
                </a:ln>
                <a:solidFill>
                  <a:srgbClr val="1E3267"/>
                </a:solidFill>
                <a:effectLst/>
                <a:uLnTx/>
                <a:uFillTx/>
                <a:latin typeface="Century Gothic" panose="020B0502020202020204" pitchFamily="34" charset="0"/>
                <a:ea typeface="Tahoma" panose="020B0604030504040204" pitchFamily="34" charset="0"/>
                <a:cs typeface="Tahoma" panose="020B0604030504040204" pitchFamily="34" charset="0"/>
              </a:rPr>
              <a:t>terkait</a:t>
            </a:r>
            <a:endParaRPr kumimoji="0" lang="en-US" sz="1200" b="0" i="0" u="none" strike="noStrike" kern="1200" cap="none" spc="0" normalizeH="0" baseline="0" noProof="0" dirty="0">
              <a:ln>
                <a:noFill/>
              </a:ln>
              <a:solidFill>
                <a:srgbClr val="1E3267"/>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sp>
        <p:nvSpPr>
          <p:cNvPr id="30" name="TextBox 29">
            <a:extLst>
              <a:ext uri="{FF2B5EF4-FFF2-40B4-BE49-F238E27FC236}">
                <a16:creationId xmlns:a16="http://schemas.microsoft.com/office/drawing/2014/main" id="{5DF09019-6684-8342-8DDC-4776C01AA57A}"/>
              </a:ext>
            </a:extLst>
          </p:cNvPr>
          <p:cNvSpPr txBox="1"/>
          <p:nvPr/>
        </p:nvSpPr>
        <p:spPr>
          <a:xfrm>
            <a:off x="3370828" y="2559668"/>
            <a:ext cx="3195313" cy="830997"/>
          </a:xfrm>
          <a:prstGeom prst="rect">
            <a:avLst/>
          </a:prstGeom>
          <a:noFill/>
          <a:ln>
            <a:noFill/>
          </a:ln>
          <a:effectLst/>
          <a:scene3d>
            <a:camera prst="orthographicFront">
              <a:rot lat="0" lon="0" rev="0"/>
            </a:camera>
            <a:lightRig rig="balanced" dir="t">
              <a:rot lat="0" lon="0" rev="8700000"/>
            </a:lightRig>
          </a:scene3d>
          <a:sp3d>
            <a:bevelT w="190500" h="38100"/>
          </a:sp3d>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1E3267"/>
                </a:solidFill>
                <a:effectLst/>
                <a:uLnTx/>
                <a:uFillTx/>
                <a:latin typeface="Century Gothic Regular" charset="0"/>
                <a:ea typeface="Montserrat"/>
                <a:cs typeface="Century Gothic Regular" charset="0"/>
                <a:sym typeface="Montserrat"/>
              </a:rPr>
              <a:t>SIJ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1E3267"/>
                </a:solidFill>
                <a:effectLst/>
                <a:uLnTx/>
                <a:uFillTx/>
                <a:latin typeface="Century Gothic Regular" charset="0"/>
                <a:ea typeface="Montserrat"/>
                <a:cs typeface="Century Gothic Regular" charset="0"/>
                <a:sym typeface="Montserrat"/>
              </a:rPr>
              <a:t>TERINTEGRASI</a:t>
            </a:r>
          </a:p>
        </p:txBody>
      </p:sp>
      <p:pic>
        <p:nvPicPr>
          <p:cNvPr id="31" name="Picture 30">
            <a:extLst>
              <a:ext uri="{FF2B5EF4-FFF2-40B4-BE49-F238E27FC236}">
                <a16:creationId xmlns:a16="http://schemas.microsoft.com/office/drawing/2014/main" id="{094E56A6-9CC1-CA4B-B373-0F8164677F1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15894" y="1375067"/>
            <a:ext cx="4753676" cy="1847351"/>
          </a:xfrm>
          <a:prstGeom prst="rect">
            <a:avLst/>
          </a:prstGeom>
        </p:spPr>
      </p:pic>
      <p:sp>
        <p:nvSpPr>
          <p:cNvPr id="32" name="Rectangle: Rounded Corners 31">
            <a:extLst>
              <a:ext uri="{FF2B5EF4-FFF2-40B4-BE49-F238E27FC236}">
                <a16:creationId xmlns:a16="http://schemas.microsoft.com/office/drawing/2014/main" id="{274182DF-883A-644D-9618-D4714458C5D8}"/>
              </a:ext>
            </a:extLst>
          </p:cNvPr>
          <p:cNvSpPr/>
          <p:nvPr/>
        </p:nvSpPr>
        <p:spPr>
          <a:xfrm>
            <a:off x="7722209" y="798854"/>
            <a:ext cx="4022861" cy="467744"/>
          </a:xfrm>
          <a:prstGeom prst="roundRect">
            <a:avLst/>
          </a:prstGeom>
          <a:ln w="38100">
            <a:solidFill>
              <a:srgbClr val="213268"/>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MANFAAT SIJK TERINTEGRASI</a:t>
            </a:r>
          </a:p>
        </p:txBody>
      </p:sp>
      <p:sp>
        <p:nvSpPr>
          <p:cNvPr id="33" name="Rectangle: Rounded Corners 32">
            <a:extLst>
              <a:ext uri="{FF2B5EF4-FFF2-40B4-BE49-F238E27FC236}">
                <a16:creationId xmlns:a16="http://schemas.microsoft.com/office/drawing/2014/main" id="{C2425409-6AF0-6141-BD99-59F3DF4AB55A}"/>
              </a:ext>
            </a:extLst>
          </p:cNvPr>
          <p:cNvSpPr/>
          <p:nvPr/>
        </p:nvSpPr>
        <p:spPr>
          <a:xfrm>
            <a:off x="7722209" y="3334358"/>
            <a:ext cx="3990461" cy="571225"/>
          </a:xfrm>
          <a:prstGeom prst="roundRect">
            <a:avLst/>
          </a:prstGeom>
          <a:ln w="38100">
            <a:solidFill>
              <a:srgbClr val="213268"/>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KONSEP SIJKT KEDEPA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err="1">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Sumber</a:t>
            </a:r>
            <a:r>
              <a:rPr kumimoji="0" lang="en-US" sz="900" b="1" i="0" u="none" strike="noStrike" kern="1200" cap="none" spc="0" normalizeH="0" baseline="0" noProof="0" dirty="0">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 data </a:t>
            </a:r>
            <a:r>
              <a:rPr kumimoji="0" lang="en-US" sz="900" b="1" i="0" u="none" strike="noStrike" kern="1200" cap="none" spc="0" normalizeH="0" baseline="0" noProof="0" dirty="0" err="1">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jasa</a:t>
            </a:r>
            <a:r>
              <a:rPr kumimoji="0" lang="en-US" sz="900" b="1" i="0" u="none" strike="noStrike" kern="1200" cap="none" spc="0" normalizeH="0" baseline="0" noProof="0" dirty="0">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 </a:t>
            </a:r>
            <a:r>
              <a:rPr kumimoji="0" lang="en-US" sz="900" b="1" i="0" u="none" strike="noStrike" kern="1200" cap="none" spc="0" normalizeH="0" baseline="0" noProof="0" dirty="0" err="1">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konstruksi</a:t>
            </a:r>
            <a:r>
              <a:rPr kumimoji="0" lang="en-US" sz="900" b="1" i="0" u="none" strike="noStrike" kern="1200" cap="none" spc="0" normalizeH="0" baseline="0" noProof="0" dirty="0">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 </a:t>
            </a:r>
            <a:r>
              <a:rPr kumimoji="0" lang="en-US" sz="900" b="1" i="0" u="none" strike="noStrike" kern="1200" cap="none" spc="0" normalizeH="0" baseline="0" noProof="0" dirty="0" err="1">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berasal</a:t>
            </a:r>
            <a:r>
              <a:rPr kumimoji="0" lang="en-US" sz="900" b="1" i="0" u="none" strike="noStrike" kern="1200" cap="none" spc="0" normalizeH="0" baseline="0" noProof="0" dirty="0">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 </a:t>
            </a:r>
            <a:r>
              <a:rPr kumimoji="0" lang="en-US" sz="900" b="1" i="0" u="none" strike="noStrike" kern="1200" cap="none" spc="0" normalizeH="0" baseline="0" noProof="0" dirty="0" err="1">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dari</a:t>
            </a:r>
            <a:r>
              <a:rPr kumimoji="0" lang="en-US" sz="900" b="1" i="0" u="none" strike="noStrike" kern="1200" cap="none" spc="0" normalizeH="0" baseline="0" noProof="0" dirty="0">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 1 </a:t>
            </a:r>
            <a:r>
              <a:rPr kumimoji="0" lang="en-US" sz="900" b="1" i="0" u="none" strike="noStrike" kern="1200" cap="none" spc="0" normalizeH="0" baseline="0" noProof="0" dirty="0" err="1">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aplikasi</a:t>
            </a:r>
            <a:r>
              <a:rPr kumimoji="0" lang="en-US" sz="900" b="1" i="0" u="none" strike="noStrike" kern="1200" cap="none" spc="0" normalizeH="0" baseline="0" noProof="0" dirty="0">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 yang </a:t>
            </a:r>
            <a:r>
              <a:rPr kumimoji="0" lang="en-US" sz="900" b="1" i="0" u="none" strike="noStrike" kern="1200" cap="none" spc="0" normalizeH="0" baseline="0" noProof="0" dirty="0" err="1">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terintegrasi</a:t>
            </a:r>
            <a:r>
              <a:rPr kumimoji="0" lang="en-US" sz="900" b="1" i="0" u="none" strike="noStrike" kern="1200" cap="none" spc="0" normalizeH="0" baseline="0" noProof="0" dirty="0">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 </a:t>
            </a:r>
            <a:r>
              <a:rPr kumimoji="0" lang="en-US" sz="900" b="1" i="0" u="none" strike="noStrike" kern="1200" cap="none" spc="0" normalizeH="0" baseline="0" noProof="0" dirty="0" err="1">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ke</a:t>
            </a:r>
            <a:r>
              <a:rPr kumimoji="0" lang="en-US" sz="900" b="1" i="0" u="none" strike="noStrike" kern="1200" cap="none" spc="0" normalizeH="0" baseline="0" noProof="0" dirty="0">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 </a:t>
            </a:r>
            <a:r>
              <a:rPr kumimoji="0" lang="en-US" sz="900" b="1" i="0" u="none" strike="noStrike" kern="1200" cap="none" spc="0" normalizeH="0" baseline="0" noProof="0" dirty="0" err="1">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seluruh</a:t>
            </a:r>
            <a:r>
              <a:rPr kumimoji="0" lang="en-US" sz="900" b="1" i="0" u="none" strike="noStrike" kern="1200" cap="none" spc="0" normalizeH="0" baseline="0" noProof="0" dirty="0">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 </a:t>
            </a:r>
            <a:r>
              <a:rPr kumimoji="0" lang="en-US" sz="900" b="1" i="0" u="none" strike="noStrike" kern="1200" cap="none" spc="0" normalizeH="0" baseline="0" noProof="0" dirty="0" err="1">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aplikasi</a:t>
            </a:r>
            <a:r>
              <a:rPr kumimoji="0" lang="en-US" sz="900" b="1" i="0" u="none" strike="noStrike" kern="1200" cap="none" spc="0" normalizeH="0" baseline="0" noProof="0" dirty="0">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 yang </a:t>
            </a:r>
            <a:r>
              <a:rPr kumimoji="0" lang="en-US" sz="900" b="1" i="0" u="none" strike="noStrike" kern="1200" cap="none" spc="0" normalizeH="0" baseline="0" noProof="0" dirty="0" err="1">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sudah</a:t>
            </a:r>
            <a:r>
              <a:rPr kumimoji="0" lang="en-US" sz="900" b="1" i="0" u="none" strike="noStrike" kern="1200" cap="none" spc="0" normalizeH="0" baseline="0" noProof="0" dirty="0">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 </a:t>
            </a:r>
            <a:r>
              <a:rPr kumimoji="0" lang="en-US" sz="900" b="1" i="0" u="none" strike="noStrike" kern="1200" cap="none" spc="0" normalizeH="0" baseline="0" noProof="0" dirty="0" err="1">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rPr>
              <a:t>ada</a:t>
            </a:r>
            <a:endParaRPr kumimoji="0" lang="en-US" sz="900" b="1" i="0" u="none" strike="noStrike" kern="1200" cap="none" spc="0" normalizeH="0" baseline="0" noProof="0" dirty="0">
              <a:ln>
                <a:noFill/>
              </a:ln>
              <a:solidFill>
                <a:srgbClr val="213268"/>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pic>
        <p:nvPicPr>
          <p:cNvPr id="34" name="Picture 33">
            <a:extLst>
              <a:ext uri="{FF2B5EF4-FFF2-40B4-BE49-F238E27FC236}">
                <a16:creationId xmlns:a16="http://schemas.microsoft.com/office/drawing/2014/main" id="{A85BCF3F-95F2-384B-8292-65483029A24A}"/>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352305" y="4054484"/>
            <a:ext cx="4730268" cy="2484428"/>
          </a:xfrm>
          <a:prstGeom prst="rect">
            <a:avLst/>
          </a:prstGeom>
        </p:spPr>
      </p:pic>
      <p:sp>
        <p:nvSpPr>
          <p:cNvPr id="36" name="Rectangle: Rounded Corners 27">
            <a:extLst>
              <a:ext uri="{FF2B5EF4-FFF2-40B4-BE49-F238E27FC236}">
                <a16:creationId xmlns:a16="http://schemas.microsoft.com/office/drawing/2014/main" id="{31AD79B9-35FD-884C-B471-B7EC5B9D728A}"/>
              </a:ext>
            </a:extLst>
          </p:cNvPr>
          <p:cNvSpPr/>
          <p:nvPr/>
        </p:nvSpPr>
        <p:spPr>
          <a:xfrm>
            <a:off x="580361" y="79761"/>
            <a:ext cx="11144380" cy="553699"/>
          </a:xfrm>
          <a:prstGeom prst="roundRect">
            <a:avLst/>
          </a:prstGeom>
          <a:solidFill>
            <a:srgbClr val="F9B916"/>
          </a:solidFill>
        </p:spPr>
        <p:style>
          <a:lnRef idx="0">
            <a:schemeClr val="accent4"/>
          </a:lnRef>
          <a:fillRef idx="3">
            <a:schemeClr val="accent4"/>
          </a:fillRef>
          <a:effectRef idx="3">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Tahoma" panose="020B0604030504040204" pitchFamily="34" charset="0"/>
                <a:cs typeface="Tahoma" panose="020B0604030504040204" pitchFamily="34" charset="0"/>
              </a:rPr>
              <a:t>MEMADUKAN PENERAPAN TEKNOLOGI DIGITAL, JENIS MATERIAL BARU, </a:t>
            </a:r>
            <a:b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Tahoma" panose="020B0604030504040204" pitchFamily="34" charset="0"/>
                <a:cs typeface="Tahoma" panose="020B0604030504040204" pitchFamily="34" charset="0"/>
              </a:rPr>
            </a:b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Tahoma" panose="020B0604030504040204" pitchFamily="34" charset="0"/>
                <a:cs typeface="Tahoma" panose="020B0604030504040204" pitchFamily="34" charset="0"/>
              </a:rPr>
              <a:t>DAN OTOMASI PROSES</a:t>
            </a:r>
            <a:endParaRPr kumimoji="0" lang="en-ID" sz="1600" b="1" i="0" u="none" strike="noStrike" kern="1200" cap="none" spc="0" normalizeH="0" baseline="0" noProof="0" dirty="0">
              <a:ln>
                <a:noFill/>
              </a:ln>
              <a:solidFill>
                <a:prstClr val="black"/>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6837916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bg>
      <p:bgPr>
        <a:pattFill prst="dotGrid">
          <a:fgClr>
            <a:srgbClr val="F6F5F8"/>
          </a:fgClr>
          <a:bgClr>
            <a:schemeClr val="bg1"/>
          </a:bgClr>
        </a:pattFill>
        <a:effectLst/>
      </p:bgPr>
    </p:bg>
    <p:spTree>
      <p:nvGrpSpPr>
        <p:cNvPr id="1" name=""/>
        <p:cNvGrpSpPr/>
        <p:nvPr/>
      </p:nvGrpSpPr>
      <p:grpSpPr>
        <a:xfrm>
          <a:off x="0" y="0"/>
          <a:ext cx="0" cy="0"/>
          <a:chOff x="0" y="0"/>
          <a:chExt cx="0" cy="0"/>
        </a:xfrm>
      </p:grpSpPr>
      <p:pic>
        <p:nvPicPr>
          <p:cNvPr id="114" name="Picture Placeholder 113">
            <a:extLst>
              <a:ext uri="{FF2B5EF4-FFF2-40B4-BE49-F238E27FC236}">
                <a16:creationId xmlns:a16="http://schemas.microsoft.com/office/drawing/2014/main" id="{D3246BE7-2F99-31B8-CDE4-3B82149737D9}"/>
              </a:ext>
            </a:extLst>
          </p:cNvPr>
          <p:cNvPicPr>
            <a:picLocks noGrp="1" noChangeAspect="1"/>
          </p:cNvPicPr>
          <p:nvPr>
            <p:ph type="pic" sz="quarter" idx="13"/>
          </p:nvPr>
        </p:nvPicPr>
        <p:blipFill>
          <a:blip r:embed="rId3" cstate="screen">
            <a:alphaModFix amt="6000"/>
            <a:extLst>
              <a:ext uri="{BEBA8EAE-BF5A-486C-A8C5-ECC9F3942E4B}">
                <a14:imgProps xmlns:a14="http://schemas.microsoft.com/office/drawing/2010/main">
                  <a14:imgLayer r:embed="rId4">
                    <a14:imgEffect>
                      <a14:saturation sat="37000"/>
                    </a14:imgEffect>
                  </a14:imgLayer>
                </a14:imgProps>
              </a:ext>
              <a:ext uri="{28A0092B-C50C-407E-A947-70E740481C1C}">
                <a14:useLocalDpi xmlns:a14="http://schemas.microsoft.com/office/drawing/2010/main"/>
              </a:ext>
            </a:extLst>
          </a:blip>
          <a:srcRect/>
          <a:stretch/>
        </p:blipFill>
        <p:spPr>
          <a:xfrm>
            <a:off x="5669436" y="0"/>
            <a:ext cx="6490034" cy="6858000"/>
          </a:xfrm>
          <a:noFill/>
        </p:spPr>
      </p:pic>
      <p:sp>
        <p:nvSpPr>
          <p:cNvPr id="120" name="Rectangle 119">
            <a:extLst>
              <a:ext uri="{FF2B5EF4-FFF2-40B4-BE49-F238E27FC236}">
                <a16:creationId xmlns:a16="http://schemas.microsoft.com/office/drawing/2014/main" id="{9BE167DE-6861-2E4E-B9DA-34FBBA1E3E75}"/>
              </a:ext>
            </a:extLst>
          </p:cNvPr>
          <p:cNvSpPr/>
          <p:nvPr/>
        </p:nvSpPr>
        <p:spPr>
          <a:xfrm>
            <a:off x="1660668" y="61986"/>
            <a:ext cx="10351094" cy="494638"/>
          </a:xfrm>
          <a:prstGeom prst="rect">
            <a:avLst/>
          </a:prstGeom>
          <a:solidFill>
            <a:srgbClr val="1E32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pic>
        <p:nvPicPr>
          <p:cNvPr id="34" name="Picture 33">
            <a:extLst>
              <a:ext uri="{FF2B5EF4-FFF2-40B4-BE49-F238E27FC236}">
                <a16:creationId xmlns:a16="http://schemas.microsoft.com/office/drawing/2014/main" id="{611937C8-1C22-E84A-A21F-B3EE4B75D10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2530" y="74857"/>
            <a:ext cx="1563813" cy="518818"/>
          </a:xfrm>
          <a:prstGeom prst="rect">
            <a:avLst/>
          </a:prstGeom>
        </p:spPr>
      </p:pic>
      <p:sp>
        <p:nvSpPr>
          <p:cNvPr id="121" name="TextBox 120">
            <a:extLst>
              <a:ext uri="{FF2B5EF4-FFF2-40B4-BE49-F238E27FC236}">
                <a16:creationId xmlns:a16="http://schemas.microsoft.com/office/drawing/2014/main" id="{3CAE5164-B449-DE42-9970-3E22A3454CAD}"/>
              </a:ext>
            </a:extLst>
          </p:cNvPr>
          <p:cNvSpPr txBox="1"/>
          <p:nvPr/>
        </p:nvSpPr>
        <p:spPr>
          <a:xfrm>
            <a:off x="1841733" y="156937"/>
            <a:ext cx="9819882"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 typeface="Arial"/>
              <a:buNone/>
              <a:tabLst/>
              <a:defRPr/>
            </a:pPr>
            <a:r>
              <a:rPr kumimoji="0" lang="en-US" sz="1800" b="0" i="0" u="none" strike="noStrike" kern="0" cap="none" spc="0" normalizeH="0" baseline="0" noProof="0" dirty="0">
                <a:ln>
                  <a:noFill/>
                </a:ln>
                <a:solidFill>
                  <a:prstClr val="white"/>
                </a:solidFill>
                <a:effectLst/>
                <a:uLnTx/>
                <a:uFillTx/>
                <a:latin typeface="Montserrat" pitchFamily="2" charset="77"/>
                <a:cs typeface="Arial" panose="020B0604020202020204" pitchFamily="34" charset="0"/>
                <a:sym typeface="Wingdings" panose="05000000000000000000" pitchFamily="2" charset="2"/>
              </a:rPr>
              <a:t>PERBANDINGAN PENGATURAN PENYELENGGARAAN SERTIFIKASI BADAN USAHA</a:t>
            </a:r>
            <a:endParaRPr kumimoji="0" lang="en-US" sz="1800" b="1" i="0" u="none" strike="noStrike" kern="0" cap="none" spc="0" normalizeH="0" baseline="0" noProof="0" dirty="0">
              <a:ln>
                <a:noFill/>
              </a:ln>
              <a:solidFill>
                <a:prstClr val="white"/>
              </a:solidFill>
              <a:effectLst/>
              <a:uLnTx/>
              <a:uFillTx/>
              <a:latin typeface="Montserrat" pitchFamily="2" charset="77"/>
              <a:cs typeface="Arial" panose="020B0604020202020204" pitchFamily="34" charset="0"/>
              <a:sym typeface="Wingdings" panose="05000000000000000000" pitchFamily="2" charset="2"/>
            </a:endParaRPr>
          </a:p>
        </p:txBody>
      </p:sp>
      <p:sp>
        <p:nvSpPr>
          <p:cNvPr id="48" name="Rectangle 47">
            <a:extLst>
              <a:ext uri="{FF2B5EF4-FFF2-40B4-BE49-F238E27FC236}">
                <a16:creationId xmlns:a16="http://schemas.microsoft.com/office/drawing/2014/main" id="{6C1505E4-F03F-C04A-C449-432193AC9CC9}"/>
              </a:ext>
            </a:extLst>
          </p:cNvPr>
          <p:cNvSpPr/>
          <p:nvPr/>
        </p:nvSpPr>
        <p:spPr>
          <a:xfrm>
            <a:off x="1678912" y="1194047"/>
            <a:ext cx="5114260" cy="223306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49" name="Rectangle 48">
            <a:extLst>
              <a:ext uri="{FF2B5EF4-FFF2-40B4-BE49-F238E27FC236}">
                <a16:creationId xmlns:a16="http://schemas.microsoft.com/office/drawing/2014/main" id="{9304E80C-7033-E0D3-06C5-0D96365A6675}"/>
              </a:ext>
            </a:extLst>
          </p:cNvPr>
          <p:cNvSpPr/>
          <p:nvPr/>
        </p:nvSpPr>
        <p:spPr>
          <a:xfrm>
            <a:off x="6892410" y="1194048"/>
            <a:ext cx="5114260" cy="22558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50" name="Rectangle 49">
            <a:extLst>
              <a:ext uri="{FF2B5EF4-FFF2-40B4-BE49-F238E27FC236}">
                <a16:creationId xmlns:a16="http://schemas.microsoft.com/office/drawing/2014/main" id="{9C8084BD-BD6A-722D-01E8-7CE18F5F0885}"/>
              </a:ext>
            </a:extLst>
          </p:cNvPr>
          <p:cNvSpPr/>
          <p:nvPr/>
        </p:nvSpPr>
        <p:spPr>
          <a:xfrm>
            <a:off x="254150" y="1194048"/>
            <a:ext cx="1325524" cy="141955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sym typeface="Arial"/>
            </a:endParaRPr>
          </a:p>
        </p:txBody>
      </p:sp>
      <p:pic>
        <p:nvPicPr>
          <p:cNvPr id="54" name="Graphic 53" descr="Document">
            <a:extLst>
              <a:ext uri="{FF2B5EF4-FFF2-40B4-BE49-F238E27FC236}">
                <a16:creationId xmlns:a16="http://schemas.microsoft.com/office/drawing/2014/main" id="{77823CD8-FC4E-2143-E46F-E9AF70B24A7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3703" y="1194049"/>
            <a:ext cx="934669" cy="942008"/>
          </a:xfrm>
          <a:prstGeom prst="rect">
            <a:avLst/>
          </a:prstGeom>
        </p:spPr>
      </p:pic>
      <p:sp>
        <p:nvSpPr>
          <p:cNvPr id="55" name="TextBox 54">
            <a:extLst>
              <a:ext uri="{FF2B5EF4-FFF2-40B4-BE49-F238E27FC236}">
                <a16:creationId xmlns:a16="http://schemas.microsoft.com/office/drawing/2014/main" id="{E4682C04-734E-D421-537C-102F13315FFA}"/>
              </a:ext>
            </a:extLst>
          </p:cNvPr>
          <p:cNvSpPr txBox="1"/>
          <p:nvPr/>
        </p:nvSpPr>
        <p:spPr>
          <a:xfrm>
            <a:off x="190355" y="2202620"/>
            <a:ext cx="146596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latin typeface="Arial"/>
                <a:cs typeface="Arial"/>
                <a:sym typeface="Arial"/>
              </a:rPr>
              <a:t>PENGATURAN</a:t>
            </a:r>
          </a:p>
        </p:txBody>
      </p:sp>
      <p:sp>
        <p:nvSpPr>
          <p:cNvPr id="58" name="TextBox 57">
            <a:extLst>
              <a:ext uri="{FF2B5EF4-FFF2-40B4-BE49-F238E27FC236}">
                <a16:creationId xmlns:a16="http://schemas.microsoft.com/office/drawing/2014/main" id="{DBF8947C-4BAF-3F69-7B44-EB38C21043C5}"/>
              </a:ext>
            </a:extLst>
          </p:cNvPr>
          <p:cNvSpPr txBox="1"/>
          <p:nvPr/>
        </p:nvSpPr>
        <p:spPr>
          <a:xfrm>
            <a:off x="1670546" y="1219867"/>
            <a:ext cx="5046870" cy="2185214"/>
          </a:xfrm>
          <a:prstGeom prst="rect">
            <a:avLst/>
          </a:prstGeom>
          <a:noFill/>
        </p:spPr>
        <p:txBody>
          <a:bodyPr wrap="square" rtlCol="0">
            <a:spAutoFit/>
          </a:bodyPr>
          <a:lstStyle/>
          <a:p>
            <a:pPr marL="342900" marR="0" lvl="0" indent="-342900" algn="just" defTabSz="914400" rtl="0" eaLnBrk="1" fontAlgn="auto" latinLnBrk="0" hangingPunct="1">
              <a:lnSpc>
                <a:spcPct val="100000"/>
              </a:lnSpc>
              <a:spcBef>
                <a:spcPts val="0"/>
              </a:spcBef>
              <a:spcAft>
                <a:spcPts val="0"/>
              </a:spcAft>
              <a:buClr>
                <a:srgbClr val="000000"/>
              </a:buClr>
              <a:buSzTx/>
              <a:buFont typeface="+mj-lt"/>
              <a:buAutoNum type="arabicPeriod"/>
              <a:tabLst/>
              <a:defRPr/>
            </a:pPr>
            <a:r>
              <a:rPr kumimoji="0" lang="en-US" sz="1200" b="0" i="0" u="none" strike="noStrike" kern="0" cap="none" spc="0" normalizeH="0" baseline="0" noProof="0" dirty="0">
                <a:ln>
                  <a:noFill/>
                </a:ln>
                <a:solidFill>
                  <a:srgbClr val="000000"/>
                </a:solidFill>
                <a:effectLst/>
                <a:uLnTx/>
                <a:uFillTx/>
                <a:latin typeface="Arial"/>
                <a:cs typeface="Arial"/>
                <a:sym typeface="Arial"/>
              </a:rPr>
              <a:t>UU No 18 </a:t>
            </a:r>
            <a:r>
              <a:rPr kumimoji="0" lang="en-US" sz="1200" b="0" i="0" u="none" strike="noStrike" kern="0" cap="none" spc="0" normalizeH="0" baseline="0" noProof="0" dirty="0" err="1">
                <a:ln>
                  <a:noFill/>
                </a:ln>
                <a:solidFill>
                  <a:srgbClr val="000000"/>
                </a:solidFill>
                <a:effectLst/>
                <a:uLnTx/>
                <a:uFillTx/>
                <a:latin typeface="Arial"/>
                <a:cs typeface="Arial"/>
                <a:sym typeface="Arial"/>
              </a:rPr>
              <a:t>Tahun</a:t>
            </a:r>
            <a:r>
              <a:rPr kumimoji="0" lang="en-US" sz="1200" b="0" i="0" u="none" strike="noStrike" kern="0" cap="none" spc="0" normalizeH="0" baseline="0" noProof="0" dirty="0">
                <a:ln>
                  <a:noFill/>
                </a:ln>
                <a:solidFill>
                  <a:srgbClr val="000000"/>
                </a:solidFill>
                <a:effectLst/>
                <a:uLnTx/>
                <a:uFillTx/>
                <a:latin typeface="Arial"/>
                <a:cs typeface="Arial"/>
                <a:sym typeface="Arial"/>
              </a:rPr>
              <a:t> 1999 </a:t>
            </a:r>
            <a:r>
              <a:rPr kumimoji="0" lang="en-US" sz="1200" b="0" i="0" u="none" strike="noStrike" kern="0" cap="none" spc="0" normalizeH="0" baseline="0" noProof="0" dirty="0" err="1">
                <a:ln>
                  <a:noFill/>
                </a:ln>
                <a:solidFill>
                  <a:srgbClr val="000000"/>
                </a:solidFill>
                <a:effectLst/>
                <a:uLnTx/>
                <a:uFillTx/>
                <a:latin typeface="Arial"/>
                <a:cs typeface="Arial"/>
                <a:sym typeface="Arial"/>
              </a:rPr>
              <a:t>tentang</a:t>
            </a:r>
            <a:r>
              <a:rPr kumimoji="0" lang="en-US" sz="1200" b="0" i="0" u="none" strike="noStrike" kern="0" cap="none" spc="0" normalizeH="0" baseline="0" noProof="0" dirty="0">
                <a:ln>
                  <a:noFill/>
                </a:ln>
                <a:solidFill>
                  <a:srgbClr val="000000"/>
                </a:solidFill>
                <a:effectLst/>
                <a:uLnTx/>
                <a:uFillTx/>
                <a:latin typeface="Arial"/>
                <a:cs typeface="Arial"/>
                <a:sym typeface="Arial"/>
              </a:rPr>
              <a:t> Jasa </a:t>
            </a:r>
            <a:r>
              <a:rPr kumimoji="0" lang="en-US" sz="1200" b="0" i="0" u="none" strike="noStrike" kern="0" cap="none" spc="0" normalizeH="0" baseline="0" noProof="0" dirty="0" err="1">
                <a:ln>
                  <a:noFill/>
                </a:ln>
                <a:solidFill>
                  <a:srgbClr val="000000"/>
                </a:solidFill>
                <a:effectLst/>
                <a:uLnTx/>
                <a:uFillTx/>
                <a:latin typeface="Arial"/>
                <a:cs typeface="Arial"/>
                <a:sym typeface="Arial"/>
              </a:rPr>
              <a:t>Konstruksi</a:t>
            </a:r>
            <a:endParaRPr kumimoji="0" lang="en-US" sz="1200" b="0" i="0" u="none" strike="noStrike" kern="0" cap="none" spc="0" normalizeH="0" baseline="0" noProof="0" dirty="0">
              <a:ln>
                <a:noFill/>
              </a:ln>
              <a:solidFill>
                <a:srgbClr val="000000"/>
              </a:solidFill>
              <a:effectLst/>
              <a:uLnTx/>
              <a:uFillTx/>
              <a:latin typeface="Arial"/>
              <a:cs typeface="Arial"/>
              <a:sym typeface="Arial"/>
            </a:endParaRPr>
          </a:p>
          <a:p>
            <a:pPr marL="342900" marR="0" lvl="0" indent="-342900" algn="just" defTabSz="914400" rtl="0" eaLnBrk="1" fontAlgn="auto" latinLnBrk="0" hangingPunct="1">
              <a:lnSpc>
                <a:spcPct val="100000"/>
              </a:lnSpc>
              <a:spcBef>
                <a:spcPts val="0"/>
              </a:spcBef>
              <a:spcAft>
                <a:spcPts val="0"/>
              </a:spcAft>
              <a:buClr>
                <a:srgbClr val="000000"/>
              </a:buClr>
              <a:buSzTx/>
              <a:buFont typeface="+mj-lt"/>
              <a:buAutoNum type="arabicPeriod"/>
              <a:tabLst/>
              <a:defRPr/>
            </a:pPr>
            <a:r>
              <a:rPr kumimoji="0" lang="en-US" sz="1200" b="0" i="0" u="none" strike="noStrike" kern="0" cap="none" spc="0" normalizeH="0" baseline="0" noProof="0" dirty="0">
                <a:ln>
                  <a:noFill/>
                </a:ln>
                <a:solidFill>
                  <a:srgbClr val="000000"/>
                </a:solidFill>
                <a:effectLst/>
                <a:uLnTx/>
                <a:uFillTx/>
                <a:latin typeface="Arial"/>
                <a:cs typeface="Arial"/>
                <a:sym typeface="Arial"/>
              </a:rPr>
              <a:t>PP No 28/2000 JO PP 4/2010 JO PP 92/2010 </a:t>
            </a:r>
            <a:r>
              <a:rPr kumimoji="0" lang="en-US" sz="1200" b="0" i="0" u="none" strike="noStrike" kern="0" cap="none" spc="0" normalizeH="0" baseline="0" noProof="0" dirty="0" err="1">
                <a:ln>
                  <a:noFill/>
                </a:ln>
                <a:solidFill>
                  <a:srgbClr val="000000"/>
                </a:solidFill>
                <a:effectLst/>
                <a:uLnTx/>
                <a:uFillTx/>
                <a:latin typeface="Arial"/>
                <a:cs typeface="Arial"/>
                <a:sym typeface="Arial"/>
              </a:rPr>
              <a:t>tentang</a:t>
            </a:r>
            <a:r>
              <a:rPr kumimoji="0" lang="en-US" sz="1200" b="0" i="0" u="none" strike="noStrike" kern="0" cap="none" spc="0" normalizeH="0" baseline="0" noProof="0" dirty="0">
                <a:ln>
                  <a:noFill/>
                </a:ln>
                <a:solidFill>
                  <a:srgbClr val="000000"/>
                </a:solidFill>
                <a:effectLst/>
                <a:uLnTx/>
                <a:uFillTx/>
                <a:latin typeface="Arial"/>
                <a:cs typeface="Arial"/>
                <a:sym typeface="Arial"/>
              </a:rPr>
              <a:t> Usaha dan Peran Masyarakat Jasa </a:t>
            </a:r>
            <a:r>
              <a:rPr kumimoji="0" lang="en-US" sz="1200" b="0" i="0" u="none" strike="noStrike" kern="0" cap="none" spc="0" normalizeH="0" baseline="0" noProof="0" dirty="0" err="1">
                <a:ln>
                  <a:noFill/>
                </a:ln>
                <a:solidFill>
                  <a:srgbClr val="000000"/>
                </a:solidFill>
                <a:effectLst/>
                <a:uLnTx/>
                <a:uFillTx/>
                <a:latin typeface="Arial"/>
                <a:cs typeface="Arial"/>
                <a:sym typeface="Arial"/>
              </a:rPr>
              <a:t>Konstruksi</a:t>
            </a:r>
            <a:endParaRPr kumimoji="0" lang="en-US" sz="1200" b="0" i="0" u="none" strike="noStrike" kern="0" cap="none" spc="0" normalizeH="0" baseline="0" noProof="0" dirty="0">
              <a:ln>
                <a:noFill/>
              </a:ln>
              <a:solidFill>
                <a:srgbClr val="000000"/>
              </a:solidFill>
              <a:effectLst/>
              <a:uLnTx/>
              <a:uFillTx/>
              <a:latin typeface="Arial"/>
              <a:cs typeface="Arial"/>
              <a:sym typeface="Arial"/>
            </a:endParaRPr>
          </a:p>
          <a:p>
            <a:pPr marL="342900" marR="0" lvl="0" indent="-342900" algn="just" defTabSz="914400" rtl="0" eaLnBrk="1" fontAlgn="auto" latinLnBrk="0" hangingPunct="1">
              <a:lnSpc>
                <a:spcPct val="100000"/>
              </a:lnSpc>
              <a:spcBef>
                <a:spcPts val="0"/>
              </a:spcBef>
              <a:spcAft>
                <a:spcPts val="0"/>
              </a:spcAft>
              <a:buClr>
                <a:srgbClr val="000000"/>
              </a:buClr>
              <a:buSzTx/>
              <a:buFont typeface="+mj-lt"/>
              <a:buAutoNum type="arabicPeriod"/>
              <a:tabLst/>
              <a:defRPr/>
            </a:pPr>
            <a:r>
              <a:rPr kumimoji="0" lang="en-US" sz="1200" b="0" i="0" u="none" strike="noStrike" kern="0" cap="none" spc="0" normalizeH="0" baseline="0" noProof="0" dirty="0" err="1">
                <a:ln>
                  <a:noFill/>
                </a:ln>
                <a:solidFill>
                  <a:srgbClr val="000000"/>
                </a:solidFill>
                <a:effectLst/>
                <a:uLnTx/>
                <a:uFillTx/>
                <a:latin typeface="Arial"/>
                <a:cs typeface="Arial"/>
                <a:sym typeface="Arial"/>
              </a:rPr>
              <a:t>PerMen</a:t>
            </a:r>
            <a:r>
              <a:rPr kumimoji="0" lang="en-US" sz="1200" b="0" i="0" u="none" strike="noStrike" kern="0" cap="none" spc="0" normalizeH="0" baseline="0" noProof="0" dirty="0">
                <a:ln>
                  <a:noFill/>
                </a:ln>
                <a:solidFill>
                  <a:srgbClr val="000000"/>
                </a:solidFill>
                <a:effectLst/>
                <a:uLnTx/>
                <a:uFillTx/>
                <a:latin typeface="Arial"/>
                <a:cs typeface="Arial"/>
                <a:sym typeface="Arial"/>
              </a:rPr>
              <a:t> PUPR No 8/2011 </a:t>
            </a:r>
            <a:r>
              <a:rPr kumimoji="0" lang="en-US" sz="1200" b="0" i="0" u="none" strike="noStrike" kern="0" cap="none" spc="0" normalizeH="0" baseline="0" noProof="0" dirty="0" err="1">
                <a:ln>
                  <a:noFill/>
                </a:ln>
                <a:solidFill>
                  <a:srgbClr val="000000"/>
                </a:solidFill>
                <a:effectLst/>
                <a:uLnTx/>
                <a:uFillTx/>
                <a:latin typeface="Arial"/>
                <a:cs typeface="Arial"/>
                <a:sym typeface="Arial"/>
              </a:rPr>
              <a:t>tentang</a:t>
            </a:r>
            <a:r>
              <a:rPr kumimoji="0" lang="en-US" sz="1200" b="0" i="0" u="none" strike="noStrike" kern="0" cap="none" spc="0" normalizeH="0" baseline="0" noProof="0" dirty="0">
                <a:ln>
                  <a:noFill/>
                </a:ln>
                <a:solidFill>
                  <a:srgbClr val="000000"/>
                </a:solidFill>
                <a:effectLst/>
                <a:uLnTx/>
                <a:uFillTx/>
                <a:latin typeface="Arial"/>
                <a:cs typeface="Arial"/>
                <a:sym typeface="Arial"/>
              </a:rPr>
              <a:t> </a:t>
            </a:r>
            <a:r>
              <a:rPr kumimoji="0" lang="en-US" sz="1200" b="0" i="0" u="none" strike="noStrike" kern="0" cap="none" spc="0" normalizeH="0" baseline="0" noProof="0" dirty="0" err="1">
                <a:ln>
                  <a:noFill/>
                </a:ln>
                <a:solidFill>
                  <a:srgbClr val="000000"/>
                </a:solidFill>
                <a:effectLst/>
                <a:uLnTx/>
                <a:uFillTx/>
                <a:latin typeface="Arial"/>
                <a:cs typeface="Arial"/>
                <a:sym typeface="Arial"/>
              </a:rPr>
              <a:t>Subklasifikasi</a:t>
            </a:r>
            <a:r>
              <a:rPr kumimoji="0" lang="en-US" sz="1200" b="0" i="0" u="none" strike="noStrike" kern="0" cap="none" spc="0" normalizeH="0" baseline="0" noProof="0" dirty="0">
                <a:ln>
                  <a:noFill/>
                </a:ln>
                <a:solidFill>
                  <a:srgbClr val="000000"/>
                </a:solidFill>
                <a:effectLst/>
                <a:uLnTx/>
                <a:uFillTx/>
                <a:latin typeface="Arial"/>
                <a:cs typeface="Arial"/>
                <a:sym typeface="Arial"/>
              </a:rPr>
              <a:t> Dan </a:t>
            </a:r>
            <a:r>
              <a:rPr kumimoji="0" lang="en-US" sz="1200" b="0" i="0" u="none" strike="noStrike" kern="0" cap="none" spc="0" normalizeH="0" baseline="0" noProof="0" dirty="0" err="1">
                <a:ln>
                  <a:noFill/>
                </a:ln>
                <a:solidFill>
                  <a:srgbClr val="000000"/>
                </a:solidFill>
                <a:effectLst/>
                <a:uLnTx/>
                <a:uFillTx/>
                <a:latin typeface="Arial"/>
                <a:cs typeface="Arial"/>
                <a:sym typeface="Arial"/>
              </a:rPr>
              <a:t>Subkualifikasi</a:t>
            </a:r>
            <a:r>
              <a:rPr kumimoji="0" lang="en-US" sz="1200" b="0" i="0" u="none" strike="noStrike" kern="0" cap="none" spc="0" normalizeH="0" baseline="0" noProof="0" dirty="0">
                <a:ln>
                  <a:noFill/>
                </a:ln>
                <a:solidFill>
                  <a:srgbClr val="000000"/>
                </a:solidFill>
                <a:effectLst/>
                <a:uLnTx/>
                <a:uFillTx/>
                <a:latin typeface="Arial"/>
                <a:cs typeface="Arial"/>
                <a:sym typeface="Arial"/>
              </a:rPr>
              <a:t> Usaha Jasa </a:t>
            </a:r>
            <a:r>
              <a:rPr kumimoji="0" lang="en-US" sz="1200" b="0" i="0" u="none" strike="noStrike" kern="0" cap="none" spc="0" normalizeH="0" baseline="0" noProof="0" dirty="0" err="1">
                <a:ln>
                  <a:noFill/>
                </a:ln>
                <a:solidFill>
                  <a:srgbClr val="000000"/>
                </a:solidFill>
                <a:effectLst/>
                <a:uLnTx/>
                <a:uFillTx/>
                <a:latin typeface="Arial"/>
                <a:cs typeface="Arial"/>
                <a:sym typeface="Arial"/>
              </a:rPr>
              <a:t>Konstruksi</a:t>
            </a:r>
            <a:endParaRPr kumimoji="0" lang="en-US" sz="1200" b="0" i="0" u="none" strike="noStrike" kern="0" cap="none" spc="0" normalizeH="0" baseline="0" noProof="0" dirty="0">
              <a:ln>
                <a:noFill/>
              </a:ln>
              <a:solidFill>
                <a:srgbClr val="000000"/>
              </a:solidFill>
              <a:effectLst/>
              <a:uLnTx/>
              <a:uFillTx/>
              <a:latin typeface="Arial"/>
              <a:cs typeface="Arial"/>
              <a:sym typeface="Arial"/>
            </a:endParaRPr>
          </a:p>
          <a:p>
            <a:pPr marL="342900" marR="0" lvl="0" indent="-342900" algn="just" defTabSz="914400" rtl="0" eaLnBrk="1" fontAlgn="auto" latinLnBrk="0" hangingPunct="1">
              <a:lnSpc>
                <a:spcPct val="100000"/>
              </a:lnSpc>
              <a:spcBef>
                <a:spcPts val="0"/>
              </a:spcBef>
              <a:spcAft>
                <a:spcPts val="0"/>
              </a:spcAft>
              <a:buClr>
                <a:srgbClr val="000000"/>
              </a:buClr>
              <a:buSzTx/>
              <a:buFont typeface="+mj-lt"/>
              <a:buAutoNum type="arabicPeriod"/>
              <a:tabLst/>
              <a:defRPr/>
            </a:pPr>
            <a:r>
              <a:rPr kumimoji="0" lang="en-US" sz="1200" b="0" i="0" u="none" strike="noStrike" kern="0" cap="none" spc="0" normalizeH="0" baseline="0" noProof="0" dirty="0" err="1">
                <a:ln>
                  <a:noFill/>
                </a:ln>
                <a:solidFill>
                  <a:srgbClr val="000000"/>
                </a:solidFill>
                <a:effectLst/>
                <a:uLnTx/>
                <a:uFillTx/>
                <a:latin typeface="Arial"/>
                <a:cs typeface="Arial"/>
                <a:sym typeface="Arial"/>
              </a:rPr>
              <a:t>PerMen</a:t>
            </a:r>
            <a:r>
              <a:rPr kumimoji="0" lang="en-US" sz="1200" b="0" i="0" u="none" strike="noStrike" kern="0" cap="none" spc="0" normalizeH="0" baseline="0" noProof="0" dirty="0">
                <a:ln>
                  <a:noFill/>
                </a:ln>
                <a:solidFill>
                  <a:srgbClr val="000000"/>
                </a:solidFill>
                <a:effectLst/>
                <a:uLnTx/>
                <a:uFillTx/>
                <a:latin typeface="Arial"/>
                <a:cs typeface="Arial"/>
                <a:sym typeface="Arial"/>
              </a:rPr>
              <a:t> PUPR No 8/2012 </a:t>
            </a:r>
            <a:r>
              <a:rPr kumimoji="0" lang="en-US" sz="1200" b="0" i="0" u="none" strike="noStrike" kern="0" cap="none" spc="0" normalizeH="0" baseline="0" noProof="0" dirty="0" err="1">
                <a:ln>
                  <a:noFill/>
                </a:ln>
                <a:solidFill>
                  <a:srgbClr val="000000"/>
                </a:solidFill>
                <a:effectLst/>
                <a:uLnTx/>
                <a:uFillTx/>
                <a:latin typeface="Arial"/>
                <a:cs typeface="Arial"/>
                <a:sym typeface="Arial"/>
              </a:rPr>
              <a:t>tentang</a:t>
            </a:r>
            <a:r>
              <a:rPr kumimoji="0" lang="en-US" sz="1200" b="0" i="0" u="none" strike="noStrike" kern="0" cap="none" spc="0" normalizeH="0" baseline="0" noProof="0" dirty="0">
                <a:ln>
                  <a:noFill/>
                </a:ln>
                <a:solidFill>
                  <a:srgbClr val="000000"/>
                </a:solidFill>
                <a:effectLst/>
                <a:uLnTx/>
                <a:uFillTx/>
                <a:latin typeface="Arial"/>
                <a:cs typeface="Arial"/>
                <a:sym typeface="Arial"/>
              </a:rPr>
              <a:t> </a:t>
            </a:r>
            <a:r>
              <a:rPr kumimoji="0" lang="en-US" sz="1200" b="0" i="0" u="none" strike="noStrike" kern="0" cap="none" spc="0" normalizeH="0" baseline="0" noProof="0" dirty="0" err="1">
                <a:ln>
                  <a:noFill/>
                </a:ln>
                <a:solidFill>
                  <a:srgbClr val="000000"/>
                </a:solidFill>
                <a:effectLst/>
                <a:uLnTx/>
                <a:uFillTx/>
                <a:latin typeface="Arial"/>
                <a:cs typeface="Arial"/>
                <a:sym typeface="Arial"/>
              </a:rPr>
              <a:t>Petunjuk</a:t>
            </a:r>
            <a:r>
              <a:rPr kumimoji="0" lang="en-US" sz="1200" b="0" i="0" u="none" strike="noStrike" kern="0" cap="none" spc="0" normalizeH="0" baseline="0" noProof="0" dirty="0">
                <a:ln>
                  <a:noFill/>
                </a:ln>
                <a:solidFill>
                  <a:srgbClr val="000000"/>
                </a:solidFill>
                <a:effectLst/>
                <a:uLnTx/>
                <a:uFillTx/>
                <a:latin typeface="Arial"/>
                <a:cs typeface="Arial"/>
                <a:sym typeface="Arial"/>
              </a:rPr>
              <a:t> Teknis </a:t>
            </a:r>
            <a:r>
              <a:rPr kumimoji="0" lang="en-US" sz="1200" b="0" i="0" u="none" strike="noStrike" kern="0" cap="none" spc="0" normalizeH="0" baseline="0" noProof="0" dirty="0" err="1">
                <a:ln>
                  <a:noFill/>
                </a:ln>
                <a:solidFill>
                  <a:srgbClr val="000000"/>
                </a:solidFill>
                <a:effectLst/>
                <a:uLnTx/>
                <a:uFillTx/>
                <a:latin typeface="Arial"/>
                <a:cs typeface="Arial"/>
                <a:sym typeface="Arial"/>
              </a:rPr>
              <a:t>Pembentukan</a:t>
            </a:r>
            <a:r>
              <a:rPr kumimoji="0" lang="en-US" sz="1200" b="0" i="0" u="none" strike="noStrike" kern="0" cap="none" spc="0" normalizeH="0" baseline="0" noProof="0" dirty="0">
                <a:ln>
                  <a:noFill/>
                </a:ln>
                <a:solidFill>
                  <a:srgbClr val="000000"/>
                </a:solidFill>
                <a:effectLst/>
                <a:uLnTx/>
                <a:uFillTx/>
                <a:latin typeface="Arial"/>
                <a:cs typeface="Arial"/>
                <a:sym typeface="Arial"/>
              </a:rPr>
              <a:t> USBU dan USTK</a:t>
            </a:r>
          </a:p>
          <a:p>
            <a:pPr marL="342900" marR="0" lvl="0" indent="-342900" algn="just" defTabSz="914400" rtl="0" eaLnBrk="1" fontAlgn="auto" latinLnBrk="0" hangingPunct="1">
              <a:lnSpc>
                <a:spcPct val="100000"/>
              </a:lnSpc>
              <a:spcBef>
                <a:spcPts val="0"/>
              </a:spcBef>
              <a:spcAft>
                <a:spcPts val="0"/>
              </a:spcAft>
              <a:buClr>
                <a:srgbClr val="000000"/>
              </a:buClr>
              <a:buSzTx/>
              <a:buFont typeface="+mj-lt"/>
              <a:buAutoNum type="arabicPeriod"/>
              <a:tabLst/>
              <a:defRPr/>
            </a:pPr>
            <a:r>
              <a:rPr kumimoji="0" lang="en-US" sz="1200" b="0" i="0" u="none" strike="noStrike" kern="0" cap="none" spc="0" normalizeH="0" baseline="0" noProof="0" dirty="0" err="1">
                <a:ln>
                  <a:noFill/>
                </a:ln>
                <a:solidFill>
                  <a:srgbClr val="000000"/>
                </a:solidFill>
                <a:effectLst/>
                <a:uLnTx/>
                <a:uFillTx/>
                <a:latin typeface="Arial"/>
                <a:cs typeface="Arial"/>
                <a:sym typeface="Arial"/>
              </a:rPr>
              <a:t>PerLem</a:t>
            </a:r>
            <a:r>
              <a:rPr kumimoji="0" lang="en-US" sz="1200" b="0" i="0" u="none" strike="noStrike" kern="0" cap="none" spc="0" normalizeH="0" baseline="0" noProof="0" dirty="0">
                <a:ln>
                  <a:noFill/>
                </a:ln>
                <a:solidFill>
                  <a:srgbClr val="000000"/>
                </a:solidFill>
                <a:effectLst/>
                <a:uLnTx/>
                <a:uFillTx/>
                <a:latin typeface="Arial"/>
                <a:cs typeface="Arial"/>
                <a:sym typeface="Arial"/>
              </a:rPr>
              <a:t> LPJK </a:t>
            </a:r>
            <a:r>
              <a:rPr kumimoji="0" lang="en-US" sz="1200" b="0" i="0" u="none" strike="noStrike" kern="0" cap="none" spc="0" normalizeH="0" baseline="0" noProof="0" dirty="0" err="1">
                <a:ln>
                  <a:noFill/>
                </a:ln>
                <a:solidFill>
                  <a:srgbClr val="000000"/>
                </a:solidFill>
                <a:effectLst/>
                <a:uLnTx/>
                <a:uFillTx/>
                <a:latin typeface="Arial"/>
                <a:cs typeface="Arial"/>
                <a:sym typeface="Arial"/>
              </a:rPr>
              <a:t>Nomor</a:t>
            </a:r>
            <a:r>
              <a:rPr kumimoji="0" lang="en-US" sz="1200" b="0" i="0" u="none" strike="noStrike" kern="0" cap="none" spc="0" normalizeH="0" baseline="0" noProof="0" dirty="0">
                <a:ln>
                  <a:noFill/>
                </a:ln>
                <a:solidFill>
                  <a:srgbClr val="000000"/>
                </a:solidFill>
                <a:effectLst/>
                <a:uLnTx/>
                <a:uFillTx/>
                <a:latin typeface="Arial"/>
                <a:cs typeface="Arial"/>
                <a:sym typeface="Arial"/>
              </a:rPr>
              <a:t> 03 </a:t>
            </a:r>
            <a:r>
              <a:rPr kumimoji="0" lang="en-US" sz="1200" b="0" i="0" u="none" strike="noStrike" kern="0" cap="none" spc="0" normalizeH="0" baseline="0" noProof="0" dirty="0" err="1">
                <a:ln>
                  <a:noFill/>
                </a:ln>
                <a:solidFill>
                  <a:srgbClr val="000000"/>
                </a:solidFill>
                <a:effectLst/>
                <a:uLnTx/>
                <a:uFillTx/>
                <a:latin typeface="Arial"/>
                <a:cs typeface="Arial"/>
                <a:sym typeface="Arial"/>
              </a:rPr>
              <a:t>Tahun</a:t>
            </a:r>
            <a:r>
              <a:rPr kumimoji="0" lang="en-US" sz="1200" b="0" i="0" u="none" strike="noStrike" kern="0" cap="none" spc="0" normalizeH="0" baseline="0" noProof="0" dirty="0">
                <a:ln>
                  <a:noFill/>
                </a:ln>
                <a:solidFill>
                  <a:srgbClr val="000000"/>
                </a:solidFill>
                <a:effectLst/>
                <a:uLnTx/>
                <a:uFillTx/>
                <a:latin typeface="Arial"/>
                <a:cs typeface="Arial"/>
                <a:sym typeface="Arial"/>
              </a:rPr>
              <a:t> 2017 </a:t>
            </a:r>
            <a:r>
              <a:rPr kumimoji="0" lang="en-US" sz="1200" b="0" i="0" u="none" strike="noStrike" kern="0" cap="none" spc="0" normalizeH="0" baseline="0" noProof="0" dirty="0" err="1">
                <a:ln>
                  <a:noFill/>
                </a:ln>
                <a:solidFill>
                  <a:srgbClr val="000000"/>
                </a:solidFill>
                <a:effectLst/>
                <a:uLnTx/>
                <a:uFillTx/>
                <a:latin typeface="Arial"/>
                <a:cs typeface="Arial"/>
                <a:sym typeface="Arial"/>
              </a:rPr>
              <a:t>tentang</a:t>
            </a:r>
            <a:r>
              <a:rPr kumimoji="0" lang="en-US" sz="1200" b="0" i="0" u="none" strike="noStrike" kern="0" cap="none" spc="0" normalizeH="0" baseline="0" noProof="0" dirty="0">
                <a:ln>
                  <a:noFill/>
                </a:ln>
                <a:solidFill>
                  <a:srgbClr val="000000"/>
                </a:solidFill>
                <a:effectLst/>
                <a:uLnTx/>
                <a:uFillTx/>
                <a:latin typeface="Arial"/>
                <a:cs typeface="Arial"/>
                <a:sym typeface="Arial"/>
              </a:rPr>
              <a:t> </a:t>
            </a:r>
            <a:r>
              <a:rPr kumimoji="0" lang="en-US" sz="1200" b="0" i="0" u="none" strike="noStrike" kern="0" cap="none" spc="0" normalizeH="0" baseline="0" noProof="0" dirty="0" err="1">
                <a:ln>
                  <a:noFill/>
                </a:ln>
                <a:solidFill>
                  <a:srgbClr val="000000"/>
                </a:solidFill>
                <a:effectLst/>
                <a:uLnTx/>
                <a:uFillTx/>
                <a:latin typeface="Arial"/>
                <a:cs typeface="Arial"/>
                <a:sym typeface="Arial"/>
              </a:rPr>
              <a:t>Sertifikasi</a:t>
            </a:r>
            <a:r>
              <a:rPr kumimoji="0" lang="en-US" sz="1200" b="0" i="0" u="none" strike="noStrike" kern="0" cap="none" spc="0" normalizeH="0" baseline="0" noProof="0" dirty="0">
                <a:ln>
                  <a:noFill/>
                </a:ln>
                <a:solidFill>
                  <a:srgbClr val="000000"/>
                </a:solidFill>
                <a:effectLst/>
                <a:uLnTx/>
                <a:uFillTx/>
                <a:latin typeface="Arial"/>
                <a:cs typeface="Arial"/>
                <a:sym typeface="Arial"/>
              </a:rPr>
              <a:t> dan </a:t>
            </a:r>
            <a:r>
              <a:rPr kumimoji="0" lang="en-US" sz="1200" b="0" i="0" u="none" strike="noStrike" kern="0" cap="none" spc="0" normalizeH="0" baseline="0" noProof="0" dirty="0" err="1">
                <a:ln>
                  <a:noFill/>
                </a:ln>
                <a:solidFill>
                  <a:srgbClr val="000000"/>
                </a:solidFill>
                <a:effectLst/>
                <a:uLnTx/>
                <a:uFillTx/>
                <a:latin typeface="Arial"/>
                <a:cs typeface="Arial"/>
                <a:sym typeface="Arial"/>
              </a:rPr>
              <a:t>Registrasi</a:t>
            </a:r>
            <a:r>
              <a:rPr kumimoji="0" lang="en-US" sz="1200" b="0" i="0" u="none" strike="noStrike" kern="0" cap="none" spc="0" normalizeH="0" baseline="0" noProof="0" dirty="0">
                <a:ln>
                  <a:noFill/>
                </a:ln>
                <a:solidFill>
                  <a:srgbClr val="000000"/>
                </a:solidFill>
                <a:effectLst/>
                <a:uLnTx/>
                <a:uFillTx/>
                <a:latin typeface="Arial"/>
                <a:cs typeface="Arial"/>
                <a:sym typeface="Arial"/>
              </a:rPr>
              <a:t> Usaha Jasa </a:t>
            </a:r>
            <a:r>
              <a:rPr kumimoji="0" lang="en-US" sz="1200" b="0" i="0" u="none" strike="noStrike" kern="0" cap="none" spc="0" normalizeH="0" baseline="0" noProof="0" dirty="0" err="1">
                <a:ln>
                  <a:noFill/>
                </a:ln>
                <a:solidFill>
                  <a:srgbClr val="000000"/>
                </a:solidFill>
                <a:effectLst/>
                <a:uLnTx/>
                <a:uFillTx/>
                <a:latin typeface="Arial"/>
                <a:cs typeface="Arial"/>
                <a:sym typeface="Arial"/>
              </a:rPr>
              <a:t>Pelaksana</a:t>
            </a:r>
            <a:endParaRPr kumimoji="0" lang="en-US" sz="1200" b="0" i="0" u="none" strike="noStrike" kern="0" cap="none" spc="0" normalizeH="0" baseline="0" noProof="0" dirty="0">
              <a:ln>
                <a:noFill/>
              </a:ln>
              <a:solidFill>
                <a:srgbClr val="000000"/>
              </a:solidFill>
              <a:effectLst/>
              <a:uLnTx/>
              <a:uFillTx/>
              <a:latin typeface="Arial"/>
              <a:cs typeface="Arial"/>
              <a:sym typeface="Arial"/>
            </a:endParaRPr>
          </a:p>
          <a:p>
            <a:pPr marL="342900" marR="0" lvl="0" indent="-342900" algn="just" defTabSz="914400" rtl="0" eaLnBrk="1" fontAlgn="auto" latinLnBrk="0" hangingPunct="1">
              <a:lnSpc>
                <a:spcPct val="100000"/>
              </a:lnSpc>
              <a:spcBef>
                <a:spcPts val="0"/>
              </a:spcBef>
              <a:spcAft>
                <a:spcPts val="0"/>
              </a:spcAft>
              <a:buClr>
                <a:srgbClr val="000000"/>
              </a:buClr>
              <a:buSzTx/>
              <a:buFont typeface="+mj-lt"/>
              <a:buAutoNum type="arabicPeriod"/>
              <a:tabLst/>
              <a:defRPr/>
            </a:pPr>
            <a:r>
              <a:rPr kumimoji="0" lang="en-US" sz="1200" b="0" i="0" u="none" strike="noStrike" kern="0" cap="none" spc="0" normalizeH="0" baseline="0" noProof="0" dirty="0" err="1">
                <a:ln>
                  <a:noFill/>
                </a:ln>
                <a:solidFill>
                  <a:srgbClr val="000000"/>
                </a:solidFill>
                <a:effectLst/>
                <a:uLnTx/>
                <a:uFillTx/>
                <a:latin typeface="Arial"/>
                <a:cs typeface="Arial"/>
                <a:sym typeface="Arial"/>
              </a:rPr>
              <a:t>PerLem</a:t>
            </a:r>
            <a:r>
              <a:rPr kumimoji="0" lang="en-US" sz="1200" b="0" i="0" u="none" strike="noStrike" kern="0" cap="none" spc="0" normalizeH="0" baseline="0" noProof="0" dirty="0">
                <a:ln>
                  <a:noFill/>
                </a:ln>
                <a:solidFill>
                  <a:srgbClr val="000000"/>
                </a:solidFill>
                <a:effectLst/>
                <a:uLnTx/>
                <a:uFillTx/>
                <a:latin typeface="Arial"/>
                <a:cs typeface="Arial"/>
                <a:sym typeface="Arial"/>
              </a:rPr>
              <a:t> LPJK </a:t>
            </a:r>
            <a:r>
              <a:rPr kumimoji="0" lang="en-US" sz="1200" b="0" i="0" u="none" strike="noStrike" kern="0" cap="none" spc="0" normalizeH="0" baseline="0" noProof="0" dirty="0" err="1">
                <a:ln>
                  <a:noFill/>
                </a:ln>
                <a:solidFill>
                  <a:srgbClr val="000000"/>
                </a:solidFill>
                <a:effectLst/>
                <a:uLnTx/>
                <a:uFillTx/>
                <a:latin typeface="Arial"/>
                <a:cs typeface="Arial"/>
                <a:sym typeface="Arial"/>
              </a:rPr>
              <a:t>Nomor</a:t>
            </a:r>
            <a:r>
              <a:rPr kumimoji="0" lang="en-US" sz="1200" b="0" i="0" u="none" strike="noStrike" kern="0" cap="none" spc="0" normalizeH="0" baseline="0" noProof="0" dirty="0">
                <a:ln>
                  <a:noFill/>
                </a:ln>
                <a:solidFill>
                  <a:srgbClr val="000000"/>
                </a:solidFill>
                <a:effectLst/>
                <a:uLnTx/>
                <a:uFillTx/>
                <a:latin typeface="Arial"/>
                <a:cs typeface="Arial"/>
                <a:sym typeface="Arial"/>
              </a:rPr>
              <a:t> 04 </a:t>
            </a:r>
            <a:r>
              <a:rPr kumimoji="0" lang="en-US" sz="1200" b="0" i="0" u="none" strike="noStrike" kern="0" cap="none" spc="0" normalizeH="0" baseline="0" noProof="0" dirty="0" err="1">
                <a:ln>
                  <a:noFill/>
                </a:ln>
                <a:solidFill>
                  <a:srgbClr val="000000"/>
                </a:solidFill>
                <a:effectLst/>
                <a:uLnTx/>
                <a:uFillTx/>
                <a:latin typeface="Arial"/>
                <a:cs typeface="Arial"/>
                <a:sym typeface="Arial"/>
              </a:rPr>
              <a:t>Tahun</a:t>
            </a:r>
            <a:r>
              <a:rPr kumimoji="0" lang="en-US" sz="1200" b="0" i="0" u="none" strike="noStrike" kern="0" cap="none" spc="0" normalizeH="0" baseline="0" noProof="0" dirty="0">
                <a:ln>
                  <a:noFill/>
                </a:ln>
                <a:solidFill>
                  <a:srgbClr val="000000"/>
                </a:solidFill>
                <a:effectLst/>
                <a:uLnTx/>
                <a:uFillTx/>
                <a:latin typeface="Arial"/>
                <a:cs typeface="Arial"/>
                <a:sym typeface="Arial"/>
              </a:rPr>
              <a:t> 2017 </a:t>
            </a:r>
            <a:r>
              <a:rPr kumimoji="0" lang="en-US" sz="1200" b="0" i="0" u="none" strike="noStrike" kern="0" cap="none" spc="0" normalizeH="0" baseline="0" noProof="0" dirty="0" err="1">
                <a:ln>
                  <a:noFill/>
                </a:ln>
                <a:solidFill>
                  <a:srgbClr val="000000"/>
                </a:solidFill>
                <a:effectLst/>
                <a:uLnTx/>
                <a:uFillTx/>
                <a:latin typeface="Arial"/>
                <a:cs typeface="Arial"/>
                <a:sym typeface="Arial"/>
              </a:rPr>
              <a:t>tentang</a:t>
            </a:r>
            <a:r>
              <a:rPr kumimoji="0" lang="en-US" sz="1200" b="0" i="0" u="none" strike="noStrike" kern="0" cap="none" spc="0" normalizeH="0" baseline="0" noProof="0" dirty="0">
                <a:ln>
                  <a:noFill/>
                </a:ln>
                <a:solidFill>
                  <a:srgbClr val="000000"/>
                </a:solidFill>
                <a:effectLst/>
                <a:uLnTx/>
                <a:uFillTx/>
                <a:latin typeface="Arial"/>
                <a:cs typeface="Arial"/>
                <a:sym typeface="Arial"/>
              </a:rPr>
              <a:t> </a:t>
            </a:r>
            <a:r>
              <a:rPr kumimoji="0" lang="en-US" sz="1200" b="0" i="0" u="none" strike="noStrike" kern="0" cap="none" spc="0" normalizeH="0" baseline="0" noProof="0" dirty="0" err="1">
                <a:ln>
                  <a:noFill/>
                </a:ln>
                <a:solidFill>
                  <a:srgbClr val="000000"/>
                </a:solidFill>
                <a:effectLst/>
                <a:uLnTx/>
                <a:uFillTx/>
                <a:latin typeface="Arial"/>
                <a:cs typeface="Arial"/>
                <a:sym typeface="Arial"/>
              </a:rPr>
              <a:t>Sertifikasi</a:t>
            </a:r>
            <a:r>
              <a:rPr kumimoji="0" lang="en-US" sz="1200" b="0" i="0" u="none" strike="noStrike" kern="0" cap="none" spc="0" normalizeH="0" baseline="0" noProof="0" dirty="0">
                <a:ln>
                  <a:noFill/>
                </a:ln>
                <a:solidFill>
                  <a:srgbClr val="000000"/>
                </a:solidFill>
                <a:effectLst/>
                <a:uLnTx/>
                <a:uFillTx/>
                <a:latin typeface="Arial"/>
                <a:cs typeface="Arial"/>
                <a:sym typeface="Arial"/>
              </a:rPr>
              <a:t> dan </a:t>
            </a:r>
            <a:r>
              <a:rPr kumimoji="0" lang="en-US" sz="1200" b="0" i="0" u="none" strike="noStrike" kern="0" cap="none" spc="0" normalizeH="0" baseline="0" noProof="0" dirty="0" err="1">
                <a:ln>
                  <a:noFill/>
                </a:ln>
                <a:solidFill>
                  <a:srgbClr val="000000"/>
                </a:solidFill>
                <a:effectLst/>
                <a:uLnTx/>
                <a:uFillTx/>
                <a:latin typeface="Arial"/>
                <a:cs typeface="Arial"/>
                <a:sym typeface="Arial"/>
              </a:rPr>
              <a:t>Registrasi</a:t>
            </a:r>
            <a:r>
              <a:rPr kumimoji="0" lang="en-US" sz="1200" b="0" i="0" u="none" strike="noStrike" kern="0" cap="none" spc="0" normalizeH="0" baseline="0" noProof="0" dirty="0">
                <a:ln>
                  <a:noFill/>
                </a:ln>
                <a:solidFill>
                  <a:srgbClr val="000000"/>
                </a:solidFill>
                <a:effectLst/>
                <a:uLnTx/>
                <a:uFillTx/>
                <a:latin typeface="Arial"/>
                <a:cs typeface="Arial"/>
                <a:sym typeface="Arial"/>
              </a:rPr>
              <a:t> Usaha Jasa </a:t>
            </a:r>
            <a:r>
              <a:rPr kumimoji="0" lang="en-US" sz="1200" b="0" i="0" u="none" strike="noStrike" kern="0" cap="none" spc="0" normalizeH="0" baseline="0" noProof="0" dirty="0" err="1">
                <a:ln>
                  <a:noFill/>
                </a:ln>
                <a:solidFill>
                  <a:srgbClr val="000000"/>
                </a:solidFill>
                <a:effectLst/>
                <a:uLnTx/>
                <a:uFillTx/>
                <a:latin typeface="Arial"/>
                <a:cs typeface="Arial"/>
                <a:sym typeface="Arial"/>
              </a:rPr>
              <a:t>Perencana</a:t>
            </a:r>
            <a:r>
              <a:rPr kumimoji="0" lang="en-US" sz="1200" b="0" i="0" u="none" strike="noStrike" kern="0" cap="none" spc="0" normalizeH="0" baseline="0" noProof="0" dirty="0">
                <a:ln>
                  <a:noFill/>
                </a:ln>
                <a:solidFill>
                  <a:srgbClr val="000000"/>
                </a:solidFill>
                <a:effectLst/>
                <a:uLnTx/>
                <a:uFillTx/>
                <a:latin typeface="Arial"/>
                <a:cs typeface="Arial"/>
                <a:sym typeface="Arial"/>
              </a:rPr>
              <a:t> dan </a:t>
            </a:r>
            <a:r>
              <a:rPr kumimoji="0" lang="en-US" sz="1200" b="0" i="0" u="none" strike="noStrike" kern="0" cap="none" spc="0" normalizeH="0" baseline="0" noProof="0" dirty="0" err="1">
                <a:ln>
                  <a:noFill/>
                </a:ln>
                <a:solidFill>
                  <a:srgbClr val="000000"/>
                </a:solidFill>
                <a:effectLst/>
                <a:uLnTx/>
                <a:uFillTx/>
                <a:latin typeface="Arial"/>
                <a:cs typeface="Arial"/>
                <a:sym typeface="Arial"/>
              </a:rPr>
              <a:t>Pengawas</a:t>
            </a:r>
            <a:endParaRPr kumimoji="0" lang="en-US" sz="1200" b="0" i="0" u="none" strike="noStrike" kern="0" cap="none" spc="0" normalizeH="0" baseline="0" noProof="0" dirty="0">
              <a:ln>
                <a:noFill/>
              </a:ln>
              <a:solidFill>
                <a:srgbClr val="000000"/>
              </a:solidFill>
              <a:effectLst/>
              <a:uLnTx/>
              <a:uFillTx/>
              <a:latin typeface="Arial"/>
              <a:cs typeface="Arial"/>
              <a:sym typeface="Arial"/>
            </a:endParaRPr>
          </a:p>
        </p:txBody>
      </p:sp>
      <p:sp>
        <p:nvSpPr>
          <p:cNvPr id="59" name="TextBox 58">
            <a:extLst>
              <a:ext uri="{FF2B5EF4-FFF2-40B4-BE49-F238E27FC236}">
                <a16:creationId xmlns:a16="http://schemas.microsoft.com/office/drawing/2014/main" id="{9E35BAB1-6286-5019-AC53-90A85C42A0B0}"/>
              </a:ext>
            </a:extLst>
          </p:cNvPr>
          <p:cNvSpPr txBox="1"/>
          <p:nvPr/>
        </p:nvSpPr>
        <p:spPr>
          <a:xfrm>
            <a:off x="6897503" y="1251274"/>
            <a:ext cx="5089897" cy="2215991"/>
          </a:xfrm>
          <a:prstGeom prst="rect">
            <a:avLst/>
          </a:prstGeom>
          <a:noFill/>
        </p:spPr>
        <p:txBody>
          <a:bodyPr wrap="square" rtlCol="0">
            <a:spAutoFit/>
          </a:bodyPr>
          <a:lstStyle/>
          <a:p>
            <a:pPr marL="342900" marR="0" lvl="0" indent="-342900" algn="just" defTabSz="914400" rtl="0" eaLnBrk="1" fontAlgn="auto" latinLnBrk="0" hangingPunct="1">
              <a:lnSpc>
                <a:spcPct val="100000"/>
              </a:lnSpc>
              <a:spcBef>
                <a:spcPts val="0"/>
              </a:spcBef>
              <a:spcAft>
                <a:spcPts val="0"/>
              </a:spcAft>
              <a:buClr>
                <a:srgbClr val="000000"/>
              </a:buClr>
              <a:buSzTx/>
              <a:buFont typeface="+mj-lt"/>
              <a:buAutoNum type="arabicPeriod"/>
              <a:tabLst/>
              <a:defRPr/>
            </a:pPr>
            <a:r>
              <a:rPr kumimoji="0" lang="en-US" sz="1150" b="0" i="0" u="none" strike="noStrike" kern="0" cap="none" spc="0" normalizeH="0" baseline="0" noProof="0" dirty="0">
                <a:ln>
                  <a:noFill/>
                </a:ln>
                <a:solidFill>
                  <a:srgbClr val="000000"/>
                </a:solidFill>
                <a:effectLst/>
                <a:uLnTx/>
                <a:uFillTx/>
                <a:latin typeface="Arial"/>
                <a:cs typeface="Arial"/>
                <a:sym typeface="Arial"/>
              </a:rPr>
              <a:t>UU No 2 </a:t>
            </a:r>
            <a:r>
              <a:rPr kumimoji="0" lang="en-US" sz="1150" b="0" i="0" u="none" strike="noStrike" kern="0" cap="none" spc="0" normalizeH="0" baseline="0" noProof="0" dirty="0" err="1">
                <a:ln>
                  <a:noFill/>
                </a:ln>
                <a:solidFill>
                  <a:srgbClr val="000000"/>
                </a:solidFill>
                <a:effectLst/>
                <a:uLnTx/>
                <a:uFillTx/>
                <a:latin typeface="Arial"/>
                <a:cs typeface="Arial"/>
                <a:sym typeface="Arial"/>
              </a:rPr>
              <a:t>Tahun</a:t>
            </a:r>
            <a:r>
              <a:rPr kumimoji="0" lang="en-US" sz="1150" b="0" i="0" u="none" strike="noStrike" kern="0" cap="none" spc="0" normalizeH="0" baseline="0" noProof="0" dirty="0">
                <a:ln>
                  <a:noFill/>
                </a:ln>
                <a:solidFill>
                  <a:srgbClr val="000000"/>
                </a:solidFill>
                <a:effectLst/>
                <a:uLnTx/>
                <a:uFillTx/>
                <a:latin typeface="Arial"/>
                <a:cs typeface="Arial"/>
                <a:sym typeface="Arial"/>
              </a:rPr>
              <a:t> 2017 </a:t>
            </a:r>
            <a:r>
              <a:rPr kumimoji="0" lang="en-US" sz="1150" b="0" i="0" u="none" strike="noStrike" kern="0" cap="none" spc="0" normalizeH="0" baseline="0" noProof="0" dirty="0" err="1">
                <a:ln>
                  <a:noFill/>
                </a:ln>
                <a:solidFill>
                  <a:srgbClr val="000000"/>
                </a:solidFill>
                <a:effectLst/>
                <a:uLnTx/>
                <a:uFillTx/>
                <a:latin typeface="Arial"/>
                <a:cs typeface="Arial"/>
                <a:sym typeface="Arial"/>
              </a:rPr>
              <a:t>tentang</a:t>
            </a:r>
            <a:r>
              <a:rPr kumimoji="0" lang="en-US" sz="1150" b="0" i="0" u="none" strike="noStrike" kern="0" cap="none" spc="0" normalizeH="0" baseline="0" noProof="0" dirty="0">
                <a:ln>
                  <a:noFill/>
                </a:ln>
                <a:solidFill>
                  <a:srgbClr val="000000"/>
                </a:solidFill>
                <a:effectLst/>
                <a:uLnTx/>
                <a:uFillTx/>
                <a:latin typeface="Arial"/>
                <a:cs typeface="Arial"/>
                <a:sym typeface="Arial"/>
              </a:rPr>
              <a:t> Jasa </a:t>
            </a:r>
            <a:r>
              <a:rPr kumimoji="0" lang="en-US" sz="1150" b="0" i="0" u="none" strike="noStrike" kern="0" cap="none" spc="0" normalizeH="0" baseline="0" noProof="0" dirty="0" err="1">
                <a:ln>
                  <a:noFill/>
                </a:ln>
                <a:solidFill>
                  <a:srgbClr val="000000"/>
                </a:solidFill>
                <a:effectLst/>
                <a:uLnTx/>
                <a:uFillTx/>
                <a:latin typeface="Arial"/>
                <a:cs typeface="Arial"/>
                <a:sym typeface="Arial"/>
              </a:rPr>
              <a:t>Konstruksi</a:t>
            </a:r>
            <a:endParaRPr kumimoji="0" lang="en-US" sz="1150" b="0" i="0" u="none" strike="noStrike" kern="0" cap="none" spc="0" normalizeH="0" baseline="0" noProof="0" dirty="0">
              <a:ln>
                <a:noFill/>
              </a:ln>
              <a:solidFill>
                <a:srgbClr val="000000"/>
              </a:solidFill>
              <a:effectLst/>
              <a:uLnTx/>
              <a:uFillTx/>
              <a:latin typeface="Arial"/>
              <a:cs typeface="Arial"/>
              <a:sym typeface="Arial"/>
            </a:endParaRPr>
          </a:p>
          <a:p>
            <a:pPr marL="342900" marR="0" lvl="0" indent="-342900" algn="just" defTabSz="914400" rtl="0" eaLnBrk="1" fontAlgn="auto" latinLnBrk="0" hangingPunct="1">
              <a:lnSpc>
                <a:spcPct val="100000"/>
              </a:lnSpc>
              <a:spcBef>
                <a:spcPts val="0"/>
              </a:spcBef>
              <a:spcAft>
                <a:spcPts val="0"/>
              </a:spcAft>
              <a:buClr>
                <a:srgbClr val="000000"/>
              </a:buClr>
              <a:buSzTx/>
              <a:buFont typeface="+mj-lt"/>
              <a:buAutoNum type="arabicPeriod"/>
              <a:tabLst/>
              <a:defRPr/>
            </a:pPr>
            <a:r>
              <a:rPr kumimoji="0" lang="en-US" sz="1150" b="0" i="0" u="none" strike="noStrike" kern="0" cap="none" spc="0" normalizeH="0" baseline="0" noProof="0" dirty="0">
                <a:ln>
                  <a:noFill/>
                </a:ln>
                <a:solidFill>
                  <a:srgbClr val="000000"/>
                </a:solidFill>
                <a:effectLst/>
                <a:uLnTx/>
                <a:uFillTx/>
                <a:latin typeface="Arial"/>
                <a:cs typeface="Arial"/>
                <a:sym typeface="Arial"/>
              </a:rPr>
              <a:t>PP No 5 </a:t>
            </a:r>
            <a:r>
              <a:rPr kumimoji="0" lang="en-US" sz="1150" b="0" i="0" u="none" strike="noStrike" kern="0" cap="none" spc="0" normalizeH="0" baseline="0" noProof="0" dirty="0" err="1">
                <a:ln>
                  <a:noFill/>
                </a:ln>
                <a:solidFill>
                  <a:srgbClr val="000000"/>
                </a:solidFill>
                <a:effectLst/>
                <a:uLnTx/>
                <a:uFillTx/>
                <a:latin typeface="Arial"/>
                <a:cs typeface="Arial"/>
                <a:sym typeface="Arial"/>
              </a:rPr>
              <a:t>Tahun</a:t>
            </a:r>
            <a:r>
              <a:rPr kumimoji="0" lang="en-US" sz="1150" b="0" i="0" u="none" strike="noStrike" kern="0" cap="none" spc="0" normalizeH="0" baseline="0" noProof="0" dirty="0">
                <a:ln>
                  <a:noFill/>
                </a:ln>
                <a:solidFill>
                  <a:srgbClr val="000000"/>
                </a:solidFill>
                <a:effectLst/>
                <a:uLnTx/>
                <a:uFillTx/>
                <a:latin typeface="Arial"/>
                <a:cs typeface="Arial"/>
                <a:sym typeface="Arial"/>
              </a:rPr>
              <a:t> 2021 </a:t>
            </a:r>
            <a:r>
              <a:rPr kumimoji="0" lang="en-US" sz="1150" b="0" i="0" u="none" strike="noStrike" kern="0" cap="none" spc="0" normalizeH="0" baseline="0" noProof="0" dirty="0" err="1">
                <a:ln>
                  <a:noFill/>
                </a:ln>
                <a:solidFill>
                  <a:srgbClr val="000000"/>
                </a:solidFill>
                <a:effectLst/>
                <a:uLnTx/>
                <a:uFillTx/>
                <a:latin typeface="Arial"/>
                <a:cs typeface="Arial"/>
                <a:sym typeface="Arial"/>
              </a:rPr>
              <a:t>tentang</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r>
              <a:rPr kumimoji="0" lang="en-US" sz="1150" b="0" i="0" u="none" strike="noStrike" kern="0" cap="none" spc="0" normalizeH="0" baseline="0" noProof="0" dirty="0" err="1">
                <a:ln>
                  <a:noFill/>
                </a:ln>
                <a:solidFill>
                  <a:srgbClr val="000000"/>
                </a:solidFill>
                <a:effectLst/>
                <a:uLnTx/>
                <a:uFillTx/>
                <a:latin typeface="Arial"/>
                <a:cs typeface="Arial"/>
                <a:sym typeface="Arial"/>
              </a:rPr>
              <a:t>Perizinan</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r>
              <a:rPr kumimoji="0" lang="en-US" sz="1150" b="0" i="0" u="none" strike="noStrike" kern="0" cap="none" spc="0" normalizeH="0" baseline="0" noProof="0" dirty="0" err="1">
                <a:ln>
                  <a:noFill/>
                </a:ln>
                <a:solidFill>
                  <a:srgbClr val="000000"/>
                </a:solidFill>
                <a:effectLst/>
                <a:uLnTx/>
                <a:uFillTx/>
                <a:latin typeface="Arial"/>
                <a:cs typeface="Arial"/>
                <a:sym typeface="Arial"/>
              </a:rPr>
              <a:t>Berusaha</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r>
              <a:rPr kumimoji="0" lang="en-US" sz="1150" b="0" i="0" u="none" strike="noStrike" kern="0" cap="none" spc="0" normalizeH="0" baseline="0" noProof="0" dirty="0" err="1">
                <a:ln>
                  <a:noFill/>
                </a:ln>
                <a:solidFill>
                  <a:srgbClr val="000000"/>
                </a:solidFill>
                <a:effectLst/>
                <a:uLnTx/>
                <a:uFillTx/>
                <a:latin typeface="Arial"/>
                <a:cs typeface="Arial"/>
                <a:sym typeface="Arial"/>
              </a:rPr>
              <a:t>Berbasis</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r>
              <a:rPr kumimoji="0" lang="en-US" sz="1150" b="0" i="0" u="none" strike="noStrike" kern="0" cap="none" spc="0" normalizeH="0" baseline="0" noProof="0" dirty="0" err="1">
                <a:ln>
                  <a:noFill/>
                </a:ln>
                <a:solidFill>
                  <a:srgbClr val="000000"/>
                </a:solidFill>
                <a:effectLst/>
                <a:uLnTx/>
                <a:uFillTx/>
                <a:latin typeface="Arial"/>
                <a:cs typeface="Arial"/>
                <a:sym typeface="Arial"/>
              </a:rPr>
              <a:t>Risiko</a:t>
            </a:r>
            <a:endParaRPr kumimoji="0" lang="en-US" sz="1150" b="0" i="0" u="none" strike="noStrike" kern="0" cap="none" spc="0" normalizeH="0" baseline="0" noProof="0" dirty="0">
              <a:ln>
                <a:noFill/>
              </a:ln>
              <a:solidFill>
                <a:srgbClr val="000000"/>
              </a:solidFill>
              <a:effectLst/>
              <a:uLnTx/>
              <a:uFillTx/>
              <a:latin typeface="Arial"/>
              <a:cs typeface="Arial"/>
              <a:sym typeface="Arial"/>
            </a:endParaRPr>
          </a:p>
          <a:p>
            <a:pPr marL="342900" marR="0" lvl="0" indent="-342900" algn="just" defTabSz="914400" rtl="0" eaLnBrk="1" fontAlgn="auto" latinLnBrk="0" hangingPunct="1">
              <a:lnSpc>
                <a:spcPct val="100000"/>
              </a:lnSpc>
              <a:spcBef>
                <a:spcPts val="0"/>
              </a:spcBef>
              <a:spcAft>
                <a:spcPts val="0"/>
              </a:spcAft>
              <a:buClr>
                <a:srgbClr val="000000"/>
              </a:buClr>
              <a:buSzTx/>
              <a:buFont typeface="+mj-lt"/>
              <a:buAutoNum type="arabicPeriod"/>
              <a:tabLst/>
              <a:defRPr/>
            </a:pPr>
            <a:r>
              <a:rPr kumimoji="0" lang="en-US" sz="1150" b="0" i="0" u="none" strike="noStrike" kern="0" cap="none" spc="0" normalizeH="0" baseline="0" noProof="0" dirty="0">
                <a:ln>
                  <a:noFill/>
                </a:ln>
                <a:solidFill>
                  <a:srgbClr val="000000"/>
                </a:solidFill>
                <a:effectLst/>
                <a:uLnTx/>
                <a:uFillTx/>
                <a:latin typeface="Arial"/>
                <a:cs typeface="Arial"/>
                <a:sym typeface="Arial"/>
              </a:rPr>
              <a:t>PP No 14 </a:t>
            </a:r>
            <a:r>
              <a:rPr kumimoji="0" lang="en-US" sz="1150" b="0" i="0" u="none" strike="noStrike" kern="0" cap="none" spc="0" normalizeH="0" baseline="0" noProof="0" dirty="0" err="1">
                <a:ln>
                  <a:noFill/>
                </a:ln>
                <a:solidFill>
                  <a:srgbClr val="000000"/>
                </a:solidFill>
                <a:effectLst/>
                <a:uLnTx/>
                <a:uFillTx/>
                <a:latin typeface="Arial"/>
                <a:cs typeface="Arial"/>
                <a:sym typeface="Arial"/>
              </a:rPr>
              <a:t>Tahun</a:t>
            </a:r>
            <a:r>
              <a:rPr kumimoji="0" lang="en-US" sz="1150" b="0" i="0" u="none" strike="noStrike" kern="0" cap="none" spc="0" normalizeH="0" baseline="0" noProof="0" dirty="0">
                <a:ln>
                  <a:noFill/>
                </a:ln>
                <a:solidFill>
                  <a:srgbClr val="000000"/>
                </a:solidFill>
                <a:effectLst/>
                <a:uLnTx/>
                <a:uFillTx/>
                <a:latin typeface="Arial"/>
                <a:cs typeface="Arial"/>
                <a:sym typeface="Arial"/>
              </a:rPr>
              <a:t> 2021 </a:t>
            </a:r>
            <a:r>
              <a:rPr kumimoji="0" lang="en-US" sz="1150" b="0" i="0" u="none" strike="noStrike" kern="0" cap="none" spc="0" normalizeH="0" baseline="0" noProof="0" dirty="0" err="1">
                <a:ln>
                  <a:noFill/>
                </a:ln>
                <a:solidFill>
                  <a:srgbClr val="000000"/>
                </a:solidFill>
                <a:effectLst/>
                <a:uLnTx/>
                <a:uFillTx/>
                <a:latin typeface="Arial"/>
                <a:cs typeface="Arial"/>
                <a:sym typeface="Arial"/>
              </a:rPr>
              <a:t>tentang</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r>
              <a:rPr kumimoji="0" lang="en-US" sz="1150" b="0" i="0" u="none" strike="noStrike" kern="0" cap="none" spc="0" normalizeH="0" baseline="0" noProof="0" dirty="0" err="1">
                <a:ln>
                  <a:noFill/>
                </a:ln>
                <a:solidFill>
                  <a:srgbClr val="000000"/>
                </a:solidFill>
                <a:effectLst/>
                <a:uLnTx/>
                <a:uFillTx/>
                <a:latin typeface="Arial"/>
                <a:cs typeface="Arial"/>
                <a:sym typeface="Arial"/>
              </a:rPr>
              <a:t>Perubahan</a:t>
            </a:r>
            <a:r>
              <a:rPr kumimoji="0" lang="en-US" sz="1150" b="0" i="0" u="none" strike="noStrike" kern="0" cap="none" spc="0" normalizeH="0" baseline="0" noProof="0" dirty="0">
                <a:ln>
                  <a:noFill/>
                </a:ln>
                <a:solidFill>
                  <a:srgbClr val="000000"/>
                </a:solidFill>
                <a:effectLst/>
                <a:uLnTx/>
                <a:uFillTx/>
                <a:latin typeface="Arial"/>
                <a:cs typeface="Arial"/>
                <a:sym typeface="Arial"/>
              </a:rPr>
              <a:t> PP No 22/2020</a:t>
            </a:r>
          </a:p>
          <a:p>
            <a:pPr marL="342900" marR="0" lvl="0" indent="-342900" algn="just" defTabSz="914400" rtl="0" eaLnBrk="1" fontAlgn="auto" latinLnBrk="0" hangingPunct="1">
              <a:lnSpc>
                <a:spcPct val="100000"/>
              </a:lnSpc>
              <a:spcBef>
                <a:spcPts val="0"/>
              </a:spcBef>
              <a:spcAft>
                <a:spcPts val="0"/>
              </a:spcAft>
              <a:buClr>
                <a:srgbClr val="000000"/>
              </a:buClr>
              <a:buSzTx/>
              <a:buFont typeface="+mj-lt"/>
              <a:buAutoNum type="arabicPeriod"/>
              <a:tabLst/>
              <a:defRPr/>
            </a:pPr>
            <a:r>
              <a:rPr kumimoji="0" lang="en-US" sz="1150" b="0" i="0" u="none" strike="noStrike" kern="0" cap="none" spc="0" normalizeH="0" baseline="0" noProof="0" dirty="0" err="1">
                <a:ln>
                  <a:noFill/>
                </a:ln>
                <a:solidFill>
                  <a:srgbClr val="000000"/>
                </a:solidFill>
                <a:effectLst/>
                <a:uLnTx/>
                <a:uFillTx/>
                <a:latin typeface="Arial"/>
                <a:cs typeface="Arial"/>
                <a:sym typeface="Arial"/>
              </a:rPr>
              <a:t>PerMen</a:t>
            </a:r>
            <a:r>
              <a:rPr kumimoji="0" lang="en-US" sz="1150" b="0" i="0" u="none" strike="noStrike" kern="0" cap="none" spc="0" normalizeH="0" baseline="0" noProof="0" dirty="0">
                <a:ln>
                  <a:noFill/>
                </a:ln>
                <a:solidFill>
                  <a:srgbClr val="000000"/>
                </a:solidFill>
                <a:effectLst/>
                <a:uLnTx/>
                <a:uFillTx/>
                <a:latin typeface="Arial"/>
                <a:cs typeface="Arial"/>
                <a:sym typeface="Arial"/>
              </a:rPr>
              <a:t> PUPR No 6/2021 </a:t>
            </a:r>
            <a:r>
              <a:rPr kumimoji="0" lang="en-US" sz="1150" b="0" i="0" u="none" strike="noStrike" kern="0" cap="none" spc="0" normalizeH="0" baseline="0" noProof="0" dirty="0" err="1">
                <a:ln>
                  <a:noFill/>
                </a:ln>
                <a:solidFill>
                  <a:srgbClr val="000000"/>
                </a:solidFill>
                <a:effectLst/>
                <a:uLnTx/>
                <a:uFillTx/>
                <a:latin typeface="Arial"/>
                <a:cs typeface="Arial"/>
                <a:sym typeface="Arial"/>
              </a:rPr>
              <a:t>tentang</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r>
              <a:rPr kumimoji="0" lang="en-US" sz="1150" b="0" i="0" u="none" strike="noStrike" kern="0" cap="none" spc="0" normalizeH="0" baseline="0" noProof="0" dirty="0" err="1">
                <a:ln>
                  <a:noFill/>
                </a:ln>
                <a:solidFill>
                  <a:srgbClr val="000000"/>
                </a:solidFill>
                <a:effectLst/>
                <a:uLnTx/>
                <a:uFillTx/>
                <a:latin typeface="Arial"/>
                <a:cs typeface="Arial"/>
                <a:sym typeface="Arial"/>
              </a:rPr>
              <a:t>Standar</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r>
              <a:rPr kumimoji="0" lang="en-US" sz="1150" b="0" i="0" u="none" strike="noStrike" kern="0" cap="none" spc="0" normalizeH="0" baseline="0" noProof="0" dirty="0" err="1">
                <a:ln>
                  <a:noFill/>
                </a:ln>
                <a:solidFill>
                  <a:srgbClr val="000000"/>
                </a:solidFill>
                <a:effectLst/>
                <a:uLnTx/>
                <a:uFillTx/>
                <a:latin typeface="Arial"/>
                <a:cs typeface="Arial"/>
                <a:sym typeface="Arial"/>
              </a:rPr>
              <a:t>Kegiatan</a:t>
            </a:r>
            <a:r>
              <a:rPr kumimoji="0" lang="en-US" sz="1150" b="0" i="0" u="none" strike="noStrike" kern="0" cap="none" spc="0" normalizeH="0" baseline="0" noProof="0" dirty="0">
                <a:ln>
                  <a:noFill/>
                </a:ln>
                <a:solidFill>
                  <a:srgbClr val="000000"/>
                </a:solidFill>
                <a:effectLst/>
                <a:uLnTx/>
                <a:uFillTx/>
                <a:latin typeface="Arial"/>
                <a:cs typeface="Arial"/>
                <a:sym typeface="Arial"/>
              </a:rPr>
              <a:t> Usaha Dan </a:t>
            </a:r>
            <a:r>
              <a:rPr kumimoji="0" lang="en-US" sz="1150" b="0" i="0" u="none" strike="noStrike" kern="0" cap="none" spc="0" normalizeH="0" baseline="0" noProof="0" dirty="0" err="1">
                <a:ln>
                  <a:noFill/>
                </a:ln>
                <a:solidFill>
                  <a:srgbClr val="000000"/>
                </a:solidFill>
                <a:effectLst/>
                <a:uLnTx/>
                <a:uFillTx/>
                <a:latin typeface="Arial"/>
                <a:cs typeface="Arial"/>
                <a:sym typeface="Arial"/>
              </a:rPr>
              <a:t>Produk</a:t>
            </a:r>
            <a:r>
              <a:rPr kumimoji="0" lang="en-US" sz="1150" b="0" i="0" u="none" strike="noStrike" kern="0" cap="none" spc="0" normalizeH="0" baseline="0" noProof="0" dirty="0">
                <a:ln>
                  <a:noFill/>
                </a:ln>
                <a:solidFill>
                  <a:srgbClr val="000000"/>
                </a:solidFill>
                <a:effectLst/>
                <a:uLnTx/>
                <a:uFillTx/>
                <a:latin typeface="Arial"/>
                <a:cs typeface="Arial"/>
                <a:sym typeface="Arial"/>
              </a:rPr>
              <a:t> Pada </a:t>
            </a:r>
            <a:r>
              <a:rPr kumimoji="0" lang="en-US" sz="1150" b="0" i="0" u="none" strike="noStrike" kern="0" cap="none" spc="0" normalizeH="0" baseline="0" noProof="0" dirty="0" err="1">
                <a:ln>
                  <a:noFill/>
                </a:ln>
                <a:solidFill>
                  <a:srgbClr val="000000"/>
                </a:solidFill>
                <a:effectLst/>
                <a:uLnTx/>
                <a:uFillTx/>
                <a:latin typeface="Arial"/>
                <a:cs typeface="Arial"/>
                <a:sym typeface="Arial"/>
              </a:rPr>
              <a:t>Penyelenggaraan</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r>
              <a:rPr kumimoji="0" lang="en-US" sz="1150" b="0" i="0" u="none" strike="noStrike" kern="0" cap="none" spc="0" normalizeH="0" baseline="0" noProof="0" dirty="0" err="1">
                <a:ln>
                  <a:noFill/>
                </a:ln>
                <a:solidFill>
                  <a:srgbClr val="000000"/>
                </a:solidFill>
                <a:effectLst/>
                <a:uLnTx/>
                <a:uFillTx/>
                <a:latin typeface="Arial"/>
                <a:cs typeface="Arial"/>
                <a:sym typeface="Arial"/>
              </a:rPr>
              <a:t>Perizinan</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r>
              <a:rPr kumimoji="0" lang="en-US" sz="1150" b="0" i="0" u="none" strike="noStrike" kern="0" cap="none" spc="0" normalizeH="0" baseline="0" noProof="0" dirty="0" err="1">
                <a:ln>
                  <a:noFill/>
                </a:ln>
                <a:solidFill>
                  <a:srgbClr val="000000"/>
                </a:solidFill>
                <a:effectLst/>
                <a:uLnTx/>
                <a:uFillTx/>
                <a:latin typeface="Arial"/>
                <a:cs typeface="Arial"/>
                <a:sym typeface="Arial"/>
              </a:rPr>
              <a:t>Berusaha</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r>
              <a:rPr kumimoji="0" lang="en-US" sz="1150" b="0" i="0" u="none" strike="noStrike" kern="0" cap="none" spc="0" normalizeH="0" baseline="0" noProof="0" dirty="0" err="1">
                <a:ln>
                  <a:noFill/>
                </a:ln>
                <a:solidFill>
                  <a:srgbClr val="000000"/>
                </a:solidFill>
                <a:effectLst/>
                <a:uLnTx/>
                <a:uFillTx/>
                <a:latin typeface="Arial"/>
                <a:cs typeface="Arial"/>
                <a:sym typeface="Arial"/>
              </a:rPr>
              <a:t>Berbasis</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r>
              <a:rPr kumimoji="0" lang="en-US" sz="1150" b="0" i="0" u="none" strike="noStrike" kern="0" cap="none" spc="0" normalizeH="0" baseline="0" noProof="0" dirty="0" err="1">
                <a:ln>
                  <a:noFill/>
                </a:ln>
                <a:solidFill>
                  <a:srgbClr val="000000"/>
                </a:solidFill>
                <a:effectLst/>
                <a:uLnTx/>
                <a:uFillTx/>
                <a:latin typeface="Arial"/>
                <a:cs typeface="Arial"/>
                <a:sym typeface="Arial"/>
              </a:rPr>
              <a:t>Risiko</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r>
              <a:rPr kumimoji="0" lang="en-US" sz="1150" b="0" i="0" u="none" strike="noStrike" kern="0" cap="none" spc="0" normalizeH="0" baseline="0" noProof="0" dirty="0" err="1">
                <a:ln>
                  <a:noFill/>
                </a:ln>
                <a:solidFill>
                  <a:srgbClr val="000000"/>
                </a:solidFill>
                <a:effectLst/>
                <a:uLnTx/>
                <a:uFillTx/>
                <a:latin typeface="Arial"/>
                <a:cs typeface="Arial"/>
                <a:sym typeface="Arial"/>
              </a:rPr>
              <a:t>Sektor</a:t>
            </a:r>
            <a:r>
              <a:rPr kumimoji="0" lang="en-US" sz="1150" b="0" i="0" u="none" strike="noStrike" kern="0" cap="none" spc="0" normalizeH="0" baseline="0" noProof="0" dirty="0">
                <a:ln>
                  <a:noFill/>
                </a:ln>
                <a:solidFill>
                  <a:srgbClr val="000000"/>
                </a:solidFill>
                <a:effectLst/>
                <a:uLnTx/>
                <a:uFillTx/>
                <a:latin typeface="Arial"/>
                <a:cs typeface="Arial"/>
                <a:sym typeface="Arial"/>
              </a:rPr>
              <a:t> PUPR</a:t>
            </a:r>
          </a:p>
          <a:p>
            <a:pPr marL="342900" marR="0" lvl="0" indent="-342900" algn="just" defTabSz="914400" rtl="0" eaLnBrk="1" fontAlgn="auto" latinLnBrk="0" hangingPunct="1">
              <a:lnSpc>
                <a:spcPct val="100000"/>
              </a:lnSpc>
              <a:spcBef>
                <a:spcPts val="0"/>
              </a:spcBef>
              <a:spcAft>
                <a:spcPts val="0"/>
              </a:spcAft>
              <a:buClr>
                <a:srgbClr val="000000"/>
              </a:buClr>
              <a:buSzTx/>
              <a:buFont typeface="+mj-lt"/>
              <a:buAutoNum type="arabicPeriod"/>
              <a:tabLst/>
              <a:defRPr/>
            </a:pPr>
            <a:r>
              <a:rPr kumimoji="0" lang="en-US" sz="1150" b="0" i="0" u="none" strike="noStrike" kern="0" cap="none" spc="0" normalizeH="0" baseline="0" noProof="0" dirty="0" err="1">
                <a:ln>
                  <a:noFill/>
                </a:ln>
                <a:solidFill>
                  <a:srgbClr val="000000"/>
                </a:solidFill>
                <a:effectLst/>
                <a:uLnTx/>
                <a:uFillTx/>
                <a:latin typeface="Arial"/>
                <a:cs typeface="Arial"/>
                <a:sym typeface="Arial"/>
              </a:rPr>
              <a:t>PerMen</a:t>
            </a:r>
            <a:r>
              <a:rPr kumimoji="0" lang="en-US" sz="1150" b="0" i="0" u="none" strike="noStrike" kern="0" cap="none" spc="0" normalizeH="0" baseline="0" noProof="0" dirty="0">
                <a:ln>
                  <a:noFill/>
                </a:ln>
                <a:solidFill>
                  <a:srgbClr val="000000"/>
                </a:solidFill>
                <a:effectLst/>
                <a:uLnTx/>
                <a:uFillTx/>
                <a:latin typeface="Arial"/>
                <a:cs typeface="Arial"/>
                <a:sym typeface="Arial"/>
              </a:rPr>
              <a:t> PUPR No 8/2022 </a:t>
            </a:r>
            <a:r>
              <a:rPr kumimoji="0" lang="en-US" sz="1150" b="0" i="0" u="none" strike="noStrike" kern="0" cap="none" spc="0" normalizeH="0" baseline="0" noProof="0" dirty="0" err="1">
                <a:ln>
                  <a:noFill/>
                </a:ln>
                <a:solidFill>
                  <a:srgbClr val="000000"/>
                </a:solidFill>
                <a:effectLst/>
                <a:uLnTx/>
                <a:uFillTx/>
                <a:latin typeface="Arial"/>
                <a:cs typeface="Arial"/>
                <a:sym typeface="Arial"/>
              </a:rPr>
              <a:t>tentang</a:t>
            </a:r>
            <a:r>
              <a:rPr kumimoji="0" lang="en-US" sz="1150" b="0" i="0" u="none" strike="noStrike" kern="0" cap="none" spc="0" normalizeH="0" baseline="0" noProof="0" dirty="0">
                <a:ln>
                  <a:noFill/>
                </a:ln>
                <a:solidFill>
                  <a:srgbClr val="000000"/>
                </a:solidFill>
                <a:effectLst/>
                <a:uLnTx/>
                <a:uFillTx/>
                <a:latin typeface="Arial"/>
                <a:cs typeface="Arial"/>
                <a:sym typeface="Arial"/>
              </a:rPr>
              <a:t> Tata Cara </a:t>
            </a:r>
            <a:r>
              <a:rPr kumimoji="0" lang="en-US" sz="1150" b="0" i="0" u="none" strike="noStrike" kern="0" cap="none" spc="0" normalizeH="0" baseline="0" noProof="0" dirty="0" err="1">
                <a:ln>
                  <a:noFill/>
                </a:ln>
                <a:solidFill>
                  <a:srgbClr val="000000"/>
                </a:solidFill>
                <a:effectLst/>
                <a:uLnTx/>
                <a:uFillTx/>
                <a:latin typeface="Arial"/>
                <a:cs typeface="Arial"/>
                <a:sym typeface="Arial"/>
              </a:rPr>
              <a:t>Pelaksanaan</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r>
              <a:rPr kumimoji="0" lang="en-US" sz="1150" b="0" i="0" u="none" strike="noStrike" kern="0" cap="none" spc="0" normalizeH="0" baseline="0" noProof="0" dirty="0" err="1">
                <a:ln>
                  <a:noFill/>
                </a:ln>
                <a:solidFill>
                  <a:srgbClr val="000000"/>
                </a:solidFill>
                <a:effectLst/>
                <a:uLnTx/>
                <a:uFillTx/>
                <a:latin typeface="Arial"/>
                <a:cs typeface="Arial"/>
                <a:sym typeface="Arial"/>
              </a:rPr>
              <a:t>Pemenuhan</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r>
              <a:rPr kumimoji="0" lang="en-US" sz="1150" b="0" i="0" u="none" strike="noStrike" kern="0" cap="none" spc="0" normalizeH="0" baseline="0" noProof="0" dirty="0" err="1">
                <a:ln>
                  <a:noFill/>
                </a:ln>
                <a:solidFill>
                  <a:srgbClr val="000000"/>
                </a:solidFill>
                <a:effectLst/>
                <a:uLnTx/>
                <a:uFillTx/>
                <a:latin typeface="Arial"/>
                <a:cs typeface="Arial"/>
                <a:sym typeface="Arial"/>
              </a:rPr>
              <a:t>Sertifikat</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r>
              <a:rPr kumimoji="0" lang="en-US" sz="1150" b="0" i="0" u="none" strike="noStrike" kern="0" cap="none" spc="0" normalizeH="0" baseline="0" noProof="0" dirty="0" err="1">
                <a:ln>
                  <a:noFill/>
                </a:ln>
                <a:solidFill>
                  <a:srgbClr val="000000"/>
                </a:solidFill>
                <a:effectLst/>
                <a:uLnTx/>
                <a:uFillTx/>
                <a:latin typeface="Arial"/>
                <a:cs typeface="Arial"/>
                <a:sym typeface="Arial"/>
              </a:rPr>
              <a:t>Standar</a:t>
            </a:r>
            <a:r>
              <a:rPr kumimoji="0" lang="en-US" sz="1150" b="0" i="0" u="none" strike="noStrike" kern="0" cap="none" spc="0" normalizeH="0" baseline="0" noProof="0" dirty="0">
                <a:ln>
                  <a:noFill/>
                </a:ln>
                <a:solidFill>
                  <a:srgbClr val="000000"/>
                </a:solidFill>
                <a:effectLst/>
                <a:uLnTx/>
                <a:uFillTx/>
                <a:latin typeface="Arial"/>
                <a:cs typeface="Arial"/>
                <a:sym typeface="Arial"/>
              </a:rPr>
              <a:t> Jasa </a:t>
            </a:r>
            <a:r>
              <a:rPr kumimoji="0" lang="en-US" sz="1150" b="0" i="0" u="none" strike="noStrike" kern="0" cap="none" spc="0" normalizeH="0" baseline="0" noProof="0" dirty="0" err="1">
                <a:ln>
                  <a:noFill/>
                </a:ln>
                <a:solidFill>
                  <a:srgbClr val="000000"/>
                </a:solidFill>
                <a:effectLst/>
                <a:uLnTx/>
                <a:uFillTx/>
                <a:latin typeface="Arial"/>
                <a:cs typeface="Arial"/>
                <a:sym typeface="Arial"/>
              </a:rPr>
              <a:t>Konstruksi</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r>
              <a:rPr kumimoji="0" lang="en-US" sz="1150" b="0" i="0" u="none" strike="noStrike" kern="0" cap="none" spc="0" normalizeH="0" baseline="0" noProof="0" dirty="0" err="1">
                <a:ln>
                  <a:noFill/>
                </a:ln>
                <a:solidFill>
                  <a:srgbClr val="000000"/>
                </a:solidFill>
                <a:effectLst/>
                <a:uLnTx/>
                <a:uFillTx/>
                <a:latin typeface="Arial"/>
                <a:cs typeface="Arial"/>
                <a:sym typeface="Arial"/>
              </a:rPr>
              <a:t>Dalam</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r>
              <a:rPr kumimoji="0" lang="en-US" sz="1150" b="0" i="0" u="none" strike="noStrike" kern="0" cap="none" spc="0" normalizeH="0" baseline="0" noProof="0" dirty="0" err="1">
                <a:ln>
                  <a:noFill/>
                </a:ln>
                <a:solidFill>
                  <a:srgbClr val="000000"/>
                </a:solidFill>
                <a:effectLst/>
                <a:uLnTx/>
                <a:uFillTx/>
                <a:latin typeface="Arial"/>
                <a:cs typeface="Arial"/>
                <a:sym typeface="Arial"/>
              </a:rPr>
              <a:t>Rangka</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r>
              <a:rPr kumimoji="0" lang="en-US" sz="1150" b="0" i="0" u="none" strike="noStrike" kern="0" cap="none" spc="0" normalizeH="0" baseline="0" noProof="0" dirty="0" err="1">
                <a:ln>
                  <a:noFill/>
                </a:ln>
                <a:solidFill>
                  <a:srgbClr val="000000"/>
                </a:solidFill>
                <a:effectLst/>
                <a:uLnTx/>
                <a:uFillTx/>
                <a:latin typeface="Arial"/>
                <a:cs typeface="Arial"/>
                <a:sym typeface="Arial"/>
              </a:rPr>
              <a:t>Mendukung</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r>
              <a:rPr kumimoji="0" lang="en-US" sz="1150" b="0" i="0" u="none" strike="noStrike" kern="0" cap="none" spc="0" normalizeH="0" baseline="0" noProof="0" dirty="0" err="1">
                <a:ln>
                  <a:noFill/>
                </a:ln>
                <a:solidFill>
                  <a:srgbClr val="000000"/>
                </a:solidFill>
                <a:effectLst/>
                <a:uLnTx/>
                <a:uFillTx/>
                <a:latin typeface="Arial"/>
                <a:cs typeface="Arial"/>
                <a:sym typeface="Arial"/>
              </a:rPr>
              <a:t>Kemudahan</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r>
              <a:rPr kumimoji="0" lang="en-US" sz="1150" b="0" i="0" u="none" strike="noStrike" kern="0" cap="none" spc="0" normalizeH="0" baseline="0" noProof="0" dirty="0" err="1">
                <a:ln>
                  <a:noFill/>
                </a:ln>
                <a:solidFill>
                  <a:srgbClr val="000000"/>
                </a:solidFill>
                <a:effectLst/>
                <a:uLnTx/>
                <a:uFillTx/>
                <a:latin typeface="Arial"/>
                <a:cs typeface="Arial"/>
                <a:sym typeface="Arial"/>
              </a:rPr>
              <a:t>Perizinan</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r>
              <a:rPr kumimoji="0" lang="en-US" sz="1150" b="0" i="0" u="none" strike="noStrike" kern="0" cap="none" spc="0" normalizeH="0" baseline="0" noProof="0" dirty="0" err="1">
                <a:ln>
                  <a:noFill/>
                </a:ln>
                <a:solidFill>
                  <a:srgbClr val="000000"/>
                </a:solidFill>
                <a:effectLst/>
                <a:uLnTx/>
                <a:uFillTx/>
                <a:latin typeface="Arial"/>
                <a:cs typeface="Arial"/>
                <a:sym typeface="Arial"/>
              </a:rPr>
              <a:t>Berusaha</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r>
              <a:rPr kumimoji="0" lang="en-US" sz="1150" b="0" i="0" u="none" strike="noStrike" kern="0" cap="none" spc="0" normalizeH="0" baseline="0" noProof="0" dirty="0" err="1">
                <a:ln>
                  <a:noFill/>
                </a:ln>
                <a:solidFill>
                  <a:srgbClr val="000000"/>
                </a:solidFill>
                <a:effectLst/>
                <a:uLnTx/>
                <a:uFillTx/>
                <a:latin typeface="Arial"/>
                <a:cs typeface="Arial"/>
                <a:sym typeface="Arial"/>
              </a:rPr>
              <a:t>Bagi</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r>
              <a:rPr kumimoji="0" lang="en-US" sz="1150" b="0" i="0" u="none" strike="noStrike" kern="0" cap="none" spc="0" normalizeH="0" baseline="0" noProof="0" dirty="0" err="1">
                <a:ln>
                  <a:noFill/>
                </a:ln>
                <a:solidFill>
                  <a:srgbClr val="000000"/>
                </a:solidFill>
                <a:effectLst/>
                <a:uLnTx/>
                <a:uFillTx/>
                <a:latin typeface="Arial"/>
                <a:cs typeface="Arial"/>
                <a:sym typeface="Arial"/>
              </a:rPr>
              <a:t>Pelaku</a:t>
            </a:r>
            <a:r>
              <a:rPr kumimoji="0" lang="en-US" sz="1150" b="0" i="0" u="none" strike="noStrike" kern="0" cap="none" spc="0" normalizeH="0" baseline="0" noProof="0" dirty="0">
                <a:ln>
                  <a:noFill/>
                </a:ln>
                <a:solidFill>
                  <a:srgbClr val="000000"/>
                </a:solidFill>
                <a:effectLst/>
                <a:uLnTx/>
                <a:uFillTx/>
                <a:latin typeface="Arial"/>
                <a:cs typeface="Arial"/>
                <a:sym typeface="Arial"/>
              </a:rPr>
              <a:t> Usaha Jasa </a:t>
            </a:r>
            <a:r>
              <a:rPr kumimoji="0" lang="en-US" sz="1150" b="0" i="0" u="none" strike="noStrike" kern="0" cap="none" spc="0" normalizeH="0" baseline="0" noProof="0" dirty="0" err="1">
                <a:ln>
                  <a:noFill/>
                </a:ln>
                <a:solidFill>
                  <a:srgbClr val="000000"/>
                </a:solidFill>
                <a:effectLst/>
                <a:uLnTx/>
                <a:uFillTx/>
                <a:latin typeface="Arial"/>
                <a:cs typeface="Arial"/>
                <a:sym typeface="Arial"/>
              </a:rPr>
              <a:t>Konstruksi</a:t>
            </a:r>
            <a:endParaRPr kumimoji="0" lang="en-US" sz="1150" b="0" i="0" u="none" strike="noStrike" kern="0" cap="none" spc="0" normalizeH="0" baseline="0" noProof="0" dirty="0">
              <a:ln>
                <a:noFill/>
              </a:ln>
              <a:solidFill>
                <a:srgbClr val="000000"/>
              </a:solidFill>
              <a:effectLst/>
              <a:uLnTx/>
              <a:uFillTx/>
              <a:latin typeface="Arial"/>
              <a:cs typeface="Arial"/>
              <a:sym typeface="Arial"/>
            </a:endParaRPr>
          </a:p>
          <a:p>
            <a:pPr marL="342900" marR="0" lvl="0" indent="-342900" algn="just" defTabSz="914400" rtl="0" eaLnBrk="1" fontAlgn="auto" latinLnBrk="0" hangingPunct="1">
              <a:lnSpc>
                <a:spcPct val="100000"/>
              </a:lnSpc>
              <a:spcBef>
                <a:spcPts val="0"/>
              </a:spcBef>
              <a:spcAft>
                <a:spcPts val="0"/>
              </a:spcAft>
              <a:buClr>
                <a:srgbClr val="000000"/>
              </a:buClr>
              <a:buSzTx/>
              <a:buFont typeface="+mj-lt"/>
              <a:buAutoNum type="arabicPeriod"/>
              <a:tabLst/>
              <a:defRPr/>
            </a:pPr>
            <a:r>
              <a:rPr kumimoji="0" lang="en-US" sz="1150" b="0" i="0" u="none" strike="noStrike" kern="0" cap="none" spc="0" normalizeH="0" baseline="0" noProof="0" dirty="0">
                <a:ln>
                  <a:noFill/>
                </a:ln>
                <a:solidFill>
                  <a:srgbClr val="000000"/>
                </a:solidFill>
                <a:effectLst/>
                <a:uLnTx/>
                <a:uFillTx/>
                <a:latin typeface="Arial"/>
                <a:cs typeface="Arial"/>
                <a:sym typeface="Arial"/>
              </a:rPr>
              <a:t>SK </a:t>
            </a:r>
            <a:r>
              <a:rPr kumimoji="0" lang="en-US" sz="1150" b="0" i="0" u="none" strike="noStrike" kern="0" cap="none" spc="0" normalizeH="0" baseline="0" noProof="0" dirty="0" err="1">
                <a:ln>
                  <a:noFill/>
                </a:ln>
                <a:solidFill>
                  <a:srgbClr val="000000"/>
                </a:solidFill>
                <a:effectLst/>
                <a:uLnTx/>
                <a:uFillTx/>
                <a:latin typeface="Arial"/>
                <a:cs typeface="Arial"/>
                <a:sym typeface="Arial"/>
              </a:rPr>
              <a:t>DirJen</a:t>
            </a:r>
            <a:r>
              <a:rPr kumimoji="0" lang="en-US" sz="1150" b="0" i="0" u="none" strike="noStrike" kern="0" cap="none" spc="0" normalizeH="0" baseline="0" noProof="0" dirty="0">
                <a:ln>
                  <a:noFill/>
                </a:ln>
                <a:solidFill>
                  <a:srgbClr val="000000"/>
                </a:solidFill>
                <a:effectLst/>
                <a:uLnTx/>
                <a:uFillTx/>
                <a:latin typeface="Arial"/>
                <a:cs typeface="Arial"/>
                <a:sym typeface="Arial"/>
              </a:rPr>
              <a:t> Bina </a:t>
            </a:r>
            <a:r>
              <a:rPr kumimoji="0" lang="en-US" sz="1150" b="0" i="0" u="none" strike="noStrike" kern="0" cap="none" spc="0" normalizeH="0" baseline="0" noProof="0" dirty="0" err="1">
                <a:ln>
                  <a:noFill/>
                </a:ln>
                <a:solidFill>
                  <a:srgbClr val="000000"/>
                </a:solidFill>
                <a:effectLst/>
                <a:uLnTx/>
                <a:uFillTx/>
                <a:latin typeface="Arial"/>
                <a:cs typeface="Arial"/>
                <a:sym typeface="Arial"/>
              </a:rPr>
              <a:t>Konstruksi</a:t>
            </a:r>
            <a:r>
              <a:rPr kumimoji="0" lang="en-US" sz="1150" b="0" i="0" u="none" strike="noStrike" kern="0" cap="none" spc="0" normalizeH="0" baseline="0" noProof="0" dirty="0">
                <a:ln>
                  <a:noFill/>
                </a:ln>
                <a:solidFill>
                  <a:srgbClr val="000000"/>
                </a:solidFill>
                <a:effectLst/>
                <a:uLnTx/>
                <a:uFillTx/>
                <a:latin typeface="Arial"/>
                <a:cs typeface="Arial"/>
                <a:sym typeface="Arial"/>
              </a:rPr>
              <a:t> No 144/</a:t>
            </a:r>
            <a:r>
              <a:rPr kumimoji="0" lang="en-US" sz="1150" b="0" i="0" u="none" strike="noStrike" kern="0" cap="none" spc="0" normalizeH="0" baseline="0" noProof="0" dirty="0" err="1">
                <a:ln>
                  <a:noFill/>
                </a:ln>
                <a:solidFill>
                  <a:srgbClr val="000000"/>
                </a:solidFill>
                <a:effectLst/>
                <a:uLnTx/>
                <a:uFillTx/>
                <a:latin typeface="Arial"/>
                <a:cs typeface="Arial"/>
                <a:sym typeface="Arial"/>
              </a:rPr>
              <a:t>Sk</a:t>
            </a:r>
            <a:r>
              <a:rPr kumimoji="0" lang="en-US" sz="1150" b="0" i="0" u="none" strike="noStrike" kern="0" cap="none" spc="0" normalizeH="0" baseline="0" noProof="0" dirty="0">
                <a:ln>
                  <a:noFill/>
                </a:ln>
                <a:solidFill>
                  <a:srgbClr val="000000"/>
                </a:solidFill>
                <a:effectLst/>
                <a:uLnTx/>
                <a:uFillTx/>
                <a:latin typeface="Arial"/>
                <a:cs typeface="Arial"/>
                <a:sym typeface="Arial"/>
              </a:rPr>
              <a:t>/DK/2022 </a:t>
            </a:r>
            <a:r>
              <a:rPr kumimoji="0" lang="en-US" sz="1150" b="0" i="0" u="none" strike="noStrike" kern="0" cap="none" spc="0" normalizeH="0" baseline="0" noProof="0" dirty="0" err="1">
                <a:ln>
                  <a:noFill/>
                </a:ln>
                <a:solidFill>
                  <a:srgbClr val="000000"/>
                </a:solidFill>
                <a:effectLst/>
                <a:uLnTx/>
                <a:uFillTx/>
                <a:latin typeface="Arial"/>
                <a:cs typeface="Arial"/>
                <a:sym typeface="Arial"/>
              </a:rPr>
              <a:t>tentang</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r>
              <a:rPr kumimoji="0" lang="en-US" sz="1150" b="0" i="0" u="none" strike="noStrike" kern="0" cap="none" spc="0" normalizeH="0" baseline="0" noProof="0" dirty="0" err="1">
                <a:ln>
                  <a:noFill/>
                </a:ln>
                <a:solidFill>
                  <a:srgbClr val="000000"/>
                </a:solidFill>
                <a:effectLst/>
                <a:uLnTx/>
                <a:uFillTx/>
                <a:latin typeface="Arial"/>
                <a:cs typeface="Arial"/>
                <a:sym typeface="Arial"/>
              </a:rPr>
              <a:t>Standar</a:t>
            </a:r>
            <a:r>
              <a:rPr kumimoji="0" lang="en-US" sz="1150" b="0" i="0" u="none" strike="noStrike" kern="0" cap="none" spc="0" normalizeH="0" baseline="0" noProof="0" dirty="0">
                <a:ln>
                  <a:noFill/>
                </a:ln>
                <a:solidFill>
                  <a:srgbClr val="000000"/>
                </a:solidFill>
                <a:effectLst/>
                <a:uLnTx/>
                <a:uFillTx/>
                <a:latin typeface="Arial"/>
                <a:cs typeface="Arial"/>
                <a:sym typeface="Arial"/>
              </a:rPr>
              <a:t> Skema </a:t>
            </a:r>
            <a:r>
              <a:rPr kumimoji="0" lang="en-US" sz="1150" b="0" i="0" u="none" strike="noStrike" kern="0" cap="none" spc="0" normalizeH="0" baseline="0" noProof="0" dirty="0" err="1">
                <a:ln>
                  <a:noFill/>
                </a:ln>
                <a:solidFill>
                  <a:srgbClr val="000000"/>
                </a:solidFill>
                <a:effectLst/>
                <a:uLnTx/>
                <a:uFillTx/>
                <a:latin typeface="Arial"/>
                <a:cs typeface="Arial"/>
                <a:sym typeface="Arial"/>
              </a:rPr>
              <a:t>Sertifikasi</a:t>
            </a:r>
            <a:r>
              <a:rPr kumimoji="0" lang="en-US" sz="1150" b="0" i="0" u="none" strike="noStrike" kern="0" cap="none" spc="0" normalizeH="0" baseline="0" noProof="0" dirty="0">
                <a:ln>
                  <a:noFill/>
                </a:ln>
                <a:solidFill>
                  <a:srgbClr val="000000"/>
                </a:solidFill>
                <a:effectLst/>
                <a:uLnTx/>
                <a:uFillTx/>
                <a:latin typeface="Arial"/>
                <a:cs typeface="Arial"/>
                <a:sym typeface="Arial"/>
              </a:rPr>
              <a:t> Badan Usaha Jasa </a:t>
            </a:r>
            <a:r>
              <a:rPr kumimoji="0" lang="en-US" sz="1150" b="0" i="0" u="none" strike="noStrike" kern="0" cap="none" spc="0" normalizeH="0" baseline="0" noProof="0" dirty="0" err="1">
                <a:ln>
                  <a:noFill/>
                </a:ln>
                <a:solidFill>
                  <a:srgbClr val="000000"/>
                </a:solidFill>
                <a:effectLst/>
                <a:uLnTx/>
                <a:uFillTx/>
                <a:latin typeface="Arial"/>
                <a:cs typeface="Arial"/>
                <a:sym typeface="Arial"/>
              </a:rPr>
              <a:t>Konstruksi</a:t>
            </a:r>
            <a:r>
              <a:rPr kumimoji="0" lang="en-US" sz="1150" b="0" i="0" u="none" strike="noStrike" kern="0" cap="none" spc="0" normalizeH="0" baseline="0" noProof="0" dirty="0">
                <a:ln>
                  <a:noFill/>
                </a:ln>
                <a:solidFill>
                  <a:srgbClr val="000000"/>
                </a:solidFill>
                <a:effectLst/>
                <a:uLnTx/>
                <a:uFillTx/>
                <a:latin typeface="Arial"/>
                <a:cs typeface="Arial"/>
                <a:sym typeface="Arial"/>
              </a:rPr>
              <a:t> </a:t>
            </a:r>
          </a:p>
        </p:txBody>
      </p:sp>
      <p:sp>
        <p:nvSpPr>
          <p:cNvPr id="60" name="Rounded Rectangular Callout 59">
            <a:extLst>
              <a:ext uri="{FF2B5EF4-FFF2-40B4-BE49-F238E27FC236}">
                <a16:creationId xmlns:a16="http://schemas.microsoft.com/office/drawing/2014/main" id="{9443610C-EF16-583F-1DEF-55C83272CAA0}"/>
              </a:ext>
            </a:extLst>
          </p:cNvPr>
          <p:cNvSpPr/>
          <p:nvPr/>
        </p:nvSpPr>
        <p:spPr>
          <a:xfrm>
            <a:off x="1677304" y="647839"/>
            <a:ext cx="5114259" cy="424638"/>
          </a:xfrm>
          <a:prstGeom prst="wedgeRoundRectCallout">
            <a:avLst>
              <a:gd name="adj1" fmla="val -21417"/>
              <a:gd name="adj2" fmla="val 79323"/>
              <a:gd name="adj3" fmla="val 16667"/>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SEMULA</a:t>
            </a:r>
          </a:p>
        </p:txBody>
      </p:sp>
      <p:sp>
        <p:nvSpPr>
          <p:cNvPr id="61" name="Rounded Rectangular Callout 60">
            <a:extLst>
              <a:ext uri="{FF2B5EF4-FFF2-40B4-BE49-F238E27FC236}">
                <a16:creationId xmlns:a16="http://schemas.microsoft.com/office/drawing/2014/main" id="{C0CD9FF4-FA13-C0A4-9B90-7B50CDDF1900}"/>
              </a:ext>
            </a:extLst>
          </p:cNvPr>
          <p:cNvSpPr/>
          <p:nvPr/>
        </p:nvSpPr>
        <p:spPr>
          <a:xfrm>
            <a:off x="6892411" y="647839"/>
            <a:ext cx="5114259" cy="424638"/>
          </a:xfrm>
          <a:prstGeom prst="wedgeRoundRectCallout">
            <a:avLst>
              <a:gd name="adj1" fmla="val -21417"/>
              <a:gd name="adj2" fmla="val 79323"/>
              <a:gd name="adj3" fmla="val 16667"/>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a:rPr>
              <a:t>MENJADI</a:t>
            </a:r>
          </a:p>
        </p:txBody>
      </p:sp>
      <p:sp>
        <p:nvSpPr>
          <p:cNvPr id="64" name="Rectangle 63">
            <a:extLst>
              <a:ext uri="{FF2B5EF4-FFF2-40B4-BE49-F238E27FC236}">
                <a16:creationId xmlns:a16="http://schemas.microsoft.com/office/drawing/2014/main" id="{B857776A-2864-00FB-776A-8A3AA3D7AC15}"/>
              </a:ext>
            </a:extLst>
          </p:cNvPr>
          <p:cNvSpPr/>
          <p:nvPr/>
        </p:nvSpPr>
        <p:spPr>
          <a:xfrm>
            <a:off x="1659642" y="3493037"/>
            <a:ext cx="5114260" cy="101566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65" name="Rectangle 64">
            <a:extLst>
              <a:ext uri="{FF2B5EF4-FFF2-40B4-BE49-F238E27FC236}">
                <a16:creationId xmlns:a16="http://schemas.microsoft.com/office/drawing/2014/main" id="{600E269A-3107-618A-CA15-51663499F717}"/>
              </a:ext>
            </a:extLst>
          </p:cNvPr>
          <p:cNvSpPr/>
          <p:nvPr/>
        </p:nvSpPr>
        <p:spPr>
          <a:xfrm>
            <a:off x="6873140" y="3493037"/>
            <a:ext cx="5114260" cy="967157"/>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66" name="Rectangle 65">
            <a:extLst>
              <a:ext uri="{FF2B5EF4-FFF2-40B4-BE49-F238E27FC236}">
                <a16:creationId xmlns:a16="http://schemas.microsoft.com/office/drawing/2014/main" id="{6957F48E-3C85-D82F-FC51-63F7EE74A171}"/>
              </a:ext>
            </a:extLst>
          </p:cNvPr>
          <p:cNvSpPr/>
          <p:nvPr/>
        </p:nvSpPr>
        <p:spPr>
          <a:xfrm>
            <a:off x="234880" y="3493036"/>
            <a:ext cx="1325524" cy="104148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67" name="TextBox 66">
            <a:extLst>
              <a:ext uri="{FF2B5EF4-FFF2-40B4-BE49-F238E27FC236}">
                <a16:creationId xmlns:a16="http://schemas.microsoft.com/office/drawing/2014/main" id="{3E597652-A315-69E7-2C1F-0A66F280E65B}"/>
              </a:ext>
            </a:extLst>
          </p:cNvPr>
          <p:cNvSpPr txBox="1"/>
          <p:nvPr/>
        </p:nvSpPr>
        <p:spPr>
          <a:xfrm>
            <a:off x="152670" y="4167502"/>
            <a:ext cx="155722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000000"/>
                </a:solidFill>
                <a:effectLst/>
                <a:uLnTx/>
                <a:uFillTx/>
                <a:latin typeface="Arial"/>
                <a:cs typeface="Arial"/>
                <a:sym typeface="Arial"/>
              </a:rPr>
              <a:t>KELEMBAGAAN</a:t>
            </a:r>
          </a:p>
        </p:txBody>
      </p:sp>
      <p:sp>
        <p:nvSpPr>
          <p:cNvPr id="69" name="TextBox 68">
            <a:extLst>
              <a:ext uri="{FF2B5EF4-FFF2-40B4-BE49-F238E27FC236}">
                <a16:creationId xmlns:a16="http://schemas.microsoft.com/office/drawing/2014/main" id="{5940D47C-4A3E-C4E7-75FE-5F0B982EF12A}"/>
              </a:ext>
            </a:extLst>
          </p:cNvPr>
          <p:cNvSpPr txBox="1"/>
          <p:nvPr/>
        </p:nvSpPr>
        <p:spPr>
          <a:xfrm>
            <a:off x="1777040" y="3518856"/>
            <a:ext cx="4921106"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err="1">
                <a:ln>
                  <a:noFill/>
                </a:ln>
                <a:solidFill>
                  <a:srgbClr val="000000"/>
                </a:solidFill>
                <a:effectLst/>
                <a:uLnTx/>
                <a:uFillTx/>
                <a:latin typeface="Arial"/>
                <a:cs typeface="Arial"/>
                <a:sym typeface="Arial"/>
              </a:rPr>
              <a:t>Dalam</a:t>
            </a:r>
            <a:r>
              <a:rPr kumimoji="0" lang="en-US" sz="1200" b="0" i="0" u="none" strike="noStrike" kern="0" cap="none" spc="0" normalizeH="0" baseline="0" noProof="0" dirty="0">
                <a:ln>
                  <a:noFill/>
                </a:ln>
                <a:solidFill>
                  <a:srgbClr val="000000"/>
                </a:solidFill>
                <a:effectLst/>
                <a:uLnTx/>
                <a:uFillTx/>
                <a:latin typeface="Arial"/>
                <a:cs typeface="Arial"/>
                <a:sym typeface="Arial"/>
              </a:rPr>
              <a:t> proses </a:t>
            </a:r>
            <a:r>
              <a:rPr kumimoji="0" lang="en-US" sz="1200" b="0" i="0" u="none" strike="noStrike" kern="0" cap="none" spc="0" normalizeH="0" baseline="0" noProof="0" dirty="0" err="1">
                <a:ln>
                  <a:noFill/>
                </a:ln>
                <a:solidFill>
                  <a:srgbClr val="000000"/>
                </a:solidFill>
                <a:effectLst/>
                <a:uLnTx/>
                <a:uFillTx/>
                <a:latin typeface="Arial"/>
                <a:cs typeface="Arial"/>
                <a:sym typeface="Arial"/>
              </a:rPr>
              <a:t>penerbitan</a:t>
            </a:r>
            <a:r>
              <a:rPr kumimoji="0" lang="en-US" sz="1200" b="0" i="0" u="none" strike="noStrike" kern="0" cap="none" spc="0" normalizeH="0" baseline="0" noProof="0" dirty="0">
                <a:ln>
                  <a:noFill/>
                </a:ln>
                <a:solidFill>
                  <a:srgbClr val="000000"/>
                </a:solidFill>
                <a:effectLst/>
                <a:uLnTx/>
                <a:uFillTx/>
                <a:latin typeface="Arial"/>
                <a:cs typeface="Arial"/>
                <a:sym typeface="Arial"/>
              </a:rPr>
              <a:t> </a:t>
            </a:r>
            <a:r>
              <a:rPr kumimoji="0" lang="en-US" sz="1200" b="0" i="0" u="none" strike="noStrike" kern="0" cap="none" spc="0" normalizeH="0" baseline="0" noProof="0" dirty="0" err="1">
                <a:ln>
                  <a:noFill/>
                </a:ln>
                <a:solidFill>
                  <a:srgbClr val="000000"/>
                </a:solidFill>
                <a:effectLst/>
                <a:uLnTx/>
                <a:uFillTx/>
                <a:latin typeface="Arial"/>
                <a:cs typeface="Arial"/>
                <a:sym typeface="Arial"/>
              </a:rPr>
              <a:t>Sertifikat</a:t>
            </a:r>
            <a:r>
              <a:rPr kumimoji="0" lang="en-US" sz="1200" b="0" i="0" u="none" strike="noStrike" kern="0" cap="none" spc="0" normalizeH="0" baseline="0" noProof="0" dirty="0">
                <a:ln>
                  <a:noFill/>
                </a:ln>
                <a:solidFill>
                  <a:srgbClr val="000000"/>
                </a:solidFill>
                <a:effectLst/>
                <a:uLnTx/>
                <a:uFillTx/>
                <a:latin typeface="Arial"/>
                <a:cs typeface="Arial"/>
                <a:sym typeface="Arial"/>
              </a:rPr>
              <a:t> Badan Usaha:</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itchFamily="2" charset="2"/>
              <a:buChar char="§"/>
              <a:tabLst/>
              <a:defRPr/>
            </a:pPr>
            <a:r>
              <a:rPr kumimoji="0" lang="en-US" sz="1200" b="1" i="0" u="none" strike="noStrike" kern="0" cap="none" spc="0" normalizeH="0" baseline="0" noProof="0" dirty="0" err="1">
                <a:ln>
                  <a:noFill/>
                </a:ln>
                <a:solidFill>
                  <a:srgbClr val="000000"/>
                </a:solidFill>
                <a:effectLst/>
                <a:uLnTx/>
                <a:uFillTx/>
                <a:latin typeface="Arial"/>
                <a:cs typeface="Arial"/>
                <a:sym typeface="Arial"/>
              </a:rPr>
              <a:t>Asosiasi</a:t>
            </a:r>
            <a:r>
              <a:rPr kumimoji="0" lang="en-US" sz="1200" b="1" i="0" u="none" strike="noStrike" kern="0" cap="none" spc="0" normalizeH="0" baseline="0" noProof="0" dirty="0">
                <a:ln>
                  <a:noFill/>
                </a:ln>
                <a:solidFill>
                  <a:srgbClr val="000000"/>
                </a:solidFill>
                <a:effectLst/>
                <a:uLnTx/>
                <a:uFillTx/>
                <a:latin typeface="Arial"/>
                <a:cs typeface="Arial"/>
                <a:sym typeface="Arial"/>
              </a:rPr>
              <a:t> Badan Usaha / </a:t>
            </a:r>
            <a:r>
              <a:rPr kumimoji="0" lang="en-US" sz="1200" b="1" i="0" u="none" strike="noStrike" kern="0" cap="none" spc="0" normalizeH="0" baseline="0" noProof="0" dirty="0" err="1">
                <a:ln>
                  <a:noFill/>
                </a:ln>
                <a:solidFill>
                  <a:srgbClr val="000000"/>
                </a:solidFill>
                <a:effectLst/>
                <a:uLnTx/>
                <a:uFillTx/>
                <a:latin typeface="Arial"/>
                <a:cs typeface="Arial"/>
                <a:sym typeface="Arial"/>
              </a:rPr>
              <a:t>Asosiasi</a:t>
            </a:r>
            <a:r>
              <a:rPr kumimoji="0" lang="en-US" sz="1200" b="1" i="0" u="none" strike="noStrike" kern="0" cap="none" spc="0" normalizeH="0" baseline="0" noProof="0" dirty="0">
                <a:ln>
                  <a:noFill/>
                </a:ln>
                <a:solidFill>
                  <a:srgbClr val="000000"/>
                </a:solidFill>
                <a:effectLst/>
                <a:uLnTx/>
                <a:uFillTx/>
                <a:latin typeface="Arial"/>
                <a:cs typeface="Arial"/>
                <a:sym typeface="Arial"/>
              </a:rPr>
              <a:t> </a:t>
            </a:r>
            <a:r>
              <a:rPr kumimoji="0" lang="en-US" sz="1200" b="1" i="0" u="none" strike="noStrike" kern="0" cap="none" spc="0" normalizeH="0" baseline="0" noProof="0" dirty="0" err="1">
                <a:ln>
                  <a:noFill/>
                </a:ln>
                <a:solidFill>
                  <a:srgbClr val="000000"/>
                </a:solidFill>
                <a:effectLst/>
                <a:uLnTx/>
                <a:uFillTx/>
                <a:latin typeface="Arial"/>
                <a:cs typeface="Arial"/>
                <a:sym typeface="Arial"/>
              </a:rPr>
              <a:t>Profesi</a:t>
            </a:r>
            <a:r>
              <a:rPr kumimoji="0" lang="en-US" sz="1200" b="0" i="0" u="none" strike="noStrike" kern="0" cap="none" spc="0" normalizeH="0" baseline="0" noProof="0" dirty="0">
                <a:ln>
                  <a:noFill/>
                </a:ln>
                <a:solidFill>
                  <a:srgbClr val="000000"/>
                </a:solidFill>
                <a:effectLst/>
                <a:uLnTx/>
                <a:uFillTx/>
                <a:latin typeface="Arial"/>
                <a:cs typeface="Arial"/>
                <a:sym typeface="Arial"/>
              </a:rPr>
              <a:t>: </a:t>
            </a:r>
            <a:r>
              <a:rPr kumimoji="0" lang="en-US" sz="1200" b="0" i="0" u="none" strike="noStrike" kern="0" cap="none" spc="0" normalizeH="0" baseline="0" noProof="0" dirty="0" err="1">
                <a:ln>
                  <a:noFill/>
                </a:ln>
                <a:solidFill>
                  <a:srgbClr val="000000"/>
                </a:solidFill>
                <a:effectLst/>
                <a:uLnTx/>
                <a:uFillTx/>
                <a:latin typeface="Arial"/>
                <a:cs typeface="Arial"/>
                <a:sym typeface="Arial"/>
              </a:rPr>
              <a:t>melaksanakan</a:t>
            </a:r>
            <a:r>
              <a:rPr kumimoji="0" lang="en-US" sz="1200" b="0" i="0" u="none" strike="noStrike" kern="0" cap="none" spc="0" normalizeH="0" baseline="0" noProof="0" dirty="0">
                <a:ln>
                  <a:noFill/>
                </a:ln>
                <a:solidFill>
                  <a:srgbClr val="000000"/>
                </a:solidFill>
                <a:effectLst/>
                <a:uLnTx/>
                <a:uFillTx/>
                <a:latin typeface="Arial"/>
                <a:cs typeface="Arial"/>
                <a:sym typeface="Arial"/>
              </a:rPr>
              <a:t> </a:t>
            </a:r>
            <a:r>
              <a:rPr kumimoji="0" lang="en-US" sz="1200" b="0" i="0" u="none" strike="noStrike" kern="0" cap="none" spc="0" normalizeH="0" baseline="0" noProof="0" dirty="0" err="1">
                <a:ln>
                  <a:noFill/>
                </a:ln>
                <a:solidFill>
                  <a:srgbClr val="000000"/>
                </a:solidFill>
                <a:effectLst/>
                <a:uLnTx/>
                <a:uFillTx/>
                <a:latin typeface="Arial"/>
                <a:cs typeface="Arial"/>
                <a:sym typeface="Arial"/>
              </a:rPr>
              <a:t>Verifikasi</a:t>
            </a:r>
            <a:r>
              <a:rPr kumimoji="0" lang="en-US" sz="1200" b="0" i="0" u="none" strike="noStrike" kern="0" cap="none" spc="0" normalizeH="0" baseline="0" noProof="0" dirty="0">
                <a:ln>
                  <a:noFill/>
                </a:ln>
                <a:solidFill>
                  <a:srgbClr val="000000"/>
                </a:solidFill>
                <a:effectLst/>
                <a:uLnTx/>
                <a:uFillTx/>
                <a:latin typeface="Arial"/>
                <a:cs typeface="Arial"/>
                <a:sym typeface="Arial"/>
              </a:rPr>
              <a:t> dan </a:t>
            </a:r>
            <a:r>
              <a:rPr kumimoji="0" lang="en-US" sz="1200" b="0" i="0" u="none" strike="noStrike" kern="0" cap="none" spc="0" normalizeH="0" baseline="0" noProof="0" dirty="0" err="1">
                <a:ln>
                  <a:noFill/>
                </a:ln>
                <a:solidFill>
                  <a:srgbClr val="000000"/>
                </a:solidFill>
                <a:effectLst/>
                <a:uLnTx/>
                <a:uFillTx/>
                <a:latin typeface="Arial"/>
                <a:cs typeface="Arial"/>
                <a:sym typeface="Arial"/>
              </a:rPr>
              <a:t>Validasi</a:t>
            </a:r>
            <a:r>
              <a:rPr kumimoji="0" lang="en-US" sz="1200" b="0" i="0" u="none" strike="noStrike" kern="0" cap="none" spc="0" normalizeH="0" baseline="0" noProof="0" dirty="0">
                <a:ln>
                  <a:noFill/>
                </a:ln>
                <a:solidFill>
                  <a:srgbClr val="000000"/>
                </a:solidFill>
                <a:effectLst/>
                <a:uLnTx/>
                <a:uFillTx/>
                <a:latin typeface="Arial"/>
                <a:cs typeface="Arial"/>
                <a:sym typeface="Arial"/>
              </a:rPr>
              <a:t> Awal (VVA)</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itchFamily="2" charset="2"/>
              <a:buChar char="§"/>
              <a:tabLst/>
              <a:defRPr/>
            </a:pPr>
            <a:r>
              <a:rPr kumimoji="0" lang="en-US" sz="1200" b="1" i="0" u="none" strike="noStrike" kern="0" cap="none" spc="0" normalizeH="0" baseline="0" noProof="0" dirty="0">
                <a:ln>
                  <a:noFill/>
                </a:ln>
                <a:solidFill>
                  <a:srgbClr val="000000"/>
                </a:solidFill>
                <a:effectLst/>
                <a:uLnTx/>
                <a:uFillTx/>
                <a:latin typeface="Arial"/>
                <a:cs typeface="Arial"/>
                <a:sym typeface="Arial"/>
              </a:rPr>
              <a:t>LPJKN dan LPJKP </a:t>
            </a:r>
            <a:r>
              <a:rPr kumimoji="0" lang="en-US" sz="1200" b="1" i="0" u="none" strike="noStrike" kern="0" cap="none" spc="0" normalizeH="0" baseline="0" noProof="0" dirty="0" err="1">
                <a:ln>
                  <a:noFill/>
                </a:ln>
                <a:solidFill>
                  <a:srgbClr val="000000"/>
                </a:solidFill>
                <a:effectLst/>
                <a:uLnTx/>
                <a:uFillTx/>
                <a:latin typeface="Arial"/>
                <a:cs typeface="Arial"/>
                <a:sym typeface="Arial"/>
              </a:rPr>
              <a:t>melalui</a:t>
            </a:r>
            <a:r>
              <a:rPr kumimoji="0" lang="en-US" sz="1200" b="1" i="0" u="none" strike="noStrike" kern="0" cap="none" spc="0" normalizeH="0" baseline="0" noProof="0" dirty="0">
                <a:ln>
                  <a:noFill/>
                </a:ln>
                <a:solidFill>
                  <a:srgbClr val="000000"/>
                </a:solidFill>
                <a:effectLst/>
                <a:uLnTx/>
                <a:uFillTx/>
                <a:latin typeface="Arial"/>
                <a:cs typeface="Arial"/>
                <a:sym typeface="Arial"/>
              </a:rPr>
              <a:t> USBU</a:t>
            </a:r>
            <a:r>
              <a:rPr kumimoji="0" lang="en-US" sz="1200" b="0" i="0" u="none" strike="noStrike" kern="0" cap="none" spc="0" normalizeH="0" baseline="0" noProof="0" dirty="0">
                <a:ln>
                  <a:noFill/>
                </a:ln>
                <a:solidFill>
                  <a:srgbClr val="000000"/>
                </a:solidFill>
                <a:effectLst/>
                <a:uLnTx/>
                <a:uFillTx/>
                <a:latin typeface="Arial"/>
                <a:cs typeface="Arial"/>
                <a:sym typeface="Arial"/>
              </a:rPr>
              <a:t>: </a:t>
            </a:r>
            <a:r>
              <a:rPr kumimoji="0" lang="en-US" sz="1200" b="0" i="0" u="none" strike="noStrike" kern="0" cap="none" spc="0" normalizeH="0" baseline="0" noProof="0" dirty="0" err="1">
                <a:ln>
                  <a:noFill/>
                </a:ln>
                <a:solidFill>
                  <a:srgbClr val="000000"/>
                </a:solidFill>
                <a:effectLst/>
                <a:uLnTx/>
                <a:uFillTx/>
                <a:latin typeface="Arial"/>
                <a:cs typeface="Arial"/>
                <a:sym typeface="Arial"/>
              </a:rPr>
              <a:t>Melaksanakan</a:t>
            </a:r>
            <a:r>
              <a:rPr kumimoji="0" lang="en-US" sz="1200" b="0" i="0" u="none" strike="noStrike" kern="0" cap="none" spc="0" normalizeH="0" baseline="0" noProof="0" dirty="0">
                <a:ln>
                  <a:noFill/>
                </a:ln>
                <a:solidFill>
                  <a:srgbClr val="000000"/>
                </a:solidFill>
                <a:effectLst/>
                <a:uLnTx/>
                <a:uFillTx/>
                <a:latin typeface="Arial"/>
                <a:cs typeface="Arial"/>
                <a:sym typeface="Arial"/>
              </a:rPr>
              <a:t> </a:t>
            </a:r>
            <a:r>
              <a:rPr kumimoji="0" lang="en-US" sz="1200" b="0" i="0" u="none" strike="noStrike" kern="0" cap="none" spc="0" normalizeH="0" baseline="0" noProof="0" dirty="0" err="1">
                <a:ln>
                  <a:noFill/>
                </a:ln>
                <a:solidFill>
                  <a:srgbClr val="000000"/>
                </a:solidFill>
                <a:effectLst/>
                <a:uLnTx/>
                <a:uFillTx/>
                <a:latin typeface="Arial"/>
                <a:cs typeface="Arial"/>
                <a:sym typeface="Arial"/>
              </a:rPr>
              <a:t>Sertifikasi</a:t>
            </a:r>
            <a:r>
              <a:rPr kumimoji="0" lang="en-US" sz="1200" b="0" i="0" u="none" strike="noStrike" kern="0" cap="none" spc="0" normalizeH="0" baseline="0" noProof="0" dirty="0">
                <a:ln>
                  <a:noFill/>
                </a:ln>
                <a:solidFill>
                  <a:srgbClr val="000000"/>
                </a:solidFill>
                <a:effectLst/>
                <a:uLnTx/>
                <a:uFillTx/>
                <a:latin typeface="Arial"/>
                <a:cs typeface="Arial"/>
                <a:sym typeface="Arial"/>
              </a:rPr>
              <a:t> (SBU)</a:t>
            </a:r>
          </a:p>
        </p:txBody>
      </p:sp>
      <p:pic>
        <p:nvPicPr>
          <p:cNvPr id="70" name="Graphic 69" descr="Cycle with people">
            <a:extLst>
              <a:ext uri="{FF2B5EF4-FFF2-40B4-BE49-F238E27FC236}">
                <a16:creationId xmlns:a16="http://schemas.microsoft.com/office/drawing/2014/main" id="{F060FCC1-5468-D6E1-0002-2D7F8C48DBF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0535092">
            <a:off x="569526" y="3442918"/>
            <a:ext cx="682310" cy="682310"/>
          </a:xfrm>
          <a:prstGeom prst="rect">
            <a:avLst/>
          </a:prstGeom>
        </p:spPr>
      </p:pic>
      <p:sp>
        <p:nvSpPr>
          <p:cNvPr id="71" name="TextBox 70">
            <a:extLst>
              <a:ext uri="{FF2B5EF4-FFF2-40B4-BE49-F238E27FC236}">
                <a16:creationId xmlns:a16="http://schemas.microsoft.com/office/drawing/2014/main" id="{EE0FE1B5-0298-6D1B-B905-5EB739201D29}"/>
              </a:ext>
            </a:extLst>
          </p:cNvPr>
          <p:cNvSpPr txBox="1"/>
          <p:nvPr/>
        </p:nvSpPr>
        <p:spPr>
          <a:xfrm>
            <a:off x="6966173" y="3518856"/>
            <a:ext cx="492110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err="1">
                <a:ln>
                  <a:noFill/>
                </a:ln>
                <a:solidFill>
                  <a:srgbClr val="000000"/>
                </a:solidFill>
                <a:effectLst/>
                <a:uLnTx/>
                <a:uFillTx/>
                <a:latin typeface="Arial"/>
                <a:cs typeface="Arial"/>
                <a:sym typeface="Arial"/>
              </a:rPr>
              <a:t>Dalam</a:t>
            </a:r>
            <a:r>
              <a:rPr kumimoji="0" lang="en-US" sz="1200" b="0" i="0" u="none" strike="noStrike" kern="0" cap="none" spc="0" normalizeH="0" baseline="0" noProof="0" dirty="0">
                <a:ln>
                  <a:noFill/>
                </a:ln>
                <a:solidFill>
                  <a:srgbClr val="000000"/>
                </a:solidFill>
                <a:effectLst/>
                <a:uLnTx/>
                <a:uFillTx/>
                <a:latin typeface="Arial"/>
                <a:cs typeface="Arial"/>
                <a:sym typeface="Arial"/>
              </a:rPr>
              <a:t> proses </a:t>
            </a:r>
            <a:r>
              <a:rPr kumimoji="0" lang="en-US" sz="1200" b="0" i="0" u="none" strike="noStrike" kern="0" cap="none" spc="0" normalizeH="0" baseline="0" noProof="0" dirty="0" err="1">
                <a:ln>
                  <a:noFill/>
                </a:ln>
                <a:solidFill>
                  <a:srgbClr val="000000"/>
                </a:solidFill>
                <a:effectLst/>
                <a:uLnTx/>
                <a:uFillTx/>
                <a:latin typeface="Arial"/>
                <a:cs typeface="Arial"/>
                <a:sym typeface="Arial"/>
              </a:rPr>
              <a:t>penerbitan</a:t>
            </a:r>
            <a:r>
              <a:rPr kumimoji="0" lang="en-US" sz="1200" b="0" i="0" u="none" strike="noStrike" kern="0" cap="none" spc="0" normalizeH="0" baseline="0" noProof="0" dirty="0">
                <a:ln>
                  <a:noFill/>
                </a:ln>
                <a:solidFill>
                  <a:srgbClr val="000000"/>
                </a:solidFill>
                <a:effectLst/>
                <a:uLnTx/>
                <a:uFillTx/>
                <a:latin typeface="Arial"/>
                <a:cs typeface="Arial"/>
                <a:sym typeface="Arial"/>
              </a:rPr>
              <a:t> </a:t>
            </a:r>
            <a:r>
              <a:rPr kumimoji="0" lang="en-US" sz="1200" b="0" i="0" u="none" strike="noStrike" kern="0" cap="none" spc="0" normalizeH="0" baseline="0" noProof="0" dirty="0" err="1">
                <a:ln>
                  <a:noFill/>
                </a:ln>
                <a:solidFill>
                  <a:srgbClr val="000000"/>
                </a:solidFill>
                <a:effectLst/>
                <a:uLnTx/>
                <a:uFillTx/>
                <a:latin typeface="Arial"/>
                <a:cs typeface="Arial"/>
                <a:sym typeface="Arial"/>
              </a:rPr>
              <a:t>Sertifikat</a:t>
            </a:r>
            <a:r>
              <a:rPr kumimoji="0" lang="en-US" sz="1200" b="0" i="0" u="none" strike="noStrike" kern="0" cap="none" spc="0" normalizeH="0" baseline="0" noProof="0" dirty="0">
                <a:ln>
                  <a:noFill/>
                </a:ln>
                <a:solidFill>
                  <a:srgbClr val="000000"/>
                </a:solidFill>
                <a:effectLst/>
                <a:uLnTx/>
                <a:uFillTx/>
                <a:latin typeface="Arial"/>
                <a:cs typeface="Arial"/>
                <a:sym typeface="Arial"/>
              </a:rPr>
              <a:t> Badan Usaha:</a:t>
            </a: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itchFamily="2" charset="2"/>
              <a:buChar char="§"/>
              <a:tabLst/>
              <a:defRPr/>
            </a:pPr>
            <a:r>
              <a:rPr kumimoji="0" lang="en-US" sz="1200" b="1" i="0" u="none" strike="noStrike" kern="0" cap="none" spc="0" normalizeH="0" baseline="0" noProof="0" dirty="0">
                <a:ln>
                  <a:noFill/>
                </a:ln>
                <a:solidFill>
                  <a:srgbClr val="000000"/>
                </a:solidFill>
                <a:effectLst/>
                <a:uLnTx/>
                <a:uFillTx/>
                <a:latin typeface="Arial"/>
                <a:cs typeface="Arial"/>
                <a:sym typeface="Arial"/>
              </a:rPr>
              <a:t>LSBU </a:t>
            </a:r>
            <a:r>
              <a:rPr kumimoji="0" lang="en-US" sz="1200" b="0" i="0" u="none" strike="noStrike" kern="0" cap="none" spc="0" normalizeH="0" baseline="0" noProof="0" dirty="0">
                <a:ln>
                  <a:noFill/>
                </a:ln>
                <a:solidFill>
                  <a:srgbClr val="000000"/>
                </a:solidFill>
                <a:effectLst/>
                <a:uLnTx/>
                <a:uFillTx/>
                <a:latin typeface="Arial"/>
                <a:cs typeface="Arial"/>
                <a:sym typeface="Arial"/>
              </a:rPr>
              <a:t>: </a:t>
            </a:r>
            <a:r>
              <a:rPr kumimoji="0" lang="en-US" sz="1200" b="0" i="0" u="none" strike="noStrike" kern="0" cap="none" spc="0" normalizeH="0" baseline="0" noProof="0" dirty="0" err="1">
                <a:ln>
                  <a:noFill/>
                </a:ln>
                <a:solidFill>
                  <a:srgbClr val="000000"/>
                </a:solidFill>
                <a:effectLst/>
                <a:uLnTx/>
                <a:uFillTx/>
                <a:latin typeface="Arial"/>
                <a:cs typeface="Arial"/>
                <a:sym typeface="Arial"/>
              </a:rPr>
              <a:t>melaksanakan</a:t>
            </a:r>
            <a:r>
              <a:rPr kumimoji="0" lang="en-US" sz="1200" b="0" i="0" u="none" strike="noStrike" kern="0" cap="none" spc="0" normalizeH="0" baseline="0" noProof="0" dirty="0">
                <a:ln>
                  <a:noFill/>
                </a:ln>
                <a:solidFill>
                  <a:srgbClr val="000000"/>
                </a:solidFill>
                <a:effectLst/>
                <a:uLnTx/>
                <a:uFillTx/>
                <a:latin typeface="Arial"/>
                <a:cs typeface="Arial"/>
                <a:sym typeface="Arial"/>
              </a:rPr>
              <a:t> </a:t>
            </a:r>
            <a:r>
              <a:rPr kumimoji="0" lang="en-US" sz="1200" b="0" i="0" u="none" strike="noStrike" kern="0" cap="none" spc="0" normalizeH="0" baseline="0" noProof="0" dirty="0" err="1">
                <a:ln>
                  <a:noFill/>
                </a:ln>
                <a:solidFill>
                  <a:srgbClr val="000000"/>
                </a:solidFill>
                <a:effectLst/>
                <a:uLnTx/>
                <a:uFillTx/>
                <a:latin typeface="Arial"/>
                <a:cs typeface="Arial"/>
                <a:sym typeface="Arial"/>
              </a:rPr>
              <a:t>sertifikasi</a:t>
            </a:r>
            <a:r>
              <a:rPr kumimoji="0" lang="en-US" sz="1200" b="0" i="0" u="none" strike="noStrike" kern="0" cap="none" spc="0" normalizeH="0" baseline="0" noProof="0" dirty="0">
                <a:ln>
                  <a:noFill/>
                </a:ln>
                <a:solidFill>
                  <a:srgbClr val="000000"/>
                </a:solidFill>
                <a:effectLst/>
                <a:uLnTx/>
                <a:uFillTx/>
                <a:latin typeface="Arial"/>
                <a:cs typeface="Arial"/>
                <a:sym typeface="Arial"/>
              </a:rPr>
              <a:t> badan </a:t>
            </a:r>
            <a:r>
              <a:rPr kumimoji="0" lang="en-US" sz="1200" b="0" i="0" u="none" strike="noStrike" kern="0" cap="none" spc="0" normalizeH="0" baseline="0" noProof="0" dirty="0" err="1">
                <a:ln>
                  <a:noFill/>
                </a:ln>
                <a:solidFill>
                  <a:srgbClr val="000000"/>
                </a:solidFill>
                <a:effectLst/>
                <a:uLnTx/>
                <a:uFillTx/>
                <a:latin typeface="Arial"/>
                <a:cs typeface="Arial"/>
                <a:sym typeface="Arial"/>
              </a:rPr>
              <a:t>usaha</a:t>
            </a:r>
            <a:endParaRPr kumimoji="0" lang="en-US" sz="12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Wingdings" pitchFamily="2" charset="2"/>
              <a:buChar char="§"/>
              <a:tabLst/>
              <a:defRPr/>
            </a:pPr>
            <a:r>
              <a:rPr kumimoji="0" lang="en-US" sz="1200" b="1" i="0" u="none" strike="noStrike" kern="0" cap="none" spc="0" normalizeH="0" baseline="0" noProof="0" dirty="0">
                <a:ln>
                  <a:noFill/>
                </a:ln>
                <a:solidFill>
                  <a:srgbClr val="000000"/>
                </a:solidFill>
                <a:effectLst/>
                <a:uLnTx/>
                <a:uFillTx/>
                <a:latin typeface="Arial"/>
                <a:cs typeface="Arial"/>
                <a:sym typeface="Arial"/>
              </a:rPr>
              <a:t>LPJK</a:t>
            </a:r>
            <a:r>
              <a:rPr kumimoji="0" lang="en-US" sz="1200" b="0" i="0" u="none" strike="noStrike" kern="0" cap="none" spc="0" normalizeH="0" baseline="0" noProof="0" dirty="0">
                <a:ln>
                  <a:noFill/>
                </a:ln>
                <a:solidFill>
                  <a:srgbClr val="000000"/>
                </a:solidFill>
                <a:effectLst/>
                <a:uLnTx/>
                <a:uFillTx/>
                <a:latin typeface="Arial"/>
                <a:cs typeface="Arial"/>
                <a:sym typeface="Arial"/>
              </a:rPr>
              <a:t>: </a:t>
            </a:r>
            <a:r>
              <a:rPr kumimoji="0" lang="en-US" sz="1200" b="0" i="0" u="none" strike="noStrike" kern="0" cap="none" spc="0" normalizeH="0" baseline="0" noProof="0" dirty="0" err="1">
                <a:ln>
                  <a:noFill/>
                </a:ln>
                <a:solidFill>
                  <a:srgbClr val="000000"/>
                </a:solidFill>
                <a:effectLst/>
                <a:uLnTx/>
                <a:uFillTx/>
                <a:latin typeface="Arial"/>
                <a:cs typeface="Arial"/>
                <a:sym typeface="Arial"/>
              </a:rPr>
              <a:t>melaksanakan</a:t>
            </a:r>
            <a:r>
              <a:rPr kumimoji="0" lang="en-US" sz="1200" b="0" i="0" u="none" strike="noStrike" kern="0" cap="none" spc="0" normalizeH="0" baseline="0" noProof="0" dirty="0">
                <a:ln>
                  <a:noFill/>
                </a:ln>
                <a:solidFill>
                  <a:srgbClr val="000000"/>
                </a:solidFill>
                <a:effectLst/>
                <a:uLnTx/>
                <a:uFillTx/>
                <a:latin typeface="Arial"/>
                <a:cs typeface="Arial"/>
                <a:sym typeface="Arial"/>
              </a:rPr>
              <a:t> </a:t>
            </a:r>
            <a:r>
              <a:rPr kumimoji="0" lang="en-US" sz="1200" b="0" i="0" u="none" strike="noStrike" kern="0" cap="none" spc="0" normalizeH="0" baseline="0" noProof="0" dirty="0" err="1">
                <a:ln>
                  <a:noFill/>
                </a:ln>
                <a:solidFill>
                  <a:srgbClr val="000000"/>
                </a:solidFill>
                <a:effectLst/>
                <a:uLnTx/>
                <a:uFillTx/>
                <a:latin typeface="Arial"/>
                <a:cs typeface="Arial"/>
                <a:sym typeface="Arial"/>
              </a:rPr>
              <a:t>penomoran</a:t>
            </a:r>
            <a:r>
              <a:rPr kumimoji="0" lang="en-US" sz="1200" b="0" i="0" u="none" strike="noStrike" kern="0" cap="none" spc="0" normalizeH="0" baseline="0" noProof="0" dirty="0">
                <a:ln>
                  <a:noFill/>
                </a:ln>
                <a:solidFill>
                  <a:srgbClr val="000000"/>
                </a:solidFill>
                <a:effectLst/>
                <a:uLnTx/>
                <a:uFillTx/>
                <a:latin typeface="Arial"/>
                <a:cs typeface="Arial"/>
                <a:sym typeface="Arial"/>
              </a:rPr>
              <a:t> dan </a:t>
            </a:r>
            <a:r>
              <a:rPr kumimoji="0" lang="en-US" sz="1200" b="0" i="0" u="none" strike="noStrike" kern="0" cap="none" spc="0" normalizeH="0" baseline="0" noProof="0" dirty="0" err="1">
                <a:ln>
                  <a:noFill/>
                </a:ln>
                <a:solidFill>
                  <a:srgbClr val="000000"/>
                </a:solidFill>
                <a:effectLst/>
                <a:uLnTx/>
                <a:uFillTx/>
                <a:latin typeface="Arial"/>
                <a:cs typeface="Arial"/>
                <a:sym typeface="Arial"/>
              </a:rPr>
              <a:t>pencatatan</a:t>
            </a:r>
            <a:r>
              <a:rPr kumimoji="0" lang="en-US" sz="1200" b="0" i="0" u="none" strike="noStrike" kern="0" cap="none" spc="0" normalizeH="0" baseline="0" noProof="0" dirty="0">
                <a:ln>
                  <a:noFill/>
                </a:ln>
                <a:solidFill>
                  <a:srgbClr val="000000"/>
                </a:solidFill>
                <a:effectLst/>
                <a:uLnTx/>
                <a:uFillTx/>
                <a:latin typeface="Arial"/>
                <a:cs typeface="Arial"/>
                <a:sym typeface="Arial"/>
              </a:rPr>
              <a:t> SBU/SKKK</a:t>
            </a:r>
          </a:p>
        </p:txBody>
      </p:sp>
      <p:pic>
        <p:nvPicPr>
          <p:cNvPr id="79" name="Graphic 78" descr="Medal">
            <a:extLst>
              <a:ext uri="{FF2B5EF4-FFF2-40B4-BE49-F238E27FC236}">
                <a16:creationId xmlns:a16="http://schemas.microsoft.com/office/drawing/2014/main" id="{3527BD55-3F49-ADC2-D497-444DB0D298A9}"/>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rot="10564928">
            <a:off x="922434" y="1536213"/>
            <a:ext cx="317109" cy="317109"/>
          </a:xfrm>
          <a:prstGeom prst="rect">
            <a:avLst/>
          </a:prstGeom>
        </p:spPr>
      </p:pic>
      <p:sp>
        <p:nvSpPr>
          <p:cNvPr id="96" name="Rectangle 95">
            <a:extLst>
              <a:ext uri="{FF2B5EF4-FFF2-40B4-BE49-F238E27FC236}">
                <a16:creationId xmlns:a16="http://schemas.microsoft.com/office/drawing/2014/main" id="{8839ADDB-2733-C281-F030-ADA3C908DF1E}"/>
              </a:ext>
            </a:extLst>
          </p:cNvPr>
          <p:cNvSpPr/>
          <p:nvPr/>
        </p:nvSpPr>
        <p:spPr>
          <a:xfrm>
            <a:off x="259244" y="4566501"/>
            <a:ext cx="1325524" cy="1019826"/>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97" name="Rectangle 96">
            <a:extLst>
              <a:ext uri="{FF2B5EF4-FFF2-40B4-BE49-F238E27FC236}">
                <a16:creationId xmlns:a16="http://schemas.microsoft.com/office/drawing/2014/main" id="{4C40BB76-091E-A2C4-241D-66306819DA74}"/>
              </a:ext>
            </a:extLst>
          </p:cNvPr>
          <p:cNvSpPr/>
          <p:nvPr/>
        </p:nvSpPr>
        <p:spPr>
          <a:xfrm>
            <a:off x="1684004" y="4566500"/>
            <a:ext cx="5114259" cy="99829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98" name="Rectangle 97">
            <a:extLst>
              <a:ext uri="{FF2B5EF4-FFF2-40B4-BE49-F238E27FC236}">
                <a16:creationId xmlns:a16="http://schemas.microsoft.com/office/drawing/2014/main" id="{6DD44645-1D7C-3FEC-4360-44AE45324CF8}"/>
              </a:ext>
            </a:extLst>
          </p:cNvPr>
          <p:cNvSpPr/>
          <p:nvPr/>
        </p:nvSpPr>
        <p:spPr>
          <a:xfrm>
            <a:off x="6897503" y="4566500"/>
            <a:ext cx="5114259" cy="967157"/>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99" name="TextBox 98">
            <a:extLst>
              <a:ext uri="{FF2B5EF4-FFF2-40B4-BE49-F238E27FC236}">
                <a16:creationId xmlns:a16="http://schemas.microsoft.com/office/drawing/2014/main" id="{2E4EAAA4-EA61-8873-6261-5691D0A424E8}"/>
              </a:ext>
            </a:extLst>
          </p:cNvPr>
          <p:cNvSpPr txBox="1"/>
          <p:nvPr/>
        </p:nvSpPr>
        <p:spPr>
          <a:xfrm>
            <a:off x="168423" y="5094306"/>
            <a:ext cx="146596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latin typeface="Arial"/>
                <a:cs typeface="Arial"/>
                <a:sym typeface="Arial"/>
              </a:rPr>
              <a:t>SPM</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latin typeface="Arial"/>
                <a:cs typeface="Arial"/>
                <a:sym typeface="Arial"/>
              </a:rPr>
              <a:t>LAYANAN</a:t>
            </a:r>
            <a:endParaRPr kumimoji="0" lang="en-US" sz="1600" b="1" i="0" u="none" strike="noStrike" kern="0" cap="none" spc="0" normalizeH="0" baseline="0" noProof="0" dirty="0">
              <a:ln>
                <a:noFill/>
              </a:ln>
              <a:solidFill>
                <a:srgbClr val="000000"/>
              </a:solidFill>
              <a:effectLst/>
              <a:uLnTx/>
              <a:uFillTx/>
              <a:latin typeface="Arial"/>
              <a:cs typeface="Arial"/>
              <a:sym typeface="Arial"/>
            </a:endParaRPr>
          </a:p>
        </p:txBody>
      </p:sp>
      <p:sp>
        <p:nvSpPr>
          <p:cNvPr id="100" name="TextBox 99">
            <a:extLst>
              <a:ext uri="{FF2B5EF4-FFF2-40B4-BE49-F238E27FC236}">
                <a16:creationId xmlns:a16="http://schemas.microsoft.com/office/drawing/2014/main" id="{ECD7D80D-7699-425B-CD2D-E209EBE6A4E8}"/>
              </a:ext>
            </a:extLst>
          </p:cNvPr>
          <p:cNvSpPr txBox="1"/>
          <p:nvPr/>
        </p:nvSpPr>
        <p:spPr>
          <a:xfrm>
            <a:off x="1748616" y="5010699"/>
            <a:ext cx="492110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tab pos="2298700" algn="l"/>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SBU	: </a:t>
            </a:r>
            <a:r>
              <a:rPr kumimoji="0" lang="en-US" sz="1400" b="0" i="0" u="none" strike="noStrike" kern="0" cap="none" spc="0" normalizeH="0" baseline="0" noProof="0" dirty="0" err="1">
                <a:ln>
                  <a:noFill/>
                </a:ln>
                <a:solidFill>
                  <a:srgbClr val="000000"/>
                </a:solidFill>
                <a:effectLst/>
                <a:uLnTx/>
                <a:uFillTx/>
                <a:latin typeface="Arial"/>
                <a:cs typeface="Arial"/>
                <a:sym typeface="Arial"/>
              </a:rPr>
              <a:t>Durasi</a:t>
            </a:r>
            <a:r>
              <a:rPr kumimoji="0" lang="en-US" sz="1400" b="0" i="0" u="none" strike="noStrike" kern="0" cap="none" spc="0" normalizeH="0" baseline="0" noProof="0" dirty="0">
                <a:ln>
                  <a:noFill/>
                </a:ln>
                <a:solidFill>
                  <a:srgbClr val="000000"/>
                </a:solidFill>
                <a:effectLst/>
                <a:uLnTx/>
                <a:uFillTx/>
                <a:latin typeface="Arial"/>
                <a:cs typeface="Arial"/>
                <a:sym typeface="Arial"/>
              </a:rPr>
              <a:t> VVA + 5 Hari </a:t>
            </a:r>
            <a:r>
              <a:rPr kumimoji="0" lang="en-US" sz="1400" b="0" i="0" u="none" strike="noStrike" kern="0" cap="none" spc="0" normalizeH="0" baseline="0" noProof="0" dirty="0" err="1">
                <a:ln>
                  <a:noFill/>
                </a:ln>
                <a:solidFill>
                  <a:srgbClr val="000000"/>
                </a:solidFill>
                <a:effectLst/>
                <a:uLnTx/>
                <a:uFillTx/>
                <a:latin typeface="Arial"/>
                <a:cs typeface="Arial"/>
                <a:sym typeface="Arial"/>
              </a:rPr>
              <a:t>kerja</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101" name="Graphic 100" descr="Stopwatch">
            <a:extLst>
              <a:ext uri="{FF2B5EF4-FFF2-40B4-BE49-F238E27FC236}">
                <a16:creationId xmlns:a16="http://schemas.microsoft.com/office/drawing/2014/main" id="{5887400D-14EF-DEDE-E8FC-AD43E59EEE0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63214" y="4521560"/>
            <a:ext cx="643028" cy="643028"/>
          </a:xfrm>
          <a:prstGeom prst="rect">
            <a:avLst/>
          </a:prstGeom>
        </p:spPr>
      </p:pic>
      <p:sp>
        <p:nvSpPr>
          <p:cNvPr id="102" name="TextBox 101">
            <a:extLst>
              <a:ext uri="{FF2B5EF4-FFF2-40B4-BE49-F238E27FC236}">
                <a16:creationId xmlns:a16="http://schemas.microsoft.com/office/drawing/2014/main" id="{4F342142-2F27-8B6B-DAB1-B9F96F1283B0}"/>
              </a:ext>
            </a:extLst>
          </p:cNvPr>
          <p:cNvSpPr txBox="1"/>
          <p:nvPr/>
        </p:nvSpPr>
        <p:spPr>
          <a:xfrm>
            <a:off x="6986991" y="4959046"/>
            <a:ext cx="511425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tab pos="2298700" algn="l"/>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SBU </a:t>
            </a:r>
            <a:r>
              <a:rPr kumimoji="0" lang="en-US" sz="1400" b="0" i="0" u="none" strike="noStrike" kern="0" cap="none" spc="0" normalizeH="0" baseline="0" noProof="0" dirty="0" err="1">
                <a:ln>
                  <a:noFill/>
                </a:ln>
                <a:solidFill>
                  <a:srgbClr val="000000"/>
                </a:solidFill>
                <a:effectLst/>
                <a:uLnTx/>
                <a:uFillTx/>
                <a:latin typeface="Arial"/>
                <a:cs typeface="Arial"/>
                <a:sym typeface="Arial"/>
              </a:rPr>
              <a:t>Konstruksi</a:t>
            </a:r>
            <a:r>
              <a:rPr kumimoji="0" lang="en-US" sz="1400" b="0" i="0" u="none" strike="noStrike" kern="0" cap="none" spc="0" normalizeH="0" baseline="0" noProof="0" dirty="0">
                <a:ln>
                  <a:noFill/>
                </a:ln>
                <a:solidFill>
                  <a:srgbClr val="000000"/>
                </a:solidFill>
                <a:effectLst/>
                <a:uLnTx/>
                <a:uFillTx/>
                <a:latin typeface="Arial"/>
                <a:cs typeface="Arial"/>
                <a:sym typeface="Arial"/>
              </a:rPr>
              <a:t>	: 15 Hari </a:t>
            </a:r>
            <a:r>
              <a:rPr kumimoji="0" lang="en-US" sz="1400" b="0" i="0" u="none" strike="noStrike" kern="0" cap="none" spc="0" normalizeH="0" baseline="0" noProof="0" dirty="0" err="1">
                <a:ln>
                  <a:noFill/>
                </a:ln>
                <a:solidFill>
                  <a:srgbClr val="000000"/>
                </a:solidFill>
                <a:effectLst/>
                <a:uLnTx/>
                <a:uFillTx/>
                <a:latin typeface="Arial"/>
                <a:cs typeface="Arial"/>
                <a:sym typeface="Arial"/>
              </a:rPr>
              <a:t>kerja</a:t>
            </a: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04" name="TextBox 103">
            <a:extLst>
              <a:ext uri="{FF2B5EF4-FFF2-40B4-BE49-F238E27FC236}">
                <a16:creationId xmlns:a16="http://schemas.microsoft.com/office/drawing/2014/main" id="{74E8B860-D025-7E04-2513-EEC4B3FC910E}"/>
              </a:ext>
            </a:extLst>
          </p:cNvPr>
          <p:cNvSpPr txBox="1"/>
          <p:nvPr/>
        </p:nvSpPr>
        <p:spPr>
          <a:xfrm>
            <a:off x="1742879" y="4735250"/>
            <a:ext cx="609858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tab pos="1730375" algn="l"/>
              </a:tabLst>
              <a:defRPr/>
            </a:pPr>
            <a:r>
              <a:rPr kumimoji="0" lang="en-US" sz="1400" b="0" i="0" u="none" strike="noStrike" kern="0" cap="none" spc="0" normalizeH="0" baseline="0" noProof="0" dirty="0" err="1">
                <a:ln>
                  <a:noFill/>
                </a:ln>
                <a:solidFill>
                  <a:srgbClr val="000000"/>
                </a:solidFill>
                <a:effectLst/>
                <a:uLnTx/>
                <a:uFillTx/>
                <a:latin typeface="Arial"/>
                <a:cs typeface="Arial"/>
                <a:sym typeface="Arial"/>
              </a:rPr>
              <a:t>Pengajuan</a:t>
            </a:r>
            <a:r>
              <a:rPr kumimoji="0" lang="en-US" sz="1400" b="0" i="0" u="none" strike="noStrike" kern="0" cap="none" spc="0" normalizeH="0" baseline="0" noProof="0" dirty="0">
                <a:ln>
                  <a:noFill/>
                </a:ln>
                <a:solidFill>
                  <a:srgbClr val="000000"/>
                </a:solidFill>
                <a:effectLst/>
                <a:uLnTx/>
                <a:uFillTx/>
                <a:latin typeface="Arial"/>
                <a:cs typeface="Arial"/>
                <a:sym typeface="Arial"/>
              </a:rPr>
              <a:t> SBU		          : </a:t>
            </a:r>
            <a:r>
              <a:rPr kumimoji="0" lang="en-US" sz="1400" b="0" i="0" u="none" strike="noStrike" kern="0" cap="none" spc="0" normalizeH="0" baseline="0" noProof="0" dirty="0" err="1">
                <a:ln>
                  <a:noFill/>
                </a:ln>
                <a:solidFill>
                  <a:srgbClr val="000000"/>
                </a:solidFill>
                <a:effectLst/>
                <a:uLnTx/>
                <a:uFillTx/>
                <a:latin typeface="Arial"/>
                <a:cs typeface="Arial"/>
                <a:sym typeface="Arial"/>
              </a:rPr>
              <a:t>Melalui</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Asosiasi</a:t>
            </a:r>
            <a:r>
              <a:rPr kumimoji="0" lang="en-US" sz="1400" b="0" i="0" u="none" strike="noStrike" kern="0" cap="none" spc="0" normalizeH="0" baseline="0" noProof="0" dirty="0">
                <a:ln>
                  <a:noFill/>
                </a:ln>
                <a:solidFill>
                  <a:srgbClr val="000000"/>
                </a:solidFill>
                <a:effectLst/>
                <a:uLnTx/>
                <a:uFillTx/>
                <a:latin typeface="Arial"/>
                <a:cs typeface="Arial"/>
                <a:sym typeface="Arial"/>
              </a:rPr>
              <a:t> &amp; LPJK</a:t>
            </a:r>
          </a:p>
        </p:txBody>
      </p:sp>
      <p:sp>
        <p:nvSpPr>
          <p:cNvPr id="105" name="TextBox 104">
            <a:extLst>
              <a:ext uri="{FF2B5EF4-FFF2-40B4-BE49-F238E27FC236}">
                <a16:creationId xmlns:a16="http://schemas.microsoft.com/office/drawing/2014/main" id="{221D635F-11C1-B648-C4B5-4213BADF0519}"/>
              </a:ext>
            </a:extLst>
          </p:cNvPr>
          <p:cNvSpPr txBox="1"/>
          <p:nvPr/>
        </p:nvSpPr>
        <p:spPr>
          <a:xfrm>
            <a:off x="6986991" y="4732248"/>
            <a:ext cx="609858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tab pos="1730375" algn="l"/>
              </a:tabLst>
              <a:defRPr/>
            </a:pPr>
            <a:r>
              <a:rPr kumimoji="0" lang="en-US" sz="1400" b="0" i="0" u="none" strike="noStrike" kern="0" cap="none" spc="0" normalizeH="0" baseline="0" noProof="0" dirty="0" err="1">
                <a:ln>
                  <a:noFill/>
                </a:ln>
                <a:solidFill>
                  <a:srgbClr val="000000"/>
                </a:solidFill>
                <a:effectLst/>
                <a:uLnTx/>
                <a:uFillTx/>
                <a:latin typeface="Arial"/>
                <a:cs typeface="Arial"/>
                <a:sym typeface="Arial"/>
              </a:rPr>
              <a:t>Pengajuan</a:t>
            </a:r>
            <a:r>
              <a:rPr kumimoji="0" lang="en-US" sz="1400" b="0" i="0" u="none" strike="noStrike" kern="0" cap="none" spc="0" normalizeH="0" baseline="0" noProof="0" dirty="0">
                <a:ln>
                  <a:noFill/>
                </a:ln>
                <a:solidFill>
                  <a:srgbClr val="000000"/>
                </a:solidFill>
                <a:effectLst/>
                <a:uLnTx/>
                <a:uFillTx/>
                <a:latin typeface="Arial"/>
                <a:cs typeface="Arial"/>
                <a:sym typeface="Arial"/>
              </a:rPr>
              <a:t> SBU		          : </a:t>
            </a:r>
            <a:r>
              <a:rPr kumimoji="0" lang="en-US" sz="1400" b="0" i="0" u="none" strike="noStrike" kern="0" cap="none" spc="0" normalizeH="0" baseline="0" noProof="0" dirty="0" err="1">
                <a:ln>
                  <a:noFill/>
                </a:ln>
                <a:solidFill>
                  <a:srgbClr val="000000"/>
                </a:solidFill>
                <a:effectLst/>
                <a:uLnTx/>
                <a:uFillTx/>
                <a:latin typeface="Arial"/>
                <a:cs typeface="Arial"/>
                <a:sym typeface="Arial"/>
              </a:rPr>
              <a:t>Melalui</a:t>
            </a:r>
            <a:r>
              <a:rPr kumimoji="0" lang="en-US" sz="1400" b="0" i="0" u="none" strike="noStrike" kern="0" cap="none" spc="0" normalizeH="0" baseline="0" noProof="0" dirty="0">
                <a:ln>
                  <a:noFill/>
                </a:ln>
                <a:solidFill>
                  <a:srgbClr val="000000"/>
                </a:solidFill>
                <a:effectLst/>
                <a:uLnTx/>
                <a:uFillTx/>
                <a:latin typeface="Arial"/>
                <a:cs typeface="Arial"/>
                <a:sym typeface="Arial"/>
              </a:rPr>
              <a:t> OSS</a:t>
            </a:r>
          </a:p>
        </p:txBody>
      </p:sp>
      <p:sp>
        <p:nvSpPr>
          <p:cNvPr id="106" name="Rectangle 105">
            <a:extLst>
              <a:ext uri="{FF2B5EF4-FFF2-40B4-BE49-F238E27FC236}">
                <a16:creationId xmlns:a16="http://schemas.microsoft.com/office/drawing/2014/main" id="{6E1350DA-C704-47B1-253D-AAD5973FB8D3}"/>
              </a:ext>
            </a:extLst>
          </p:cNvPr>
          <p:cNvSpPr/>
          <p:nvPr/>
        </p:nvSpPr>
        <p:spPr>
          <a:xfrm>
            <a:off x="250607" y="5663951"/>
            <a:ext cx="1325524" cy="1108254"/>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07" name="Rectangle 106">
            <a:extLst>
              <a:ext uri="{FF2B5EF4-FFF2-40B4-BE49-F238E27FC236}">
                <a16:creationId xmlns:a16="http://schemas.microsoft.com/office/drawing/2014/main" id="{4F0698A9-B768-F39C-F876-BF2330DB54A6}"/>
              </a:ext>
            </a:extLst>
          </p:cNvPr>
          <p:cNvSpPr/>
          <p:nvPr/>
        </p:nvSpPr>
        <p:spPr>
          <a:xfrm>
            <a:off x="1675367" y="5673905"/>
            <a:ext cx="5114259" cy="10983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08" name="Rectangle 107">
            <a:extLst>
              <a:ext uri="{FF2B5EF4-FFF2-40B4-BE49-F238E27FC236}">
                <a16:creationId xmlns:a16="http://schemas.microsoft.com/office/drawing/2014/main" id="{85FE1AA0-A6E8-04FE-C28F-ADA21A70F621}"/>
              </a:ext>
            </a:extLst>
          </p:cNvPr>
          <p:cNvSpPr/>
          <p:nvPr/>
        </p:nvSpPr>
        <p:spPr>
          <a:xfrm>
            <a:off x="6888866" y="5699405"/>
            <a:ext cx="5114259" cy="10728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109" name="TextBox 108">
            <a:extLst>
              <a:ext uri="{FF2B5EF4-FFF2-40B4-BE49-F238E27FC236}">
                <a16:creationId xmlns:a16="http://schemas.microsoft.com/office/drawing/2014/main" id="{A52755BB-0522-96EA-9D44-17F3A65EF125}"/>
              </a:ext>
            </a:extLst>
          </p:cNvPr>
          <p:cNvSpPr txBox="1"/>
          <p:nvPr/>
        </p:nvSpPr>
        <p:spPr>
          <a:xfrm>
            <a:off x="204255" y="6232915"/>
            <a:ext cx="146596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000000"/>
                </a:solidFill>
                <a:effectLst/>
                <a:uLnTx/>
                <a:uFillTx/>
                <a:latin typeface="Arial"/>
                <a:cs typeface="Arial"/>
                <a:sym typeface="Arial"/>
              </a:rPr>
              <a:t>KEWAJIBAN</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000000"/>
                </a:solidFill>
                <a:effectLst/>
                <a:uLnTx/>
                <a:uFillTx/>
                <a:latin typeface="Arial"/>
                <a:cs typeface="Arial"/>
                <a:sym typeface="Arial"/>
              </a:rPr>
              <a:t>SBU</a:t>
            </a:r>
          </a:p>
        </p:txBody>
      </p:sp>
      <p:sp>
        <p:nvSpPr>
          <p:cNvPr id="110" name="TextBox 109">
            <a:extLst>
              <a:ext uri="{FF2B5EF4-FFF2-40B4-BE49-F238E27FC236}">
                <a16:creationId xmlns:a16="http://schemas.microsoft.com/office/drawing/2014/main" id="{96BAD30C-35B9-1D8F-41FF-C283E0FA8D04}"/>
              </a:ext>
            </a:extLst>
          </p:cNvPr>
          <p:cNvSpPr txBox="1"/>
          <p:nvPr/>
        </p:nvSpPr>
        <p:spPr>
          <a:xfrm>
            <a:off x="1792766" y="5650584"/>
            <a:ext cx="492110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err="1">
                <a:ln>
                  <a:noFill/>
                </a:ln>
                <a:solidFill>
                  <a:srgbClr val="000000"/>
                </a:solidFill>
                <a:effectLst/>
                <a:uLnTx/>
                <a:uFillTx/>
                <a:latin typeface="Arial"/>
                <a:cs typeface="Arial"/>
                <a:sym typeface="Arial"/>
              </a:rPr>
              <a:t>Pemilik</a:t>
            </a:r>
            <a:r>
              <a:rPr kumimoji="0" lang="en-US" sz="1400" b="0" i="0" u="none" strike="noStrike" kern="0" cap="none" spc="0" normalizeH="0" baseline="0" noProof="0" dirty="0">
                <a:ln>
                  <a:noFill/>
                </a:ln>
                <a:solidFill>
                  <a:srgbClr val="000000"/>
                </a:solidFill>
                <a:effectLst/>
                <a:uLnTx/>
                <a:uFillTx/>
                <a:latin typeface="Arial"/>
                <a:cs typeface="Arial"/>
                <a:sym typeface="Arial"/>
              </a:rPr>
              <a:t> SBU </a:t>
            </a:r>
            <a:r>
              <a:rPr kumimoji="0" lang="en-US" sz="1400" b="0" i="0" u="none" strike="noStrike" kern="0" cap="none" spc="0" normalizeH="0" baseline="0" noProof="0" dirty="0" err="1">
                <a:ln>
                  <a:noFill/>
                </a:ln>
                <a:solidFill>
                  <a:srgbClr val="000000"/>
                </a:solidFill>
                <a:effectLst/>
                <a:uLnTx/>
                <a:uFillTx/>
                <a:latin typeface="Arial"/>
                <a:cs typeface="Arial"/>
                <a:sym typeface="Arial"/>
              </a:rPr>
              <a:t>wajib</a:t>
            </a:r>
            <a:r>
              <a:rPr kumimoji="0" lang="en-US" sz="1400" b="0" i="0" u="none" strike="noStrike" kern="0" cap="none" spc="0" normalizeH="0" baseline="0" noProof="0" dirty="0">
                <a:ln>
                  <a:noFill/>
                </a:ln>
                <a:solidFill>
                  <a:srgbClr val="000000"/>
                </a:solidFill>
                <a:effectLst/>
                <a:uLnTx/>
                <a:uFillTx/>
                <a:latin typeface="Arial"/>
                <a:cs typeface="Arial"/>
                <a:sym typeface="Arial"/>
              </a:rPr>
              <a:t>:</a:t>
            </a:r>
          </a:p>
          <a:p>
            <a:pPr marL="342900" marR="0" lvl="0" indent="-342900" algn="l" defTabSz="914400" rtl="0" eaLnBrk="1" fontAlgn="auto" latinLnBrk="0" hangingPunct="1">
              <a:lnSpc>
                <a:spcPct val="100000"/>
              </a:lnSpc>
              <a:spcBef>
                <a:spcPts val="0"/>
              </a:spcBef>
              <a:spcAft>
                <a:spcPts val="0"/>
              </a:spcAft>
              <a:buClr>
                <a:srgbClr val="000000"/>
              </a:buClr>
              <a:buSzTx/>
              <a:buFont typeface="Wingdings" pitchFamily="2" charset="2"/>
              <a:buChar char="§"/>
              <a:tabLst/>
              <a:defRPr/>
            </a:pPr>
            <a:r>
              <a:rPr kumimoji="0" lang="en-US" sz="1400" b="0" i="0" u="none" strike="noStrike" kern="0" cap="none" spc="0" normalizeH="0" baseline="0" noProof="0" dirty="0" err="1">
                <a:ln>
                  <a:noFill/>
                </a:ln>
                <a:solidFill>
                  <a:srgbClr val="000000"/>
                </a:solidFill>
                <a:effectLst/>
                <a:uLnTx/>
                <a:uFillTx/>
                <a:latin typeface="Arial"/>
                <a:cs typeface="Arial"/>
                <a:sym typeface="Arial"/>
              </a:rPr>
              <a:t>Melakukan</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registrasi</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untuk</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persubklasifikasi</a:t>
            </a:r>
            <a:r>
              <a:rPr kumimoji="0" lang="en-US" sz="1400" b="0" i="0" u="none" strike="noStrike" kern="0" cap="none" spc="0" normalizeH="0" baseline="0" noProof="0" dirty="0">
                <a:ln>
                  <a:noFill/>
                </a:ln>
                <a:solidFill>
                  <a:srgbClr val="000000"/>
                </a:solidFill>
                <a:effectLst/>
                <a:uLnTx/>
                <a:uFillTx/>
                <a:latin typeface="Arial"/>
                <a:cs typeface="Arial"/>
                <a:sym typeface="Arial"/>
              </a:rPr>
              <a:t>;</a:t>
            </a:r>
          </a:p>
          <a:p>
            <a:pPr marL="342900" marR="0" lvl="0" indent="-342900" algn="l" defTabSz="914400" rtl="0" eaLnBrk="1" fontAlgn="auto" latinLnBrk="0" hangingPunct="1">
              <a:lnSpc>
                <a:spcPct val="100000"/>
              </a:lnSpc>
              <a:spcBef>
                <a:spcPts val="0"/>
              </a:spcBef>
              <a:spcAft>
                <a:spcPts val="0"/>
              </a:spcAft>
              <a:buClr>
                <a:srgbClr val="000000"/>
              </a:buClr>
              <a:buSzTx/>
              <a:buFont typeface="Wingdings" pitchFamily="2" charset="2"/>
              <a:buChar char="§"/>
              <a:tabLst/>
              <a:defRPr/>
            </a:pPr>
            <a:r>
              <a:rPr kumimoji="0" lang="en-US" sz="1400" b="0" i="0" u="none" strike="noStrike" kern="0" cap="none" spc="0" normalizeH="0" baseline="0" noProof="0" dirty="0" err="1">
                <a:ln>
                  <a:noFill/>
                </a:ln>
                <a:solidFill>
                  <a:srgbClr val="000000"/>
                </a:solidFill>
                <a:effectLst/>
                <a:uLnTx/>
                <a:uFillTx/>
                <a:latin typeface="Arial"/>
                <a:cs typeface="Arial"/>
                <a:sym typeface="Arial"/>
              </a:rPr>
              <a:t>Dilakukan</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periodik</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pertahun</a:t>
            </a:r>
            <a:r>
              <a:rPr kumimoji="0" lang="en-US" sz="1400" b="0" i="0" u="none" strike="noStrike" kern="0" cap="none" spc="0" normalizeH="0" baseline="0" noProof="0" dirty="0">
                <a:ln>
                  <a:noFill/>
                </a:ln>
                <a:solidFill>
                  <a:srgbClr val="000000"/>
                </a:solidFill>
                <a:effectLst/>
                <a:uLnTx/>
                <a:uFillTx/>
                <a:latin typeface="Arial"/>
                <a:cs typeface="Arial"/>
                <a:sym typeface="Arial"/>
              </a:rPr>
              <a:t>;</a:t>
            </a:r>
          </a:p>
          <a:p>
            <a:pPr marL="342900" marR="0" lvl="0" indent="-342900" algn="l" defTabSz="914400" rtl="0" eaLnBrk="1" fontAlgn="auto" latinLnBrk="0" hangingPunct="1">
              <a:lnSpc>
                <a:spcPct val="100000"/>
              </a:lnSpc>
              <a:spcBef>
                <a:spcPts val="0"/>
              </a:spcBef>
              <a:spcAft>
                <a:spcPts val="0"/>
              </a:spcAft>
              <a:buClr>
                <a:srgbClr val="000000"/>
              </a:buClr>
              <a:buSzTx/>
              <a:buFont typeface="Wingdings" pitchFamily="2" charset="2"/>
              <a:buChar char="§"/>
              <a:tabLst/>
              <a:defRPr/>
            </a:pPr>
            <a:r>
              <a:rPr kumimoji="0" lang="en-US" sz="1400" b="0" i="0" u="none" strike="noStrike" kern="0" cap="none" spc="0" normalizeH="0" baseline="0" noProof="0" dirty="0" err="1">
                <a:ln>
                  <a:noFill/>
                </a:ln>
                <a:solidFill>
                  <a:srgbClr val="000000"/>
                </a:solidFill>
                <a:effectLst/>
                <a:uLnTx/>
                <a:uFillTx/>
                <a:latin typeface="Arial"/>
                <a:cs typeface="Arial"/>
                <a:sym typeface="Arial"/>
              </a:rPr>
              <a:t>Berbayar</a:t>
            </a:r>
            <a:r>
              <a:rPr kumimoji="0" lang="en-US" sz="1400" b="0" i="0" u="none" strike="noStrike" kern="0" cap="none" spc="0" normalizeH="0" baseline="0" noProof="0" dirty="0">
                <a:ln>
                  <a:noFill/>
                </a:ln>
                <a:solidFill>
                  <a:srgbClr val="000000"/>
                </a:solidFill>
                <a:effectLst/>
                <a:uLnTx/>
                <a:uFillTx/>
                <a:latin typeface="Arial"/>
                <a:cs typeface="Arial"/>
                <a:sym typeface="Arial"/>
              </a:rPr>
              <a:t>.</a:t>
            </a:r>
          </a:p>
        </p:txBody>
      </p:sp>
      <p:pic>
        <p:nvPicPr>
          <p:cNvPr id="111" name="Graphic 110" descr="Diploma">
            <a:extLst>
              <a:ext uri="{FF2B5EF4-FFF2-40B4-BE49-F238E27FC236}">
                <a16:creationId xmlns:a16="http://schemas.microsoft.com/office/drawing/2014/main" id="{4297385E-C6F4-CCDF-B898-48307AF7425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59545" y="5613541"/>
            <a:ext cx="634994" cy="634994"/>
          </a:xfrm>
          <a:prstGeom prst="rect">
            <a:avLst/>
          </a:prstGeom>
        </p:spPr>
      </p:pic>
      <p:sp>
        <p:nvSpPr>
          <p:cNvPr id="112" name="TextBox 111">
            <a:extLst>
              <a:ext uri="{FF2B5EF4-FFF2-40B4-BE49-F238E27FC236}">
                <a16:creationId xmlns:a16="http://schemas.microsoft.com/office/drawing/2014/main" id="{6AAC088F-D061-4352-F549-42B8C33DAA1B}"/>
              </a:ext>
            </a:extLst>
          </p:cNvPr>
          <p:cNvSpPr txBox="1"/>
          <p:nvPr/>
        </p:nvSpPr>
        <p:spPr>
          <a:xfrm>
            <a:off x="7012467" y="5729314"/>
            <a:ext cx="4921106"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err="1">
                <a:ln>
                  <a:noFill/>
                </a:ln>
                <a:solidFill>
                  <a:srgbClr val="000000"/>
                </a:solidFill>
                <a:effectLst/>
                <a:uLnTx/>
                <a:uFillTx/>
                <a:latin typeface="Arial"/>
                <a:cs typeface="Arial"/>
                <a:sym typeface="Arial"/>
              </a:rPr>
              <a:t>Pemilik</a:t>
            </a:r>
            <a:r>
              <a:rPr kumimoji="0" lang="en-US" sz="1400" b="0" i="0" u="none" strike="noStrike" kern="0" cap="none" spc="0" normalizeH="0" baseline="0" noProof="0" dirty="0">
                <a:ln>
                  <a:noFill/>
                </a:ln>
                <a:solidFill>
                  <a:srgbClr val="000000"/>
                </a:solidFill>
                <a:effectLst/>
                <a:uLnTx/>
                <a:uFillTx/>
                <a:latin typeface="Arial"/>
                <a:cs typeface="Arial"/>
                <a:sym typeface="Arial"/>
              </a:rPr>
              <a:t> SBU </a:t>
            </a:r>
            <a:r>
              <a:rPr kumimoji="0" lang="en-US" sz="1400" b="0" i="0" u="none" strike="noStrike" kern="0" cap="none" spc="0" normalizeH="0" baseline="0" noProof="0" dirty="0" err="1">
                <a:ln>
                  <a:noFill/>
                </a:ln>
                <a:solidFill>
                  <a:srgbClr val="000000"/>
                </a:solidFill>
                <a:effectLst/>
                <a:uLnTx/>
                <a:uFillTx/>
                <a:latin typeface="Arial"/>
                <a:cs typeface="Arial"/>
                <a:sym typeface="Arial"/>
              </a:rPr>
              <a:t>wajib</a:t>
            </a:r>
            <a:r>
              <a:rPr kumimoji="0" lang="en-US" sz="1400" b="0" i="0" u="none" strike="noStrike" kern="0" cap="none" spc="0" normalizeH="0" baseline="0" noProof="0" dirty="0">
                <a:ln>
                  <a:noFill/>
                </a:ln>
                <a:solidFill>
                  <a:srgbClr val="000000"/>
                </a:solidFill>
                <a:effectLst/>
                <a:uLnTx/>
                <a:uFillTx/>
                <a:latin typeface="Arial"/>
                <a:cs typeface="Arial"/>
                <a:sym typeface="Arial"/>
              </a:rPr>
              <a:t>:</a:t>
            </a:r>
          </a:p>
          <a:p>
            <a:pPr marL="342900" marR="0" lvl="0" indent="-342900" algn="l" defTabSz="914400" rtl="0" eaLnBrk="1" fontAlgn="auto" latinLnBrk="0" hangingPunct="1">
              <a:lnSpc>
                <a:spcPct val="100000"/>
              </a:lnSpc>
              <a:spcBef>
                <a:spcPts val="0"/>
              </a:spcBef>
              <a:spcAft>
                <a:spcPts val="0"/>
              </a:spcAft>
              <a:buClr>
                <a:srgbClr val="000000"/>
              </a:buClr>
              <a:buSzTx/>
              <a:buFont typeface="Wingdings" pitchFamily="2" charset="2"/>
              <a:buChar char="§"/>
              <a:tabLst/>
              <a:defRPr/>
            </a:pPr>
            <a:r>
              <a:rPr kumimoji="0" lang="en-US" sz="1400" b="0" i="0" u="none" strike="noStrike" kern="0" cap="none" spc="0" normalizeH="0" baseline="0" noProof="0" dirty="0" err="1">
                <a:ln>
                  <a:noFill/>
                </a:ln>
                <a:solidFill>
                  <a:srgbClr val="000000"/>
                </a:solidFill>
                <a:effectLst/>
                <a:uLnTx/>
                <a:uFillTx/>
                <a:latin typeface="Arial"/>
                <a:cs typeface="Arial"/>
                <a:sym typeface="Arial"/>
              </a:rPr>
              <a:t>Melaporkan</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kegiatan</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usaha</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tahunan</a:t>
            </a:r>
            <a:r>
              <a:rPr kumimoji="0" lang="en-US" sz="1400" b="0" i="0" u="none" strike="noStrike" kern="0" cap="none" spc="0" normalizeH="0" baseline="0" noProof="0" dirty="0">
                <a:ln>
                  <a:noFill/>
                </a:ln>
                <a:solidFill>
                  <a:srgbClr val="000000"/>
                </a:solidFill>
                <a:effectLst/>
                <a:uLnTx/>
                <a:uFillTx/>
                <a:latin typeface="Arial"/>
                <a:cs typeface="Arial"/>
                <a:sym typeface="Arial"/>
              </a:rPr>
              <a:t>; dan</a:t>
            </a:r>
          </a:p>
          <a:p>
            <a:pPr marL="342900" marR="0" lvl="0" indent="-342900" algn="l" defTabSz="914400" rtl="0" eaLnBrk="1" fontAlgn="auto" latinLnBrk="0" hangingPunct="1">
              <a:lnSpc>
                <a:spcPct val="100000"/>
              </a:lnSpc>
              <a:spcBef>
                <a:spcPts val="0"/>
              </a:spcBef>
              <a:spcAft>
                <a:spcPts val="0"/>
              </a:spcAft>
              <a:buClr>
                <a:srgbClr val="000000"/>
              </a:buClr>
              <a:buSzTx/>
              <a:buFont typeface="Wingdings" pitchFamily="2" charset="2"/>
              <a:buChar char="§"/>
              <a:tabLst/>
              <a:defRPr/>
            </a:pPr>
            <a:r>
              <a:rPr kumimoji="0" lang="en-US" sz="1400" b="0" i="0" u="none" strike="noStrike" kern="0" cap="none" spc="0" normalizeH="0" baseline="0" noProof="0" dirty="0" err="1">
                <a:ln>
                  <a:noFill/>
                </a:ln>
                <a:solidFill>
                  <a:srgbClr val="000000"/>
                </a:solidFill>
                <a:effectLst/>
                <a:uLnTx/>
                <a:uFillTx/>
                <a:latin typeface="Arial"/>
                <a:cs typeface="Arial"/>
                <a:sym typeface="Arial"/>
              </a:rPr>
              <a:t>Tanpa</a:t>
            </a:r>
            <a:r>
              <a:rPr kumimoji="0" lang="en-US" sz="1400" b="0" i="0" u="none" strike="noStrike" kern="0" cap="none" spc="0" normalizeH="0" baseline="0" noProof="0" dirty="0">
                <a:ln>
                  <a:noFill/>
                </a:ln>
                <a:solidFill>
                  <a:srgbClr val="000000"/>
                </a:solidFill>
                <a:effectLst/>
                <a:uLnTx/>
                <a:uFillTx/>
                <a:latin typeface="Arial"/>
                <a:cs typeface="Arial"/>
                <a:sym typeface="Arial"/>
              </a:rPr>
              <a:t> </a:t>
            </a:r>
            <a:r>
              <a:rPr kumimoji="0" lang="en-US" sz="1400" b="0" i="0" u="none" strike="noStrike" kern="0" cap="none" spc="0" normalizeH="0" baseline="0" noProof="0" dirty="0" err="1">
                <a:ln>
                  <a:noFill/>
                </a:ln>
                <a:solidFill>
                  <a:srgbClr val="000000"/>
                </a:solidFill>
                <a:effectLst/>
                <a:uLnTx/>
                <a:uFillTx/>
                <a:latin typeface="Arial"/>
                <a:cs typeface="Arial"/>
                <a:sym typeface="Arial"/>
              </a:rPr>
              <a:t>biaya</a:t>
            </a:r>
            <a:r>
              <a:rPr kumimoji="0" lang="en-US" sz="1400" b="0" i="0" u="none" strike="noStrike" kern="0" cap="none" spc="0" normalizeH="0" baseline="0" noProof="0" dirty="0">
                <a:ln>
                  <a:noFill/>
                </a:ln>
                <a:solidFill>
                  <a:srgbClr val="000000"/>
                </a:solidFill>
                <a:effectLst/>
                <a:uLnTx/>
                <a:uFillTx/>
                <a:latin typeface="Arial"/>
                <a:cs typeface="Arial"/>
                <a:sym typeface="Arial"/>
              </a:rPr>
              <a:t>.</a:t>
            </a:r>
          </a:p>
        </p:txBody>
      </p:sp>
    </p:spTree>
    <p:extLst>
      <p:ext uri="{BB962C8B-B14F-4D97-AF65-F5344CB8AC3E}">
        <p14:creationId xmlns:p14="http://schemas.microsoft.com/office/powerpoint/2010/main" val="13400834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A1791D6-7D7D-FC12-0495-D61B3BA20033}"/>
              </a:ext>
            </a:extLst>
          </p:cNvPr>
          <p:cNvSpPr>
            <a:spLocks noGrp="1"/>
          </p:cNvSpPr>
          <p:nvPr>
            <p:ph type="sldNum" sz="quarter" idx="12"/>
          </p:nvPr>
        </p:nvSpPr>
        <p:spPr/>
        <p:txBody>
          <a:bodyPr/>
          <a:lstStyle/>
          <a:p>
            <a:fld id="{420B1099-E721-E54F-9A56-8FD715DAFF88}" type="slidenum">
              <a:rPr lang="en-US" smtClean="0"/>
              <a:t>7</a:t>
            </a:fld>
            <a:endParaRPr lang="en-US"/>
          </a:p>
        </p:txBody>
      </p:sp>
      <p:sp>
        <p:nvSpPr>
          <p:cNvPr id="4" name="TextBox 3">
            <a:extLst>
              <a:ext uri="{FF2B5EF4-FFF2-40B4-BE49-F238E27FC236}">
                <a16:creationId xmlns:a16="http://schemas.microsoft.com/office/drawing/2014/main" id="{AF4AE7AE-5783-4D17-340B-136DC8E1D780}"/>
              </a:ext>
            </a:extLst>
          </p:cNvPr>
          <p:cNvSpPr txBox="1"/>
          <p:nvPr/>
        </p:nvSpPr>
        <p:spPr>
          <a:xfrm>
            <a:off x="-1003299" y="-994460"/>
            <a:ext cx="9169400" cy="9202519"/>
          </a:xfrm>
          <a:prstGeom prst="rect">
            <a:avLst/>
          </a:prstGeom>
          <a:noFill/>
        </p:spPr>
        <p:txBody>
          <a:bodyPr wrap="square" lIns="0" tIns="0" rIns="0" rtlCol="0" anchor="ctr">
            <a:spAutoFit/>
          </a:bodyPr>
          <a:lstStyle/>
          <a:p>
            <a:r>
              <a:rPr lang="id-ID" sz="59500" b="1" dirty="0">
                <a:blipFill dpi="0" rotWithShape="1">
                  <a:blip r:embed="rId2">
                    <a:alphaModFix amt="32000"/>
                  </a:blip>
                  <a:srcRect/>
                  <a:stretch>
                    <a:fillRect/>
                  </a:stretch>
                </a:blipFill>
                <a:latin typeface="Impact" panose="020B0806030902050204" pitchFamily="34" charset="0"/>
                <a:ea typeface="Hiragino Kaku Gothic StdN W8" panose="020B0800000000000000" pitchFamily="34" charset="-128"/>
                <a:cs typeface="Arial" panose="020B0604020202020204" pitchFamily="34" charset="0"/>
              </a:rPr>
              <a:t>02</a:t>
            </a:r>
          </a:p>
        </p:txBody>
      </p:sp>
      <p:sp>
        <p:nvSpPr>
          <p:cNvPr id="7" name="Rectangle 6">
            <a:extLst>
              <a:ext uri="{FF2B5EF4-FFF2-40B4-BE49-F238E27FC236}">
                <a16:creationId xmlns:a16="http://schemas.microsoft.com/office/drawing/2014/main" id="{1AC55671-5DDB-EEE4-92AC-61E7BA6585F3}"/>
              </a:ext>
            </a:extLst>
          </p:cNvPr>
          <p:cNvSpPr/>
          <p:nvPr/>
        </p:nvSpPr>
        <p:spPr>
          <a:xfrm>
            <a:off x="5226050" y="1228483"/>
            <a:ext cx="6965949" cy="252035"/>
          </a:xfrm>
          <a:prstGeom prst="rect">
            <a:avLst/>
          </a:prstGeom>
          <a:solidFill>
            <a:srgbClr val="1E32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TextBox 7">
            <a:extLst>
              <a:ext uri="{FF2B5EF4-FFF2-40B4-BE49-F238E27FC236}">
                <a16:creationId xmlns:a16="http://schemas.microsoft.com/office/drawing/2014/main" id="{194C30AD-FC66-8EA5-30E1-8BFD79017C33}"/>
              </a:ext>
            </a:extLst>
          </p:cNvPr>
          <p:cNvSpPr txBox="1"/>
          <p:nvPr/>
        </p:nvSpPr>
        <p:spPr>
          <a:xfrm>
            <a:off x="5903913" y="2044005"/>
            <a:ext cx="5880100" cy="1107996"/>
          </a:xfrm>
          <a:prstGeom prst="rect">
            <a:avLst/>
          </a:prstGeom>
          <a:noFill/>
        </p:spPr>
        <p:txBody>
          <a:bodyPr wrap="square" lIns="0" tIns="0" rIns="0" bIns="0" rtlCol="0" anchor="ctr">
            <a:spAutoFit/>
          </a:bodyPr>
          <a:lstStyle/>
          <a:p>
            <a:pPr lvl="0">
              <a:defRPr/>
            </a:pPr>
            <a:r>
              <a:rPr lang="en-US" sz="3600" b="1" dirty="0">
                <a:solidFill>
                  <a:schemeClr val="accent1">
                    <a:lumMod val="50000"/>
                  </a:schemeClr>
                </a:solidFill>
                <a:latin typeface="Century Gothic" charset="0"/>
                <a:ea typeface="Century Gothic" charset="0"/>
                <a:cs typeface="Century Gothic" charset="0"/>
              </a:rPr>
              <a:t>PERATURAN PEMERINTAH NO.5 TAHUN 2021</a:t>
            </a:r>
          </a:p>
        </p:txBody>
      </p:sp>
      <p:pic>
        <p:nvPicPr>
          <p:cNvPr id="9" name="Picture 8">
            <a:extLst>
              <a:ext uri="{FF2B5EF4-FFF2-40B4-BE49-F238E27FC236}">
                <a16:creationId xmlns:a16="http://schemas.microsoft.com/office/drawing/2014/main" id="{37481281-597B-1215-D940-21CC27FB689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085631" y="6159181"/>
            <a:ext cx="2106369" cy="698819"/>
          </a:xfrm>
          <a:prstGeom prst="rect">
            <a:avLst/>
          </a:prstGeom>
        </p:spPr>
      </p:pic>
      <p:pic>
        <p:nvPicPr>
          <p:cNvPr id="10" name="Picture 9" descr="Text, logo&#10;&#10;Description automatically generated">
            <a:extLst>
              <a:ext uri="{FF2B5EF4-FFF2-40B4-BE49-F238E27FC236}">
                <a16:creationId xmlns:a16="http://schemas.microsoft.com/office/drawing/2014/main" id="{98F27504-C8FF-E7B3-C944-4B80D9C7276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6207" y="5857175"/>
            <a:ext cx="2305163" cy="876866"/>
          </a:xfrm>
          <a:prstGeom prst="rect">
            <a:avLst/>
          </a:prstGeom>
        </p:spPr>
      </p:pic>
    </p:spTree>
    <p:extLst>
      <p:ext uri="{BB962C8B-B14F-4D97-AF65-F5344CB8AC3E}">
        <p14:creationId xmlns:p14="http://schemas.microsoft.com/office/powerpoint/2010/main" val="3595535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B6965A-E31B-A64C-AC4E-2713FAEAB6B6}"/>
              </a:ext>
            </a:extLst>
          </p:cNvPr>
          <p:cNvSpPr>
            <a:spLocks noGrp="1"/>
          </p:cNvSpPr>
          <p:nvPr>
            <p:ph type="sldNum" sz="quarter" idx="12"/>
          </p:nvPr>
        </p:nvSpPr>
        <p:spPr/>
        <p: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fld id="{F68327C5-B821-4FE9-A59A-A60D9EB59A9A}" type="slidenum">
              <a:rPr kumimoji="0" lang="en-US" sz="1400" b="0" i="0" u="none" strike="noStrike" kern="1200" cap="none" spc="0" normalizeH="0" baseline="0" noProof="0" smtClean="0">
                <a:ln>
                  <a:noFill/>
                </a:ln>
                <a:solidFill>
                  <a:srgbClr val="2F3A46"/>
                </a:solidFill>
                <a:effectLst/>
                <a:uLnTx/>
                <a:uFillTx/>
                <a:latin typeface="Calibri" panose="020F0502020204030204"/>
                <a:ea typeface="+mn-ea"/>
                <a:cs typeface="+mn-cs"/>
              </a:rPr>
              <a:pPr marL="0" marR="0" lvl="0" indent="0" algn="ctr" defTabSz="914354" rtl="0" eaLnBrk="1" fontAlgn="auto" latinLnBrk="0" hangingPunct="1">
                <a:lnSpc>
                  <a:spcPct val="100000"/>
                </a:lnSpc>
                <a:spcBef>
                  <a:spcPts val="0"/>
                </a:spcBef>
                <a:spcAft>
                  <a:spcPts val="0"/>
                </a:spcAft>
                <a:buClrTx/>
                <a:buSzTx/>
                <a:buFontTx/>
                <a:buNone/>
                <a:tabLst/>
                <a:defRPr/>
              </a:pPr>
              <a:t>8</a:t>
            </a:fld>
            <a:endParaRPr kumimoji="0" lang="en-US" sz="1400" b="0" i="0" u="none" strike="noStrike" kern="1200" cap="none" spc="0" normalizeH="0" baseline="0" noProof="0">
              <a:ln>
                <a:noFill/>
              </a:ln>
              <a:solidFill>
                <a:srgbClr val="2F3A46"/>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8081CCEB-2B91-AE45-8CEF-C6120C969E10}"/>
              </a:ext>
            </a:extLst>
          </p:cNvPr>
          <p:cNvSpPr>
            <a:spLocks noGrp="1"/>
          </p:cNvSpPr>
          <p:nvPr>
            <p:ph type="title"/>
          </p:nvPr>
        </p:nvSpPr>
        <p:spPr/>
        <p:txBody>
          <a:bodyPr>
            <a:normAutofit fontScale="90000"/>
          </a:bodyPr>
          <a:lstStyle/>
          <a:p>
            <a:r>
              <a:rPr lang="en-US"/>
              <a:t>IMPLEMENTASI RBA DALAM UU CIPTA KERJA</a:t>
            </a:r>
          </a:p>
        </p:txBody>
      </p:sp>
      <p:graphicFrame>
        <p:nvGraphicFramePr>
          <p:cNvPr id="5" name="Diagram 4">
            <a:extLst>
              <a:ext uri="{FF2B5EF4-FFF2-40B4-BE49-F238E27FC236}">
                <a16:creationId xmlns:a16="http://schemas.microsoft.com/office/drawing/2014/main" id="{D5088FE3-FF60-9143-BC7B-3293E38FEF7A}"/>
              </a:ext>
            </a:extLst>
          </p:cNvPr>
          <p:cNvGraphicFramePr/>
          <p:nvPr/>
        </p:nvGraphicFramePr>
        <p:xfrm>
          <a:off x="3470032" y="71966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Graphic 5" descr="Document">
            <a:extLst>
              <a:ext uri="{FF2B5EF4-FFF2-40B4-BE49-F238E27FC236}">
                <a16:creationId xmlns:a16="http://schemas.microsoft.com/office/drawing/2014/main" id="{7A71CBC6-A05C-BE49-AEF6-C1308E78FDD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0160640">
            <a:off x="402961" y="1827630"/>
            <a:ext cx="2517029" cy="2517029"/>
          </a:xfrm>
          <a:prstGeom prst="rect">
            <a:avLst/>
          </a:prstGeom>
        </p:spPr>
      </p:pic>
      <p:sp>
        <p:nvSpPr>
          <p:cNvPr id="7" name="TextBox 6">
            <a:extLst>
              <a:ext uri="{FF2B5EF4-FFF2-40B4-BE49-F238E27FC236}">
                <a16:creationId xmlns:a16="http://schemas.microsoft.com/office/drawing/2014/main" id="{E9ECAE7C-857D-CA42-A342-7675DAB3F422}"/>
              </a:ext>
            </a:extLst>
          </p:cNvPr>
          <p:cNvSpPr txBox="1"/>
          <p:nvPr/>
        </p:nvSpPr>
        <p:spPr>
          <a:xfrm rot="20160640">
            <a:off x="1128412" y="3075056"/>
            <a:ext cx="1066126" cy="707886"/>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prstClr val="black"/>
                </a:solidFill>
                <a:effectLst/>
                <a:uLnTx/>
                <a:uFillTx/>
                <a:latin typeface="Calibri"/>
                <a:ea typeface="+mn-ea"/>
                <a:cs typeface="+mn-cs"/>
              </a:rPr>
              <a:t>RBA</a:t>
            </a:r>
          </a:p>
        </p:txBody>
      </p:sp>
      <p:pic>
        <p:nvPicPr>
          <p:cNvPr id="8" name="Graphic 7" descr="Checkmark">
            <a:extLst>
              <a:ext uri="{FF2B5EF4-FFF2-40B4-BE49-F238E27FC236}">
                <a16:creationId xmlns:a16="http://schemas.microsoft.com/office/drawing/2014/main" id="{4708E598-8098-654B-A505-1B80624BCC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292395" y="2888903"/>
            <a:ext cx="671621" cy="671621"/>
          </a:xfrm>
          <a:prstGeom prst="rect">
            <a:avLst/>
          </a:prstGeom>
        </p:spPr>
      </p:pic>
      <p:sp>
        <p:nvSpPr>
          <p:cNvPr id="9" name="TextBox 8">
            <a:extLst>
              <a:ext uri="{FF2B5EF4-FFF2-40B4-BE49-F238E27FC236}">
                <a16:creationId xmlns:a16="http://schemas.microsoft.com/office/drawing/2014/main" id="{40B396E1-24B0-9244-838D-DFF26CE5332F}"/>
              </a:ext>
            </a:extLst>
          </p:cNvPr>
          <p:cNvSpPr txBox="1"/>
          <p:nvPr/>
        </p:nvSpPr>
        <p:spPr>
          <a:xfrm>
            <a:off x="299449" y="5708699"/>
            <a:ext cx="249733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prstClr val="black"/>
                </a:solidFill>
                <a:effectLst/>
                <a:uLnTx/>
                <a:uFillTx/>
                <a:latin typeface="Calibri"/>
                <a:ea typeface="+mn-ea"/>
                <a:cs typeface="+mn-cs"/>
              </a:rPr>
              <a:t>Sumber</a:t>
            </a:r>
            <a:r>
              <a:rPr kumimoji="0" lang="en-US" sz="1200" b="0" i="0" u="none" strike="noStrike" kern="1200" cap="none" spc="0" normalizeH="0" baseline="0" noProof="0">
                <a:ln>
                  <a:noFill/>
                </a:ln>
                <a:solidFill>
                  <a:prstClr val="black"/>
                </a:solidFill>
                <a:effectLst/>
                <a:uLnTx/>
                <a:uFillTx/>
                <a:latin typeface="Calibri"/>
                <a:ea typeface="+mn-ea"/>
                <a:cs typeface="+mn-cs"/>
              </a:rPr>
              <a:t>: </a:t>
            </a:r>
            <a:r>
              <a:rPr kumimoji="0" lang="en-US" sz="1200" b="0" i="0" u="none" strike="noStrike" kern="1200" cap="none" spc="0" normalizeH="0" baseline="0" noProof="0" err="1">
                <a:ln>
                  <a:noFill/>
                </a:ln>
                <a:solidFill>
                  <a:prstClr val="black"/>
                </a:solidFill>
                <a:effectLst/>
                <a:uLnTx/>
                <a:uFillTx/>
                <a:latin typeface="Calibri"/>
                <a:ea typeface="+mn-ea"/>
                <a:cs typeface="+mn-cs"/>
              </a:rPr>
              <a:t>Kemenko</a:t>
            </a:r>
            <a:r>
              <a:rPr kumimoji="0" lang="en-US" sz="1200" b="0" i="0" u="none" strike="noStrike" kern="1200" cap="none" spc="0" normalizeH="0" baseline="0" noProof="0">
                <a:ln>
                  <a:noFill/>
                </a:ln>
                <a:solidFill>
                  <a:prstClr val="black"/>
                </a:solidFill>
                <a:effectLst/>
                <a:uLnTx/>
                <a:uFillTx/>
                <a:latin typeface="Calibri"/>
                <a:ea typeface="+mn-ea"/>
                <a:cs typeface="+mn-cs"/>
              </a:rPr>
              <a:t> </a:t>
            </a:r>
            <a:r>
              <a:rPr kumimoji="0" lang="en-US" sz="1200" b="0" i="0" u="none" strike="noStrike" kern="1200" cap="none" spc="0" normalizeH="0" baseline="0" noProof="0" err="1">
                <a:ln>
                  <a:noFill/>
                </a:ln>
                <a:solidFill>
                  <a:prstClr val="black"/>
                </a:solidFill>
                <a:effectLst/>
                <a:uLnTx/>
                <a:uFillTx/>
                <a:latin typeface="Calibri"/>
                <a:ea typeface="+mn-ea"/>
                <a:cs typeface="+mn-cs"/>
              </a:rPr>
              <a:t>Perekonomian</a:t>
            </a: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83173101"/>
      </p:ext>
    </p:extLst>
  </p:cSld>
  <p:clrMapOvr>
    <a:masterClrMapping/>
  </p:clrMapOvr>
  <mc:AlternateContent xmlns:mc="http://schemas.openxmlformats.org/markup-compatibility/2006" xmlns:p14="http://schemas.microsoft.com/office/powerpoint/2010/main">
    <mc:Choice Requires="p14">
      <p:transition spd="slow">
        <p14:pan dir="u"/>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screen">
            <a:extLst>
              <a:ext uri="{28A0092B-C50C-407E-A947-70E740481C1C}">
                <a14:useLocalDpi xmlns:a14="http://schemas.microsoft.com/office/drawing/2010/main"/>
              </a:ext>
            </a:extLst>
          </a:blip>
          <a:stretch>
            <a:fillRect/>
          </a:stretch>
        </p:blipFill>
        <p:spPr>
          <a:xfrm>
            <a:off x="37400" y="287944"/>
            <a:ext cx="12117201" cy="6570055"/>
          </a:xfrm>
          <a:prstGeom prst="rect">
            <a:avLst/>
          </a:prstGeom>
        </p:spPr>
      </p:pic>
      <p:sp>
        <p:nvSpPr>
          <p:cNvPr id="3" name="object 3"/>
          <p:cNvSpPr txBox="1"/>
          <p:nvPr/>
        </p:nvSpPr>
        <p:spPr>
          <a:xfrm>
            <a:off x="1047166" y="987141"/>
            <a:ext cx="10104681" cy="1628515"/>
          </a:xfrm>
          <a:prstGeom prst="rect">
            <a:avLst/>
          </a:prstGeom>
        </p:spPr>
        <p:txBody>
          <a:bodyPr vert="horz" wrap="square" lIns="0" tIns="14025" rIns="0" bIns="0" rtlCol="0">
            <a:spAutoFit/>
          </a:bodyPr>
          <a:lstStyle/>
          <a:p>
            <a:pPr marL="14025" marR="5610" lvl="0" indent="0" algn="just" defTabSz="914400" rtl="0" eaLnBrk="1" fontAlgn="auto" latinLnBrk="0" hangingPunct="1">
              <a:lnSpc>
                <a:spcPct val="114999"/>
              </a:lnSpc>
              <a:spcBef>
                <a:spcPts val="110"/>
              </a:spcBef>
              <a:spcAft>
                <a:spcPts val="0"/>
              </a:spcAft>
              <a:buClrTx/>
              <a:buSzTx/>
              <a:buFontTx/>
              <a:buNone/>
              <a:tabLst/>
              <a:defRPr/>
            </a:pPr>
            <a:r>
              <a:rPr kumimoji="0" sz="1546" b="0" i="0" u="none" strike="noStrike" kern="1200" cap="none" spc="17" normalizeH="0" baseline="0" noProof="0" dirty="0">
                <a:ln>
                  <a:noFill/>
                </a:ln>
                <a:solidFill>
                  <a:srgbClr val="525252"/>
                </a:solidFill>
                <a:effectLst/>
                <a:uLnTx/>
                <a:uFillTx/>
                <a:latin typeface="Verdana"/>
                <a:ea typeface="+mn-ea"/>
                <a:cs typeface="Verdana"/>
              </a:rPr>
              <a:t>Perizinan </a:t>
            </a:r>
            <a:r>
              <a:rPr kumimoji="0" sz="1546" b="0" i="0" u="none" strike="noStrike" kern="1200" cap="none" spc="11" normalizeH="0" baseline="0" noProof="0" dirty="0">
                <a:ln>
                  <a:noFill/>
                </a:ln>
                <a:solidFill>
                  <a:srgbClr val="525252"/>
                </a:solidFill>
                <a:effectLst/>
                <a:uLnTx/>
                <a:uFillTx/>
                <a:latin typeface="Verdana"/>
                <a:ea typeface="+mn-ea"/>
                <a:cs typeface="Verdana"/>
              </a:rPr>
              <a:t>Berusaha </a:t>
            </a:r>
            <a:r>
              <a:rPr kumimoji="0" sz="1546" b="0" i="0" u="none" strike="noStrike" kern="1200" cap="none" spc="0" normalizeH="0" baseline="0" noProof="0" dirty="0">
                <a:ln>
                  <a:noFill/>
                </a:ln>
                <a:solidFill>
                  <a:srgbClr val="525252"/>
                </a:solidFill>
                <a:effectLst/>
                <a:uLnTx/>
                <a:uFillTx/>
                <a:latin typeface="Verdana"/>
                <a:ea typeface="+mn-ea"/>
                <a:cs typeface="Verdana"/>
              </a:rPr>
              <a:t>Berbasis </a:t>
            </a:r>
            <a:r>
              <a:rPr kumimoji="0" sz="1546" b="0" i="0" u="none" strike="noStrike" kern="1200" cap="none" spc="-6" normalizeH="0" baseline="0" noProof="0" dirty="0">
                <a:ln>
                  <a:noFill/>
                </a:ln>
                <a:solidFill>
                  <a:srgbClr val="525252"/>
                </a:solidFill>
                <a:effectLst/>
                <a:uLnTx/>
                <a:uFillTx/>
                <a:latin typeface="Verdana"/>
                <a:ea typeface="+mn-ea"/>
                <a:cs typeface="Verdana"/>
              </a:rPr>
              <a:t>Risiko </a:t>
            </a:r>
            <a:r>
              <a:rPr kumimoji="0" sz="1546" b="0" i="0" u="none" strike="noStrike" kern="1200" cap="none" spc="11" normalizeH="0" baseline="0" noProof="0" dirty="0">
                <a:ln>
                  <a:noFill/>
                </a:ln>
                <a:solidFill>
                  <a:srgbClr val="525252"/>
                </a:solidFill>
                <a:effectLst/>
                <a:uLnTx/>
                <a:uFillTx/>
                <a:latin typeface="Verdana"/>
                <a:ea typeface="+mn-ea"/>
                <a:cs typeface="Verdana"/>
              </a:rPr>
              <a:t>adalah perizinan berusaha </a:t>
            </a:r>
            <a:r>
              <a:rPr kumimoji="0" sz="1546" b="0" i="0" u="none" strike="noStrike" kern="1200" cap="none" spc="0" normalizeH="0" baseline="0" noProof="0" dirty="0">
                <a:ln>
                  <a:noFill/>
                </a:ln>
                <a:solidFill>
                  <a:srgbClr val="525252"/>
                </a:solidFill>
                <a:effectLst/>
                <a:uLnTx/>
                <a:uFillTx/>
                <a:latin typeface="Verdana"/>
                <a:ea typeface="+mn-ea"/>
                <a:cs typeface="Verdana"/>
              </a:rPr>
              <a:t>berdasarkan </a:t>
            </a:r>
            <a:r>
              <a:rPr kumimoji="0" sz="1546" b="0" i="0" u="none" strike="noStrike" kern="1200" cap="none" spc="22" normalizeH="0" baseline="0" noProof="0" dirty="0">
                <a:ln>
                  <a:noFill/>
                </a:ln>
                <a:solidFill>
                  <a:srgbClr val="525252"/>
                </a:solidFill>
                <a:effectLst/>
                <a:uLnTx/>
                <a:uFillTx/>
                <a:latin typeface="Verdana"/>
                <a:ea typeface="+mn-ea"/>
                <a:cs typeface="Verdana"/>
              </a:rPr>
              <a:t>tingkat </a:t>
            </a:r>
            <a:r>
              <a:rPr kumimoji="0" sz="1546" b="0" i="0" u="none" strike="noStrike" kern="1200" cap="none" spc="-22" normalizeH="0" baseline="0" noProof="0" dirty="0">
                <a:ln>
                  <a:noFill/>
                </a:ln>
                <a:solidFill>
                  <a:srgbClr val="525252"/>
                </a:solidFill>
                <a:effectLst/>
                <a:uLnTx/>
                <a:uFillTx/>
                <a:latin typeface="Verdana"/>
                <a:ea typeface="+mn-ea"/>
                <a:cs typeface="Verdana"/>
              </a:rPr>
              <a:t>risiko </a:t>
            </a:r>
            <a:r>
              <a:rPr kumimoji="0" sz="1546" b="0" i="0" u="none" strike="noStrike" kern="1200" cap="none" spc="17" normalizeH="0" baseline="0" noProof="0" dirty="0">
                <a:ln>
                  <a:noFill/>
                </a:ln>
                <a:solidFill>
                  <a:srgbClr val="525252"/>
                </a:solidFill>
                <a:effectLst/>
                <a:uLnTx/>
                <a:uFillTx/>
                <a:latin typeface="Verdana"/>
                <a:ea typeface="+mn-ea"/>
                <a:cs typeface="Verdana"/>
              </a:rPr>
              <a:t>kegiatan </a:t>
            </a:r>
            <a:r>
              <a:rPr kumimoji="0" sz="1546" b="0" i="0" u="none" strike="noStrike" kern="1200" cap="none" spc="22" normalizeH="0" baseline="0" noProof="0" dirty="0">
                <a:ln>
                  <a:noFill/>
                </a:ln>
                <a:solidFill>
                  <a:srgbClr val="525252"/>
                </a:solidFill>
                <a:effectLst/>
                <a:uLnTx/>
                <a:uFillTx/>
                <a:latin typeface="Verdana"/>
                <a:ea typeface="+mn-ea"/>
                <a:cs typeface="Verdana"/>
              </a:rPr>
              <a:t> </a:t>
            </a:r>
            <a:r>
              <a:rPr kumimoji="0" sz="1546" b="0" i="0" u="none" strike="noStrike" kern="1200" cap="none" spc="6" normalizeH="0" baseline="0" noProof="0" dirty="0">
                <a:ln>
                  <a:noFill/>
                </a:ln>
                <a:solidFill>
                  <a:srgbClr val="525252"/>
                </a:solidFill>
                <a:effectLst/>
                <a:uLnTx/>
                <a:uFillTx/>
                <a:latin typeface="Verdana"/>
                <a:ea typeface="+mn-ea"/>
                <a:cs typeface="Verdana"/>
              </a:rPr>
              <a:t>usaha</a:t>
            </a:r>
            <a:r>
              <a:rPr kumimoji="0" sz="1546" b="0" i="0" u="none" strike="noStrike" kern="1200" cap="none" spc="11" normalizeH="0" baseline="0" noProof="0" dirty="0">
                <a:ln>
                  <a:noFill/>
                </a:ln>
                <a:solidFill>
                  <a:srgbClr val="525252"/>
                </a:solidFill>
                <a:effectLst/>
                <a:uLnTx/>
                <a:uFillTx/>
                <a:latin typeface="Verdana"/>
                <a:ea typeface="+mn-ea"/>
                <a:cs typeface="Verdana"/>
              </a:rPr>
              <a:t> </a:t>
            </a:r>
            <a:r>
              <a:rPr kumimoji="0" sz="1546" b="0" i="0" u="none" strike="noStrike" kern="1200" cap="none" spc="44" normalizeH="0" baseline="0" noProof="0" dirty="0">
                <a:ln>
                  <a:noFill/>
                </a:ln>
                <a:solidFill>
                  <a:srgbClr val="525252"/>
                </a:solidFill>
                <a:effectLst/>
                <a:uLnTx/>
                <a:uFillTx/>
                <a:latin typeface="Verdana"/>
                <a:ea typeface="+mn-ea"/>
                <a:cs typeface="Verdana"/>
              </a:rPr>
              <a:t>dan</a:t>
            </a:r>
            <a:r>
              <a:rPr kumimoji="0" sz="1546" b="0" i="0" u="none" strike="noStrike" kern="1200" cap="none" spc="50" normalizeH="0" baseline="0" noProof="0" dirty="0">
                <a:ln>
                  <a:noFill/>
                </a:ln>
                <a:solidFill>
                  <a:srgbClr val="525252"/>
                </a:solidFill>
                <a:effectLst/>
                <a:uLnTx/>
                <a:uFillTx/>
                <a:latin typeface="Verdana"/>
                <a:ea typeface="+mn-ea"/>
                <a:cs typeface="Verdana"/>
              </a:rPr>
              <a:t> </a:t>
            </a:r>
            <a:r>
              <a:rPr kumimoji="0" sz="1546" b="0" i="0" u="none" strike="noStrike" kern="1200" cap="none" spc="22" normalizeH="0" baseline="0" noProof="0" dirty="0">
                <a:ln>
                  <a:noFill/>
                </a:ln>
                <a:solidFill>
                  <a:srgbClr val="525252"/>
                </a:solidFill>
                <a:effectLst/>
                <a:uLnTx/>
                <a:uFillTx/>
                <a:latin typeface="Verdana"/>
                <a:ea typeface="+mn-ea"/>
                <a:cs typeface="Verdana"/>
              </a:rPr>
              <a:t>tingkat</a:t>
            </a:r>
            <a:r>
              <a:rPr kumimoji="0" sz="1546" b="0" i="0" u="none" strike="noStrike" kern="1200" cap="none" spc="28" normalizeH="0" baseline="0" noProof="0" dirty="0">
                <a:ln>
                  <a:noFill/>
                </a:ln>
                <a:solidFill>
                  <a:srgbClr val="525252"/>
                </a:solidFill>
                <a:effectLst/>
                <a:uLnTx/>
                <a:uFillTx/>
                <a:latin typeface="Verdana"/>
                <a:ea typeface="+mn-ea"/>
                <a:cs typeface="Verdana"/>
              </a:rPr>
              <a:t> </a:t>
            </a:r>
            <a:r>
              <a:rPr kumimoji="0" sz="1546" b="0" i="0" u="none" strike="noStrike" kern="1200" cap="none" spc="-22" normalizeH="0" baseline="0" noProof="0" dirty="0">
                <a:ln>
                  <a:noFill/>
                </a:ln>
                <a:solidFill>
                  <a:srgbClr val="525252"/>
                </a:solidFill>
                <a:effectLst/>
                <a:uLnTx/>
                <a:uFillTx/>
                <a:latin typeface="Verdana"/>
                <a:ea typeface="+mn-ea"/>
                <a:cs typeface="Verdana"/>
              </a:rPr>
              <a:t>risiko</a:t>
            </a:r>
            <a:r>
              <a:rPr kumimoji="0" sz="1546" b="0" i="0" u="none" strike="noStrike" kern="1200" cap="none" spc="-17" normalizeH="0" baseline="0" noProof="0" dirty="0">
                <a:ln>
                  <a:noFill/>
                </a:ln>
                <a:solidFill>
                  <a:srgbClr val="525252"/>
                </a:solidFill>
                <a:effectLst/>
                <a:uLnTx/>
                <a:uFillTx/>
                <a:latin typeface="Verdana"/>
                <a:ea typeface="+mn-ea"/>
                <a:cs typeface="Verdana"/>
              </a:rPr>
              <a:t> </a:t>
            </a:r>
            <a:r>
              <a:rPr kumimoji="0" sz="1546" b="0" i="0" u="none" strike="noStrike" kern="1200" cap="none" spc="6" normalizeH="0" baseline="0" noProof="0" dirty="0">
                <a:ln>
                  <a:noFill/>
                </a:ln>
                <a:solidFill>
                  <a:srgbClr val="525252"/>
                </a:solidFill>
                <a:effectLst/>
                <a:uLnTx/>
                <a:uFillTx/>
                <a:latin typeface="Verdana"/>
                <a:ea typeface="+mn-ea"/>
                <a:cs typeface="Verdana"/>
              </a:rPr>
              <a:t>tersebut</a:t>
            </a:r>
            <a:r>
              <a:rPr kumimoji="0" sz="1546" b="0" i="0" u="none" strike="noStrike" kern="1200" cap="none" spc="11" normalizeH="0" baseline="0" noProof="0" dirty="0">
                <a:ln>
                  <a:noFill/>
                </a:ln>
                <a:solidFill>
                  <a:srgbClr val="525252"/>
                </a:solidFill>
                <a:effectLst/>
                <a:uLnTx/>
                <a:uFillTx/>
                <a:latin typeface="Verdana"/>
                <a:ea typeface="+mn-ea"/>
                <a:cs typeface="Verdana"/>
              </a:rPr>
              <a:t> </a:t>
            </a:r>
            <a:r>
              <a:rPr kumimoji="0" sz="1546" b="0" i="0" u="none" strike="noStrike" kern="1200" cap="none" spc="39" normalizeH="0" baseline="0" noProof="0" dirty="0">
                <a:ln>
                  <a:noFill/>
                </a:ln>
                <a:solidFill>
                  <a:srgbClr val="525252"/>
                </a:solidFill>
                <a:effectLst/>
                <a:uLnTx/>
                <a:uFillTx/>
                <a:latin typeface="Verdana"/>
                <a:ea typeface="+mn-ea"/>
                <a:cs typeface="Verdana"/>
              </a:rPr>
              <a:t>menentukan</a:t>
            </a:r>
            <a:r>
              <a:rPr kumimoji="0" sz="1546" b="0" i="0" u="none" strike="noStrike" kern="1200" cap="none" spc="44" normalizeH="0" baseline="0" noProof="0" dirty="0">
                <a:ln>
                  <a:noFill/>
                </a:ln>
                <a:solidFill>
                  <a:srgbClr val="525252"/>
                </a:solidFill>
                <a:effectLst/>
                <a:uLnTx/>
                <a:uFillTx/>
                <a:latin typeface="Verdana"/>
                <a:ea typeface="+mn-ea"/>
                <a:cs typeface="Verdana"/>
              </a:rPr>
              <a:t> </a:t>
            </a:r>
            <a:r>
              <a:rPr kumimoji="0" sz="1546" b="0" i="0" u="none" strike="noStrike" kern="1200" cap="none" spc="-22" normalizeH="0" baseline="0" noProof="0" dirty="0">
                <a:ln>
                  <a:noFill/>
                </a:ln>
                <a:solidFill>
                  <a:srgbClr val="525252"/>
                </a:solidFill>
                <a:effectLst/>
                <a:uLnTx/>
                <a:uFillTx/>
                <a:latin typeface="Verdana"/>
                <a:ea typeface="+mn-ea"/>
                <a:cs typeface="Verdana"/>
              </a:rPr>
              <a:t>jenis</a:t>
            </a:r>
            <a:r>
              <a:rPr kumimoji="0" sz="1546" b="0" i="0" u="none" strike="noStrike" kern="1200" cap="none" spc="-17" normalizeH="0" baseline="0" noProof="0" dirty="0">
                <a:ln>
                  <a:noFill/>
                </a:ln>
                <a:solidFill>
                  <a:srgbClr val="525252"/>
                </a:solidFill>
                <a:effectLst/>
                <a:uLnTx/>
                <a:uFillTx/>
                <a:latin typeface="Verdana"/>
                <a:ea typeface="+mn-ea"/>
                <a:cs typeface="Verdana"/>
              </a:rPr>
              <a:t> </a:t>
            </a:r>
            <a:r>
              <a:rPr kumimoji="0" sz="1546" b="0" i="0" u="none" strike="noStrike" kern="1200" cap="none" spc="11" normalizeH="0" baseline="0" noProof="0" dirty="0">
                <a:ln>
                  <a:noFill/>
                </a:ln>
                <a:solidFill>
                  <a:srgbClr val="525252"/>
                </a:solidFill>
                <a:effectLst/>
                <a:uLnTx/>
                <a:uFillTx/>
                <a:latin typeface="Verdana"/>
                <a:ea typeface="+mn-ea"/>
                <a:cs typeface="Verdana"/>
              </a:rPr>
              <a:t>perizinan</a:t>
            </a:r>
            <a:r>
              <a:rPr kumimoji="0" sz="1546" b="0" i="0" u="none" strike="noStrike" kern="1200" cap="none" spc="17" normalizeH="0" baseline="0" noProof="0" dirty="0">
                <a:ln>
                  <a:noFill/>
                </a:ln>
                <a:solidFill>
                  <a:srgbClr val="525252"/>
                </a:solidFill>
                <a:effectLst/>
                <a:uLnTx/>
                <a:uFillTx/>
                <a:latin typeface="Verdana"/>
                <a:ea typeface="+mn-ea"/>
                <a:cs typeface="Verdana"/>
              </a:rPr>
              <a:t> </a:t>
            </a:r>
            <a:r>
              <a:rPr kumimoji="0" sz="1546" b="0" i="0" u="none" strike="noStrike" kern="1200" cap="none" spc="-17" normalizeH="0" baseline="0" noProof="0" dirty="0">
                <a:ln>
                  <a:noFill/>
                </a:ln>
                <a:solidFill>
                  <a:srgbClr val="525252"/>
                </a:solidFill>
                <a:effectLst/>
                <a:uLnTx/>
                <a:uFillTx/>
                <a:latin typeface="Verdana"/>
                <a:ea typeface="+mn-ea"/>
                <a:cs typeface="Verdana"/>
              </a:rPr>
              <a:t>berusaha.</a:t>
            </a:r>
            <a:r>
              <a:rPr kumimoji="0" sz="1546" b="0" i="0" u="none" strike="noStrike" kern="1200" cap="none" spc="-11" normalizeH="0" baseline="0" noProof="0" dirty="0">
                <a:ln>
                  <a:noFill/>
                </a:ln>
                <a:solidFill>
                  <a:srgbClr val="525252"/>
                </a:solidFill>
                <a:effectLst/>
                <a:uLnTx/>
                <a:uFillTx/>
                <a:latin typeface="Verdana"/>
                <a:ea typeface="+mn-ea"/>
                <a:cs typeface="Verdana"/>
              </a:rPr>
              <a:t> </a:t>
            </a:r>
            <a:r>
              <a:rPr kumimoji="0" sz="1546" b="0" i="0" u="none" strike="noStrike" kern="1200" cap="none" spc="39" normalizeH="0" baseline="0" noProof="0" dirty="0">
                <a:ln>
                  <a:noFill/>
                </a:ln>
                <a:solidFill>
                  <a:srgbClr val="525252"/>
                </a:solidFill>
                <a:effectLst/>
                <a:uLnTx/>
                <a:uFillTx/>
                <a:latin typeface="Verdana"/>
                <a:ea typeface="+mn-ea"/>
                <a:cs typeface="Verdana"/>
              </a:rPr>
              <a:t>Pemerintah</a:t>
            </a:r>
            <a:r>
              <a:rPr kumimoji="0" sz="1546" b="0" i="0" u="none" strike="noStrike" kern="1200" cap="none" spc="44" normalizeH="0" baseline="0" noProof="0" dirty="0">
                <a:ln>
                  <a:noFill/>
                </a:ln>
                <a:solidFill>
                  <a:srgbClr val="525252"/>
                </a:solidFill>
                <a:effectLst/>
                <a:uLnTx/>
                <a:uFillTx/>
                <a:latin typeface="Verdana"/>
                <a:ea typeface="+mn-ea"/>
                <a:cs typeface="Verdana"/>
              </a:rPr>
              <a:t> </a:t>
            </a:r>
            <a:r>
              <a:rPr kumimoji="0" sz="1546" b="0" i="0" u="none" strike="noStrike" kern="1200" cap="none" spc="6" normalizeH="0" baseline="0" noProof="0" dirty="0">
                <a:ln>
                  <a:noFill/>
                </a:ln>
                <a:solidFill>
                  <a:srgbClr val="525252"/>
                </a:solidFill>
                <a:effectLst/>
                <a:uLnTx/>
                <a:uFillTx/>
                <a:latin typeface="Verdana"/>
                <a:ea typeface="+mn-ea"/>
                <a:cs typeface="Verdana"/>
              </a:rPr>
              <a:t>telah </a:t>
            </a:r>
            <a:r>
              <a:rPr kumimoji="0" sz="1546" b="0" i="0" u="none" strike="noStrike" kern="1200" cap="none" spc="11" normalizeH="0" baseline="0" noProof="0" dirty="0">
                <a:ln>
                  <a:noFill/>
                </a:ln>
                <a:solidFill>
                  <a:srgbClr val="525252"/>
                </a:solidFill>
                <a:effectLst/>
                <a:uLnTx/>
                <a:uFillTx/>
                <a:latin typeface="Verdana"/>
                <a:ea typeface="+mn-ea"/>
                <a:cs typeface="Verdana"/>
              </a:rPr>
              <a:t> </a:t>
            </a:r>
            <a:r>
              <a:rPr kumimoji="0" sz="1546" b="0" i="0" u="none" strike="noStrike" kern="1200" cap="none" spc="39" normalizeH="0" baseline="0" noProof="0" dirty="0">
                <a:ln>
                  <a:noFill/>
                </a:ln>
                <a:solidFill>
                  <a:srgbClr val="525252"/>
                </a:solidFill>
                <a:effectLst/>
                <a:uLnTx/>
                <a:uFillTx/>
                <a:latin typeface="Verdana"/>
                <a:ea typeface="+mn-ea"/>
                <a:cs typeface="Verdana"/>
              </a:rPr>
              <a:t>memetakan </a:t>
            </a:r>
            <a:r>
              <a:rPr kumimoji="0" sz="1546" b="0" i="0" u="none" strike="noStrike" kern="1200" cap="none" spc="22" normalizeH="0" baseline="0" noProof="0" dirty="0">
                <a:ln>
                  <a:noFill/>
                </a:ln>
                <a:solidFill>
                  <a:srgbClr val="525252"/>
                </a:solidFill>
                <a:effectLst/>
                <a:uLnTx/>
                <a:uFillTx/>
                <a:latin typeface="Verdana"/>
                <a:ea typeface="+mn-ea"/>
                <a:cs typeface="Verdana"/>
              </a:rPr>
              <a:t>tingkat </a:t>
            </a:r>
            <a:r>
              <a:rPr kumimoji="0" sz="1546" b="0" i="0" u="none" strike="noStrike" kern="1200" cap="none" spc="-22" normalizeH="0" baseline="0" noProof="0" dirty="0">
                <a:ln>
                  <a:noFill/>
                </a:ln>
                <a:solidFill>
                  <a:srgbClr val="525252"/>
                </a:solidFill>
                <a:effectLst/>
                <a:uLnTx/>
                <a:uFillTx/>
                <a:latin typeface="Verdana"/>
                <a:ea typeface="+mn-ea"/>
                <a:cs typeface="Verdana"/>
              </a:rPr>
              <a:t>risiko </a:t>
            </a:r>
            <a:r>
              <a:rPr kumimoji="0" sz="1546" b="0" i="0" u="none" strike="noStrike" kern="1200" cap="none" spc="-11" normalizeH="0" baseline="0" noProof="0" dirty="0">
                <a:ln>
                  <a:noFill/>
                </a:ln>
                <a:solidFill>
                  <a:srgbClr val="525252"/>
                </a:solidFill>
                <a:effectLst/>
                <a:uLnTx/>
                <a:uFillTx/>
                <a:latin typeface="Verdana"/>
                <a:ea typeface="+mn-ea"/>
                <a:cs typeface="Verdana"/>
              </a:rPr>
              <a:t>sesuai </a:t>
            </a:r>
            <a:r>
              <a:rPr kumimoji="0" sz="1546" b="0" i="0" u="none" strike="noStrike" kern="1200" cap="none" spc="50" normalizeH="0" baseline="0" noProof="0" dirty="0">
                <a:ln>
                  <a:noFill/>
                </a:ln>
                <a:solidFill>
                  <a:srgbClr val="525252"/>
                </a:solidFill>
                <a:effectLst/>
                <a:uLnTx/>
                <a:uFillTx/>
                <a:latin typeface="Verdana"/>
                <a:ea typeface="+mn-ea"/>
                <a:cs typeface="Verdana"/>
              </a:rPr>
              <a:t>dengan bidang </a:t>
            </a:r>
            <a:r>
              <a:rPr kumimoji="0" sz="1546" b="0" i="0" u="none" strike="noStrike" kern="1200" cap="none" spc="6" normalizeH="0" baseline="0" noProof="0" dirty="0">
                <a:ln>
                  <a:noFill/>
                </a:ln>
                <a:solidFill>
                  <a:srgbClr val="525252"/>
                </a:solidFill>
                <a:effectLst/>
                <a:uLnTx/>
                <a:uFillTx/>
                <a:latin typeface="Verdana"/>
                <a:ea typeface="+mn-ea"/>
                <a:cs typeface="Verdana"/>
              </a:rPr>
              <a:t>usaha </a:t>
            </a:r>
            <a:r>
              <a:rPr kumimoji="0" sz="1546" b="0" i="0" u="none" strike="noStrike" kern="1200" cap="none" spc="11" normalizeH="0" baseline="0" noProof="0" dirty="0">
                <a:ln>
                  <a:noFill/>
                </a:ln>
                <a:solidFill>
                  <a:srgbClr val="525252"/>
                </a:solidFill>
                <a:effectLst/>
                <a:uLnTx/>
                <a:uFillTx/>
                <a:latin typeface="Verdana"/>
                <a:ea typeface="+mn-ea"/>
                <a:cs typeface="Verdana"/>
              </a:rPr>
              <a:t>atau </a:t>
            </a:r>
            <a:r>
              <a:rPr kumimoji="0" sz="1546" b="0" i="0" u="none" strike="noStrike" kern="1200" cap="none" spc="0" normalizeH="0" baseline="0" noProof="0" dirty="0">
                <a:ln>
                  <a:noFill/>
                </a:ln>
                <a:solidFill>
                  <a:srgbClr val="525252"/>
                </a:solidFill>
                <a:effectLst/>
                <a:uLnTx/>
                <a:uFillTx/>
                <a:latin typeface="Verdana"/>
                <a:ea typeface="+mn-ea"/>
                <a:cs typeface="Verdana"/>
              </a:rPr>
              <a:t>KBLI </a:t>
            </a:r>
            <a:r>
              <a:rPr kumimoji="0" sz="1546" b="0" i="0" u="none" strike="noStrike" kern="1200" cap="none" spc="-22" normalizeH="0" baseline="0" noProof="0" dirty="0">
                <a:ln>
                  <a:noFill/>
                </a:ln>
                <a:solidFill>
                  <a:srgbClr val="525252"/>
                </a:solidFill>
                <a:effectLst/>
                <a:uLnTx/>
                <a:uFillTx/>
                <a:latin typeface="Verdana"/>
                <a:ea typeface="+mn-ea"/>
                <a:cs typeface="Verdana"/>
              </a:rPr>
              <a:t>(Klasiﬁkasi </a:t>
            </a:r>
            <a:r>
              <a:rPr kumimoji="0" sz="1546" b="0" i="0" u="none" strike="noStrike" kern="1200" cap="none" spc="33" normalizeH="0" baseline="0" noProof="0" dirty="0">
                <a:ln>
                  <a:noFill/>
                </a:ln>
                <a:solidFill>
                  <a:srgbClr val="525252"/>
                </a:solidFill>
                <a:effectLst/>
                <a:uLnTx/>
                <a:uFillTx/>
                <a:latin typeface="Verdana"/>
                <a:ea typeface="+mn-ea"/>
                <a:cs typeface="Verdana"/>
              </a:rPr>
              <a:t>Baku </a:t>
            </a:r>
            <a:r>
              <a:rPr kumimoji="0" sz="1546" b="0" i="0" u="none" strike="noStrike" kern="1200" cap="none" spc="39" normalizeH="0" baseline="0" noProof="0" dirty="0">
                <a:ln>
                  <a:noFill/>
                </a:ln>
                <a:solidFill>
                  <a:srgbClr val="525252"/>
                </a:solidFill>
                <a:effectLst/>
                <a:uLnTx/>
                <a:uFillTx/>
                <a:latin typeface="Verdana"/>
                <a:ea typeface="+mn-ea"/>
                <a:cs typeface="Verdana"/>
              </a:rPr>
              <a:t>Lapangan </a:t>
            </a:r>
            <a:r>
              <a:rPr kumimoji="0" sz="1546" b="0" i="0" u="none" strike="noStrike" kern="1200" cap="none" spc="11" normalizeH="0" baseline="0" noProof="0" dirty="0">
                <a:ln>
                  <a:noFill/>
                </a:ln>
                <a:solidFill>
                  <a:srgbClr val="525252"/>
                </a:solidFill>
                <a:effectLst/>
                <a:uLnTx/>
                <a:uFillTx/>
                <a:latin typeface="Verdana"/>
                <a:ea typeface="+mn-ea"/>
                <a:cs typeface="Verdana"/>
              </a:rPr>
              <a:t>Usaha </a:t>
            </a:r>
            <a:r>
              <a:rPr kumimoji="0" sz="1546" b="0" i="0" u="none" strike="noStrike" kern="1200" cap="none" spc="-530" normalizeH="0" baseline="0" noProof="0" dirty="0">
                <a:ln>
                  <a:noFill/>
                </a:ln>
                <a:solidFill>
                  <a:srgbClr val="525252"/>
                </a:solidFill>
                <a:effectLst/>
                <a:uLnTx/>
                <a:uFillTx/>
                <a:latin typeface="Verdana"/>
                <a:ea typeface="+mn-ea"/>
                <a:cs typeface="Verdana"/>
              </a:rPr>
              <a:t> </a:t>
            </a:r>
            <a:r>
              <a:rPr kumimoji="0" sz="1546" b="0" i="0" u="none" strike="noStrike" kern="1200" cap="none" spc="-22" normalizeH="0" baseline="0" noProof="0" dirty="0">
                <a:ln>
                  <a:noFill/>
                </a:ln>
                <a:solidFill>
                  <a:srgbClr val="525252"/>
                </a:solidFill>
                <a:effectLst/>
                <a:uLnTx/>
                <a:uFillTx/>
                <a:latin typeface="Verdana"/>
                <a:ea typeface="+mn-ea"/>
                <a:cs typeface="Verdana"/>
              </a:rPr>
              <a:t>Indonesia)</a:t>
            </a:r>
            <a:r>
              <a:rPr kumimoji="0" sz="1546" b="0" i="0" u="none" strike="noStrike" kern="1200" cap="none" spc="-66" normalizeH="0" baseline="0" noProof="0" dirty="0">
                <a:ln>
                  <a:noFill/>
                </a:ln>
                <a:solidFill>
                  <a:srgbClr val="525252"/>
                </a:solidFill>
                <a:effectLst/>
                <a:uLnTx/>
                <a:uFillTx/>
                <a:latin typeface="Verdana"/>
                <a:ea typeface="+mn-ea"/>
                <a:cs typeface="Verdana"/>
              </a:rPr>
              <a:t> </a:t>
            </a:r>
            <a:r>
              <a:rPr kumimoji="0" sz="1546" b="0" i="0" u="none" strike="noStrike" kern="1200" cap="none" spc="11" normalizeH="0" baseline="0" noProof="0" dirty="0">
                <a:ln>
                  <a:noFill/>
                </a:ln>
                <a:solidFill>
                  <a:srgbClr val="525252"/>
                </a:solidFill>
                <a:effectLst/>
                <a:uLnTx/>
                <a:uFillTx/>
                <a:latin typeface="Verdana"/>
                <a:ea typeface="+mn-ea"/>
                <a:cs typeface="Verdana"/>
              </a:rPr>
              <a:t>yang</a:t>
            </a:r>
            <a:r>
              <a:rPr kumimoji="0" sz="1546" b="0" i="0" u="none" strike="noStrike" kern="1200" cap="none" spc="-66" normalizeH="0" baseline="0" noProof="0" dirty="0">
                <a:ln>
                  <a:noFill/>
                </a:ln>
                <a:solidFill>
                  <a:srgbClr val="525252"/>
                </a:solidFill>
                <a:effectLst/>
                <a:uLnTx/>
                <a:uFillTx/>
                <a:latin typeface="Verdana"/>
                <a:ea typeface="+mn-ea"/>
                <a:cs typeface="Verdana"/>
              </a:rPr>
              <a:t> </a:t>
            </a:r>
            <a:r>
              <a:rPr kumimoji="0" sz="1546" b="0" i="0" u="none" strike="noStrike" kern="1200" cap="none" spc="28" normalizeH="0" baseline="0" noProof="0" dirty="0">
                <a:ln>
                  <a:noFill/>
                </a:ln>
                <a:solidFill>
                  <a:srgbClr val="525252"/>
                </a:solidFill>
                <a:effectLst/>
                <a:uLnTx/>
                <a:uFillTx/>
                <a:latin typeface="Verdana"/>
                <a:ea typeface="+mn-ea"/>
                <a:cs typeface="Verdana"/>
              </a:rPr>
              <a:t>dapat</a:t>
            </a:r>
            <a:r>
              <a:rPr kumimoji="0" sz="1546" b="0" i="0" u="none" strike="noStrike" kern="1200" cap="none" spc="-66" normalizeH="0" baseline="0" noProof="0" dirty="0">
                <a:ln>
                  <a:noFill/>
                </a:ln>
                <a:solidFill>
                  <a:srgbClr val="525252"/>
                </a:solidFill>
                <a:effectLst/>
                <a:uLnTx/>
                <a:uFillTx/>
                <a:latin typeface="Verdana"/>
                <a:ea typeface="+mn-ea"/>
                <a:cs typeface="Verdana"/>
              </a:rPr>
              <a:t> </a:t>
            </a:r>
            <a:r>
              <a:rPr kumimoji="0" sz="1546" b="0" i="0" u="none" strike="noStrike" kern="1200" cap="none" spc="28" normalizeH="0" baseline="0" noProof="0" dirty="0">
                <a:ln>
                  <a:noFill/>
                </a:ln>
                <a:solidFill>
                  <a:srgbClr val="525252"/>
                </a:solidFill>
                <a:effectLst/>
                <a:uLnTx/>
                <a:uFillTx/>
                <a:latin typeface="Verdana"/>
                <a:ea typeface="+mn-ea"/>
                <a:cs typeface="Verdana"/>
              </a:rPr>
              <a:t>dicek</a:t>
            </a:r>
            <a:r>
              <a:rPr kumimoji="0" sz="1546" b="0" i="0" u="none" strike="noStrike" kern="1200" cap="none" spc="-66" normalizeH="0" baseline="0" noProof="0" dirty="0">
                <a:ln>
                  <a:noFill/>
                </a:ln>
                <a:solidFill>
                  <a:srgbClr val="525252"/>
                </a:solidFill>
                <a:effectLst/>
                <a:uLnTx/>
                <a:uFillTx/>
                <a:latin typeface="Verdana"/>
                <a:ea typeface="+mn-ea"/>
                <a:cs typeface="Verdana"/>
              </a:rPr>
              <a:t> </a:t>
            </a:r>
            <a:r>
              <a:rPr kumimoji="0" sz="1546" b="0" i="0" u="none" strike="noStrike" kern="1200" cap="none" spc="33" normalizeH="0" baseline="0" noProof="0" dirty="0">
                <a:ln>
                  <a:noFill/>
                </a:ln>
                <a:solidFill>
                  <a:srgbClr val="525252"/>
                </a:solidFill>
                <a:effectLst/>
                <a:uLnTx/>
                <a:uFillTx/>
                <a:latin typeface="Verdana"/>
                <a:ea typeface="+mn-ea"/>
                <a:cs typeface="Verdana"/>
              </a:rPr>
              <a:t>di</a:t>
            </a:r>
            <a:r>
              <a:rPr kumimoji="0" sz="1546" b="0" i="0" u="none" strike="noStrike" kern="1200" cap="none" spc="-77" normalizeH="0" baseline="0" noProof="0" dirty="0">
                <a:ln>
                  <a:noFill/>
                </a:ln>
                <a:solidFill>
                  <a:srgbClr val="525252"/>
                </a:solidFill>
                <a:effectLst/>
                <a:uLnTx/>
                <a:uFillTx/>
                <a:latin typeface="Verdana"/>
                <a:ea typeface="+mn-ea"/>
                <a:cs typeface="Verdana"/>
              </a:rPr>
              <a:t> </a:t>
            </a:r>
            <a:r>
              <a:rPr kumimoji="0" sz="1546" b="1" i="0" u="heavy" strike="noStrike" kern="1200" cap="none" spc="-50" normalizeH="0" baseline="0" noProof="0" dirty="0">
                <a:ln>
                  <a:noFill/>
                </a:ln>
                <a:solidFill>
                  <a:srgbClr val="0462C1"/>
                </a:solidFill>
                <a:effectLst/>
                <a:uLnTx/>
                <a:uFill>
                  <a:solidFill>
                    <a:srgbClr val="0462C1"/>
                  </a:solidFill>
                </a:uFill>
                <a:latin typeface="Verdana"/>
                <a:ea typeface="+mn-ea"/>
                <a:cs typeface="Verdana"/>
                <a:hlinkClick r:id="rId3"/>
              </a:rPr>
              <a:t>tautan</a:t>
            </a:r>
            <a:r>
              <a:rPr kumimoji="0" sz="1546" b="1" i="0" u="heavy" strike="noStrike" kern="1200" cap="none" spc="-22" normalizeH="0" baseline="0" noProof="0" dirty="0">
                <a:ln>
                  <a:noFill/>
                </a:ln>
                <a:solidFill>
                  <a:srgbClr val="0462C1"/>
                </a:solidFill>
                <a:effectLst/>
                <a:uLnTx/>
                <a:uFill>
                  <a:solidFill>
                    <a:srgbClr val="0462C1"/>
                  </a:solidFill>
                </a:uFill>
                <a:latin typeface="Verdana"/>
                <a:ea typeface="+mn-ea"/>
                <a:cs typeface="Verdana"/>
                <a:hlinkClick r:id="rId3"/>
              </a:rPr>
              <a:t> </a:t>
            </a:r>
            <a:r>
              <a:rPr kumimoji="0" sz="1546" b="1" i="0" u="heavy" strike="noStrike" kern="1200" cap="none" spc="-105" normalizeH="0" baseline="0" noProof="0" dirty="0">
                <a:ln>
                  <a:noFill/>
                </a:ln>
                <a:solidFill>
                  <a:srgbClr val="0462C1"/>
                </a:solidFill>
                <a:effectLst/>
                <a:uLnTx/>
                <a:uFill>
                  <a:solidFill>
                    <a:srgbClr val="0462C1"/>
                  </a:solidFill>
                </a:uFill>
                <a:latin typeface="Verdana"/>
                <a:ea typeface="+mn-ea"/>
                <a:cs typeface="Verdana"/>
                <a:hlinkClick r:id="rId3"/>
              </a:rPr>
              <a:t>ini</a:t>
            </a:r>
            <a:r>
              <a:rPr kumimoji="0" sz="1546" b="0" i="0" u="heavy" strike="noStrike" kern="1200" cap="none" spc="-105" normalizeH="0" baseline="0" noProof="0" dirty="0">
                <a:ln>
                  <a:noFill/>
                </a:ln>
                <a:solidFill>
                  <a:srgbClr val="0462C1"/>
                </a:solidFill>
                <a:effectLst/>
                <a:uLnTx/>
                <a:uFill>
                  <a:solidFill>
                    <a:srgbClr val="0462C1"/>
                  </a:solidFill>
                </a:uFill>
                <a:latin typeface="Verdana"/>
                <a:ea typeface="+mn-ea"/>
                <a:cs typeface="Verdana"/>
                <a:hlinkClick r:id="rId3"/>
              </a:rPr>
              <a:t>.</a:t>
            </a:r>
            <a:r>
              <a:rPr kumimoji="0" sz="1546" b="0" i="0" u="none" strike="noStrike" kern="1200" cap="none" spc="-66" normalizeH="0" baseline="0" noProof="0" dirty="0">
                <a:ln>
                  <a:noFill/>
                </a:ln>
                <a:solidFill>
                  <a:srgbClr val="0462C1"/>
                </a:solidFill>
                <a:effectLst/>
                <a:uLnTx/>
                <a:uFillTx/>
                <a:latin typeface="Verdana"/>
                <a:ea typeface="+mn-ea"/>
                <a:cs typeface="Verdana"/>
                <a:hlinkClick r:id="rId3"/>
              </a:rPr>
              <a:t> </a:t>
            </a:r>
            <a:r>
              <a:rPr kumimoji="0" sz="1546" b="0" i="0" u="none" strike="noStrike" kern="1200" cap="none" spc="0" normalizeH="0" baseline="0" noProof="0" dirty="0">
                <a:ln>
                  <a:noFill/>
                </a:ln>
                <a:solidFill>
                  <a:srgbClr val="525252"/>
                </a:solidFill>
                <a:effectLst/>
                <a:uLnTx/>
                <a:uFillTx/>
                <a:latin typeface="Verdana"/>
                <a:ea typeface="+mn-ea"/>
                <a:cs typeface="Verdana"/>
              </a:rPr>
              <a:t>KBLI</a:t>
            </a:r>
            <a:r>
              <a:rPr kumimoji="0" sz="1546" b="0" i="0" u="none" strike="noStrike" kern="1200" cap="none" spc="-66" normalizeH="0" baseline="0" noProof="0" dirty="0">
                <a:ln>
                  <a:noFill/>
                </a:ln>
                <a:solidFill>
                  <a:srgbClr val="525252"/>
                </a:solidFill>
                <a:effectLst/>
                <a:uLnTx/>
                <a:uFillTx/>
                <a:latin typeface="Verdana"/>
                <a:ea typeface="+mn-ea"/>
                <a:cs typeface="Verdana"/>
              </a:rPr>
              <a:t> </a:t>
            </a:r>
            <a:r>
              <a:rPr kumimoji="0" sz="1546" b="0" i="0" u="none" strike="noStrike" kern="1200" cap="none" spc="11" normalizeH="0" baseline="0" noProof="0" dirty="0">
                <a:ln>
                  <a:noFill/>
                </a:ln>
                <a:solidFill>
                  <a:srgbClr val="525252"/>
                </a:solidFill>
                <a:effectLst/>
                <a:uLnTx/>
                <a:uFillTx/>
                <a:latin typeface="Verdana"/>
                <a:ea typeface="+mn-ea"/>
                <a:cs typeface="Verdana"/>
              </a:rPr>
              <a:t>yang</a:t>
            </a:r>
            <a:r>
              <a:rPr kumimoji="0" sz="1546" b="0" i="0" u="none" strike="noStrike" kern="1200" cap="none" spc="-66" normalizeH="0" baseline="0" noProof="0" dirty="0">
                <a:ln>
                  <a:noFill/>
                </a:ln>
                <a:solidFill>
                  <a:srgbClr val="525252"/>
                </a:solidFill>
                <a:effectLst/>
                <a:uLnTx/>
                <a:uFillTx/>
                <a:latin typeface="Verdana"/>
                <a:ea typeface="+mn-ea"/>
                <a:cs typeface="Verdana"/>
              </a:rPr>
              <a:t> </a:t>
            </a:r>
            <a:r>
              <a:rPr kumimoji="0" sz="1546" b="0" i="0" u="none" strike="noStrike" kern="1200" cap="none" spc="6" normalizeH="0" baseline="0" noProof="0" dirty="0">
                <a:ln>
                  <a:noFill/>
                </a:ln>
                <a:solidFill>
                  <a:srgbClr val="525252"/>
                </a:solidFill>
                <a:effectLst/>
                <a:uLnTx/>
                <a:uFillTx/>
                <a:latin typeface="Verdana"/>
                <a:ea typeface="+mn-ea"/>
                <a:cs typeface="Verdana"/>
              </a:rPr>
              <a:t>berlaku</a:t>
            </a:r>
            <a:r>
              <a:rPr kumimoji="0" sz="1546" b="0" i="0" u="none" strike="noStrike" kern="1200" cap="none" spc="-66" normalizeH="0" baseline="0" noProof="0" dirty="0">
                <a:ln>
                  <a:noFill/>
                </a:ln>
                <a:solidFill>
                  <a:srgbClr val="525252"/>
                </a:solidFill>
                <a:effectLst/>
                <a:uLnTx/>
                <a:uFillTx/>
                <a:latin typeface="Verdana"/>
                <a:ea typeface="+mn-ea"/>
                <a:cs typeface="Verdana"/>
              </a:rPr>
              <a:t> </a:t>
            </a:r>
            <a:r>
              <a:rPr kumimoji="0" sz="1546" b="0" i="0" u="none" strike="noStrike" kern="1200" cap="none" spc="-17" normalizeH="0" baseline="0" noProof="0" dirty="0">
                <a:ln>
                  <a:noFill/>
                </a:ln>
                <a:solidFill>
                  <a:srgbClr val="525252"/>
                </a:solidFill>
                <a:effectLst/>
                <a:uLnTx/>
                <a:uFillTx/>
                <a:latin typeface="Verdana"/>
                <a:ea typeface="+mn-ea"/>
                <a:cs typeface="Verdana"/>
              </a:rPr>
              <a:t>saat</a:t>
            </a:r>
            <a:r>
              <a:rPr kumimoji="0" sz="1546" b="0" i="0" u="none" strike="noStrike" kern="1200" cap="none" spc="-66" normalizeH="0" baseline="0" noProof="0" dirty="0">
                <a:ln>
                  <a:noFill/>
                </a:ln>
                <a:solidFill>
                  <a:srgbClr val="525252"/>
                </a:solidFill>
                <a:effectLst/>
                <a:uLnTx/>
                <a:uFillTx/>
                <a:latin typeface="Verdana"/>
                <a:ea typeface="+mn-ea"/>
                <a:cs typeface="Verdana"/>
              </a:rPr>
              <a:t> </a:t>
            </a:r>
            <a:r>
              <a:rPr kumimoji="0" sz="1546" b="0" i="0" u="none" strike="noStrike" kern="1200" cap="none" spc="17" normalizeH="0" baseline="0" noProof="0" dirty="0">
                <a:ln>
                  <a:noFill/>
                </a:ln>
                <a:solidFill>
                  <a:srgbClr val="525252"/>
                </a:solidFill>
                <a:effectLst/>
                <a:uLnTx/>
                <a:uFillTx/>
                <a:latin typeface="Verdana"/>
                <a:ea typeface="+mn-ea"/>
                <a:cs typeface="Verdana"/>
              </a:rPr>
              <a:t>ini</a:t>
            </a:r>
            <a:r>
              <a:rPr kumimoji="0" sz="1546" b="0" i="0" u="none" strike="noStrike" kern="1200" cap="none" spc="-66" normalizeH="0" baseline="0" noProof="0" dirty="0">
                <a:ln>
                  <a:noFill/>
                </a:ln>
                <a:solidFill>
                  <a:srgbClr val="525252"/>
                </a:solidFill>
                <a:effectLst/>
                <a:uLnTx/>
                <a:uFillTx/>
                <a:latin typeface="Verdana"/>
                <a:ea typeface="+mn-ea"/>
                <a:cs typeface="Verdana"/>
              </a:rPr>
              <a:t> </a:t>
            </a:r>
            <a:r>
              <a:rPr kumimoji="0" sz="1546" b="0" i="0" u="none" strike="noStrike" kern="1200" cap="none" spc="11" normalizeH="0" baseline="0" noProof="0" dirty="0">
                <a:ln>
                  <a:noFill/>
                </a:ln>
                <a:solidFill>
                  <a:srgbClr val="525252"/>
                </a:solidFill>
                <a:effectLst/>
                <a:uLnTx/>
                <a:uFillTx/>
                <a:latin typeface="Verdana"/>
                <a:ea typeface="+mn-ea"/>
                <a:cs typeface="Verdana"/>
              </a:rPr>
              <a:t>adalah</a:t>
            </a:r>
            <a:r>
              <a:rPr kumimoji="0" sz="1546" b="0" i="0" u="none" strike="noStrike" kern="1200" cap="none" spc="-66" normalizeH="0" baseline="0" noProof="0" dirty="0">
                <a:ln>
                  <a:noFill/>
                </a:ln>
                <a:solidFill>
                  <a:srgbClr val="525252"/>
                </a:solidFill>
                <a:effectLst/>
                <a:uLnTx/>
                <a:uFillTx/>
                <a:latin typeface="Verdana"/>
                <a:ea typeface="+mn-ea"/>
                <a:cs typeface="Verdana"/>
              </a:rPr>
              <a:t> </a:t>
            </a:r>
            <a:r>
              <a:rPr kumimoji="0" sz="1546" b="0" i="0" u="none" strike="noStrike" kern="1200" cap="none" spc="0" normalizeH="0" baseline="0" noProof="0" dirty="0">
                <a:ln>
                  <a:noFill/>
                </a:ln>
                <a:solidFill>
                  <a:srgbClr val="525252"/>
                </a:solidFill>
                <a:effectLst/>
                <a:uLnTx/>
                <a:uFillTx/>
                <a:latin typeface="Verdana"/>
                <a:ea typeface="+mn-ea"/>
                <a:cs typeface="Verdana"/>
              </a:rPr>
              <a:t>KBLI</a:t>
            </a:r>
            <a:r>
              <a:rPr kumimoji="0" sz="1546" b="0" i="0" u="none" strike="noStrike" kern="1200" cap="none" spc="-66" normalizeH="0" baseline="0" noProof="0" dirty="0">
                <a:ln>
                  <a:noFill/>
                </a:ln>
                <a:solidFill>
                  <a:srgbClr val="525252"/>
                </a:solidFill>
                <a:effectLst/>
                <a:uLnTx/>
                <a:uFillTx/>
                <a:latin typeface="Verdana"/>
                <a:ea typeface="+mn-ea"/>
                <a:cs typeface="Verdana"/>
              </a:rPr>
              <a:t> </a:t>
            </a:r>
            <a:r>
              <a:rPr kumimoji="0" sz="1546" b="0" i="0" u="none" strike="noStrike" kern="1200" cap="none" spc="39" normalizeH="0" baseline="0" noProof="0" dirty="0">
                <a:ln>
                  <a:noFill/>
                </a:ln>
                <a:solidFill>
                  <a:srgbClr val="525252"/>
                </a:solidFill>
                <a:effectLst/>
                <a:uLnTx/>
                <a:uFillTx/>
                <a:latin typeface="Verdana"/>
                <a:ea typeface="+mn-ea"/>
                <a:cs typeface="Verdana"/>
              </a:rPr>
              <a:t>tahun</a:t>
            </a:r>
            <a:r>
              <a:rPr kumimoji="0" sz="1546" b="0" i="0" u="none" strike="noStrike" kern="1200" cap="none" spc="-66" normalizeH="0" baseline="0" noProof="0" dirty="0">
                <a:ln>
                  <a:noFill/>
                </a:ln>
                <a:solidFill>
                  <a:srgbClr val="525252"/>
                </a:solidFill>
                <a:effectLst/>
                <a:uLnTx/>
                <a:uFillTx/>
                <a:latin typeface="Verdana"/>
                <a:ea typeface="+mn-ea"/>
                <a:cs typeface="Verdana"/>
              </a:rPr>
              <a:t> </a:t>
            </a:r>
            <a:r>
              <a:rPr kumimoji="0" sz="1546" b="0" i="0" u="none" strike="noStrike" kern="1200" cap="none" spc="-39" normalizeH="0" baseline="0" noProof="0" dirty="0">
                <a:ln>
                  <a:noFill/>
                </a:ln>
                <a:solidFill>
                  <a:srgbClr val="525252"/>
                </a:solidFill>
                <a:effectLst/>
                <a:uLnTx/>
                <a:uFillTx/>
                <a:latin typeface="Verdana"/>
                <a:ea typeface="+mn-ea"/>
                <a:cs typeface="Verdana"/>
              </a:rPr>
              <a:t>2020</a:t>
            </a:r>
            <a:r>
              <a:rPr kumimoji="0" sz="1546" b="0" i="0" u="none" strike="noStrike" kern="1200" cap="none" spc="-66" normalizeH="0" baseline="0" noProof="0" dirty="0">
                <a:ln>
                  <a:noFill/>
                </a:ln>
                <a:solidFill>
                  <a:srgbClr val="525252"/>
                </a:solidFill>
                <a:effectLst/>
                <a:uLnTx/>
                <a:uFillTx/>
                <a:latin typeface="Verdana"/>
                <a:ea typeface="+mn-ea"/>
                <a:cs typeface="Verdana"/>
              </a:rPr>
              <a:t> </a:t>
            </a:r>
            <a:r>
              <a:rPr kumimoji="0" sz="1546" b="0" i="0" u="none" strike="noStrike" kern="1200" cap="none" spc="50" normalizeH="0" baseline="0" noProof="0" dirty="0">
                <a:ln>
                  <a:noFill/>
                </a:ln>
                <a:solidFill>
                  <a:srgbClr val="525252"/>
                </a:solidFill>
                <a:effectLst/>
                <a:uLnTx/>
                <a:uFillTx/>
                <a:latin typeface="Verdana"/>
                <a:ea typeface="+mn-ea"/>
                <a:cs typeface="Verdana"/>
              </a:rPr>
              <a:t>dengan </a:t>
            </a:r>
            <a:r>
              <a:rPr kumimoji="0" sz="1546" b="0" i="0" u="none" strike="noStrike" kern="1200" cap="none" spc="-530" normalizeH="0" baseline="0" noProof="0" dirty="0">
                <a:ln>
                  <a:noFill/>
                </a:ln>
                <a:solidFill>
                  <a:srgbClr val="525252"/>
                </a:solidFill>
                <a:effectLst/>
                <a:uLnTx/>
                <a:uFillTx/>
                <a:latin typeface="Verdana"/>
                <a:ea typeface="+mn-ea"/>
                <a:cs typeface="Verdana"/>
              </a:rPr>
              <a:t> </a:t>
            </a:r>
            <a:r>
              <a:rPr kumimoji="0" sz="1546" b="0" i="0" u="none" strike="noStrike" kern="1200" cap="none" spc="22" normalizeH="0" baseline="0" noProof="0" dirty="0">
                <a:ln>
                  <a:noFill/>
                </a:ln>
                <a:solidFill>
                  <a:srgbClr val="525252"/>
                </a:solidFill>
                <a:effectLst/>
                <a:uLnTx/>
                <a:uFillTx/>
                <a:latin typeface="Verdana"/>
                <a:ea typeface="+mn-ea"/>
                <a:cs typeface="Verdana"/>
              </a:rPr>
              <a:t>angka </a:t>
            </a:r>
            <a:r>
              <a:rPr kumimoji="0" sz="1546" b="0" i="0" u="none" strike="noStrike" kern="1200" cap="none" spc="-110" normalizeH="0" baseline="0" noProof="0" dirty="0">
                <a:ln>
                  <a:noFill/>
                </a:ln>
                <a:solidFill>
                  <a:srgbClr val="525252"/>
                </a:solidFill>
                <a:effectLst/>
                <a:uLnTx/>
                <a:uFillTx/>
                <a:latin typeface="Verdana"/>
                <a:ea typeface="+mn-ea"/>
                <a:cs typeface="Verdana"/>
              </a:rPr>
              <a:t>5 </a:t>
            </a:r>
            <a:r>
              <a:rPr kumimoji="0" sz="1546" b="0" i="0" u="none" strike="noStrike" kern="1200" cap="none" spc="33" normalizeH="0" baseline="0" noProof="0" dirty="0">
                <a:ln>
                  <a:noFill/>
                </a:ln>
                <a:solidFill>
                  <a:srgbClr val="525252"/>
                </a:solidFill>
                <a:effectLst/>
                <a:uLnTx/>
                <a:uFillTx/>
                <a:latin typeface="Verdana"/>
                <a:ea typeface="+mn-ea"/>
                <a:cs typeface="Verdana"/>
              </a:rPr>
              <a:t>digit </a:t>
            </a:r>
            <a:r>
              <a:rPr kumimoji="0" sz="1546" b="0" i="0" u="none" strike="noStrike" kern="1200" cap="none" spc="11" normalizeH="0" baseline="0" noProof="0" dirty="0">
                <a:ln>
                  <a:noFill/>
                </a:ln>
                <a:solidFill>
                  <a:srgbClr val="525252"/>
                </a:solidFill>
                <a:effectLst/>
                <a:uLnTx/>
                <a:uFillTx/>
                <a:latin typeface="Verdana"/>
                <a:ea typeface="+mn-ea"/>
                <a:cs typeface="Verdana"/>
              </a:rPr>
              <a:t>sebagai </a:t>
            </a:r>
            <a:r>
              <a:rPr kumimoji="0" sz="1546" b="0" i="0" u="none" strike="noStrike" kern="1200" cap="none" spc="22" normalizeH="0" baseline="0" noProof="0" dirty="0">
                <a:ln>
                  <a:noFill/>
                </a:ln>
                <a:solidFill>
                  <a:srgbClr val="525252"/>
                </a:solidFill>
                <a:effectLst/>
                <a:uLnTx/>
                <a:uFillTx/>
                <a:latin typeface="Verdana"/>
                <a:ea typeface="+mn-ea"/>
                <a:cs typeface="Verdana"/>
              </a:rPr>
              <a:t>kode </a:t>
            </a:r>
            <a:r>
              <a:rPr kumimoji="0" sz="1546" b="0" i="0" u="none" strike="noStrike" kern="1200" cap="none" spc="50" normalizeH="0" baseline="0" noProof="0" dirty="0">
                <a:ln>
                  <a:noFill/>
                </a:ln>
                <a:solidFill>
                  <a:srgbClr val="525252"/>
                </a:solidFill>
                <a:effectLst/>
                <a:uLnTx/>
                <a:uFillTx/>
                <a:latin typeface="Verdana"/>
                <a:ea typeface="+mn-ea"/>
                <a:cs typeface="Verdana"/>
              </a:rPr>
              <a:t>bidang </a:t>
            </a:r>
            <a:r>
              <a:rPr kumimoji="0" sz="1546" b="0" i="0" u="none" strike="noStrike" kern="1200" cap="none" spc="-33" normalizeH="0" baseline="0" noProof="0" dirty="0">
                <a:ln>
                  <a:noFill/>
                </a:ln>
                <a:solidFill>
                  <a:srgbClr val="525252"/>
                </a:solidFill>
                <a:effectLst/>
                <a:uLnTx/>
                <a:uFillTx/>
                <a:latin typeface="Verdana"/>
                <a:ea typeface="+mn-ea"/>
                <a:cs typeface="Verdana"/>
              </a:rPr>
              <a:t>usaha. </a:t>
            </a:r>
            <a:r>
              <a:rPr kumimoji="0" sz="1546" b="0" i="0" u="none" strike="noStrike" kern="1200" cap="none" spc="17" normalizeH="0" baseline="0" noProof="0" dirty="0">
                <a:ln>
                  <a:noFill/>
                </a:ln>
                <a:solidFill>
                  <a:srgbClr val="525252"/>
                </a:solidFill>
                <a:effectLst/>
                <a:uLnTx/>
                <a:uFillTx/>
                <a:latin typeface="Verdana"/>
                <a:ea typeface="+mn-ea"/>
                <a:cs typeface="Verdana"/>
              </a:rPr>
              <a:t>Berikut </a:t>
            </a:r>
            <a:r>
              <a:rPr kumimoji="0" sz="1546" b="0" i="0" u="none" strike="noStrike" kern="1200" cap="none" spc="11" normalizeH="0" baseline="0" noProof="0" dirty="0">
                <a:ln>
                  <a:noFill/>
                </a:ln>
                <a:solidFill>
                  <a:srgbClr val="525252"/>
                </a:solidFill>
                <a:effectLst/>
                <a:uLnTx/>
                <a:uFillTx/>
                <a:latin typeface="Verdana"/>
                <a:ea typeface="+mn-ea"/>
                <a:cs typeface="Verdana"/>
              </a:rPr>
              <a:t>adalah </a:t>
            </a:r>
            <a:r>
              <a:rPr kumimoji="0" sz="1546" b="0" i="0" u="none" strike="noStrike" kern="1200" cap="none" spc="44" normalizeH="0" baseline="0" noProof="0" dirty="0">
                <a:ln>
                  <a:noFill/>
                </a:ln>
                <a:solidFill>
                  <a:srgbClr val="525252"/>
                </a:solidFill>
                <a:effectLst/>
                <a:uLnTx/>
                <a:uFillTx/>
                <a:latin typeface="Verdana"/>
                <a:ea typeface="+mn-ea"/>
                <a:cs typeface="Verdana"/>
              </a:rPr>
              <a:t>pembagian </a:t>
            </a:r>
            <a:r>
              <a:rPr kumimoji="0" sz="1546" b="0" i="0" u="none" strike="noStrike" kern="1200" cap="none" spc="22" normalizeH="0" baseline="0" noProof="0" dirty="0">
                <a:ln>
                  <a:noFill/>
                </a:ln>
                <a:solidFill>
                  <a:srgbClr val="525252"/>
                </a:solidFill>
                <a:effectLst/>
                <a:uLnTx/>
                <a:uFillTx/>
                <a:latin typeface="Verdana"/>
                <a:ea typeface="+mn-ea"/>
                <a:cs typeface="Verdana"/>
              </a:rPr>
              <a:t>tingkat </a:t>
            </a:r>
            <a:r>
              <a:rPr kumimoji="0" sz="1546" b="0" i="0" u="none" strike="noStrike" kern="1200" cap="none" spc="-22" normalizeH="0" baseline="0" noProof="0" dirty="0">
                <a:ln>
                  <a:noFill/>
                </a:ln>
                <a:solidFill>
                  <a:srgbClr val="525252"/>
                </a:solidFill>
                <a:effectLst/>
                <a:uLnTx/>
                <a:uFillTx/>
                <a:latin typeface="Verdana"/>
                <a:ea typeface="+mn-ea"/>
                <a:cs typeface="Verdana"/>
              </a:rPr>
              <a:t>risiko</a:t>
            </a:r>
            <a:r>
              <a:rPr kumimoji="0" sz="1546" b="0" i="0" u="none" strike="noStrike" kern="1200" cap="none" spc="-17" normalizeH="0" baseline="0" noProof="0" dirty="0">
                <a:ln>
                  <a:noFill/>
                </a:ln>
                <a:solidFill>
                  <a:srgbClr val="525252"/>
                </a:solidFill>
                <a:effectLst/>
                <a:uLnTx/>
                <a:uFillTx/>
                <a:latin typeface="Verdana"/>
                <a:ea typeface="+mn-ea"/>
                <a:cs typeface="Verdana"/>
              </a:rPr>
              <a:t> </a:t>
            </a:r>
            <a:r>
              <a:rPr kumimoji="0" sz="1546" b="0" i="0" u="none" strike="noStrike" kern="1200" cap="none" spc="6" normalizeH="0" baseline="0" noProof="0" dirty="0">
                <a:ln>
                  <a:noFill/>
                </a:ln>
                <a:solidFill>
                  <a:srgbClr val="525252"/>
                </a:solidFill>
                <a:effectLst/>
                <a:uLnTx/>
                <a:uFillTx/>
                <a:latin typeface="Verdana"/>
                <a:ea typeface="+mn-ea"/>
                <a:cs typeface="Verdana"/>
              </a:rPr>
              <a:t>usaha </a:t>
            </a:r>
            <a:r>
              <a:rPr kumimoji="0" sz="1546" b="0" i="0" u="none" strike="noStrike" kern="1200" cap="none" spc="44" normalizeH="0" baseline="0" noProof="0" dirty="0">
                <a:ln>
                  <a:noFill/>
                </a:ln>
                <a:solidFill>
                  <a:srgbClr val="525252"/>
                </a:solidFill>
                <a:effectLst/>
                <a:uLnTx/>
                <a:uFillTx/>
                <a:latin typeface="Verdana"/>
                <a:ea typeface="+mn-ea"/>
                <a:cs typeface="Verdana"/>
              </a:rPr>
              <a:t>dan </a:t>
            </a:r>
            <a:r>
              <a:rPr kumimoji="0" sz="1546" b="0" i="0" u="none" strike="noStrike" kern="1200" cap="none" spc="-22" normalizeH="0" baseline="0" noProof="0" dirty="0">
                <a:ln>
                  <a:noFill/>
                </a:ln>
                <a:solidFill>
                  <a:srgbClr val="525252"/>
                </a:solidFill>
                <a:effectLst/>
                <a:uLnTx/>
                <a:uFillTx/>
                <a:latin typeface="Verdana"/>
                <a:ea typeface="+mn-ea"/>
                <a:cs typeface="Verdana"/>
              </a:rPr>
              <a:t>jenis </a:t>
            </a:r>
            <a:r>
              <a:rPr kumimoji="0" sz="1546" b="0" i="0" u="none" strike="noStrike" kern="1200" cap="none" spc="-17" normalizeH="0" baseline="0" noProof="0" dirty="0">
                <a:ln>
                  <a:noFill/>
                </a:ln>
                <a:solidFill>
                  <a:srgbClr val="525252"/>
                </a:solidFill>
                <a:effectLst/>
                <a:uLnTx/>
                <a:uFillTx/>
                <a:latin typeface="Verdana"/>
                <a:ea typeface="+mn-ea"/>
                <a:cs typeface="Verdana"/>
              </a:rPr>
              <a:t> </a:t>
            </a:r>
            <a:r>
              <a:rPr kumimoji="0" sz="1546" b="0" i="0" u="none" strike="noStrike" kern="1200" cap="none" spc="11" normalizeH="0" baseline="0" noProof="0" dirty="0">
                <a:ln>
                  <a:noFill/>
                </a:ln>
                <a:solidFill>
                  <a:srgbClr val="525252"/>
                </a:solidFill>
                <a:effectLst/>
                <a:uLnTx/>
                <a:uFillTx/>
                <a:latin typeface="Verdana"/>
                <a:ea typeface="+mn-ea"/>
                <a:cs typeface="Verdana"/>
              </a:rPr>
              <a:t>perizinan</a:t>
            </a:r>
            <a:r>
              <a:rPr kumimoji="0" sz="1546" b="0" i="0" u="none" strike="noStrike" kern="1200" cap="none" spc="-149" normalizeH="0" baseline="0" noProof="0" dirty="0">
                <a:ln>
                  <a:noFill/>
                </a:ln>
                <a:solidFill>
                  <a:srgbClr val="525252"/>
                </a:solidFill>
                <a:effectLst/>
                <a:uLnTx/>
                <a:uFillTx/>
                <a:latin typeface="Verdana"/>
                <a:ea typeface="+mn-ea"/>
                <a:cs typeface="Verdana"/>
              </a:rPr>
              <a:t> </a:t>
            </a:r>
            <a:r>
              <a:rPr kumimoji="0" sz="1546" b="0" i="0" u="none" strike="noStrike" kern="1200" cap="none" spc="0" normalizeH="0" baseline="0" noProof="0" dirty="0">
                <a:ln>
                  <a:noFill/>
                </a:ln>
                <a:solidFill>
                  <a:srgbClr val="525252"/>
                </a:solidFill>
                <a:effectLst/>
                <a:uLnTx/>
                <a:uFillTx/>
                <a:latin typeface="Verdana"/>
                <a:ea typeface="+mn-ea"/>
                <a:cs typeface="Verdana"/>
              </a:rPr>
              <a:t>berusahanya</a:t>
            </a:r>
            <a:r>
              <a:rPr kumimoji="0" sz="1546" b="0" i="0" u="none" strike="noStrike" kern="1200" cap="none" spc="-144" normalizeH="0" baseline="0" noProof="0" dirty="0">
                <a:ln>
                  <a:noFill/>
                </a:ln>
                <a:solidFill>
                  <a:srgbClr val="525252"/>
                </a:solidFill>
                <a:effectLst/>
                <a:uLnTx/>
                <a:uFillTx/>
                <a:latin typeface="Verdana"/>
                <a:ea typeface="+mn-ea"/>
                <a:cs typeface="Verdana"/>
              </a:rPr>
              <a:t> </a:t>
            </a:r>
            <a:r>
              <a:rPr kumimoji="0" sz="1546" b="0" i="0" u="none" strike="noStrike" kern="1200" cap="none" spc="-375" normalizeH="0" baseline="0" noProof="0" dirty="0">
                <a:ln>
                  <a:noFill/>
                </a:ln>
                <a:solidFill>
                  <a:srgbClr val="525252"/>
                </a:solidFill>
                <a:effectLst/>
                <a:uLnTx/>
                <a:uFillTx/>
                <a:latin typeface="Verdana"/>
                <a:ea typeface="+mn-ea"/>
                <a:cs typeface="Verdana"/>
              </a:rPr>
              <a:t>:</a:t>
            </a:r>
            <a:endParaRPr kumimoji="0" sz="1546" b="0" i="0" u="none" strike="noStrike" kern="1200" cap="none" spc="0" normalizeH="0" baseline="0" noProof="0" dirty="0">
              <a:ln>
                <a:noFill/>
              </a:ln>
              <a:solidFill>
                <a:prstClr val="black"/>
              </a:solidFill>
              <a:effectLst/>
              <a:uLnTx/>
              <a:uFillTx/>
              <a:latin typeface="Verdana"/>
              <a:ea typeface="+mn-ea"/>
              <a:cs typeface="Verdana"/>
            </a:endParaRPr>
          </a:p>
        </p:txBody>
      </p:sp>
      <p:sp>
        <p:nvSpPr>
          <p:cNvPr id="4" name="object 4"/>
          <p:cNvSpPr txBox="1">
            <a:spLocks noGrp="1"/>
          </p:cNvSpPr>
          <p:nvPr>
            <p:ph type="title"/>
          </p:nvPr>
        </p:nvSpPr>
        <p:spPr>
          <a:xfrm>
            <a:off x="1047166" y="221739"/>
            <a:ext cx="3290056" cy="691270"/>
          </a:xfrm>
          <a:prstGeom prst="rect">
            <a:avLst/>
          </a:prstGeom>
        </p:spPr>
        <p:txBody>
          <a:bodyPr vert="horz" wrap="square" lIns="0" tIns="14025" rIns="0" bIns="0" rtlCol="0" anchor="ctr">
            <a:spAutoFit/>
          </a:bodyPr>
          <a:lstStyle/>
          <a:p>
            <a:pPr marL="14025">
              <a:lnSpc>
                <a:spcPct val="100000"/>
              </a:lnSpc>
              <a:spcBef>
                <a:spcPts val="110"/>
              </a:spcBef>
            </a:pPr>
            <a:r>
              <a:rPr spc="-171" dirty="0">
                <a:solidFill>
                  <a:srgbClr val="00479B"/>
                </a:solidFill>
              </a:rPr>
              <a:t>T</a:t>
            </a:r>
            <a:r>
              <a:rPr spc="-50" dirty="0">
                <a:solidFill>
                  <a:srgbClr val="00479B"/>
                </a:solidFill>
              </a:rPr>
              <a:t>i</a:t>
            </a:r>
            <a:r>
              <a:rPr spc="-83" dirty="0">
                <a:solidFill>
                  <a:srgbClr val="00479B"/>
                </a:solidFill>
              </a:rPr>
              <a:t>n</a:t>
            </a:r>
            <a:r>
              <a:rPr spc="-17" dirty="0">
                <a:solidFill>
                  <a:srgbClr val="00479B"/>
                </a:solidFill>
              </a:rPr>
              <a:t>g</a:t>
            </a:r>
            <a:r>
              <a:rPr spc="-33" dirty="0">
                <a:solidFill>
                  <a:srgbClr val="00479B"/>
                </a:solidFill>
              </a:rPr>
              <a:t>k</a:t>
            </a:r>
            <a:r>
              <a:rPr spc="-83" dirty="0">
                <a:solidFill>
                  <a:srgbClr val="00479B"/>
                </a:solidFill>
              </a:rPr>
              <a:t>at</a:t>
            </a:r>
            <a:r>
              <a:rPr spc="-133" dirty="0">
                <a:solidFill>
                  <a:srgbClr val="00479B"/>
                </a:solidFill>
              </a:rPr>
              <a:t> </a:t>
            </a:r>
            <a:r>
              <a:rPr spc="-88" dirty="0">
                <a:solidFill>
                  <a:srgbClr val="00479B"/>
                </a:solidFill>
              </a:rPr>
              <a:t>Risi</a:t>
            </a:r>
            <a:r>
              <a:rPr spc="-160" dirty="0">
                <a:solidFill>
                  <a:srgbClr val="00479B"/>
                </a:solidFill>
              </a:rPr>
              <a:t>k</a:t>
            </a:r>
            <a:r>
              <a:rPr spc="-72" dirty="0">
                <a:solidFill>
                  <a:srgbClr val="00479B"/>
                </a:solidFill>
              </a:rPr>
              <a:t>o</a:t>
            </a:r>
          </a:p>
        </p:txBody>
      </p:sp>
      <p:graphicFrame>
        <p:nvGraphicFramePr>
          <p:cNvPr id="5" name="object 5"/>
          <p:cNvGraphicFramePr>
            <a:graphicFrameLocks noGrp="1"/>
          </p:cNvGraphicFramePr>
          <p:nvPr/>
        </p:nvGraphicFramePr>
        <p:xfrm>
          <a:off x="1041879" y="2895666"/>
          <a:ext cx="10097668" cy="3116197"/>
        </p:xfrm>
        <a:graphic>
          <a:graphicData uri="http://schemas.openxmlformats.org/drawingml/2006/table">
            <a:tbl>
              <a:tblPr firstRow="1" bandRow="1">
                <a:tableStyleId>{2D5ABB26-0587-4C30-8999-92F81FD0307C}</a:tableStyleId>
              </a:tblPr>
              <a:tblGrid>
                <a:gridCol w="1614824">
                  <a:extLst>
                    <a:ext uri="{9D8B030D-6E8A-4147-A177-3AD203B41FA5}">
                      <a16:colId xmlns:a16="http://schemas.microsoft.com/office/drawing/2014/main" val="20000"/>
                    </a:ext>
                  </a:extLst>
                </a:gridCol>
                <a:gridCol w="1521764">
                  <a:extLst>
                    <a:ext uri="{9D8B030D-6E8A-4147-A177-3AD203B41FA5}">
                      <a16:colId xmlns:a16="http://schemas.microsoft.com/office/drawing/2014/main" val="20001"/>
                    </a:ext>
                  </a:extLst>
                </a:gridCol>
                <a:gridCol w="2320360">
                  <a:extLst>
                    <a:ext uri="{9D8B030D-6E8A-4147-A177-3AD203B41FA5}">
                      <a16:colId xmlns:a16="http://schemas.microsoft.com/office/drawing/2014/main" val="20002"/>
                    </a:ext>
                  </a:extLst>
                </a:gridCol>
                <a:gridCol w="2320360">
                  <a:extLst>
                    <a:ext uri="{9D8B030D-6E8A-4147-A177-3AD203B41FA5}">
                      <a16:colId xmlns:a16="http://schemas.microsoft.com/office/drawing/2014/main" val="20003"/>
                    </a:ext>
                  </a:extLst>
                </a:gridCol>
                <a:gridCol w="2320360">
                  <a:extLst>
                    <a:ext uri="{9D8B030D-6E8A-4147-A177-3AD203B41FA5}">
                      <a16:colId xmlns:a16="http://schemas.microsoft.com/office/drawing/2014/main" val="20004"/>
                    </a:ext>
                  </a:extLst>
                </a:gridCol>
              </a:tblGrid>
              <a:tr h="793789">
                <a:tc>
                  <a:txBody>
                    <a:bodyPr/>
                    <a:lstStyle/>
                    <a:p>
                      <a:pPr marL="111125" marR="410209">
                        <a:lnSpc>
                          <a:spcPct val="100000"/>
                        </a:lnSpc>
                        <a:spcBef>
                          <a:spcPts val="620"/>
                        </a:spcBef>
                      </a:pPr>
                      <a:r>
                        <a:rPr sz="1500" b="1" dirty="0">
                          <a:solidFill>
                            <a:srgbClr val="FFFFFF"/>
                          </a:solidFill>
                          <a:latin typeface="Verdana"/>
                          <a:cs typeface="Verdana"/>
                        </a:rPr>
                        <a:t>TING</a:t>
                      </a:r>
                      <a:r>
                        <a:rPr sz="1500" b="1" spc="-45" dirty="0">
                          <a:solidFill>
                            <a:srgbClr val="FFFFFF"/>
                          </a:solidFill>
                          <a:latin typeface="Verdana"/>
                          <a:cs typeface="Verdana"/>
                        </a:rPr>
                        <a:t>K</a:t>
                      </a:r>
                      <a:r>
                        <a:rPr lang="en-US" sz="1500" b="1" spc="-50" dirty="0">
                          <a:solidFill>
                            <a:srgbClr val="FFFFFF"/>
                          </a:solidFill>
                          <a:latin typeface="Verdana"/>
                          <a:cs typeface="Verdana"/>
                        </a:rPr>
                        <a:t>A</a:t>
                      </a:r>
                      <a:r>
                        <a:rPr sz="1500" b="1" dirty="0">
                          <a:solidFill>
                            <a:srgbClr val="FFFFFF"/>
                          </a:solidFill>
                          <a:latin typeface="Verdana"/>
                          <a:cs typeface="Verdana"/>
                        </a:rPr>
                        <a:t>T  </a:t>
                      </a:r>
                      <a:r>
                        <a:rPr sz="1500" b="1" spc="-145" dirty="0">
                          <a:solidFill>
                            <a:srgbClr val="FFFFFF"/>
                          </a:solidFill>
                          <a:latin typeface="Verdana"/>
                          <a:cs typeface="Verdana"/>
                        </a:rPr>
                        <a:t>RISIKO</a:t>
                      </a:r>
                      <a:endParaRPr sz="1500" dirty="0">
                        <a:latin typeface="Verdana"/>
                        <a:cs typeface="Verdana"/>
                      </a:endParaRPr>
                    </a:p>
                  </a:txBody>
                  <a:tcPr marL="0" marR="0" marT="86952" marB="0">
                    <a:lnL w="9525">
                      <a:solidFill>
                        <a:srgbClr val="E6E7E7"/>
                      </a:solidFill>
                      <a:prstDash val="solid"/>
                    </a:lnL>
                    <a:lnR w="9525">
                      <a:solidFill>
                        <a:srgbClr val="E6E7E7"/>
                      </a:solidFill>
                      <a:prstDash val="solid"/>
                    </a:lnR>
                    <a:lnT w="9525">
                      <a:solidFill>
                        <a:srgbClr val="E6E7E7"/>
                      </a:solidFill>
                      <a:prstDash val="solid"/>
                    </a:lnT>
                    <a:lnB w="9525">
                      <a:solidFill>
                        <a:srgbClr val="E6E7E7"/>
                      </a:solidFill>
                      <a:prstDash val="solid"/>
                    </a:lnB>
                    <a:solidFill>
                      <a:srgbClr val="9B1F14"/>
                    </a:solidFill>
                  </a:tcPr>
                </a:tc>
                <a:tc>
                  <a:txBody>
                    <a:bodyPr/>
                    <a:lstStyle/>
                    <a:p>
                      <a:pPr marL="98425" marR="114300">
                        <a:lnSpc>
                          <a:spcPct val="100000"/>
                        </a:lnSpc>
                        <a:spcBef>
                          <a:spcPts val="620"/>
                        </a:spcBef>
                      </a:pPr>
                      <a:r>
                        <a:rPr sz="1500" dirty="0">
                          <a:solidFill>
                            <a:srgbClr val="525252"/>
                          </a:solidFill>
                          <a:latin typeface="Verdana"/>
                          <a:cs typeface="Verdana"/>
                        </a:rPr>
                        <a:t>Risi</a:t>
                      </a:r>
                      <a:r>
                        <a:rPr sz="1500" spc="-30" dirty="0">
                          <a:solidFill>
                            <a:srgbClr val="525252"/>
                          </a:solidFill>
                          <a:latin typeface="Verdana"/>
                          <a:cs typeface="Verdana"/>
                        </a:rPr>
                        <a:t>k</a:t>
                      </a:r>
                      <a:r>
                        <a:rPr sz="1500" dirty="0">
                          <a:solidFill>
                            <a:srgbClr val="525252"/>
                          </a:solidFill>
                          <a:latin typeface="Verdana"/>
                          <a:cs typeface="Verdana"/>
                        </a:rPr>
                        <a:t>o</a:t>
                      </a:r>
                      <a:r>
                        <a:rPr sz="1500" spc="-130" dirty="0">
                          <a:solidFill>
                            <a:srgbClr val="525252"/>
                          </a:solidFill>
                          <a:latin typeface="Verdana"/>
                          <a:cs typeface="Verdana"/>
                        </a:rPr>
                        <a:t> </a:t>
                      </a:r>
                      <a:r>
                        <a:rPr sz="1500" dirty="0">
                          <a:solidFill>
                            <a:srgbClr val="525252"/>
                          </a:solidFill>
                          <a:latin typeface="Verdana"/>
                          <a:cs typeface="Verdana"/>
                        </a:rPr>
                        <a:t>Rendah  </a:t>
                      </a:r>
                      <a:r>
                        <a:rPr sz="1500" spc="-105" dirty="0">
                          <a:solidFill>
                            <a:srgbClr val="525252"/>
                          </a:solidFill>
                          <a:latin typeface="Verdana"/>
                          <a:cs typeface="Verdana"/>
                        </a:rPr>
                        <a:t>(R)</a:t>
                      </a:r>
                      <a:endParaRPr sz="1500">
                        <a:latin typeface="Verdana"/>
                        <a:cs typeface="Verdana"/>
                      </a:endParaRPr>
                    </a:p>
                  </a:txBody>
                  <a:tcPr marL="0" marR="0" marT="86952" marB="0">
                    <a:lnL w="9525">
                      <a:solidFill>
                        <a:srgbClr val="E6E7E7"/>
                      </a:solidFill>
                      <a:prstDash val="solid"/>
                    </a:lnL>
                    <a:lnR w="9525">
                      <a:solidFill>
                        <a:srgbClr val="E6E7E7"/>
                      </a:solidFill>
                      <a:prstDash val="solid"/>
                    </a:lnR>
                    <a:lnT w="9525">
                      <a:solidFill>
                        <a:srgbClr val="E6E7E7"/>
                      </a:solidFill>
                      <a:prstDash val="solid"/>
                    </a:lnT>
                    <a:lnB w="9525">
                      <a:solidFill>
                        <a:srgbClr val="E6E7E7"/>
                      </a:solidFill>
                      <a:prstDash val="solid"/>
                    </a:lnB>
                  </a:tcPr>
                </a:tc>
                <a:tc>
                  <a:txBody>
                    <a:bodyPr/>
                    <a:lstStyle/>
                    <a:p>
                      <a:pPr marL="97790" marR="448945">
                        <a:lnSpc>
                          <a:spcPct val="100000"/>
                        </a:lnSpc>
                        <a:spcBef>
                          <a:spcPts val="620"/>
                        </a:spcBef>
                      </a:pPr>
                      <a:r>
                        <a:rPr sz="1500" dirty="0">
                          <a:solidFill>
                            <a:srgbClr val="525252"/>
                          </a:solidFill>
                          <a:latin typeface="Verdana"/>
                          <a:cs typeface="Verdana"/>
                        </a:rPr>
                        <a:t>Risi</a:t>
                      </a:r>
                      <a:r>
                        <a:rPr sz="1500" spc="-30" dirty="0">
                          <a:solidFill>
                            <a:srgbClr val="525252"/>
                          </a:solidFill>
                          <a:latin typeface="Verdana"/>
                          <a:cs typeface="Verdana"/>
                        </a:rPr>
                        <a:t>k</a:t>
                      </a:r>
                      <a:r>
                        <a:rPr sz="1500" dirty="0">
                          <a:solidFill>
                            <a:srgbClr val="525252"/>
                          </a:solidFill>
                          <a:latin typeface="Verdana"/>
                          <a:cs typeface="Verdana"/>
                        </a:rPr>
                        <a:t>o</a:t>
                      </a:r>
                      <a:r>
                        <a:rPr sz="1500" spc="-130" dirty="0">
                          <a:solidFill>
                            <a:srgbClr val="525252"/>
                          </a:solidFill>
                          <a:latin typeface="Verdana"/>
                          <a:cs typeface="Verdana"/>
                        </a:rPr>
                        <a:t> </a:t>
                      </a:r>
                      <a:r>
                        <a:rPr sz="1500" dirty="0">
                          <a:solidFill>
                            <a:srgbClr val="525252"/>
                          </a:solidFill>
                          <a:latin typeface="Verdana"/>
                          <a:cs typeface="Verdana"/>
                        </a:rPr>
                        <a:t>Menengah  Rendah</a:t>
                      </a:r>
                      <a:r>
                        <a:rPr sz="1500" spc="-130" dirty="0">
                          <a:solidFill>
                            <a:srgbClr val="525252"/>
                          </a:solidFill>
                          <a:latin typeface="Verdana"/>
                          <a:cs typeface="Verdana"/>
                        </a:rPr>
                        <a:t> </a:t>
                      </a:r>
                      <a:r>
                        <a:rPr sz="1500" dirty="0">
                          <a:solidFill>
                            <a:srgbClr val="525252"/>
                          </a:solidFill>
                          <a:latin typeface="Verdana"/>
                          <a:cs typeface="Verdana"/>
                        </a:rPr>
                        <a:t>(MR)</a:t>
                      </a:r>
                      <a:endParaRPr sz="1500">
                        <a:latin typeface="Verdana"/>
                        <a:cs typeface="Verdana"/>
                      </a:endParaRPr>
                    </a:p>
                  </a:txBody>
                  <a:tcPr marL="0" marR="0" marT="86952" marB="0">
                    <a:lnL w="9525">
                      <a:solidFill>
                        <a:srgbClr val="E6E7E7"/>
                      </a:solidFill>
                      <a:prstDash val="solid"/>
                    </a:lnL>
                    <a:lnR w="9525">
                      <a:solidFill>
                        <a:srgbClr val="E6E7E7"/>
                      </a:solidFill>
                      <a:prstDash val="solid"/>
                    </a:lnR>
                    <a:lnT w="9525">
                      <a:solidFill>
                        <a:srgbClr val="E6E7E7"/>
                      </a:solidFill>
                      <a:prstDash val="solid"/>
                    </a:lnT>
                    <a:lnB w="9525">
                      <a:solidFill>
                        <a:srgbClr val="E6E7E7"/>
                      </a:solidFill>
                      <a:prstDash val="solid"/>
                    </a:lnB>
                  </a:tcPr>
                </a:tc>
                <a:tc>
                  <a:txBody>
                    <a:bodyPr/>
                    <a:lstStyle/>
                    <a:p>
                      <a:pPr marL="98425" marR="448945">
                        <a:lnSpc>
                          <a:spcPct val="100000"/>
                        </a:lnSpc>
                        <a:spcBef>
                          <a:spcPts val="620"/>
                        </a:spcBef>
                      </a:pPr>
                      <a:r>
                        <a:rPr sz="1500" dirty="0">
                          <a:solidFill>
                            <a:srgbClr val="525252"/>
                          </a:solidFill>
                          <a:latin typeface="Verdana"/>
                          <a:cs typeface="Verdana"/>
                        </a:rPr>
                        <a:t>Risi</a:t>
                      </a:r>
                      <a:r>
                        <a:rPr sz="1500" spc="-30" dirty="0">
                          <a:solidFill>
                            <a:srgbClr val="525252"/>
                          </a:solidFill>
                          <a:latin typeface="Verdana"/>
                          <a:cs typeface="Verdana"/>
                        </a:rPr>
                        <a:t>k</a:t>
                      </a:r>
                      <a:r>
                        <a:rPr sz="1500" dirty="0">
                          <a:solidFill>
                            <a:srgbClr val="525252"/>
                          </a:solidFill>
                          <a:latin typeface="Verdana"/>
                          <a:cs typeface="Verdana"/>
                        </a:rPr>
                        <a:t>o</a:t>
                      </a:r>
                      <a:r>
                        <a:rPr sz="1500" spc="-130" dirty="0">
                          <a:solidFill>
                            <a:srgbClr val="525252"/>
                          </a:solidFill>
                          <a:latin typeface="Verdana"/>
                          <a:cs typeface="Verdana"/>
                        </a:rPr>
                        <a:t> </a:t>
                      </a:r>
                      <a:r>
                        <a:rPr sz="1500" dirty="0">
                          <a:solidFill>
                            <a:srgbClr val="525252"/>
                          </a:solidFill>
                          <a:latin typeface="Verdana"/>
                          <a:cs typeface="Verdana"/>
                        </a:rPr>
                        <a:t>Menengah  </a:t>
                      </a:r>
                      <a:r>
                        <a:rPr sz="1500" spc="-20" dirty="0">
                          <a:solidFill>
                            <a:srgbClr val="525252"/>
                          </a:solidFill>
                          <a:latin typeface="Verdana"/>
                          <a:cs typeface="Verdana"/>
                        </a:rPr>
                        <a:t>T</a:t>
                      </a:r>
                      <a:r>
                        <a:rPr sz="1500" dirty="0">
                          <a:solidFill>
                            <a:srgbClr val="525252"/>
                          </a:solidFill>
                          <a:latin typeface="Verdana"/>
                          <a:cs typeface="Verdana"/>
                        </a:rPr>
                        <a:t>inggi</a:t>
                      </a:r>
                      <a:r>
                        <a:rPr sz="1500" spc="-130" dirty="0">
                          <a:solidFill>
                            <a:srgbClr val="525252"/>
                          </a:solidFill>
                          <a:latin typeface="Verdana"/>
                          <a:cs typeface="Verdana"/>
                        </a:rPr>
                        <a:t> </a:t>
                      </a:r>
                      <a:r>
                        <a:rPr sz="1500" dirty="0">
                          <a:solidFill>
                            <a:srgbClr val="525252"/>
                          </a:solidFill>
                          <a:latin typeface="Verdana"/>
                          <a:cs typeface="Verdana"/>
                        </a:rPr>
                        <a:t>(MT)</a:t>
                      </a:r>
                      <a:endParaRPr sz="1500">
                        <a:latin typeface="Verdana"/>
                        <a:cs typeface="Verdana"/>
                      </a:endParaRPr>
                    </a:p>
                  </a:txBody>
                  <a:tcPr marL="0" marR="0" marT="86952" marB="0">
                    <a:lnL w="9525">
                      <a:solidFill>
                        <a:srgbClr val="E6E7E7"/>
                      </a:solidFill>
                      <a:prstDash val="solid"/>
                    </a:lnL>
                    <a:lnR w="9525">
                      <a:solidFill>
                        <a:srgbClr val="E6E7E7"/>
                      </a:solidFill>
                      <a:prstDash val="solid"/>
                    </a:lnR>
                    <a:lnT w="9525">
                      <a:solidFill>
                        <a:srgbClr val="E6E7E7"/>
                      </a:solidFill>
                      <a:prstDash val="solid"/>
                    </a:lnT>
                    <a:lnB w="9525">
                      <a:solidFill>
                        <a:srgbClr val="E6E7E7"/>
                      </a:solidFill>
                      <a:prstDash val="solid"/>
                    </a:lnB>
                  </a:tcPr>
                </a:tc>
                <a:tc>
                  <a:txBody>
                    <a:bodyPr/>
                    <a:lstStyle/>
                    <a:p>
                      <a:pPr marL="98425">
                        <a:lnSpc>
                          <a:spcPct val="100000"/>
                        </a:lnSpc>
                        <a:spcBef>
                          <a:spcPts val="620"/>
                        </a:spcBef>
                      </a:pPr>
                      <a:r>
                        <a:rPr sz="1500" dirty="0">
                          <a:solidFill>
                            <a:srgbClr val="525252"/>
                          </a:solidFill>
                          <a:latin typeface="Verdana"/>
                          <a:cs typeface="Verdana"/>
                        </a:rPr>
                        <a:t>Risi</a:t>
                      </a:r>
                      <a:r>
                        <a:rPr sz="1500" spc="-30" dirty="0">
                          <a:solidFill>
                            <a:srgbClr val="525252"/>
                          </a:solidFill>
                          <a:latin typeface="Verdana"/>
                          <a:cs typeface="Verdana"/>
                        </a:rPr>
                        <a:t>k</a:t>
                      </a:r>
                      <a:r>
                        <a:rPr sz="1500" dirty="0">
                          <a:solidFill>
                            <a:srgbClr val="525252"/>
                          </a:solidFill>
                          <a:latin typeface="Verdana"/>
                          <a:cs typeface="Verdana"/>
                        </a:rPr>
                        <a:t>o</a:t>
                      </a:r>
                      <a:r>
                        <a:rPr sz="1500" spc="-130" dirty="0">
                          <a:solidFill>
                            <a:srgbClr val="525252"/>
                          </a:solidFill>
                          <a:latin typeface="Verdana"/>
                          <a:cs typeface="Verdana"/>
                        </a:rPr>
                        <a:t> </a:t>
                      </a:r>
                      <a:r>
                        <a:rPr sz="1500" spc="-20" dirty="0">
                          <a:solidFill>
                            <a:srgbClr val="525252"/>
                          </a:solidFill>
                          <a:latin typeface="Verdana"/>
                          <a:cs typeface="Verdana"/>
                        </a:rPr>
                        <a:t>T</a:t>
                      </a:r>
                      <a:r>
                        <a:rPr sz="1500" dirty="0">
                          <a:solidFill>
                            <a:srgbClr val="525252"/>
                          </a:solidFill>
                          <a:latin typeface="Verdana"/>
                          <a:cs typeface="Verdana"/>
                        </a:rPr>
                        <a:t>inggi</a:t>
                      </a:r>
                      <a:r>
                        <a:rPr sz="1500" spc="-130" dirty="0">
                          <a:solidFill>
                            <a:srgbClr val="525252"/>
                          </a:solidFill>
                          <a:latin typeface="Verdana"/>
                          <a:cs typeface="Verdana"/>
                        </a:rPr>
                        <a:t> </a:t>
                      </a:r>
                      <a:r>
                        <a:rPr sz="1500" spc="-20" dirty="0">
                          <a:solidFill>
                            <a:srgbClr val="525252"/>
                          </a:solidFill>
                          <a:latin typeface="Verdana"/>
                          <a:cs typeface="Verdana"/>
                        </a:rPr>
                        <a:t>(</a:t>
                      </a:r>
                      <a:r>
                        <a:rPr sz="1500" dirty="0">
                          <a:solidFill>
                            <a:srgbClr val="525252"/>
                          </a:solidFill>
                          <a:latin typeface="Verdana"/>
                          <a:cs typeface="Verdana"/>
                        </a:rPr>
                        <a:t>T)</a:t>
                      </a:r>
                      <a:endParaRPr sz="1500">
                        <a:latin typeface="Verdana"/>
                        <a:cs typeface="Verdana"/>
                      </a:endParaRPr>
                    </a:p>
                  </a:txBody>
                  <a:tcPr marL="0" marR="0" marT="86952" marB="0">
                    <a:lnL w="9525">
                      <a:solidFill>
                        <a:srgbClr val="E6E7E7"/>
                      </a:solidFill>
                      <a:prstDash val="solid"/>
                    </a:lnL>
                    <a:lnR w="9525">
                      <a:solidFill>
                        <a:srgbClr val="E6E7E7"/>
                      </a:solidFill>
                      <a:prstDash val="solid"/>
                    </a:lnR>
                    <a:lnT w="9525">
                      <a:solidFill>
                        <a:srgbClr val="E6E7E7"/>
                      </a:solidFill>
                      <a:prstDash val="solid"/>
                    </a:lnT>
                    <a:lnB w="9525">
                      <a:solidFill>
                        <a:srgbClr val="E6E7E7"/>
                      </a:solidFill>
                      <a:prstDash val="solid"/>
                    </a:lnB>
                  </a:tcPr>
                </a:tc>
                <a:extLst>
                  <a:ext uri="{0D108BD9-81ED-4DB2-BD59-A6C34878D82A}">
                    <a16:rowId xmlns:a16="http://schemas.microsoft.com/office/drawing/2014/main" val="10000"/>
                  </a:ext>
                </a:extLst>
              </a:tr>
              <a:tr h="330572">
                <a:tc>
                  <a:txBody>
                    <a:bodyPr/>
                    <a:lstStyle/>
                    <a:p>
                      <a:pPr marL="111125">
                        <a:lnSpc>
                          <a:spcPts val="1639"/>
                        </a:lnSpc>
                        <a:spcBef>
                          <a:spcPts val="620"/>
                        </a:spcBef>
                      </a:pPr>
                      <a:r>
                        <a:rPr sz="1500" b="1" spc="-100" dirty="0">
                          <a:solidFill>
                            <a:srgbClr val="FFFFFF"/>
                          </a:solidFill>
                          <a:latin typeface="Verdana"/>
                          <a:cs typeface="Verdana"/>
                        </a:rPr>
                        <a:t>PERIZINAN</a:t>
                      </a:r>
                      <a:endParaRPr sz="1500">
                        <a:latin typeface="Verdana"/>
                        <a:cs typeface="Verdana"/>
                      </a:endParaRPr>
                    </a:p>
                  </a:txBody>
                  <a:tcPr marL="0" marR="0" marT="86952" marB="0">
                    <a:lnL w="9525">
                      <a:solidFill>
                        <a:srgbClr val="E6E7E7"/>
                      </a:solidFill>
                      <a:prstDash val="solid"/>
                    </a:lnL>
                    <a:lnR w="9525">
                      <a:solidFill>
                        <a:srgbClr val="E6E7E7"/>
                      </a:solidFill>
                      <a:prstDash val="solid"/>
                    </a:lnR>
                    <a:lnT w="9525">
                      <a:solidFill>
                        <a:srgbClr val="E6E7E7"/>
                      </a:solidFill>
                      <a:prstDash val="solid"/>
                    </a:lnT>
                    <a:solidFill>
                      <a:srgbClr val="9B1F14"/>
                    </a:solidFill>
                  </a:tcPr>
                </a:tc>
                <a:tc>
                  <a:txBody>
                    <a:bodyPr/>
                    <a:lstStyle/>
                    <a:p>
                      <a:pPr marL="98425">
                        <a:lnSpc>
                          <a:spcPts val="1639"/>
                        </a:lnSpc>
                        <a:spcBef>
                          <a:spcPts val="620"/>
                        </a:spcBef>
                      </a:pPr>
                      <a:r>
                        <a:rPr sz="1500" dirty="0">
                          <a:solidFill>
                            <a:srgbClr val="525252"/>
                          </a:solidFill>
                          <a:latin typeface="Verdana"/>
                          <a:cs typeface="Verdana"/>
                        </a:rPr>
                        <a:t>Nomor</a:t>
                      </a:r>
                      <a:r>
                        <a:rPr sz="1500" spc="-130" dirty="0">
                          <a:solidFill>
                            <a:srgbClr val="525252"/>
                          </a:solidFill>
                          <a:latin typeface="Verdana"/>
                          <a:cs typeface="Verdana"/>
                        </a:rPr>
                        <a:t> </a:t>
                      </a:r>
                      <a:r>
                        <a:rPr sz="1500" dirty="0">
                          <a:solidFill>
                            <a:srgbClr val="525252"/>
                          </a:solidFill>
                          <a:latin typeface="Verdana"/>
                          <a:cs typeface="Verdana"/>
                        </a:rPr>
                        <a:t>Induk</a:t>
                      </a:r>
                      <a:endParaRPr sz="1500">
                        <a:latin typeface="Verdana"/>
                        <a:cs typeface="Verdana"/>
                      </a:endParaRPr>
                    </a:p>
                  </a:txBody>
                  <a:tcPr marL="0" marR="0" marT="86952" marB="0">
                    <a:lnL w="9525">
                      <a:solidFill>
                        <a:srgbClr val="E6E7E7"/>
                      </a:solidFill>
                      <a:prstDash val="solid"/>
                    </a:lnL>
                    <a:lnR w="9525">
                      <a:solidFill>
                        <a:srgbClr val="E6E7E7"/>
                      </a:solidFill>
                      <a:prstDash val="solid"/>
                    </a:lnR>
                    <a:lnT w="9525">
                      <a:solidFill>
                        <a:srgbClr val="E6E7E7"/>
                      </a:solidFill>
                      <a:prstDash val="solid"/>
                    </a:lnT>
                  </a:tcPr>
                </a:tc>
                <a:tc>
                  <a:txBody>
                    <a:bodyPr/>
                    <a:lstStyle/>
                    <a:p>
                      <a:pPr marL="97790">
                        <a:lnSpc>
                          <a:spcPts val="1639"/>
                        </a:lnSpc>
                        <a:spcBef>
                          <a:spcPts val="620"/>
                        </a:spcBef>
                      </a:pPr>
                      <a:r>
                        <a:rPr sz="1500" dirty="0">
                          <a:solidFill>
                            <a:srgbClr val="525252"/>
                          </a:solidFill>
                          <a:latin typeface="Verdana"/>
                          <a:cs typeface="Verdana"/>
                        </a:rPr>
                        <a:t>Nomor</a:t>
                      </a:r>
                      <a:r>
                        <a:rPr sz="1500" spc="-130" dirty="0">
                          <a:solidFill>
                            <a:srgbClr val="525252"/>
                          </a:solidFill>
                          <a:latin typeface="Verdana"/>
                          <a:cs typeface="Verdana"/>
                        </a:rPr>
                        <a:t> </a:t>
                      </a:r>
                      <a:r>
                        <a:rPr sz="1500" dirty="0">
                          <a:solidFill>
                            <a:srgbClr val="525252"/>
                          </a:solidFill>
                          <a:latin typeface="Verdana"/>
                          <a:cs typeface="Verdana"/>
                        </a:rPr>
                        <a:t>Induk</a:t>
                      </a:r>
                      <a:endParaRPr sz="1500">
                        <a:latin typeface="Verdana"/>
                        <a:cs typeface="Verdana"/>
                      </a:endParaRPr>
                    </a:p>
                  </a:txBody>
                  <a:tcPr marL="0" marR="0" marT="86952" marB="0">
                    <a:lnL w="9525">
                      <a:solidFill>
                        <a:srgbClr val="E6E7E7"/>
                      </a:solidFill>
                      <a:prstDash val="solid"/>
                    </a:lnL>
                    <a:lnR w="9525">
                      <a:solidFill>
                        <a:srgbClr val="E6E7E7"/>
                      </a:solidFill>
                      <a:prstDash val="solid"/>
                    </a:lnR>
                    <a:lnT w="9525">
                      <a:solidFill>
                        <a:srgbClr val="E6E7E7"/>
                      </a:solidFill>
                      <a:prstDash val="solid"/>
                    </a:lnT>
                  </a:tcPr>
                </a:tc>
                <a:tc>
                  <a:txBody>
                    <a:bodyPr/>
                    <a:lstStyle/>
                    <a:p>
                      <a:pPr marL="98425">
                        <a:lnSpc>
                          <a:spcPts val="1639"/>
                        </a:lnSpc>
                        <a:spcBef>
                          <a:spcPts val="620"/>
                        </a:spcBef>
                      </a:pPr>
                      <a:r>
                        <a:rPr sz="1500" dirty="0">
                          <a:solidFill>
                            <a:srgbClr val="525252"/>
                          </a:solidFill>
                          <a:latin typeface="Verdana"/>
                          <a:cs typeface="Verdana"/>
                        </a:rPr>
                        <a:t>Nomor</a:t>
                      </a:r>
                      <a:r>
                        <a:rPr sz="1500" spc="-130" dirty="0">
                          <a:solidFill>
                            <a:srgbClr val="525252"/>
                          </a:solidFill>
                          <a:latin typeface="Verdana"/>
                          <a:cs typeface="Verdana"/>
                        </a:rPr>
                        <a:t> </a:t>
                      </a:r>
                      <a:r>
                        <a:rPr sz="1500" dirty="0">
                          <a:solidFill>
                            <a:srgbClr val="525252"/>
                          </a:solidFill>
                          <a:latin typeface="Verdana"/>
                          <a:cs typeface="Verdana"/>
                        </a:rPr>
                        <a:t>Induk</a:t>
                      </a:r>
                      <a:endParaRPr sz="1500">
                        <a:latin typeface="Verdana"/>
                        <a:cs typeface="Verdana"/>
                      </a:endParaRPr>
                    </a:p>
                  </a:txBody>
                  <a:tcPr marL="0" marR="0" marT="86952" marB="0">
                    <a:lnL w="9525">
                      <a:solidFill>
                        <a:srgbClr val="E6E7E7"/>
                      </a:solidFill>
                      <a:prstDash val="solid"/>
                    </a:lnL>
                    <a:lnR w="9525">
                      <a:solidFill>
                        <a:srgbClr val="E6E7E7"/>
                      </a:solidFill>
                      <a:prstDash val="solid"/>
                    </a:lnR>
                    <a:lnT w="9525">
                      <a:solidFill>
                        <a:srgbClr val="E6E7E7"/>
                      </a:solidFill>
                      <a:prstDash val="solid"/>
                    </a:lnT>
                  </a:tcPr>
                </a:tc>
                <a:tc>
                  <a:txBody>
                    <a:bodyPr/>
                    <a:lstStyle/>
                    <a:p>
                      <a:pPr marL="98425">
                        <a:lnSpc>
                          <a:spcPts val="1639"/>
                        </a:lnSpc>
                        <a:spcBef>
                          <a:spcPts val="620"/>
                        </a:spcBef>
                      </a:pPr>
                      <a:r>
                        <a:rPr sz="1500" dirty="0">
                          <a:solidFill>
                            <a:srgbClr val="525252"/>
                          </a:solidFill>
                          <a:latin typeface="Verdana"/>
                          <a:cs typeface="Verdana"/>
                        </a:rPr>
                        <a:t>Nomor</a:t>
                      </a:r>
                      <a:r>
                        <a:rPr sz="1500" spc="-130" dirty="0">
                          <a:solidFill>
                            <a:srgbClr val="525252"/>
                          </a:solidFill>
                          <a:latin typeface="Verdana"/>
                          <a:cs typeface="Verdana"/>
                        </a:rPr>
                        <a:t> </a:t>
                      </a:r>
                      <a:r>
                        <a:rPr sz="1500" dirty="0">
                          <a:solidFill>
                            <a:srgbClr val="525252"/>
                          </a:solidFill>
                          <a:latin typeface="Verdana"/>
                          <a:cs typeface="Verdana"/>
                        </a:rPr>
                        <a:t>Induk</a:t>
                      </a:r>
                      <a:endParaRPr sz="1500">
                        <a:latin typeface="Verdana"/>
                        <a:cs typeface="Verdana"/>
                      </a:endParaRPr>
                    </a:p>
                  </a:txBody>
                  <a:tcPr marL="0" marR="0" marT="86952" marB="0">
                    <a:lnL w="9525">
                      <a:solidFill>
                        <a:srgbClr val="E6E7E7"/>
                      </a:solidFill>
                      <a:prstDash val="solid"/>
                    </a:lnL>
                    <a:lnR w="9525">
                      <a:solidFill>
                        <a:srgbClr val="E6E7E7"/>
                      </a:solidFill>
                      <a:prstDash val="solid"/>
                    </a:lnR>
                    <a:lnT w="9525">
                      <a:solidFill>
                        <a:srgbClr val="E6E7E7"/>
                      </a:solidFill>
                      <a:prstDash val="solid"/>
                    </a:lnT>
                  </a:tcPr>
                </a:tc>
                <a:extLst>
                  <a:ext uri="{0D108BD9-81ED-4DB2-BD59-A6C34878D82A}">
                    <a16:rowId xmlns:a16="http://schemas.microsoft.com/office/drawing/2014/main" val="10001"/>
                  </a:ext>
                </a:extLst>
              </a:tr>
              <a:tr h="471691">
                <a:tc>
                  <a:txBody>
                    <a:bodyPr/>
                    <a:lstStyle/>
                    <a:p>
                      <a:pPr marL="111125">
                        <a:lnSpc>
                          <a:spcPts val="1620"/>
                        </a:lnSpc>
                      </a:pPr>
                      <a:r>
                        <a:rPr sz="1500" b="1" spc="-40" dirty="0">
                          <a:solidFill>
                            <a:srgbClr val="FFFFFF"/>
                          </a:solidFill>
                          <a:latin typeface="Verdana"/>
                          <a:cs typeface="Verdana"/>
                        </a:rPr>
                        <a:t>BERUSAHA</a:t>
                      </a:r>
                      <a:endParaRPr sz="1500">
                        <a:latin typeface="Verdana"/>
                        <a:cs typeface="Verdana"/>
                      </a:endParaRPr>
                    </a:p>
                  </a:txBody>
                  <a:tcPr marL="0" marR="0" marT="0" marB="0">
                    <a:lnL w="9525">
                      <a:solidFill>
                        <a:srgbClr val="E6E7E7"/>
                      </a:solidFill>
                      <a:prstDash val="solid"/>
                    </a:lnL>
                    <a:lnR w="9525">
                      <a:solidFill>
                        <a:srgbClr val="E6E7E7"/>
                      </a:solidFill>
                      <a:prstDash val="solid"/>
                    </a:lnR>
                    <a:solidFill>
                      <a:srgbClr val="9B1F14"/>
                    </a:solidFill>
                  </a:tcPr>
                </a:tc>
                <a:tc>
                  <a:txBody>
                    <a:bodyPr/>
                    <a:lstStyle/>
                    <a:p>
                      <a:pPr marL="98425">
                        <a:lnSpc>
                          <a:spcPts val="1620"/>
                        </a:lnSpc>
                      </a:pPr>
                      <a:r>
                        <a:rPr sz="1500" spc="10" dirty="0">
                          <a:solidFill>
                            <a:srgbClr val="525252"/>
                          </a:solidFill>
                          <a:latin typeface="Verdana"/>
                          <a:cs typeface="Verdana"/>
                        </a:rPr>
                        <a:t>Berusaha</a:t>
                      </a:r>
                      <a:endParaRPr sz="1500">
                        <a:latin typeface="Verdana"/>
                        <a:cs typeface="Verdana"/>
                      </a:endParaRPr>
                    </a:p>
                    <a:p>
                      <a:pPr marL="98425">
                        <a:lnSpc>
                          <a:spcPts val="1645"/>
                        </a:lnSpc>
                      </a:pPr>
                      <a:r>
                        <a:rPr sz="1500" spc="-70" dirty="0">
                          <a:solidFill>
                            <a:srgbClr val="525252"/>
                          </a:solidFill>
                          <a:latin typeface="Verdana"/>
                          <a:cs typeface="Verdana"/>
                        </a:rPr>
                        <a:t>(NIB)</a:t>
                      </a:r>
                      <a:endParaRPr sz="1500">
                        <a:latin typeface="Verdana"/>
                        <a:cs typeface="Verdana"/>
                      </a:endParaRPr>
                    </a:p>
                  </a:txBody>
                  <a:tcPr marL="0" marR="0" marT="0" marB="0">
                    <a:lnL w="9525">
                      <a:solidFill>
                        <a:srgbClr val="E6E7E7"/>
                      </a:solidFill>
                      <a:prstDash val="solid"/>
                    </a:lnL>
                    <a:lnR w="9525">
                      <a:solidFill>
                        <a:srgbClr val="E6E7E7"/>
                      </a:solidFill>
                      <a:prstDash val="solid"/>
                    </a:lnR>
                  </a:tcPr>
                </a:tc>
                <a:tc>
                  <a:txBody>
                    <a:bodyPr/>
                    <a:lstStyle/>
                    <a:p>
                      <a:pPr marL="97790">
                        <a:lnSpc>
                          <a:spcPts val="1620"/>
                        </a:lnSpc>
                      </a:pPr>
                      <a:r>
                        <a:rPr sz="1500" dirty="0">
                          <a:solidFill>
                            <a:srgbClr val="525252"/>
                          </a:solidFill>
                          <a:latin typeface="Verdana"/>
                          <a:cs typeface="Verdana"/>
                        </a:rPr>
                        <a:t>Berusaha</a:t>
                      </a:r>
                      <a:r>
                        <a:rPr sz="1500" spc="-130" dirty="0">
                          <a:solidFill>
                            <a:srgbClr val="525252"/>
                          </a:solidFill>
                          <a:latin typeface="Verdana"/>
                          <a:cs typeface="Verdana"/>
                        </a:rPr>
                        <a:t> </a:t>
                      </a:r>
                      <a:r>
                        <a:rPr sz="1500" dirty="0">
                          <a:solidFill>
                            <a:srgbClr val="525252"/>
                          </a:solidFill>
                          <a:latin typeface="Verdana"/>
                          <a:cs typeface="Verdana"/>
                        </a:rPr>
                        <a:t>(NIB)</a:t>
                      </a:r>
                      <a:r>
                        <a:rPr sz="1500" spc="-130" dirty="0">
                          <a:solidFill>
                            <a:srgbClr val="525252"/>
                          </a:solidFill>
                          <a:latin typeface="Verdana"/>
                          <a:cs typeface="Verdana"/>
                        </a:rPr>
                        <a:t> </a:t>
                      </a:r>
                      <a:r>
                        <a:rPr sz="1500" dirty="0">
                          <a:solidFill>
                            <a:srgbClr val="525252"/>
                          </a:solidFill>
                          <a:latin typeface="Verdana"/>
                          <a:cs typeface="Verdana"/>
                        </a:rPr>
                        <a:t>dan</a:t>
                      </a:r>
                      <a:endParaRPr sz="1500">
                        <a:latin typeface="Verdana"/>
                        <a:cs typeface="Verdana"/>
                      </a:endParaRPr>
                    </a:p>
                    <a:p>
                      <a:pPr marL="97790">
                        <a:lnSpc>
                          <a:spcPts val="1639"/>
                        </a:lnSpc>
                      </a:pPr>
                      <a:r>
                        <a:rPr sz="1500" dirty="0">
                          <a:solidFill>
                            <a:srgbClr val="525252"/>
                          </a:solidFill>
                          <a:latin typeface="Verdana"/>
                          <a:cs typeface="Verdana"/>
                        </a:rPr>
                        <a:t>Se</a:t>
                      </a:r>
                      <a:r>
                        <a:rPr sz="1500" spc="15" dirty="0">
                          <a:solidFill>
                            <a:srgbClr val="525252"/>
                          </a:solidFill>
                          <a:latin typeface="Verdana"/>
                          <a:cs typeface="Verdana"/>
                        </a:rPr>
                        <a:t>r</a:t>
                      </a:r>
                      <a:r>
                        <a:rPr sz="1500" dirty="0">
                          <a:solidFill>
                            <a:srgbClr val="525252"/>
                          </a:solidFill>
                          <a:latin typeface="Verdana"/>
                          <a:cs typeface="Verdana"/>
                        </a:rPr>
                        <a:t>tiﬁ</a:t>
                      </a:r>
                      <a:r>
                        <a:rPr sz="1500" spc="-15" dirty="0">
                          <a:solidFill>
                            <a:srgbClr val="525252"/>
                          </a:solidFill>
                          <a:latin typeface="Verdana"/>
                          <a:cs typeface="Verdana"/>
                        </a:rPr>
                        <a:t>k</a:t>
                      </a:r>
                      <a:r>
                        <a:rPr sz="1500" dirty="0">
                          <a:solidFill>
                            <a:srgbClr val="525252"/>
                          </a:solidFill>
                          <a:latin typeface="Verdana"/>
                          <a:cs typeface="Verdana"/>
                        </a:rPr>
                        <a:t>at</a:t>
                      </a:r>
                      <a:r>
                        <a:rPr sz="1500" spc="-130" dirty="0">
                          <a:solidFill>
                            <a:srgbClr val="525252"/>
                          </a:solidFill>
                          <a:latin typeface="Verdana"/>
                          <a:cs typeface="Verdana"/>
                        </a:rPr>
                        <a:t> </a:t>
                      </a:r>
                      <a:r>
                        <a:rPr sz="1500" dirty="0">
                          <a:solidFill>
                            <a:srgbClr val="525252"/>
                          </a:solidFill>
                          <a:latin typeface="Verdana"/>
                          <a:cs typeface="Verdana"/>
                        </a:rPr>
                        <a:t>Standar</a:t>
                      </a:r>
                      <a:endParaRPr sz="1500">
                        <a:latin typeface="Verdana"/>
                        <a:cs typeface="Verdana"/>
                      </a:endParaRPr>
                    </a:p>
                  </a:txBody>
                  <a:tcPr marL="0" marR="0" marT="0" marB="0">
                    <a:lnL w="9525">
                      <a:solidFill>
                        <a:srgbClr val="E6E7E7"/>
                      </a:solidFill>
                      <a:prstDash val="solid"/>
                    </a:lnL>
                    <a:lnR w="9525">
                      <a:solidFill>
                        <a:srgbClr val="E6E7E7"/>
                      </a:solidFill>
                      <a:prstDash val="solid"/>
                    </a:lnR>
                  </a:tcPr>
                </a:tc>
                <a:tc>
                  <a:txBody>
                    <a:bodyPr/>
                    <a:lstStyle/>
                    <a:p>
                      <a:pPr marL="98425">
                        <a:lnSpc>
                          <a:spcPts val="1620"/>
                        </a:lnSpc>
                      </a:pPr>
                      <a:r>
                        <a:rPr sz="1500" spc="10" dirty="0">
                          <a:solidFill>
                            <a:srgbClr val="525252"/>
                          </a:solidFill>
                          <a:latin typeface="Verdana"/>
                          <a:cs typeface="Verdana"/>
                        </a:rPr>
                        <a:t>Berusaha</a:t>
                      </a:r>
                      <a:r>
                        <a:rPr sz="1500" spc="210" dirty="0">
                          <a:solidFill>
                            <a:srgbClr val="525252"/>
                          </a:solidFill>
                          <a:latin typeface="Verdana"/>
                          <a:cs typeface="Verdana"/>
                        </a:rPr>
                        <a:t> </a:t>
                      </a:r>
                      <a:r>
                        <a:rPr sz="1500" spc="-70" dirty="0">
                          <a:solidFill>
                            <a:srgbClr val="525252"/>
                          </a:solidFill>
                          <a:latin typeface="Verdana"/>
                          <a:cs typeface="Verdana"/>
                        </a:rPr>
                        <a:t>(NIB)</a:t>
                      </a:r>
                      <a:endParaRPr sz="1500">
                        <a:latin typeface="Verdana"/>
                        <a:cs typeface="Verdana"/>
                      </a:endParaRPr>
                    </a:p>
                    <a:p>
                      <a:pPr marL="98425">
                        <a:lnSpc>
                          <a:spcPts val="1639"/>
                        </a:lnSpc>
                      </a:pPr>
                      <a:r>
                        <a:rPr sz="1500" spc="40" dirty="0">
                          <a:solidFill>
                            <a:srgbClr val="525252"/>
                          </a:solidFill>
                          <a:latin typeface="Verdana"/>
                          <a:cs typeface="Verdana"/>
                        </a:rPr>
                        <a:t>dan</a:t>
                      </a:r>
                      <a:endParaRPr sz="1500">
                        <a:latin typeface="Verdana"/>
                        <a:cs typeface="Verdana"/>
                      </a:endParaRPr>
                    </a:p>
                  </a:txBody>
                  <a:tcPr marL="0" marR="0" marT="0" marB="0">
                    <a:lnL w="9525">
                      <a:solidFill>
                        <a:srgbClr val="E6E7E7"/>
                      </a:solidFill>
                      <a:prstDash val="solid"/>
                    </a:lnL>
                    <a:lnR w="9525">
                      <a:solidFill>
                        <a:srgbClr val="E6E7E7"/>
                      </a:solidFill>
                      <a:prstDash val="solid"/>
                    </a:lnR>
                  </a:tcPr>
                </a:tc>
                <a:tc>
                  <a:txBody>
                    <a:bodyPr/>
                    <a:lstStyle/>
                    <a:p>
                      <a:pPr marL="98425">
                        <a:lnSpc>
                          <a:spcPts val="1620"/>
                        </a:lnSpc>
                      </a:pPr>
                      <a:r>
                        <a:rPr sz="1500" spc="10" dirty="0">
                          <a:solidFill>
                            <a:srgbClr val="525252"/>
                          </a:solidFill>
                          <a:latin typeface="Verdana"/>
                          <a:cs typeface="Verdana"/>
                        </a:rPr>
                        <a:t>Berusaha</a:t>
                      </a:r>
                      <a:r>
                        <a:rPr sz="1500" spc="215" dirty="0">
                          <a:solidFill>
                            <a:srgbClr val="525252"/>
                          </a:solidFill>
                          <a:latin typeface="Verdana"/>
                          <a:cs typeface="Verdana"/>
                        </a:rPr>
                        <a:t> </a:t>
                      </a:r>
                      <a:r>
                        <a:rPr sz="1500" spc="-95" dirty="0">
                          <a:solidFill>
                            <a:srgbClr val="525252"/>
                          </a:solidFill>
                          <a:latin typeface="Verdana"/>
                          <a:cs typeface="Verdana"/>
                        </a:rPr>
                        <a:t>(NIB),</a:t>
                      </a:r>
                      <a:endParaRPr sz="1500">
                        <a:latin typeface="Verdana"/>
                        <a:cs typeface="Verdana"/>
                      </a:endParaRPr>
                    </a:p>
                    <a:p>
                      <a:pPr marL="98425">
                        <a:lnSpc>
                          <a:spcPts val="1639"/>
                        </a:lnSpc>
                      </a:pPr>
                      <a:r>
                        <a:rPr sz="1500" dirty="0">
                          <a:solidFill>
                            <a:srgbClr val="525252"/>
                          </a:solidFill>
                          <a:latin typeface="Verdana"/>
                          <a:cs typeface="Verdana"/>
                        </a:rPr>
                        <a:t>Izin</a:t>
                      </a:r>
                      <a:r>
                        <a:rPr sz="1500" spc="-130" dirty="0">
                          <a:solidFill>
                            <a:srgbClr val="525252"/>
                          </a:solidFill>
                          <a:latin typeface="Verdana"/>
                          <a:cs typeface="Verdana"/>
                        </a:rPr>
                        <a:t> </a:t>
                      </a:r>
                      <a:r>
                        <a:rPr sz="1500" spc="-25" dirty="0">
                          <a:solidFill>
                            <a:srgbClr val="525252"/>
                          </a:solidFill>
                          <a:latin typeface="Verdana"/>
                          <a:cs typeface="Verdana"/>
                        </a:rPr>
                        <a:t>y</a:t>
                      </a:r>
                      <a:r>
                        <a:rPr sz="1500" dirty="0">
                          <a:solidFill>
                            <a:srgbClr val="525252"/>
                          </a:solidFill>
                          <a:latin typeface="Verdana"/>
                          <a:cs typeface="Verdana"/>
                        </a:rPr>
                        <a:t>ang</a:t>
                      </a:r>
                      <a:r>
                        <a:rPr sz="1500" spc="-130" dirty="0">
                          <a:solidFill>
                            <a:srgbClr val="525252"/>
                          </a:solidFill>
                          <a:latin typeface="Verdana"/>
                          <a:cs typeface="Verdana"/>
                        </a:rPr>
                        <a:t> </a:t>
                      </a:r>
                      <a:r>
                        <a:rPr sz="1500" dirty="0">
                          <a:solidFill>
                            <a:srgbClr val="525252"/>
                          </a:solidFill>
                          <a:latin typeface="Verdana"/>
                          <a:cs typeface="Verdana"/>
                        </a:rPr>
                        <a:t>harus</a:t>
                      </a:r>
                      <a:endParaRPr sz="1500">
                        <a:latin typeface="Verdana"/>
                        <a:cs typeface="Verdana"/>
                      </a:endParaRPr>
                    </a:p>
                  </a:txBody>
                  <a:tcPr marL="0" marR="0" marT="0" marB="0">
                    <a:lnL w="9525">
                      <a:solidFill>
                        <a:srgbClr val="E6E7E7"/>
                      </a:solidFill>
                      <a:prstDash val="solid"/>
                    </a:lnL>
                    <a:lnR w="9525">
                      <a:solidFill>
                        <a:srgbClr val="E6E7E7"/>
                      </a:solidFill>
                      <a:prstDash val="solid"/>
                    </a:lnR>
                  </a:tcPr>
                </a:tc>
                <a:extLst>
                  <a:ext uri="{0D108BD9-81ED-4DB2-BD59-A6C34878D82A}">
                    <a16:rowId xmlns:a16="http://schemas.microsoft.com/office/drawing/2014/main" val="10002"/>
                  </a:ext>
                </a:extLst>
              </a:tr>
              <a:tr h="235145">
                <a:tc>
                  <a:txBody>
                    <a:bodyPr/>
                    <a:lstStyle/>
                    <a:p>
                      <a:pPr>
                        <a:lnSpc>
                          <a:spcPct val="100000"/>
                        </a:lnSpc>
                      </a:pPr>
                      <a:endParaRPr sz="1300">
                        <a:latin typeface="Times New Roman"/>
                        <a:cs typeface="Times New Roman"/>
                      </a:endParaRPr>
                    </a:p>
                  </a:txBody>
                  <a:tcPr marL="0" marR="0" marT="0" marB="0">
                    <a:lnL w="9525">
                      <a:solidFill>
                        <a:srgbClr val="E6E7E7"/>
                      </a:solidFill>
                      <a:prstDash val="solid"/>
                    </a:lnL>
                    <a:lnR w="9525">
                      <a:solidFill>
                        <a:srgbClr val="E6E7E7"/>
                      </a:solidFill>
                      <a:prstDash val="solid"/>
                    </a:lnR>
                    <a:solidFill>
                      <a:srgbClr val="9B1F14"/>
                    </a:solidFill>
                  </a:tcPr>
                </a:tc>
                <a:tc>
                  <a:txBody>
                    <a:bodyPr/>
                    <a:lstStyle/>
                    <a:p>
                      <a:pPr>
                        <a:lnSpc>
                          <a:spcPct val="100000"/>
                        </a:lnSpc>
                      </a:pPr>
                      <a:endParaRPr sz="1300">
                        <a:latin typeface="Times New Roman"/>
                        <a:cs typeface="Times New Roman"/>
                      </a:endParaRPr>
                    </a:p>
                  </a:txBody>
                  <a:tcPr marL="0" marR="0" marT="0" marB="0">
                    <a:lnL w="9525">
                      <a:solidFill>
                        <a:srgbClr val="E6E7E7"/>
                      </a:solidFill>
                      <a:prstDash val="solid"/>
                    </a:lnL>
                    <a:lnR w="9525">
                      <a:solidFill>
                        <a:srgbClr val="E6E7E7"/>
                      </a:solidFill>
                      <a:prstDash val="solid"/>
                    </a:lnR>
                  </a:tcPr>
                </a:tc>
                <a:tc>
                  <a:txBody>
                    <a:bodyPr/>
                    <a:lstStyle/>
                    <a:p>
                      <a:pPr marL="97790">
                        <a:lnSpc>
                          <a:spcPts val="1575"/>
                        </a:lnSpc>
                      </a:pPr>
                      <a:r>
                        <a:rPr sz="1500" dirty="0">
                          <a:solidFill>
                            <a:srgbClr val="525252"/>
                          </a:solidFill>
                          <a:latin typeface="Verdana"/>
                          <a:cs typeface="Verdana"/>
                        </a:rPr>
                        <a:t>(SS)</a:t>
                      </a:r>
                      <a:r>
                        <a:rPr sz="1500" spc="-130" dirty="0">
                          <a:solidFill>
                            <a:srgbClr val="525252"/>
                          </a:solidFill>
                          <a:latin typeface="Verdana"/>
                          <a:cs typeface="Verdana"/>
                        </a:rPr>
                        <a:t> </a:t>
                      </a:r>
                      <a:r>
                        <a:rPr sz="1500" dirty="0">
                          <a:solidFill>
                            <a:srgbClr val="525252"/>
                          </a:solidFill>
                          <a:latin typeface="Verdana"/>
                          <a:cs typeface="Verdana"/>
                        </a:rPr>
                        <a:t>beru</a:t>
                      </a:r>
                      <a:r>
                        <a:rPr sz="1500" spc="-5" dirty="0">
                          <a:solidFill>
                            <a:srgbClr val="525252"/>
                          </a:solidFill>
                          <a:latin typeface="Verdana"/>
                          <a:cs typeface="Verdana"/>
                        </a:rPr>
                        <a:t>p</a:t>
                      </a:r>
                      <a:r>
                        <a:rPr sz="1500" dirty="0">
                          <a:solidFill>
                            <a:srgbClr val="525252"/>
                          </a:solidFill>
                          <a:latin typeface="Verdana"/>
                          <a:cs typeface="Verdana"/>
                        </a:rPr>
                        <a:t>a</a:t>
                      </a:r>
                      <a:endParaRPr sz="1500">
                        <a:latin typeface="Verdana"/>
                        <a:cs typeface="Verdana"/>
                      </a:endParaRPr>
                    </a:p>
                  </a:txBody>
                  <a:tcPr marL="0" marR="0" marT="0" marB="0">
                    <a:lnL w="9525">
                      <a:solidFill>
                        <a:srgbClr val="E6E7E7"/>
                      </a:solidFill>
                      <a:prstDash val="solid"/>
                    </a:lnL>
                    <a:lnR w="9525">
                      <a:solidFill>
                        <a:srgbClr val="E6E7E7"/>
                      </a:solidFill>
                      <a:prstDash val="solid"/>
                    </a:lnR>
                  </a:tcPr>
                </a:tc>
                <a:tc>
                  <a:txBody>
                    <a:bodyPr/>
                    <a:lstStyle/>
                    <a:p>
                      <a:pPr marL="98425">
                        <a:lnSpc>
                          <a:spcPts val="1575"/>
                        </a:lnSpc>
                      </a:pPr>
                      <a:r>
                        <a:rPr sz="1500" dirty="0">
                          <a:solidFill>
                            <a:srgbClr val="525252"/>
                          </a:solidFill>
                          <a:latin typeface="Verdana"/>
                          <a:cs typeface="Verdana"/>
                        </a:rPr>
                        <a:t>Se</a:t>
                      </a:r>
                      <a:r>
                        <a:rPr sz="1500" spc="15" dirty="0">
                          <a:solidFill>
                            <a:srgbClr val="525252"/>
                          </a:solidFill>
                          <a:latin typeface="Verdana"/>
                          <a:cs typeface="Verdana"/>
                        </a:rPr>
                        <a:t>r</a:t>
                      </a:r>
                      <a:r>
                        <a:rPr sz="1500" dirty="0">
                          <a:solidFill>
                            <a:srgbClr val="525252"/>
                          </a:solidFill>
                          <a:latin typeface="Verdana"/>
                          <a:cs typeface="Verdana"/>
                        </a:rPr>
                        <a:t>tiﬁ</a:t>
                      </a:r>
                      <a:r>
                        <a:rPr sz="1500" spc="-15" dirty="0">
                          <a:solidFill>
                            <a:srgbClr val="525252"/>
                          </a:solidFill>
                          <a:latin typeface="Verdana"/>
                          <a:cs typeface="Verdana"/>
                        </a:rPr>
                        <a:t>k</a:t>
                      </a:r>
                      <a:r>
                        <a:rPr sz="1500" dirty="0">
                          <a:solidFill>
                            <a:srgbClr val="525252"/>
                          </a:solidFill>
                          <a:latin typeface="Verdana"/>
                          <a:cs typeface="Verdana"/>
                        </a:rPr>
                        <a:t>at</a:t>
                      </a:r>
                      <a:r>
                        <a:rPr sz="1500" spc="-130" dirty="0">
                          <a:solidFill>
                            <a:srgbClr val="525252"/>
                          </a:solidFill>
                          <a:latin typeface="Verdana"/>
                          <a:cs typeface="Verdana"/>
                        </a:rPr>
                        <a:t> </a:t>
                      </a:r>
                      <a:r>
                        <a:rPr sz="1500" dirty="0">
                          <a:solidFill>
                            <a:srgbClr val="525252"/>
                          </a:solidFill>
                          <a:latin typeface="Verdana"/>
                          <a:cs typeface="Verdana"/>
                        </a:rPr>
                        <a:t>Standar</a:t>
                      </a:r>
                      <a:endParaRPr sz="1500">
                        <a:latin typeface="Verdana"/>
                        <a:cs typeface="Verdana"/>
                      </a:endParaRPr>
                    </a:p>
                  </a:txBody>
                  <a:tcPr marL="0" marR="0" marT="0" marB="0">
                    <a:lnL w="9525">
                      <a:solidFill>
                        <a:srgbClr val="E6E7E7"/>
                      </a:solidFill>
                      <a:prstDash val="solid"/>
                    </a:lnL>
                    <a:lnR w="9525">
                      <a:solidFill>
                        <a:srgbClr val="E6E7E7"/>
                      </a:solidFill>
                      <a:prstDash val="solid"/>
                    </a:lnR>
                  </a:tcPr>
                </a:tc>
                <a:tc>
                  <a:txBody>
                    <a:bodyPr/>
                    <a:lstStyle/>
                    <a:p>
                      <a:pPr marL="98425">
                        <a:lnSpc>
                          <a:spcPts val="1575"/>
                        </a:lnSpc>
                      </a:pPr>
                      <a:r>
                        <a:rPr sz="1500" spc="5" dirty="0">
                          <a:solidFill>
                            <a:srgbClr val="525252"/>
                          </a:solidFill>
                          <a:latin typeface="Verdana"/>
                          <a:cs typeface="Verdana"/>
                        </a:rPr>
                        <a:t>disetujui</a:t>
                      </a:r>
                      <a:r>
                        <a:rPr sz="1500" spc="195" dirty="0">
                          <a:solidFill>
                            <a:srgbClr val="525252"/>
                          </a:solidFill>
                          <a:latin typeface="Verdana"/>
                          <a:cs typeface="Verdana"/>
                        </a:rPr>
                        <a:t> </a:t>
                      </a:r>
                      <a:r>
                        <a:rPr sz="1500" spc="20" dirty="0">
                          <a:solidFill>
                            <a:srgbClr val="525252"/>
                          </a:solidFill>
                          <a:latin typeface="Verdana"/>
                          <a:cs typeface="Verdana"/>
                        </a:rPr>
                        <a:t>oleh</a:t>
                      </a:r>
                      <a:endParaRPr sz="1500">
                        <a:latin typeface="Verdana"/>
                        <a:cs typeface="Verdana"/>
                      </a:endParaRPr>
                    </a:p>
                  </a:txBody>
                  <a:tcPr marL="0" marR="0" marT="0" marB="0">
                    <a:lnL w="9525">
                      <a:solidFill>
                        <a:srgbClr val="E6E7E7"/>
                      </a:solidFill>
                      <a:prstDash val="solid"/>
                    </a:lnL>
                    <a:lnR w="9525">
                      <a:solidFill>
                        <a:srgbClr val="E6E7E7"/>
                      </a:solidFill>
                      <a:prstDash val="solid"/>
                    </a:lnR>
                  </a:tcPr>
                </a:tc>
                <a:extLst>
                  <a:ext uri="{0D108BD9-81ED-4DB2-BD59-A6C34878D82A}">
                    <a16:rowId xmlns:a16="http://schemas.microsoft.com/office/drawing/2014/main" val="10003"/>
                  </a:ext>
                </a:extLst>
              </a:tr>
              <a:tr h="236544">
                <a:tc>
                  <a:txBody>
                    <a:bodyPr/>
                    <a:lstStyle/>
                    <a:p>
                      <a:pPr>
                        <a:lnSpc>
                          <a:spcPct val="100000"/>
                        </a:lnSpc>
                      </a:pPr>
                      <a:endParaRPr sz="1300">
                        <a:latin typeface="Times New Roman"/>
                        <a:cs typeface="Times New Roman"/>
                      </a:endParaRPr>
                    </a:p>
                  </a:txBody>
                  <a:tcPr marL="0" marR="0" marT="0" marB="0">
                    <a:lnL w="9525">
                      <a:solidFill>
                        <a:srgbClr val="E6E7E7"/>
                      </a:solidFill>
                      <a:prstDash val="solid"/>
                    </a:lnL>
                    <a:lnR w="9525">
                      <a:solidFill>
                        <a:srgbClr val="E6E7E7"/>
                      </a:solidFill>
                      <a:prstDash val="solid"/>
                    </a:lnR>
                    <a:solidFill>
                      <a:srgbClr val="9B1F14"/>
                    </a:solidFill>
                  </a:tcPr>
                </a:tc>
                <a:tc>
                  <a:txBody>
                    <a:bodyPr/>
                    <a:lstStyle/>
                    <a:p>
                      <a:pPr>
                        <a:lnSpc>
                          <a:spcPct val="100000"/>
                        </a:lnSpc>
                      </a:pPr>
                      <a:endParaRPr sz="1300">
                        <a:latin typeface="Times New Roman"/>
                        <a:cs typeface="Times New Roman"/>
                      </a:endParaRPr>
                    </a:p>
                  </a:txBody>
                  <a:tcPr marL="0" marR="0" marT="0" marB="0">
                    <a:lnL w="9525">
                      <a:solidFill>
                        <a:srgbClr val="E6E7E7"/>
                      </a:solidFill>
                      <a:prstDash val="solid"/>
                    </a:lnL>
                    <a:lnR w="9525">
                      <a:solidFill>
                        <a:srgbClr val="E6E7E7"/>
                      </a:solidFill>
                      <a:prstDash val="solid"/>
                    </a:lnR>
                  </a:tcPr>
                </a:tc>
                <a:tc>
                  <a:txBody>
                    <a:bodyPr/>
                    <a:lstStyle/>
                    <a:p>
                      <a:pPr marL="97790">
                        <a:lnSpc>
                          <a:spcPts val="1590"/>
                        </a:lnSpc>
                      </a:pPr>
                      <a:r>
                        <a:rPr sz="1500" spc="-20" dirty="0">
                          <a:solidFill>
                            <a:srgbClr val="525252"/>
                          </a:solidFill>
                          <a:latin typeface="Verdana"/>
                          <a:cs typeface="Verdana"/>
                        </a:rPr>
                        <a:t>P</a:t>
                      </a:r>
                      <a:r>
                        <a:rPr sz="1500" dirty="0">
                          <a:solidFill>
                            <a:srgbClr val="525252"/>
                          </a:solidFill>
                          <a:latin typeface="Verdana"/>
                          <a:cs typeface="Verdana"/>
                        </a:rPr>
                        <a:t>e</a:t>
                      </a:r>
                      <a:r>
                        <a:rPr sz="1500" spc="-15" dirty="0">
                          <a:solidFill>
                            <a:srgbClr val="525252"/>
                          </a:solidFill>
                          <a:latin typeface="Verdana"/>
                          <a:cs typeface="Verdana"/>
                        </a:rPr>
                        <a:t>rn</a:t>
                      </a:r>
                      <a:r>
                        <a:rPr sz="1500" spc="-25" dirty="0">
                          <a:solidFill>
                            <a:srgbClr val="525252"/>
                          </a:solidFill>
                          <a:latin typeface="Verdana"/>
                          <a:cs typeface="Verdana"/>
                        </a:rPr>
                        <a:t>y</a:t>
                      </a:r>
                      <a:r>
                        <a:rPr sz="1500" dirty="0">
                          <a:solidFill>
                            <a:srgbClr val="525252"/>
                          </a:solidFill>
                          <a:latin typeface="Verdana"/>
                          <a:cs typeface="Verdana"/>
                        </a:rPr>
                        <a:t>ataan</a:t>
                      </a:r>
                      <a:r>
                        <a:rPr sz="1500" spc="-130" dirty="0">
                          <a:solidFill>
                            <a:srgbClr val="525252"/>
                          </a:solidFill>
                          <a:latin typeface="Verdana"/>
                          <a:cs typeface="Verdana"/>
                        </a:rPr>
                        <a:t> </a:t>
                      </a:r>
                      <a:r>
                        <a:rPr sz="1500" dirty="0">
                          <a:solidFill>
                            <a:srgbClr val="525252"/>
                          </a:solidFill>
                          <a:latin typeface="Verdana"/>
                          <a:cs typeface="Verdana"/>
                        </a:rPr>
                        <a:t>Mandi</a:t>
                      </a:r>
                      <a:r>
                        <a:rPr sz="1500" spc="-15" dirty="0">
                          <a:solidFill>
                            <a:srgbClr val="525252"/>
                          </a:solidFill>
                          <a:latin typeface="Verdana"/>
                          <a:cs typeface="Verdana"/>
                        </a:rPr>
                        <a:t>r</a:t>
                      </a:r>
                      <a:r>
                        <a:rPr sz="1500" dirty="0">
                          <a:solidFill>
                            <a:srgbClr val="525252"/>
                          </a:solidFill>
                          <a:latin typeface="Verdana"/>
                          <a:cs typeface="Verdana"/>
                        </a:rPr>
                        <a:t>i</a:t>
                      </a:r>
                      <a:endParaRPr sz="1500">
                        <a:latin typeface="Verdana"/>
                        <a:cs typeface="Verdana"/>
                      </a:endParaRPr>
                    </a:p>
                  </a:txBody>
                  <a:tcPr marL="0" marR="0" marT="0" marB="0">
                    <a:lnL w="9525">
                      <a:solidFill>
                        <a:srgbClr val="E6E7E7"/>
                      </a:solidFill>
                      <a:prstDash val="solid"/>
                    </a:lnL>
                    <a:lnR w="9525">
                      <a:solidFill>
                        <a:srgbClr val="E6E7E7"/>
                      </a:solidFill>
                      <a:prstDash val="solid"/>
                    </a:lnR>
                  </a:tcPr>
                </a:tc>
                <a:tc>
                  <a:txBody>
                    <a:bodyPr/>
                    <a:lstStyle/>
                    <a:p>
                      <a:pPr marL="98425">
                        <a:lnSpc>
                          <a:spcPts val="1585"/>
                        </a:lnSpc>
                      </a:pPr>
                      <a:r>
                        <a:rPr sz="1500" dirty="0">
                          <a:solidFill>
                            <a:srgbClr val="525252"/>
                          </a:solidFill>
                          <a:latin typeface="Verdana"/>
                          <a:cs typeface="Verdana"/>
                        </a:rPr>
                        <a:t>(SS)</a:t>
                      </a:r>
                      <a:r>
                        <a:rPr sz="1500" spc="240" dirty="0">
                          <a:solidFill>
                            <a:srgbClr val="525252"/>
                          </a:solidFill>
                          <a:latin typeface="Verdana"/>
                          <a:cs typeface="Verdana"/>
                        </a:rPr>
                        <a:t> </a:t>
                      </a:r>
                      <a:r>
                        <a:rPr sz="1500" spc="-25" dirty="0">
                          <a:solidFill>
                            <a:srgbClr val="525252"/>
                          </a:solidFill>
                          <a:latin typeface="Verdana"/>
                          <a:cs typeface="Verdana"/>
                        </a:rPr>
                        <a:t>y</a:t>
                      </a:r>
                      <a:r>
                        <a:rPr sz="1500" dirty="0">
                          <a:solidFill>
                            <a:srgbClr val="525252"/>
                          </a:solidFill>
                          <a:latin typeface="Verdana"/>
                          <a:cs typeface="Verdana"/>
                        </a:rPr>
                        <a:t>ang</a:t>
                      </a:r>
                      <a:r>
                        <a:rPr sz="1500" spc="-130" dirty="0">
                          <a:solidFill>
                            <a:srgbClr val="525252"/>
                          </a:solidFill>
                          <a:latin typeface="Verdana"/>
                          <a:cs typeface="Verdana"/>
                        </a:rPr>
                        <a:t> </a:t>
                      </a:r>
                      <a:r>
                        <a:rPr sz="1500" dirty="0">
                          <a:solidFill>
                            <a:srgbClr val="525252"/>
                          </a:solidFill>
                          <a:latin typeface="Verdana"/>
                          <a:cs typeface="Verdana"/>
                        </a:rPr>
                        <a:t>harus</a:t>
                      </a:r>
                      <a:endParaRPr sz="1500">
                        <a:latin typeface="Verdana"/>
                        <a:cs typeface="Verdana"/>
                      </a:endParaRPr>
                    </a:p>
                  </a:txBody>
                  <a:tcPr marL="0" marR="0" marT="0" marB="0">
                    <a:lnL w="9525">
                      <a:solidFill>
                        <a:srgbClr val="E6E7E7"/>
                      </a:solidFill>
                      <a:prstDash val="solid"/>
                    </a:lnL>
                    <a:lnR w="9525">
                      <a:solidFill>
                        <a:srgbClr val="E6E7E7"/>
                      </a:solidFill>
                      <a:prstDash val="solid"/>
                    </a:lnR>
                  </a:tcPr>
                </a:tc>
                <a:tc>
                  <a:txBody>
                    <a:bodyPr/>
                    <a:lstStyle/>
                    <a:p>
                      <a:pPr marL="98425">
                        <a:lnSpc>
                          <a:spcPts val="1585"/>
                        </a:lnSpc>
                      </a:pPr>
                      <a:r>
                        <a:rPr sz="1500" spc="10" dirty="0">
                          <a:solidFill>
                            <a:srgbClr val="525252"/>
                          </a:solidFill>
                          <a:latin typeface="Verdana"/>
                          <a:cs typeface="Verdana"/>
                        </a:rPr>
                        <a:t>Kementerian/Lemba</a:t>
                      </a:r>
                      <a:endParaRPr sz="1500">
                        <a:latin typeface="Verdana"/>
                        <a:cs typeface="Verdana"/>
                      </a:endParaRPr>
                    </a:p>
                  </a:txBody>
                  <a:tcPr marL="0" marR="0" marT="0" marB="0">
                    <a:lnL w="9525">
                      <a:solidFill>
                        <a:srgbClr val="E6E7E7"/>
                      </a:solidFill>
                      <a:prstDash val="solid"/>
                    </a:lnL>
                    <a:lnR w="9525">
                      <a:solidFill>
                        <a:srgbClr val="E6E7E7"/>
                      </a:solidFill>
                      <a:prstDash val="solid"/>
                    </a:lnR>
                  </a:tcPr>
                </a:tc>
                <a:extLst>
                  <a:ext uri="{0D108BD9-81ED-4DB2-BD59-A6C34878D82A}">
                    <a16:rowId xmlns:a16="http://schemas.microsoft.com/office/drawing/2014/main" val="10004"/>
                  </a:ext>
                </a:extLst>
              </a:tr>
              <a:tr h="234679">
                <a:tc>
                  <a:txBody>
                    <a:bodyPr/>
                    <a:lstStyle/>
                    <a:p>
                      <a:pPr>
                        <a:lnSpc>
                          <a:spcPct val="100000"/>
                        </a:lnSpc>
                      </a:pPr>
                      <a:endParaRPr sz="1300">
                        <a:latin typeface="Times New Roman"/>
                        <a:cs typeface="Times New Roman"/>
                      </a:endParaRPr>
                    </a:p>
                  </a:txBody>
                  <a:tcPr marL="0" marR="0" marT="0" marB="0">
                    <a:lnL w="9525">
                      <a:solidFill>
                        <a:srgbClr val="E6E7E7"/>
                      </a:solidFill>
                      <a:prstDash val="solid"/>
                    </a:lnL>
                    <a:lnR w="9525">
                      <a:solidFill>
                        <a:srgbClr val="E6E7E7"/>
                      </a:solidFill>
                      <a:prstDash val="solid"/>
                    </a:lnR>
                    <a:solidFill>
                      <a:srgbClr val="9B1F14"/>
                    </a:solidFill>
                  </a:tcPr>
                </a:tc>
                <a:tc>
                  <a:txBody>
                    <a:bodyPr/>
                    <a:lstStyle/>
                    <a:p>
                      <a:pPr>
                        <a:lnSpc>
                          <a:spcPct val="100000"/>
                        </a:lnSpc>
                      </a:pPr>
                      <a:endParaRPr sz="1300">
                        <a:latin typeface="Times New Roman"/>
                        <a:cs typeface="Times New Roman"/>
                      </a:endParaRPr>
                    </a:p>
                  </a:txBody>
                  <a:tcPr marL="0" marR="0" marT="0" marB="0">
                    <a:lnL w="9525">
                      <a:solidFill>
                        <a:srgbClr val="E6E7E7"/>
                      </a:solidFill>
                      <a:prstDash val="solid"/>
                    </a:lnL>
                    <a:lnR w="9525">
                      <a:solidFill>
                        <a:srgbClr val="E6E7E7"/>
                      </a:solidFill>
                      <a:prstDash val="solid"/>
                    </a:lnR>
                  </a:tcPr>
                </a:tc>
                <a:tc>
                  <a:txBody>
                    <a:bodyPr/>
                    <a:lstStyle/>
                    <a:p>
                      <a:pPr>
                        <a:lnSpc>
                          <a:spcPct val="100000"/>
                        </a:lnSpc>
                      </a:pPr>
                      <a:endParaRPr sz="1300">
                        <a:latin typeface="Times New Roman"/>
                        <a:cs typeface="Times New Roman"/>
                      </a:endParaRPr>
                    </a:p>
                  </a:txBody>
                  <a:tcPr marL="0" marR="0" marT="0" marB="0">
                    <a:lnL w="9525">
                      <a:solidFill>
                        <a:srgbClr val="E6E7E7"/>
                      </a:solidFill>
                      <a:prstDash val="solid"/>
                    </a:lnL>
                    <a:lnR w="9525">
                      <a:solidFill>
                        <a:srgbClr val="E6E7E7"/>
                      </a:solidFill>
                      <a:prstDash val="solid"/>
                    </a:lnR>
                  </a:tcPr>
                </a:tc>
                <a:tc>
                  <a:txBody>
                    <a:bodyPr/>
                    <a:lstStyle/>
                    <a:p>
                      <a:pPr marL="98425">
                        <a:lnSpc>
                          <a:spcPts val="1575"/>
                        </a:lnSpc>
                      </a:pPr>
                      <a:r>
                        <a:rPr sz="1500" spc="-5" dirty="0">
                          <a:solidFill>
                            <a:srgbClr val="525252"/>
                          </a:solidFill>
                          <a:latin typeface="Verdana"/>
                          <a:cs typeface="Verdana"/>
                        </a:rPr>
                        <a:t>diveriﬁkasi</a:t>
                      </a:r>
                      <a:r>
                        <a:rPr sz="1500" spc="190" dirty="0">
                          <a:solidFill>
                            <a:srgbClr val="525252"/>
                          </a:solidFill>
                          <a:latin typeface="Verdana"/>
                          <a:cs typeface="Verdana"/>
                        </a:rPr>
                        <a:t> </a:t>
                      </a:r>
                      <a:r>
                        <a:rPr sz="1500" spc="20" dirty="0">
                          <a:solidFill>
                            <a:srgbClr val="525252"/>
                          </a:solidFill>
                          <a:latin typeface="Verdana"/>
                          <a:cs typeface="Verdana"/>
                        </a:rPr>
                        <a:t>oleh</a:t>
                      </a:r>
                      <a:endParaRPr sz="1500">
                        <a:latin typeface="Verdana"/>
                        <a:cs typeface="Verdana"/>
                      </a:endParaRPr>
                    </a:p>
                  </a:txBody>
                  <a:tcPr marL="0" marR="0" marT="0" marB="0">
                    <a:lnL w="9525">
                      <a:solidFill>
                        <a:srgbClr val="E6E7E7"/>
                      </a:solidFill>
                      <a:prstDash val="solid"/>
                    </a:lnL>
                    <a:lnR w="9525">
                      <a:solidFill>
                        <a:srgbClr val="E6E7E7"/>
                      </a:solidFill>
                      <a:prstDash val="solid"/>
                    </a:lnR>
                  </a:tcPr>
                </a:tc>
                <a:tc>
                  <a:txBody>
                    <a:bodyPr/>
                    <a:lstStyle/>
                    <a:p>
                      <a:pPr marL="98425">
                        <a:lnSpc>
                          <a:spcPts val="1575"/>
                        </a:lnSpc>
                      </a:pPr>
                      <a:r>
                        <a:rPr sz="1500" spc="20" dirty="0">
                          <a:solidFill>
                            <a:srgbClr val="525252"/>
                          </a:solidFill>
                          <a:latin typeface="Verdana"/>
                          <a:cs typeface="Verdana"/>
                        </a:rPr>
                        <a:t>ga/Pemerintah</a:t>
                      </a:r>
                      <a:endParaRPr sz="1500">
                        <a:latin typeface="Verdana"/>
                        <a:cs typeface="Verdana"/>
                      </a:endParaRPr>
                    </a:p>
                  </a:txBody>
                  <a:tcPr marL="0" marR="0" marT="0" marB="0">
                    <a:lnL w="9525">
                      <a:solidFill>
                        <a:srgbClr val="E6E7E7"/>
                      </a:solidFill>
                      <a:prstDash val="solid"/>
                    </a:lnL>
                    <a:lnR w="9525">
                      <a:solidFill>
                        <a:srgbClr val="E6E7E7"/>
                      </a:solidFill>
                      <a:prstDash val="solid"/>
                    </a:lnR>
                  </a:tcPr>
                </a:tc>
                <a:extLst>
                  <a:ext uri="{0D108BD9-81ED-4DB2-BD59-A6C34878D82A}">
                    <a16:rowId xmlns:a16="http://schemas.microsoft.com/office/drawing/2014/main" val="10005"/>
                  </a:ext>
                </a:extLst>
              </a:tr>
              <a:tr h="235611">
                <a:tc>
                  <a:txBody>
                    <a:bodyPr/>
                    <a:lstStyle/>
                    <a:p>
                      <a:pPr>
                        <a:lnSpc>
                          <a:spcPct val="100000"/>
                        </a:lnSpc>
                      </a:pPr>
                      <a:endParaRPr sz="1300">
                        <a:latin typeface="Times New Roman"/>
                        <a:cs typeface="Times New Roman"/>
                      </a:endParaRPr>
                    </a:p>
                  </a:txBody>
                  <a:tcPr marL="0" marR="0" marT="0" marB="0">
                    <a:lnL w="9525">
                      <a:solidFill>
                        <a:srgbClr val="E6E7E7"/>
                      </a:solidFill>
                      <a:prstDash val="solid"/>
                    </a:lnL>
                    <a:lnR w="9525">
                      <a:solidFill>
                        <a:srgbClr val="E6E7E7"/>
                      </a:solidFill>
                      <a:prstDash val="solid"/>
                    </a:lnR>
                    <a:solidFill>
                      <a:srgbClr val="9B1F14"/>
                    </a:solidFill>
                  </a:tcPr>
                </a:tc>
                <a:tc>
                  <a:txBody>
                    <a:bodyPr/>
                    <a:lstStyle/>
                    <a:p>
                      <a:pPr>
                        <a:lnSpc>
                          <a:spcPct val="100000"/>
                        </a:lnSpc>
                      </a:pPr>
                      <a:endParaRPr sz="1300">
                        <a:latin typeface="Times New Roman"/>
                        <a:cs typeface="Times New Roman"/>
                      </a:endParaRPr>
                    </a:p>
                  </a:txBody>
                  <a:tcPr marL="0" marR="0" marT="0" marB="0">
                    <a:lnL w="9525">
                      <a:solidFill>
                        <a:srgbClr val="E6E7E7"/>
                      </a:solidFill>
                      <a:prstDash val="solid"/>
                    </a:lnL>
                    <a:lnR w="9525">
                      <a:solidFill>
                        <a:srgbClr val="E6E7E7"/>
                      </a:solidFill>
                      <a:prstDash val="solid"/>
                    </a:lnR>
                  </a:tcPr>
                </a:tc>
                <a:tc>
                  <a:txBody>
                    <a:bodyPr/>
                    <a:lstStyle/>
                    <a:p>
                      <a:pPr>
                        <a:lnSpc>
                          <a:spcPct val="100000"/>
                        </a:lnSpc>
                      </a:pPr>
                      <a:endParaRPr sz="1300">
                        <a:latin typeface="Times New Roman"/>
                        <a:cs typeface="Times New Roman"/>
                      </a:endParaRPr>
                    </a:p>
                  </a:txBody>
                  <a:tcPr marL="0" marR="0" marT="0" marB="0">
                    <a:lnL w="9525">
                      <a:solidFill>
                        <a:srgbClr val="E6E7E7"/>
                      </a:solidFill>
                      <a:prstDash val="solid"/>
                    </a:lnL>
                    <a:lnR w="9525">
                      <a:solidFill>
                        <a:srgbClr val="E6E7E7"/>
                      </a:solidFill>
                      <a:prstDash val="solid"/>
                    </a:lnR>
                  </a:tcPr>
                </a:tc>
                <a:tc>
                  <a:txBody>
                    <a:bodyPr/>
                    <a:lstStyle/>
                    <a:p>
                      <a:pPr marL="98425">
                        <a:lnSpc>
                          <a:spcPts val="1580"/>
                        </a:lnSpc>
                      </a:pPr>
                      <a:r>
                        <a:rPr sz="1500" spc="10" dirty="0">
                          <a:solidFill>
                            <a:srgbClr val="525252"/>
                          </a:solidFill>
                          <a:latin typeface="Verdana"/>
                          <a:cs typeface="Verdana"/>
                        </a:rPr>
                        <a:t>Kementerian/Lemba</a:t>
                      </a:r>
                      <a:endParaRPr sz="1500">
                        <a:latin typeface="Verdana"/>
                        <a:cs typeface="Verdana"/>
                      </a:endParaRPr>
                    </a:p>
                  </a:txBody>
                  <a:tcPr marL="0" marR="0" marT="0" marB="0">
                    <a:lnL w="9525">
                      <a:solidFill>
                        <a:srgbClr val="E6E7E7"/>
                      </a:solidFill>
                      <a:prstDash val="solid"/>
                    </a:lnL>
                    <a:lnR w="9525">
                      <a:solidFill>
                        <a:srgbClr val="E6E7E7"/>
                      </a:solidFill>
                      <a:prstDash val="solid"/>
                    </a:lnR>
                  </a:tcPr>
                </a:tc>
                <a:tc>
                  <a:txBody>
                    <a:bodyPr/>
                    <a:lstStyle/>
                    <a:p>
                      <a:pPr marL="98425">
                        <a:lnSpc>
                          <a:spcPts val="1580"/>
                        </a:lnSpc>
                      </a:pPr>
                      <a:r>
                        <a:rPr sz="1500" spc="-25" dirty="0">
                          <a:solidFill>
                            <a:srgbClr val="525252"/>
                          </a:solidFill>
                          <a:latin typeface="Verdana"/>
                          <a:cs typeface="Verdana"/>
                        </a:rPr>
                        <a:t>Daerah,</a:t>
                      </a:r>
                      <a:r>
                        <a:rPr sz="1500" spc="210" dirty="0">
                          <a:solidFill>
                            <a:srgbClr val="525252"/>
                          </a:solidFill>
                          <a:latin typeface="Verdana"/>
                          <a:cs typeface="Verdana"/>
                        </a:rPr>
                        <a:t> </a:t>
                      </a:r>
                      <a:r>
                        <a:rPr sz="1500" spc="-15" dirty="0">
                          <a:solidFill>
                            <a:srgbClr val="525252"/>
                          </a:solidFill>
                          <a:latin typeface="Verdana"/>
                          <a:cs typeface="Verdana"/>
                        </a:rPr>
                        <a:t>dan/atau</a:t>
                      </a:r>
                      <a:endParaRPr sz="1500">
                        <a:latin typeface="Verdana"/>
                        <a:cs typeface="Verdana"/>
                      </a:endParaRPr>
                    </a:p>
                  </a:txBody>
                  <a:tcPr marL="0" marR="0" marT="0" marB="0">
                    <a:lnL w="9525">
                      <a:solidFill>
                        <a:srgbClr val="E6E7E7"/>
                      </a:solidFill>
                      <a:prstDash val="solid"/>
                    </a:lnL>
                    <a:lnR w="9525">
                      <a:solidFill>
                        <a:srgbClr val="E6E7E7"/>
                      </a:solidFill>
                      <a:prstDash val="solid"/>
                    </a:lnR>
                  </a:tcPr>
                </a:tc>
                <a:extLst>
                  <a:ext uri="{0D108BD9-81ED-4DB2-BD59-A6C34878D82A}">
                    <a16:rowId xmlns:a16="http://schemas.microsoft.com/office/drawing/2014/main" val="10006"/>
                  </a:ext>
                </a:extLst>
              </a:tr>
              <a:tr h="235611">
                <a:tc>
                  <a:txBody>
                    <a:bodyPr/>
                    <a:lstStyle/>
                    <a:p>
                      <a:pPr>
                        <a:lnSpc>
                          <a:spcPct val="100000"/>
                        </a:lnSpc>
                      </a:pPr>
                      <a:endParaRPr sz="1300">
                        <a:latin typeface="Times New Roman"/>
                        <a:cs typeface="Times New Roman"/>
                      </a:endParaRPr>
                    </a:p>
                  </a:txBody>
                  <a:tcPr marL="0" marR="0" marT="0" marB="0">
                    <a:lnL w="9525">
                      <a:solidFill>
                        <a:srgbClr val="E6E7E7"/>
                      </a:solidFill>
                      <a:prstDash val="solid"/>
                    </a:lnL>
                    <a:lnR w="9525">
                      <a:solidFill>
                        <a:srgbClr val="E6E7E7"/>
                      </a:solidFill>
                      <a:prstDash val="solid"/>
                    </a:lnR>
                    <a:solidFill>
                      <a:srgbClr val="9B1F14"/>
                    </a:solidFill>
                  </a:tcPr>
                </a:tc>
                <a:tc>
                  <a:txBody>
                    <a:bodyPr/>
                    <a:lstStyle/>
                    <a:p>
                      <a:pPr>
                        <a:lnSpc>
                          <a:spcPct val="100000"/>
                        </a:lnSpc>
                      </a:pPr>
                      <a:endParaRPr sz="1300">
                        <a:latin typeface="Times New Roman"/>
                        <a:cs typeface="Times New Roman"/>
                      </a:endParaRPr>
                    </a:p>
                  </a:txBody>
                  <a:tcPr marL="0" marR="0" marT="0" marB="0">
                    <a:lnL w="9525">
                      <a:solidFill>
                        <a:srgbClr val="E6E7E7"/>
                      </a:solidFill>
                      <a:prstDash val="solid"/>
                    </a:lnL>
                    <a:lnR w="9525">
                      <a:solidFill>
                        <a:srgbClr val="E6E7E7"/>
                      </a:solidFill>
                      <a:prstDash val="solid"/>
                    </a:lnR>
                  </a:tcPr>
                </a:tc>
                <a:tc>
                  <a:txBody>
                    <a:bodyPr/>
                    <a:lstStyle/>
                    <a:p>
                      <a:pPr>
                        <a:lnSpc>
                          <a:spcPct val="100000"/>
                        </a:lnSpc>
                      </a:pPr>
                      <a:endParaRPr sz="1300">
                        <a:latin typeface="Times New Roman"/>
                        <a:cs typeface="Times New Roman"/>
                      </a:endParaRPr>
                    </a:p>
                  </a:txBody>
                  <a:tcPr marL="0" marR="0" marT="0" marB="0">
                    <a:lnL w="9525">
                      <a:solidFill>
                        <a:srgbClr val="E6E7E7"/>
                      </a:solidFill>
                      <a:prstDash val="solid"/>
                    </a:lnL>
                    <a:lnR w="9525">
                      <a:solidFill>
                        <a:srgbClr val="E6E7E7"/>
                      </a:solidFill>
                      <a:prstDash val="solid"/>
                    </a:lnR>
                  </a:tcPr>
                </a:tc>
                <a:tc>
                  <a:txBody>
                    <a:bodyPr/>
                    <a:lstStyle/>
                    <a:p>
                      <a:pPr marL="98425">
                        <a:lnSpc>
                          <a:spcPts val="1580"/>
                        </a:lnSpc>
                      </a:pPr>
                      <a:r>
                        <a:rPr sz="1500" spc="20" dirty="0">
                          <a:solidFill>
                            <a:srgbClr val="525252"/>
                          </a:solidFill>
                          <a:latin typeface="Verdana"/>
                          <a:cs typeface="Verdana"/>
                        </a:rPr>
                        <a:t>ga/Pemerintah</a:t>
                      </a:r>
                      <a:endParaRPr sz="1500">
                        <a:latin typeface="Verdana"/>
                        <a:cs typeface="Verdana"/>
                      </a:endParaRPr>
                    </a:p>
                  </a:txBody>
                  <a:tcPr marL="0" marR="0" marT="0" marB="0">
                    <a:lnL w="9525">
                      <a:solidFill>
                        <a:srgbClr val="E6E7E7"/>
                      </a:solidFill>
                      <a:prstDash val="solid"/>
                    </a:lnL>
                    <a:lnR w="9525">
                      <a:solidFill>
                        <a:srgbClr val="E6E7E7"/>
                      </a:solidFill>
                      <a:prstDash val="solid"/>
                    </a:lnR>
                  </a:tcPr>
                </a:tc>
                <a:tc>
                  <a:txBody>
                    <a:bodyPr/>
                    <a:lstStyle/>
                    <a:p>
                      <a:pPr marL="98425">
                        <a:lnSpc>
                          <a:spcPts val="1580"/>
                        </a:lnSpc>
                      </a:pPr>
                      <a:r>
                        <a:rPr sz="1500" spc="-5" dirty="0">
                          <a:solidFill>
                            <a:srgbClr val="525252"/>
                          </a:solidFill>
                          <a:latin typeface="Verdana"/>
                          <a:cs typeface="Verdana"/>
                        </a:rPr>
                        <a:t>Sertiﬁkat</a:t>
                      </a:r>
                      <a:r>
                        <a:rPr sz="1500" spc="215" dirty="0">
                          <a:solidFill>
                            <a:srgbClr val="525252"/>
                          </a:solidFill>
                          <a:latin typeface="Verdana"/>
                          <a:cs typeface="Verdana"/>
                        </a:rPr>
                        <a:t> </a:t>
                      </a:r>
                      <a:r>
                        <a:rPr sz="1500" spc="-5" dirty="0">
                          <a:solidFill>
                            <a:srgbClr val="525252"/>
                          </a:solidFill>
                          <a:latin typeface="Verdana"/>
                          <a:cs typeface="Verdana"/>
                        </a:rPr>
                        <a:t>Standar</a:t>
                      </a:r>
                      <a:endParaRPr sz="1500">
                        <a:latin typeface="Verdana"/>
                        <a:cs typeface="Verdana"/>
                      </a:endParaRPr>
                    </a:p>
                  </a:txBody>
                  <a:tcPr marL="0" marR="0" marT="0" marB="0">
                    <a:lnL w="9525">
                      <a:solidFill>
                        <a:srgbClr val="E6E7E7"/>
                      </a:solidFill>
                      <a:prstDash val="solid"/>
                    </a:lnL>
                    <a:lnR w="9525">
                      <a:solidFill>
                        <a:srgbClr val="E6E7E7"/>
                      </a:solidFill>
                      <a:prstDash val="solid"/>
                    </a:lnR>
                  </a:tcPr>
                </a:tc>
                <a:extLst>
                  <a:ext uri="{0D108BD9-81ED-4DB2-BD59-A6C34878D82A}">
                    <a16:rowId xmlns:a16="http://schemas.microsoft.com/office/drawing/2014/main" val="10007"/>
                  </a:ext>
                </a:extLst>
              </a:tr>
              <a:tr h="342555">
                <a:tc>
                  <a:txBody>
                    <a:bodyPr/>
                    <a:lstStyle/>
                    <a:p>
                      <a:pPr>
                        <a:lnSpc>
                          <a:spcPct val="100000"/>
                        </a:lnSpc>
                      </a:pPr>
                      <a:endParaRPr sz="1500">
                        <a:latin typeface="Times New Roman"/>
                        <a:cs typeface="Times New Roman"/>
                      </a:endParaRPr>
                    </a:p>
                  </a:txBody>
                  <a:tcPr marL="0" marR="0" marT="0" marB="0">
                    <a:lnL w="9525">
                      <a:solidFill>
                        <a:srgbClr val="E6E7E7"/>
                      </a:solidFill>
                      <a:prstDash val="solid"/>
                    </a:lnL>
                    <a:lnR w="9525">
                      <a:solidFill>
                        <a:srgbClr val="E6E7E7"/>
                      </a:solidFill>
                      <a:prstDash val="solid"/>
                    </a:lnR>
                    <a:lnB w="9525">
                      <a:solidFill>
                        <a:srgbClr val="E6E7E7"/>
                      </a:solidFill>
                      <a:prstDash val="solid"/>
                    </a:lnB>
                    <a:solidFill>
                      <a:srgbClr val="9B1F14"/>
                    </a:solidFill>
                  </a:tcPr>
                </a:tc>
                <a:tc>
                  <a:txBody>
                    <a:bodyPr/>
                    <a:lstStyle/>
                    <a:p>
                      <a:pPr>
                        <a:lnSpc>
                          <a:spcPct val="100000"/>
                        </a:lnSpc>
                      </a:pPr>
                      <a:endParaRPr sz="1500">
                        <a:latin typeface="Times New Roman"/>
                        <a:cs typeface="Times New Roman"/>
                      </a:endParaRPr>
                    </a:p>
                  </a:txBody>
                  <a:tcPr marL="0" marR="0" marT="0" marB="0">
                    <a:lnL w="9525">
                      <a:solidFill>
                        <a:srgbClr val="E6E7E7"/>
                      </a:solidFill>
                      <a:prstDash val="solid"/>
                    </a:lnL>
                    <a:lnR w="9525">
                      <a:solidFill>
                        <a:srgbClr val="E6E7E7"/>
                      </a:solidFill>
                      <a:prstDash val="solid"/>
                    </a:lnR>
                    <a:lnB w="9525">
                      <a:solidFill>
                        <a:srgbClr val="E6E7E7"/>
                      </a:solidFill>
                      <a:prstDash val="solid"/>
                    </a:lnB>
                  </a:tcPr>
                </a:tc>
                <a:tc>
                  <a:txBody>
                    <a:bodyPr/>
                    <a:lstStyle/>
                    <a:p>
                      <a:pPr>
                        <a:lnSpc>
                          <a:spcPct val="100000"/>
                        </a:lnSpc>
                      </a:pPr>
                      <a:endParaRPr sz="1500">
                        <a:latin typeface="Times New Roman"/>
                        <a:cs typeface="Times New Roman"/>
                      </a:endParaRPr>
                    </a:p>
                  </a:txBody>
                  <a:tcPr marL="0" marR="0" marT="0" marB="0">
                    <a:lnL w="9525">
                      <a:solidFill>
                        <a:srgbClr val="E6E7E7"/>
                      </a:solidFill>
                      <a:prstDash val="solid"/>
                    </a:lnL>
                    <a:lnR w="9525">
                      <a:solidFill>
                        <a:srgbClr val="E6E7E7"/>
                      </a:solidFill>
                      <a:prstDash val="solid"/>
                    </a:lnR>
                    <a:lnB w="9525">
                      <a:solidFill>
                        <a:srgbClr val="E6E7E7"/>
                      </a:solidFill>
                      <a:prstDash val="solid"/>
                    </a:lnB>
                  </a:tcPr>
                </a:tc>
                <a:tc>
                  <a:txBody>
                    <a:bodyPr/>
                    <a:lstStyle/>
                    <a:p>
                      <a:pPr marL="98425">
                        <a:lnSpc>
                          <a:spcPts val="1620"/>
                        </a:lnSpc>
                      </a:pPr>
                      <a:r>
                        <a:rPr sz="1500" spc="10" dirty="0">
                          <a:solidFill>
                            <a:srgbClr val="525252"/>
                          </a:solidFill>
                          <a:latin typeface="Verdana"/>
                          <a:cs typeface="Verdana"/>
                        </a:rPr>
                        <a:t>Daerah</a:t>
                      </a:r>
                      <a:endParaRPr sz="1500">
                        <a:latin typeface="Verdana"/>
                        <a:cs typeface="Verdana"/>
                      </a:endParaRPr>
                    </a:p>
                  </a:txBody>
                  <a:tcPr marL="0" marR="0" marT="0" marB="0">
                    <a:lnL w="9525">
                      <a:solidFill>
                        <a:srgbClr val="E6E7E7"/>
                      </a:solidFill>
                      <a:prstDash val="solid"/>
                    </a:lnL>
                    <a:lnR w="9525">
                      <a:solidFill>
                        <a:srgbClr val="E6E7E7"/>
                      </a:solidFill>
                      <a:prstDash val="solid"/>
                    </a:lnR>
                    <a:lnB w="9525">
                      <a:solidFill>
                        <a:srgbClr val="E6E7E7"/>
                      </a:solidFill>
                      <a:prstDash val="solid"/>
                    </a:lnB>
                  </a:tcPr>
                </a:tc>
                <a:tc>
                  <a:txBody>
                    <a:bodyPr/>
                    <a:lstStyle/>
                    <a:p>
                      <a:pPr marL="98425">
                        <a:lnSpc>
                          <a:spcPts val="1620"/>
                        </a:lnSpc>
                      </a:pPr>
                      <a:r>
                        <a:rPr sz="1500" dirty="0">
                          <a:solidFill>
                            <a:srgbClr val="525252"/>
                          </a:solidFill>
                          <a:latin typeface="Verdana"/>
                          <a:cs typeface="Verdana"/>
                        </a:rPr>
                        <a:t>(SS)</a:t>
                      </a:r>
                      <a:r>
                        <a:rPr sz="1500" spc="-130" dirty="0">
                          <a:solidFill>
                            <a:srgbClr val="525252"/>
                          </a:solidFill>
                          <a:latin typeface="Verdana"/>
                          <a:cs typeface="Verdana"/>
                        </a:rPr>
                        <a:t> </a:t>
                      </a:r>
                      <a:r>
                        <a:rPr sz="1500" dirty="0">
                          <a:solidFill>
                            <a:srgbClr val="525252"/>
                          </a:solidFill>
                          <a:latin typeface="Verdana"/>
                          <a:cs typeface="Verdana"/>
                        </a:rPr>
                        <a:t>ji</a:t>
                      </a:r>
                      <a:r>
                        <a:rPr sz="1500" spc="-15" dirty="0">
                          <a:solidFill>
                            <a:srgbClr val="525252"/>
                          </a:solidFill>
                          <a:latin typeface="Verdana"/>
                          <a:cs typeface="Verdana"/>
                        </a:rPr>
                        <a:t>k</a:t>
                      </a:r>
                      <a:r>
                        <a:rPr sz="1500" dirty="0">
                          <a:solidFill>
                            <a:srgbClr val="525252"/>
                          </a:solidFill>
                          <a:latin typeface="Verdana"/>
                          <a:cs typeface="Verdana"/>
                        </a:rPr>
                        <a:t>a</a:t>
                      </a:r>
                      <a:r>
                        <a:rPr sz="1500" spc="240" dirty="0">
                          <a:solidFill>
                            <a:srgbClr val="525252"/>
                          </a:solidFill>
                          <a:latin typeface="Verdana"/>
                          <a:cs typeface="Verdana"/>
                        </a:rPr>
                        <a:t> </a:t>
                      </a:r>
                      <a:r>
                        <a:rPr sz="1500" dirty="0">
                          <a:solidFill>
                            <a:srgbClr val="525252"/>
                          </a:solidFill>
                          <a:latin typeface="Verdana"/>
                          <a:cs typeface="Verdana"/>
                        </a:rPr>
                        <a:t>dibutuh</a:t>
                      </a:r>
                      <a:r>
                        <a:rPr sz="1500" spc="-15" dirty="0">
                          <a:solidFill>
                            <a:srgbClr val="525252"/>
                          </a:solidFill>
                          <a:latin typeface="Verdana"/>
                          <a:cs typeface="Verdana"/>
                        </a:rPr>
                        <a:t>k</a:t>
                      </a:r>
                      <a:r>
                        <a:rPr sz="1500" dirty="0">
                          <a:solidFill>
                            <a:srgbClr val="525252"/>
                          </a:solidFill>
                          <a:latin typeface="Verdana"/>
                          <a:cs typeface="Verdana"/>
                        </a:rPr>
                        <a:t>an</a:t>
                      </a:r>
                      <a:endParaRPr sz="1500" dirty="0">
                        <a:latin typeface="Verdana"/>
                        <a:cs typeface="Verdana"/>
                      </a:endParaRPr>
                    </a:p>
                  </a:txBody>
                  <a:tcPr marL="0" marR="0" marT="0" marB="0">
                    <a:lnL w="9525">
                      <a:solidFill>
                        <a:srgbClr val="E6E7E7"/>
                      </a:solidFill>
                      <a:prstDash val="solid"/>
                    </a:lnL>
                    <a:lnR w="9525">
                      <a:solidFill>
                        <a:srgbClr val="E6E7E7"/>
                      </a:solidFill>
                      <a:prstDash val="solid"/>
                    </a:lnR>
                    <a:lnB w="9525">
                      <a:solidFill>
                        <a:srgbClr val="E6E7E7"/>
                      </a:solidFill>
                      <a:prstDash val="solid"/>
                    </a:lnB>
                  </a:tcPr>
                </a:tc>
                <a:extLst>
                  <a:ext uri="{0D108BD9-81ED-4DB2-BD59-A6C34878D82A}">
                    <a16:rowId xmlns:a16="http://schemas.microsoft.com/office/drawing/2014/main" val="10008"/>
                  </a:ext>
                </a:extLst>
              </a:tr>
            </a:tbl>
          </a:graphicData>
        </a:graphic>
      </p:graphicFrame>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yR_ON5fyLD3gB_shsip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jvsy_NkYH6cOOEiIPZ9H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3OQnI1dL5cDZw9Bq53jU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nIG5IQHOsrna5P_WTnXo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isOWD45KHDTY8OgwtwBx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H9jAC4oYHPm6orQiqKtC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HkOy5FSkuly5hzYk8zsu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II9ZUIjy8dg_DP6thXw4O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kl_KQNXy4mGzVsyxVujr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v8Ke_bBdwbDcySV3NOK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H9jAC4oYHPm6orQiqKtC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BOjK0IgOKae1W7qE8Nd9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gmV3RMrI1F8rWSKoK7Ax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__N1zSCAwiolOoyNIVg8E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yR_ON5fyLD3gB_shsip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vsy_NkYH6cOOEiIPZ9Ha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BOjK0IgOKae1W7qE8Nd9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3OQnI1dL5cDZw9Bq53jUv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nIG5IQHOsrna5P_WTnXo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isOWD45KHDTY8OgwtwBx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HkOy5FSkuly5hzYk8zsu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I9ZUIjy8dg_DP6thXw4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gmV3RMrI1F8rWSKoK7A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__N1zSCAwiolOoyNIVg8E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fashun">
      <a:dk1>
        <a:sysClr val="windowText" lastClr="000000"/>
      </a:dk1>
      <a:lt1>
        <a:sysClr val="window" lastClr="FFFFFF"/>
      </a:lt1>
      <a:dk2>
        <a:srgbClr val="44546A"/>
      </a:dk2>
      <a:lt2>
        <a:srgbClr val="E7E6E6"/>
      </a:lt2>
      <a:accent1>
        <a:srgbClr val="534293"/>
      </a:accent1>
      <a:accent2>
        <a:srgbClr val="CD40FF"/>
      </a:accent2>
      <a:accent3>
        <a:srgbClr val="04BAAD"/>
      </a:accent3>
      <a:accent4>
        <a:srgbClr val="EC5A52"/>
      </a:accent4>
      <a:accent5>
        <a:srgbClr val="5B9BD5"/>
      </a:accent5>
      <a:accent6>
        <a:srgbClr val="70AD47"/>
      </a:accent6>
      <a:hlink>
        <a:srgbClr val="0563C1"/>
      </a:hlink>
      <a:folHlink>
        <a:srgbClr val="954F72"/>
      </a:folHlink>
    </a:clrScheme>
    <a:fontScheme name="METASWICTH">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24D8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Office Theme">
  <a:themeElements>
    <a:clrScheme name="Blue Midnight">
      <a:dk1>
        <a:sysClr val="windowText" lastClr="000000"/>
      </a:dk1>
      <a:lt1>
        <a:sysClr val="window" lastClr="FFFFFF"/>
      </a:lt1>
      <a:dk2>
        <a:srgbClr val="464646"/>
      </a:dk2>
      <a:lt2>
        <a:srgbClr val="FFFFFF"/>
      </a:lt2>
      <a:accent1>
        <a:srgbClr val="0D60AE"/>
      </a:accent1>
      <a:accent2>
        <a:srgbClr val="143B86"/>
      </a:accent2>
      <a:accent3>
        <a:srgbClr val="094882"/>
      </a:accent3>
      <a:accent4>
        <a:srgbClr val="001A49"/>
      </a:accent4>
      <a:accent5>
        <a:srgbClr val="0040B6"/>
      </a:accent5>
      <a:accent6>
        <a:srgbClr val="0E2C64"/>
      </a:accent6>
      <a:hlink>
        <a:srgbClr val="A05024"/>
      </a:hlink>
      <a:folHlink>
        <a:srgbClr val="FEC037"/>
      </a:folHlink>
    </a:clrScheme>
    <a:fontScheme name="Custom 5">
      <a:majorFont>
        <a:latin typeface="Cabin SemiBold"/>
        <a:ea typeface=""/>
        <a:cs typeface=""/>
      </a:majorFont>
      <a:minorFont>
        <a:latin typeface="Bitter"/>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5">
      <a:majorFont>
        <a:latin typeface="Segoe UI"/>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Office Theme">
  <a:themeElements>
    <a:clrScheme name="Custom 33">
      <a:dk1>
        <a:sysClr val="windowText" lastClr="000000"/>
      </a:dk1>
      <a:lt1>
        <a:sysClr val="window" lastClr="FFFFFF"/>
      </a:lt1>
      <a:dk2>
        <a:srgbClr val="44546A"/>
      </a:dk2>
      <a:lt2>
        <a:srgbClr val="E7E6E6"/>
      </a:lt2>
      <a:accent1>
        <a:srgbClr val="F5C02B"/>
      </a:accent1>
      <a:accent2>
        <a:srgbClr val="FAE098"/>
      </a:accent2>
      <a:accent3>
        <a:srgbClr val="A5A5A5"/>
      </a:accent3>
      <a:accent4>
        <a:srgbClr val="23205A"/>
      </a:accent4>
      <a:accent5>
        <a:srgbClr val="BDBFBF"/>
      </a:accent5>
      <a:accent6>
        <a:srgbClr val="FEFAF0"/>
      </a:accent6>
      <a:hlink>
        <a:srgbClr val="0563C1"/>
      </a:hlink>
      <a:folHlink>
        <a:srgbClr val="954F72"/>
      </a:folHlink>
    </a:clrScheme>
    <a:fontScheme name="Custom 39">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5">
      <a:majorFont>
        <a:latin typeface="Segoe UI"/>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9_Office Theme">
  <a:themeElements>
    <a:clrScheme name="Poster Researc">
      <a:dk1>
        <a:srgbClr val="000000"/>
      </a:dk1>
      <a:lt1>
        <a:srgbClr val="FFFFFF"/>
      </a:lt1>
      <a:dk2>
        <a:srgbClr val="44546A"/>
      </a:dk2>
      <a:lt2>
        <a:srgbClr val="E7E6E6"/>
      </a:lt2>
      <a:accent1>
        <a:srgbClr val="4983C4"/>
      </a:accent1>
      <a:accent2>
        <a:srgbClr val="90DEF0"/>
      </a:accent2>
      <a:accent3>
        <a:srgbClr val="F6FCFC"/>
      </a:accent3>
      <a:accent4>
        <a:srgbClr val="FE3C32"/>
      </a:accent4>
      <a:accent5>
        <a:srgbClr val="161619"/>
      </a:accent5>
      <a:accent6>
        <a:srgbClr val="161619"/>
      </a:accent6>
      <a:hlink>
        <a:srgbClr val="2F5CD6"/>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Modern 03">
      <a:majorFont>
        <a:latin typeface="Segoe UI"/>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erMen PUPR Pengawasan Penyelenggaraan Jasa Konstruksi 271222" id="{B0245666-DC57-8A42-816D-32762B684638}" vid="{42ACBDFF-8D58-7341-A063-A60B80E19EE1}"/>
    </a:ext>
  </a:ext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alpha val="50000"/>
          </a:schemeClr>
        </a:solidFill>
        <a:ln>
          <a:noFill/>
        </a:ln>
      </a:spPr>
      <a:bodyPr/>
      <a:lstStyle/>
      <a:style>
        <a:lnRef idx="0">
          <a:scrgbClr r="0" g="0" b="0"/>
        </a:lnRef>
        <a:fillRef idx="0">
          <a:scrgbClr r="0" g="0" b="0"/>
        </a:fillRef>
        <a:effectRef idx="0">
          <a:scrgbClr r="0" g="0" b="0"/>
        </a:effectRef>
        <a:fontRef idx="minor">
          <a:schemeClr val="lt1"/>
        </a:fontRef>
      </a:style>
    </a:spDef>
  </a:objectDefaults>
  <a:extraClrSchemeLst/>
  <a:extLst>
    <a:ext uri="{05A4C25C-085E-4340-85A3-A5531E510DB2}">
      <thm15:themeFamily xmlns:thm15="http://schemas.microsoft.com/office/thememl/2012/main" name="PerMen PUPR Pengawasan Penyelenggaraan Jasa Konstruksi 271222" id="{B0245666-DC57-8A42-816D-32762B684638}" vid="{09A9AF5E-32B0-F342-8F3F-BB1F36D6F117}"/>
    </a:ext>
  </a:extLst>
</a:theme>
</file>

<file path=ppt/theme/theme9.xml><?xml version="1.0" encoding="utf-8"?>
<a:theme xmlns:a="http://schemas.openxmlformats.org/drawingml/2006/main" name="10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24D8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48</TotalTime>
  <Words>4264</Words>
  <Application>Microsoft Office PowerPoint</Application>
  <PresentationFormat>Widescreen</PresentationFormat>
  <Paragraphs>697</Paragraphs>
  <Slides>34</Slides>
  <Notes>13</Notes>
  <HiddenSlides>0</HiddenSlides>
  <MMClips>0</MMClips>
  <ScaleCrop>false</ScaleCrop>
  <HeadingPairs>
    <vt:vector size="8" baseType="variant">
      <vt:variant>
        <vt:lpstr>Fonts Used</vt:lpstr>
      </vt:variant>
      <vt:variant>
        <vt:i4>31</vt:i4>
      </vt:variant>
      <vt:variant>
        <vt:lpstr>Theme</vt:lpstr>
      </vt:variant>
      <vt:variant>
        <vt:i4>13</vt:i4>
      </vt:variant>
      <vt:variant>
        <vt:lpstr>Embedded OLE Servers</vt:lpstr>
      </vt:variant>
      <vt:variant>
        <vt:i4>1</vt:i4>
      </vt:variant>
      <vt:variant>
        <vt:lpstr>Slide Titles</vt:lpstr>
      </vt:variant>
      <vt:variant>
        <vt:i4>34</vt:i4>
      </vt:variant>
    </vt:vector>
  </HeadingPairs>
  <TitlesOfParts>
    <vt:vector size="79" baseType="lpstr">
      <vt:lpstr>Agency FB</vt:lpstr>
      <vt:lpstr>Anantason</vt:lpstr>
      <vt:lpstr>Apple LiGothic Medium</vt:lpstr>
      <vt:lpstr>Arial</vt:lpstr>
      <vt:lpstr>Arial Black</vt:lpstr>
      <vt:lpstr>Arial Narrow</vt:lpstr>
      <vt:lpstr>Arial Nova</vt:lpstr>
      <vt:lpstr>Arvo</vt:lpstr>
      <vt:lpstr>Bitter</vt:lpstr>
      <vt:lpstr>Cabin SemiBold</vt:lpstr>
      <vt:lpstr>Calibri</vt:lpstr>
      <vt:lpstr>Calibri Light</vt:lpstr>
      <vt:lpstr>Century Gothic</vt:lpstr>
      <vt:lpstr>Century Gothic Regular</vt:lpstr>
      <vt:lpstr>Franklin Gothic Book</vt:lpstr>
      <vt:lpstr>Georgia</vt:lpstr>
      <vt:lpstr>Impact</vt:lpstr>
      <vt:lpstr>Montserrat</vt:lpstr>
      <vt:lpstr>Montserrat Medium</vt:lpstr>
      <vt:lpstr>Myriad Pro</vt:lpstr>
      <vt:lpstr>Noto Sans Symbols</vt:lpstr>
      <vt:lpstr>Open Sans</vt:lpstr>
      <vt:lpstr>Segoe UI</vt:lpstr>
      <vt:lpstr>Segoe UI Light</vt:lpstr>
      <vt:lpstr>Segoe UI Semibold</vt:lpstr>
      <vt:lpstr>Tahoma</vt:lpstr>
      <vt:lpstr>Times New Roman</vt:lpstr>
      <vt:lpstr>Trebuchet MS</vt:lpstr>
      <vt:lpstr>Tw Cen MT</vt:lpstr>
      <vt:lpstr>Verdana</vt:lpstr>
      <vt:lpstr>Wingdings</vt:lpstr>
      <vt:lpstr>Office Theme</vt:lpstr>
      <vt:lpstr>5_Office Theme</vt:lpstr>
      <vt:lpstr>3_Office Theme</vt:lpstr>
      <vt:lpstr>9_Office Theme</vt:lpstr>
      <vt:lpstr>13_Office Theme</vt:lpstr>
      <vt:lpstr>17_Office Theme</vt:lpstr>
      <vt:lpstr>8_Office Theme</vt:lpstr>
      <vt:lpstr>1_Office Theme</vt:lpstr>
      <vt:lpstr>10_Office Theme</vt:lpstr>
      <vt:lpstr>11_Office Theme</vt:lpstr>
      <vt:lpstr>2_Office Theme</vt:lpstr>
      <vt:lpstr>Office Theme</vt:lpstr>
      <vt:lpstr>3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MPLEMENTASI RBA DALAM UU CIPTA KERJA</vt:lpstr>
      <vt:lpstr>Tingkat Risiko</vt:lpstr>
      <vt:lpstr>PowerPoint Presentation</vt:lpstr>
      <vt:lpstr>PowerPoint Presentation</vt:lpstr>
      <vt:lpstr>SUBKLASIFIKASI USAHA JASA KONSTRUKSI</vt:lpstr>
      <vt:lpstr>PowerPoint Presentation</vt:lpstr>
      <vt:lpstr>PowerPoint Presentation</vt:lpstr>
      <vt:lpstr>PERIZINAN BERUSAHA SUBSEKTOR JASA KONSTRUKSI (1/2)</vt:lpstr>
      <vt:lpstr>PERIZINAN BERUSAHA SUBSEKTOR JASA KONSTRUKSI (2/2)</vt:lpstr>
      <vt:lpstr>PERIZINAN BERUSAHA YANG TELAH TERPENUHI</vt:lpstr>
      <vt:lpstr>SERTIFIKAT BADAN USAHA (SBU) KONSTRUKSI (Perubahan)</vt:lpstr>
      <vt:lpstr>Sertifikat standar  subsektor jasa konstruks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dianrenny@gmail.com</dc:creator>
  <cp:lastModifiedBy>Hady Amrullah</cp:lastModifiedBy>
  <cp:revision>54</cp:revision>
  <dcterms:created xsi:type="dcterms:W3CDTF">2022-06-06T02:22:49Z</dcterms:created>
  <dcterms:modified xsi:type="dcterms:W3CDTF">2023-12-12T05:32:50Z</dcterms:modified>
</cp:coreProperties>
</file>